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1"/>
    <p:sldMasterId id="2147484191" r:id="rId2"/>
  </p:sldMasterIdLst>
  <p:notesMasterIdLst>
    <p:notesMasterId r:id="rId26"/>
  </p:notesMasterIdLst>
  <p:handoutMasterIdLst>
    <p:handoutMasterId r:id="rId27"/>
  </p:handoutMasterIdLst>
  <p:sldIdLst>
    <p:sldId id="1135" r:id="rId3"/>
    <p:sldId id="1054" r:id="rId4"/>
    <p:sldId id="1256" r:id="rId5"/>
    <p:sldId id="1255" r:id="rId6"/>
    <p:sldId id="1254" r:id="rId7"/>
    <p:sldId id="1152" r:id="rId8"/>
    <p:sldId id="1153" r:id="rId9"/>
    <p:sldId id="1154" r:id="rId10"/>
    <p:sldId id="1155" r:id="rId11"/>
    <p:sldId id="1070" r:id="rId12"/>
    <p:sldId id="1252" r:id="rId13"/>
    <p:sldId id="1156" r:id="rId14"/>
    <p:sldId id="1159" r:id="rId15"/>
    <p:sldId id="1253" r:id="rId16"/>
    <p:sldId id="1157" r:id="rId17"/>
    <p:sldId id="1158" r:id="rId18"/>
    <p:sldId id="1162" r:id="rId19"/>
    <p:sldId id="1144" r:id="rId20"/>
    <p:sldId id="1257" r:id="rId21"/>
    <p:sldId id="1150" r:id="rId22"/>
    <p:sldId id="1147" r:id="rId23"/>
    <p:sldId id="1258" r:id="rId24"/>
    <p:sldId id="1076" r:id="rId2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3 Template layouts" id="{6DD5C800-9A2C-4823-B056-4AFFC9A97500}">
          <p14:sldIdLst>
            <p14:sldId id="1135"/>
            <p14:sldId id="1054"/>
            <p14:sldId id="1256"/>
            <p14:sldId id="1255"/>
            <p14:sldId id="1254"/>
            <p14:sldId id="1152"/>
            <p14:sldId id="1153"/>
            <p14:sldId id="1154"/>
            <p14:sldId id="1155"/>
            <p14:sldId id="1070"/>
            <p14:sldId id="1252"/>
            <p14:sldId id="1156"/>
            <p14:sldId id="1159"/>
            <p14:sldId id="1253"/>
            <p14:sldId id="1157"/>
            <p14:sldId id="1158"/>
            <p14:sldId id="1162"/>
          </p14:sldIdLst>
        </p14:section>
        <p14:section name="Special content" id="{6925D2A1-AD53-4951-AB34-79DFA02CD676}">
          <p14:sldIdLst>
            <p14:sldId id="1144"/>
            <p14:sldId id="1257"/>
            <p14:sldId id="1150"/>
            <p14:sldId id="1147"/>
            <p14:sldId id="1258"/>
            <p14:sldId id="1076"/>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FBA00"/>
    <a:srgbClr val="007233"/>
    <a:srgbClr val="0072C6"/>
    <a:srgbClr val="B4009E"/>
    <a:srgbClr val="B0B186"/>
    <a:srgbClr val="FF66FF"/>
    <a:srgbClr val="000000"/>
    <a:srgbClr val="33CCCC"/>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337" autoAdjust="0"/>
    <p:restoredTop sz="77778" autoAdjust="0"/>
  </p:normalViewPr>
  <p:slideViewPr>
    <p:cSldViewPr snapToGrid="0">
      <p:cViewPr varScale="1">
        <p:scale>
          <a:sx n="75" d="100"/>
          <a:sy n="75" d="100"/>
        </p:scale>
        <p:origin x="1854" y="54"/>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p:scale>
          <a:sx n="41" d="100"/>
          <a:sy n="41" d="100"/>
        </p:scale>
        <p:origin x="-3792" y="-84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6/3/2013 11:53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6/3/2013 11:53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B24D84E8-06E3-489F-9C67-A33EE59B08EB}" type="datetime8">
              <a:rPr lang="en-US" smtClean="0"/>
              <a:t>6/3/2013 11:53 A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r>
              <a:rPr lang="en-US" dirty="0" err="1" smtClean="0"/>
              <a:t>TechEd</a:t>
            </a:r>
            <a:r>
              <a:rPr lang="en-US" dirty="0" smtClean="0"/>
              <a:t> 2013</a:t>
            </a:r>
            <a:endParaRPr lang="en-US" dirty="0"/>
          </a:p>
        </p:txBody>
      </p:sp>
    </p:spTree>
    <p:extLst>
      <p:ext uri="{BB962C8B-B14F-4D97-AF65-F5344CB8AC3E}">
        <p14:creationId xmlns:p14="http://schemas.microsoft.com/office/powerpoint/2010/main" val="3127344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0</a:t>
            </a:fld>
            <a:endParaRPr lang="en-US" dirty="0"/>
          </a:p>
        </p:txBody>
      </p:sp>
      <p:sp>
        <p:nvSpPr>
          <p:cNvPr id="10" name="Date Placeholder 9"/>
          <p:cNvSpPr>
            <a:spLocks noGrp="1"/>
          </p:cNvSpPr>
          <p:nvPr>
            <p:ph type="dt" idx="13"/>
          </p:nvPr>
        </p:nvSpPr>
        <p:spPr/>
        <p:txBody>
          <a:bodyPr/>
          <a:lstStyle/>
          <a:p>
            <a:fld id="{D86B6F6D-10A7-4370-A088-967AA50D8CFD}" type="datetime8">
              <a:rPr lang="en-US" smtClean="0"/>
              <a:t>6/3/2013 11:53 A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20356408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3/2013 11: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7675763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defTabSz="-11796307" eaLnBrk="0" hangingPunct="0">
              <a:spcBef>
                <a:spcPts val="612"/>
              </a:spcBef>
              <a:buClr>
                <a:srgbClr val="FFFFFF"/>
              </a:buClr>
              <a:buSzPct val="95000"/>
              <a:buNone/>
              <a:defRPr/>
            </a:pP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3/2013 11: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2499207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3</a:t>
            </a:fld>
            <a:endParaRPr lang="en-US" dirty="0"/>
          </a:p>
        </p:txBody>
      </p:sp>
      <p:sp>
        <p:nvSpPr>
          <p:cNvPr id="10" name="Date Placeholder 9"/>
          <p:cNvSpPr>
            <a:spLocks noGrp="1"/>
          </p:cNvSpPr>
          <p:nvPr>
            <p:ph type="dt" idx="13"/>
          </p:nvPr>
        </p:nvSpPr>
        <p:spPr/>
        <p:txBody>
          <a:bodyPr/>
          <a:lstStyle/>
          <a:p>
            <a:fld id="{D86B6F6D-10A7-4370-A088-967AA50D8CFD}" type="datetime8">
              <a:rPr lang="en-US" smtClean="0"/>
              <a:t>6/3/2013 11:53 A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2551120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3/2013 11: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33022543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3/2013 11: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8470802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6</a:t>
            </a:fld>
            <a:endParaRPr lang="en-US" dirty="0"/>
          </a:p>
        </p:txBody>
      </p:sp>
      <p:sp>
        <p:nvSpPr>
          <p:cNvPr id="10" name="Date Placeholder 9"/>
          <p:cNvSpPr>
            <a:spLocks noGrp="1"/>
          </p:cNvSpPr>
          <p:nvPr>
            <p:ph type="dt" idx="13"/>
          </p:nvPr>
        </p:nvSpPr>
        <p:spPr/>
        <p:txBody>
          <a:bodyPr/>
          <a:lstStyle/>
          <a:p>
            <a:fld id="{D86B6F6D-10A7-4370-A088-967AA50D8CFD}" type="datetime8">
              <a:rPr lang="en-US" smtClean="0"/>
              <a:t>6/3/2013 11:53 A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11269354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3/2013 11: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22488460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pPr/>
              <a:t>18</a:t>
            </a:fld>
            <a:endParaRPr lang="en-US" dirty="0"/>
          </a:p>
        </p:txBody>
      </p:sp>
      <p:sp>
        <p:nvSpPr>
          <p:cNvPr id="12" name="Date Placeholder 11"/>
          <p:cNvSpPr>
            <a:spLocks noGrp="1"/>
          </p:cNvSpPr>
          <p:nvPr>
            <p:ph type="dt" idx="14"/>
          </p:nvPr>
        </p:nvSpPr>
        <p:spPr/>
        <p:txBody>
          <a:bodyPr/>
          <a:lstStyle/>
          <a:p>
            <a:fld id="{64DAA8B1-71E0-4ED8-9A80-C398012240B1}" type="datetime8">
              <a:rPr lang="en-US" smtClean="0"/>
              <a:t>6/3/2013 11:53 AM</a:t>
            </a:fld>
            <a:endParaRPr lang="en-US" dirty="0"/>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36588603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24542083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
        <p:nvSpPr>
          <p:cNvPr id="10" name="Date Placeholder 9"/>
          <p:cNvSpPr>
            <a:spLocks noGrp="1"/>
          </p:cNvSpPr>
          <p:nvPr>
            <p:ph type="dt" idx="13"/>
          </p:nvPr>
        </p:nvSpPr>
        <p:spPr/>
        <p:txBody>
          <a:bodyPr/>
          <a:lstStyle/>
          <a:p>
            <a:fld id="{677FBE4F-EDB0-402F-A0AC-9374915CF447}" type="datetime8">
              <a:rPr lang="en-US" smtClean="0"/>
              <a:t>6/3/2013 11:53 A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6944408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3/2013 11: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6866657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3/2013 11: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16923678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3/2013 11:5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42499880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3</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t>6/3/2013 11:53 A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512661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a:t>
            </a:fld>
            <a:endParaRPr lang="en-US" dirty="0">
              <a:solidFill>
                <a:prstClr val="black"/>
              </a:solidFill>
            </a:endParaRPr>
          </a:p>
        </p:txBody>
      </p:sp>
      <p:sp>
        <p:nvSpPr>
          <p:cNvPr id="5" name="Slide Image Placeholder 4"/>
          <p:cNvSpPr>
            <a:spLocks noGrp="1" noRot="1" noChangeAspect="1"/>
          </p:cNvSpPr>
          <p:nvPr>
            <p:ph type="sldImg"/>
          </p:nvPr>
        </p:nvSpPr>
        <p:spPr/>
      </p:sp>
      <p:sp>
        <p:nvSpPr>
          <p:cNvPr id="8" name="Notes Placeholder 7"/>
          <p:cNvSpPr>
            <a:spLocks noGrp="1"/>
          </p:cNvSpPr>
          <p:nvPr>
            <p:ph type="body" sz="quarter" idx="11"/>
          </p:nvPr>
        </p:nvSpPr>
        <p:spPr/>
        <p:txBody>
          <a:bodyPr/>
          <a:lstStyle/>
          <a:p>
            <a:endParaRPr lang="en-US" dirty="0"/>
          </a:p>
        </p:txBody>
      </p:sp>
      <p:sp>
        <p:nvSpPr>
          <p:cNvPr id="10" name="Notes Placeholder 9"/>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7838934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3/2013 11: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25879618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3/2013 11: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0804459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3/2013 11: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4380237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3/2013 11: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6025475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3/2013 11: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5736658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3/2013 11: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7766416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Onl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509552" y="513797"/>
            <a:ext cx="11428171" cy="742628"/>
          </a:xfrm>
        </p:spPr>
        <p:txBody>
          <a:bodyPr vert="horz" lIns="0" tIns="0" rIns="0" bIns="0" rtlCol="0">
            <a:noAutofit/>
          </a:bodyPr>
          <a:lstStyle>
            <a:lvl1pPr>
              <a:defRPr lang="en-US" sz="4899" dirty="0" smtClean="0"/>
            </a:lvl1pPr>
          </a:lstStyle>
          <a:p>
            <a:pPr lvl="0"/>
            <a:r>
              <a:rPr lang="en-US" dirty="0" smtClean="0"/>
              <a:t>Click to edit Master text styles</a:t>
            </a:r>
          </a:p>
        </p:txBody>
      </p:sp>
    </p:spTree>
    <p:extLst>
      <p:ext uri="{BB962C8B-B14F-4D97-AF65-F5344CB8AC3E}">
        <p14:creationId xmlns:p14="http://schemas.microsoft.com/office/powerpoint/2010/main" val="192756992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5173836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22493875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20525803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2661364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191698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7066028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299636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674500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2859797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70332768"/>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9449449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7056101"/>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61137933"/>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2205263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9435027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5128676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910828"/>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04731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744536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5408306"/>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6025737"/>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903589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0"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9671158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2.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8" r:id="rId2"/>
    <p:sldLayoutId id="2147484189" r:id="rId3"/>
    <p:sldLayoutId id="2147484105" r:id="rId4"/>
    <p:sldLayoutId id="2147484185" r:id="rId5"/>
    <p:sldLayoutId id="2147484182" r:id="rId6"/>
    <p:sldLayoutId id="2147484186" r:id="rId7"/>
    <p:sldLayoutId id="2147484130" r:id="rId8"/>
    <p:sldLayoutId id="2147484101" r:id="rId9"/>
    <p:sldLayoutId id="2147484102" r:id="rId10"/>
    <p:sldLayoutId id="2147484098" r:id="rId11"/>
    <p:sldLayoutId id="2147484086" r:id="rId12"/>
    <p:sldLayoutId id="2147484100" r:id="rId13"/>
    <p:sldLayoutId id="2147484089" r:id="rId14"/>
    <p:sldLayoutId id="2147484106" r:id="rId15"/>
    <p:sldLayoutId id="2147484092" r:id="rId16"/>
    <p:sldLayoutId id="2147484093" r:id="rId17"/>
    <p:sldLayoutId id="2147484127" r:id="rId18"/>
    <p:sldLayoutId id="2147484128" r:id="rId19"/>
    <p:sldLayoutId id="2147484129" r:id="rId20"/>
    <p:sldLayoutId id="2147484094" r:id="rId21"/>
    <p:sldLayoutId id="2147484096" r:id="rId22"/>
    <p:sldLayoutId id="2147484190"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3952447"/>
      </p:ext>
    </p:extLst>
  </p:cSld>
  <p:clrMap bg1="dk1" tx1="lt1" bg2="dk2" tx2="lt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 id="2147484211" r:id="rId20"/>
    <p:sldLayoutId id="2147484212" r:id="rId21"/>
    <p:sldLayoutId id="2147484213" r:id="rId22"/>
    <p:sldLayoutId id="2147484214"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3.xml"/><Relationship Id="rId7" Type="http://schemas.openxmlformats.org/officeDocument/2006/relationships/image" Target="../media/image24.png"/><Relationship Id="rId12" Type="http://schemas.openxmlformats.org/officeDocument/2006/relationships/image" Target="../media/image10.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notesSlide" Target="../notesSlides/notesSlide12.xml"/><Relationship Id="rId11" Type="http://schemas.openxmlformats.org/officeDocument/2006/relationships/image" Target="../media/image11.png"/><Relationship Id="rId5" Type="http://schemas.openxmlformats.org/officeDocument/2006/relationships/slideLayout" Target="../slideLayouts/slideLayout11.xml"/><Relationship Id="rId10" Type="http://schemas.microsoft.com/office/2007/relationships/hdphoto" Target="../media/hdphoto3.wdp"/><Relationship Id="rId4" Type="http://schemas.openxmlformats.org/officeDocument/2006/relationships/tags" Target="../tags/tag14.xml"/><Relationship Id="rId9" Type="http://schemas.openxmlformats.org/officeDocument/2006/relationships/image" Target="../media/image26.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7.xml"/><Relationship Id="rId7" Type="http://schemas.openxmlformats.org/officeDocument/2006/relationships/image" Target="../media/image9.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notesSlide" Target="../notesSlides/notesSlide15.xml"/><Relationship Id="rId11" Type="http://schemas.openxmlformats.org/officeDocument/2006/relationships/image" Target="../media/image11.png"/><Relationship Id="rId5" Type="http://schemas.openxmlformats.org/officeDocument/2006/relationships/slideLayout" Target="../slideLayouts/slideLayout11.xml"/><Relationship Id="rId10" Type="http://schemas.openxmlformats.org/officeDocument/2006/relationships/image" Target="../media/image23.png"/><Relationship Id="rId4" Type="http://schemas.openxmlformats.org/officeDocument/2006/relationships/tags" Target="../tags/tag18.xml"/><Relationship Id="rId9" Type="http://schemas.openxmlformats.org/officeDocument/2006/relationships/image" Target="../media/image27.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11.xml"/><Relationship Id="rId4" Type="http://schemas.microsoft.com/office/2007/relationships/hdphoto" Target="../media/hdphoto4.wdp"/></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hyperlink" Target="../technet.microsoft.com/en-us/evalcenter/hh667640.aspx?wt.mc_id=TEC_105_1_33" TargetMode="External"/><Relationship Id="rId7" Type="http://schemas.openxmlformats.org/officeDocument/2006/relationships/hyperlink" Target="http://www.microsoft.com/server-cloud/user-device-management" TargetMode="External"/><Relationship Id="rId2" Type="http://schemas.openxmlformats.org/officeDocument/2006/relationships/notesSlide" Target="../notesSlides/notesSlide19.xml"/><Relationship Id="rId1" Type="http://schemas.openxmlformats.org/officeDocument/2006/relationships/slideLayout" Target="../slideLayouts/slideLayout23.xml"/><Relationship Id="rId6" Type="http://schemas.openxmlformats.org/officeDocument/2006/relationships/hyperlink" Target="http://www.microsoft.com/workstyle" TargetMode="External"/><Relationship Id="rId5" Type="http://schemas.openxmlformats.org/officeDocument/2006/relationships/hyperlink" Target="http://www.microsoft.com/en-us/server-cloud/windows-server" TargetMode="External"/><Relationship Id="rId4" Type="http://schemas.openxmlformats.org/officeDocument/2006/relationships/hyperlink" Target="http://www.microsoft.com/en-us/windows/windowsintune/try-and-buy"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16.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image" Target="../media/image32.png"/><Relationship Id="rId7" Type="http://schemas.openxmlformats.org/officeDocument/2006/relationships/image" Target="../media/image36.jpeg"/><Relationship Id="rId2" Type="http://schemas.openxmlformats.org/officeDocument/2006/relationships/notesSlide" Target="../notesSlides/notesSlide21.xml"/><Relationship Id="rId1" Type="http://schemas.openxmlformats.org/officeDocument/2006/relationships/slideLayout" Target="../slideLayouts/slideLayout16.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png"/><Relationship Id="rId9" Type="http://schemas.openxmlformats.org/officeDocument/2006/relationships/image" Target="../media/image38.jpeg"/></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2.xml"/><Relationship Id="rId1" Type="http://schemas.openxmlformats.org/officeDocument/2006/relationships/slideLayout" Target="../slideLayouts/slideLayout39.xml"/><Relationship Id="rId5" Type="http://schemas.openxmlformats.org/officeDocument/2006/relationships/image" Target="../media/image41.png"/><Relationship Id="rId4" Type="http://schemas.openxmlformats.org/officeDocument/2006/relationships/image" Target="../media/image40.png"/></Relationships>
</file>

<file path=ppt/slides/_rels/slide2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6.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microsoft.com/office/2007/relationships/hdphoto" Target="../media/hdphoto2.wdp"/><Relationship Id="rId5" Type="http://schemas.openxmlformats.org/officeDocument/2006/relationships/tags" Target="../tags/tag5.xml"/><Relationship Id="rId10" Type="http://schemas.openxmlformats.org/officeDocument/2006/relationships/image" Target="../media/image7.png"/><Relationship Id="rId4" Type="http://schemas.openxmlformats.org/officeDocument/2006/relationships/tags" Target="../tags/tag4.xml"/><Relationship Id="rId9"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4.png"/><Relationship Id="rId7"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1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tags" Target="../tags/tag10.xml"/><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notesSlide" Target="../notesSlides/notesSlide9.xml"/><Relationship Id="rId10" Type="http://schemas.openxmlformats.org/officeDocument/2006/relationships/image" Target="../media/image19.png"/><Relationship Id="rId4" Type="http://schemas.openxmlformats.org/officeDocument/2006/relationships/slideLayout" Target="../slideLayouts/slideLayout11.xml"/><Relationship Id="rId9" Type="http://schemas.openxmlformats.org/officeDocument/2006/relationships/image" Target="../media/image18.png"/><Relationship Id="rId1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0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br>
              <a:rPr lang="en-US" dirty="0" smtClean="0"/>
            </a:br>
            <a:r>
              <a:rPr lang="en-US" sz="6000" i="1" dirty="0"/>
              <a:t>Empower Users</a:t>
            </a:r>
          </a:p>
        </p:txBody>
      </p:sp>
      <p:sp>
        <p:nvSpPr>
          <p:cNvPr id="5" name="Text Placeholder 4"/>
          <p:cNvSpPr>
            <a:spLocks noGrp="1"/>
          </p:cNvSpPr>
          <p:nvPr>
            <p:ph type="body" sz="quarter" idx="12"/>
          </p:nvPr>
        </p:nvSpPr>
        <p:spPr/>
        <p:txBody>
          <a:bodyPr/>
          <a:lstStyle/>
          <a:p>
            <a:r>
              <a:rPr lang="en-US" dirty="0" smtClean="0"/>
              <a:t>Paul Mayfield</a:t>
            </a:r>
          </a:p>
          <a:p>
            <a:r>
              <a:rPr lang="en-US" dirty="0" smtClean="0"/>
              <a:t>Partner Program Manager</a:t>
            </a:r>
            <a:endParaRPr lang="en-US" dirty="0"/>
          </a:p>
        </p:txBody>
      </p:sp>
    </p:spTree>
    <p:extLst>
      <p:ext uri="{BB962C8B-B14F-4D97-AF65-F5344CB8AC3E}">
        <p14:creationId xmlns:p14="http://schemas.microsoft.com/office/powerpoint/2010/main" val="1750723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ify Your Environment</a:t>
            </a:r>
            <a:endParaRPr lang="en-US" dirty="0"/>
          </a:p>
        </p:txBody>
      </p:sp>
      <p:sp>
        <p:nvSpPr>
          <p:cNvPr id="13" name="Rectangle 12"/>
          <p:cNvSpPr/>
          <p:nvPr/>
        </p:nvSpPr>
        <p:spPr>
          <a:xfrm>
            <a:off x="1241405" y="2895697"/>
            <a:ext cx="11247355" cy="3006977"/>
          </a:xfrm>
          <a:prstGeom prst="rect">
            <a:avLst/>
          </a:prstGeom>
        </p:spPr>
        <p:txBody>
          <a:bodyPr wrap="square">
            <a:spAutoFit/>
          </a:bodyPr>
          <a:lstStyle/>
          <a:p>
            <a:pPr lvl="0" defTabSz="914126">
              <a:lnSpc>
                <a:spcPct val="90000"/>
              </a:lnSpc>
              <a:spcBef>
                <a:spcPts val="800"/>
              </a:spcBef>
              <a:defRPr/>
            </a:pPr>
            <a:r>
              <a:rPr lang="en-US" sz="2800" kern="0" spc="-30" dirty="0" smtClean="0">
                <a:solidFill>
                  <a:srgbClr val="FFFFFF"/>
                </a:solidFill>
              </a:rPr>
              <a:t>Market-leading </a:t>
            </a:r>
            <a:r>
              <a:rPr lang="en-US" sz="2800" kern="0" spc="-30" dirty="0">
                <a:solidFill>
                  <a:srgbClr val="FFFFFF"/>
                </a:solidFill>
              </a:rPr>
              <a:t>client management extended with cloud-based </a:t>
            </a:r>
            <a:r>
              <a:rPr lang="en-US" sz="2800" kern="0" spc="-30" dirty="0" smtClean="0">
                <a:solidFill>
                  <a:srgbClr val="FFFFFF"/>
                </a:solidFill>
              </a:rPr>
              <a:t>MDM</a:t>
            </a:r>
          </a:p>
          <a:p>
            <a:pPr lvl="0" defTabSz="914126">
              <a:lnSpc>
                <a:spcPct val="90000"/>
              </a:lnSpc>
              <a:spcBef>
                <a:spcPts val="800"/>
              </a:spcBef>
              <a:defRPr/>
            </a:pPr>
            <a:endParaRPr lang="en-US" kern="0" spc="-30" dirty="0">
              <a:solidFill>
                <a:srgbClr val="FFFFFF"/>
              </a:solidFill>
            </a:endParaRPr>
          </a:p>
          <a:p>
            <a:pPr lvl="0" defTabSz="914126">
              <a:lnSpc>
                <a:spcPct val="90000"/>
              </a:lnSpc>
              <a:spcBef>
                <a:spcPts val="800"/>
              </a:spcBef>
              <a:defRPr/>
            </a:pPr>
            <a:r>
              <a:rPr lang="en-US" sz="2800" kern="0" spc="-30" dirty="0">
                <a:solidFill>
                  <a:srgbClr val="FFFFFF"/>
                </a:solidFill>
              </a:rPr>
              <a:t>Simplified, user-centric application management </a:t>
            </a:r>
            <a:endParaRPr lang="en-US" sz="2800" kern="0" spc="-30" dirty="0" smtClean="0">
              <a:solidFill>
                <a:srgbClr val="FFFFFF"/>
              </a:solidFill>
            </a:endParaRPr>
          </a:p>
          <a:p>
            <a:pPr lvl="0" defTabSz="914126">
              <a:lnSpc>
                <a:spcPct val="90000"/>
              </a:lnSpc>
              <a:spcBef>
                <a:spcPts val="800"/>
              </a:spcBef>
              <a:defRPr/>
            </a:pPr>
            <a:endParaRPr lang="en-US" kern="0" spc="-30" dirty="0">
              <a:solidFill>
                <a:srgbClr val="FFFFFF"/>
              </a:solidFill>
            </a:endParaRPr>
          </a:p>
          <a:p>
            <a:pPr lvl="0" defTabSz="914126">
              <a:lnSpc>
                <a:spcPct val="90000"/>
              </a:lnSpc>
              <a:spcBef>
                <a:spcPts val="800"/>
              </a:spcBef>
              <a:defRPr/>
            </a:pPr>
            <a:r>
              <a:rPr lang="en-US" sz="2800" kern="0" spc="-30" dirty="0">
                <a:solidFill>
                  <a:srgbClr val="FFFFFF"/>
                </a:solidFill>
              </a:rPr>
              <a:t>Comprehensive settings management across </a:t>
            </a:r>
            <a:r>
              <a:rPr lang="en-US" sz="2800" kern="0" spc="-30" dirty="0" smtClean="0">
                <a:solidFill>
                  <a:srgbClr val="FFFFFF"/>
                </a:solidFill>
              </a:rPr>
              <a:t>platforms</a:t>
            </a:r>
          </a:p>
          <a:p>
            <a:pPr lvl="0" defTabSz="914126">
              <a:lnSpc>
                <a:spcPct val="90000"/>
              </a:lnSpc>
              <a:spcBef>
                <a:spcPts val="800"/>
              </a:spcBef>
              <a:defRPr/>
            </a:pPr>
            <a:endParaRPr lang="en-US" kern="0" spc="-30" dirty="0">
              <a:solidFill>
                <a:srgbClr val="FFFFFF"/>
              </a:solidFill>
            </a:endParaRPr>
          </a:p>
          <a:p>
            <a:pPr lvl="0" defTabSz="914126">
              <a:lnSpc>
                <a:spcPct val="90000"/>
              </a:lnSpc>
              <a:spcBef>
                <a:spcPts val="800"/>
              </a:spcBef>
              <a:defRPr/>
            </a:pPr>
            <a:r>
              <a:rPr lang="en-US" sz="2800" kern="0" spc="-30" dirty="0">
                <a:solidFill>
                  <a:srgbClr val="FFFFFF"/>
                </a:solidFill>
              </a:rPr>
              <a:t>Common identity across on-premises and in the cloud </a:t>
            </a:r>
          </a:p>
        </p:txBody>
      </p:sp>
      <p:grpSp>
        <p:nvGrpSpPr>
          <p:cNvPr id="17" name="Group 16"/>
          <p:cNvGrpSpPr/>
          <p:nvPr/>
        </p:nvGrpSpPr>
        <p:grpSpPr>
          <a:xfrm>
            <a:off x="300404" y="1214472"/>
            <a:ext cx="11919593" cy="941001"/>
            <a:chOff x="269302" y="1187962"/>
            <a:chExt cx="11922698" cy="941246"/>
          </a:xfrm>
        </p:grpSpPr>
        <p:sp>
          <p:nvSpPr>
            <p:cNvPr id="19" name="Rectangle 18"/>
            <p:cNvSpPr/>
            <p:nvPr/>
          </p:nvSpPr>
          <p:spPr bwMode="auto">
            <a:xfrm>
              <a:off x="986690" y="1241748"/>
              <a:ext cx="11205310" cy="833675"/>
            </a:xfrm>
            <a:prstGeom prst="rect">
              <a:avLst/>
            </a:prstGeom>
            <a:solidFill>
              <a:srgbClr val="FFFFFF"/>
            </a:solidFill>
            <a:ln w="25400" cap="flat" cmpd="sng" algn="ctr">
              <a:noFill/>
              <a:prstDash val="solid"/>
              <a:headEnd type="none" w="med" len="med"/>
              <a:tailEnd type="none" w="med" len="med"/>
            </a:ln>
            <a:effectLst/>
          </p:spPr>
          <p:txBody>
            <a:bodyPr vert="horz" wrap="square" lIns="448095" tIns="143391" rIns="179238" bIns="143391" numCol="1" rtlCol="0" anchor="ctr" anchorCtr="0" compatLnSpc="1">
              <a:prstTxWarp prst="textNoShape">
                <a:avLst/>
              </a:prstTxWarp>
              <a:noAutofit/>
            </a:bodyPr>
            <a:lstStyle/>
            <a:p>
              <a:pPr marL="0" marR="0" lvl="0" indent="0" defTabSz="895822" eaLnBrk="1" fontAlgn="base" latinLnBrk="0" hangingPunct="1">
                <a:lnSpc>
                  <a:spcPct val="90000"/>
                </a:lnSpc>
                <a:spcBef>
                  <a:spcPts val="1176"/>
                </a:spcBef>
                <a:spcAft>
                  <a:spcPts val="0"/>
                </a:spcAft>
                <a:buClrTx/>
                <a:buSzTx/>
                <a:buFontTx/>
                <a:buNone/>
                <a:tabLst/>
                <a:defRPr/>
              </a:pPr>
              <a:r>
                <a:rPr kumimoji="0" lang="en-US" sz="2199" b="0" i="0" u="none" strike="noStrike" kern="0" cap="none" spc="0" normalizeH="0" baseline="0" noProof="0" dirty="0" smtClean="0">
                  <a:ln>
                    <a:noFill/>
                  </a:ln>
                  <a:solidFill>
                    <a:srgbClr val="002060"/>
                  </a:solidFill>
                  <a:effectLst/>
                  <a:uLnTx/>
                  <a:uFillTx/>
                  <a:ea typeface="Segoe UI" pitchFamily="34" charset="0"/>
                  <a:cs typeface="Segoe UI" pitchFamily="34" charset="0"/>
                </a:rPr>
                <a:t>Enable </a:t>
              </a:r>
              <a:r>
                <a:rPr kumimoji="0" lang="en-US" sz="2199" b="0" i="0" u="none" strike="noStrike" kern="0" cap="none" spc="0" normalizeH="0" baseline="0" noProof="0" dirty="0" err="1" smtClean="0">
                  <a:ln>
                    <a:noFill/>
                  </a:ln>
                  <a:solidFill>
                    <a:srgbClr val="002060"/>
                  </a:solidFill>
                  <a:effectLst/>
                  <a:uLnTx/>
                  <a:uFillTx/>
                  <a:latin typeface="Segoe UI Semibold" panose="020B0702040204020203" pitchFamily="34" charset="0"/>
                  <a:ea typeface="Segoe UI" pitchFamily="34" charset="0"/>
                  <a:cs typeface="Segoe UI" pitchFamily="34" charset="0"/>
                </a:rPr>
                <a:t>consumerization</a:t>
              </a:r>
              <a:r>
                <a:rPr kumimoji="0" lang="en-US" sz="2199" b="0" i="0" u="none" strike="noStrike" kern="0" cap="none" spc="0" normalizeH="0" baseline="0" noProof="0" dirty="0" smtClean="0">
                  <a:ln>
                    <a:noFill/>
                  </a:ln>
                  <a:solidFill>
                    <a:srgbClr val="002060"/>
                  </a:solidFill>
                  <a:effectLst/>
                  <a:uLnTx/>
                  <a:uFillTx/>
                  <a:latin typeface="Segoe UI Semibold" panose="020B0702040204020203" pitchFamily="34" charset="0"/>
                  <a:ea typeface="Segoe UI" pitchFamily="34" charset="0"/>
                  <a:cs typeface="Segoe UI" pitchFamily="34" charset="0"/>
                </a:rPr>
                <a:t> of IT </a:t>
              </a:r>
              <a:r>
                <a:rPr kumimoji="0" lang="en-US" sz="2199" b="0" i="0" u="none" strike="noStrike" kern="0" cap="none" spc="0" normalizeH="0" baseline="0" noProof="0" dirty="0" smtClean="0">
                  <a:ln>
                    <a:noFill/>
                  </a:ln>
                  <a:solidFill>
                    <a:srgbClr val="002060"/>
                  </a:solidFill>
                  <a:effectLst/>
                  <a:uLnTx/>
                  <a:uFillTx/>
                  <a:ea typeface="Segoe UI" pitchFamily="34" charset="0"/>
                  <a:cs typeface="Segoe UI" pitchFamily="34" charset="0"/>
                </a:rPr>
                <a:t>without compromising compliance</a:t>
              </a:r>
            </a:p>
          </p:txBody>
        </p:sp>
        <p:sp>
          <p:nvSpPr>
            <p:cNvPr id="20" name="Oval 19"/>
            <p:cNvSpPr>
              <a:spLocks noChangeAspect="1"/>
            </p:cNvSpPr>
            <p:nvPr/>
          </p:nvSpPr>
          <p:spPr bwMode="auto">
            <a:xfrm>
              <a:off x="269302" y="1187962"/>
              <a:ext cx="941246" cy="941246"/>
            </a:xfrm>
            <a:prstGeom prst="ellipse">
              <a:avLst/>
            </a:prstGeom>
            <a:solidFill>
              <a:schemeClr val="bg2"/>
            </a:solidFill>
            <a:ln w="76200"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895822"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dirty="0" err="1" smtClean="0">
                <a:ln>
                  <a:noFill/>
                </a:ln>
                <a:gradFill>
                  <a:gsLst>
                    <a:gs pos="1250">
                      <a:srgbClr val="EFEFEF"/>
                    </a:gs>
                    <a:gs pos="10417">
                      <a:srgbClr val="EFEFEF"/>
                    </a:gs>
                  </a:gsLst>
                  <a:lin ang="5400000" scaled="0"/>
                </a:gradFill>
                <a:effectLst/>
                <a:uLnTx/>
                <a:uFillTx/>
                <a:latin typeface="Segoe UI"/>
              </a:endParaRPr>
            </a:p>
          </p:txBody>
        </p:sp>
      </p:grpSp>
      <p:sp>
        <p:nvSpPr>
          <p:cNvPr id="9" name="Freeform 6"/>
          <p:cNvSpPr>
            <a:spLocks noEditPoints="1"/>
          </p:cNvSpPr>
          <p:nvPr/>
        </p:nvSpPr>
        <p:spPr bwMode="auto">
          <a:xfrm>
            <a:off x="503778" y="1417846"/>
            <a:ext cx="534252" cy="534252"/>
          </a:xfrm>
          <a:custGeom>
            <a:avLst/>
            <a:gdLst>
              <a:gd name="T0" fmla="*/ 0 w 1530"/>
              <a:gd name="T1" fmla="*/ 765 h 1530"/>
              <a:gd name="T2" fmla="*/ 1530 w 1530"/>
              <a:gd name="T3" fmla="*/ 765 h 1530"/>
              <a:gd name="T4" fmla="*/ 798 w 1530"/>
              <a:gd name="T5" fmla="*/ 1369 h 1530"/>
              <a:gd name="T6" fmla="*/ 748 w 1530"/>
              <a:gd name="T7" fmla="*/ 1369 h 1530"/>
              <a:gd name="T8" fmla="*/ 741 w 1530"/>
              <a:gd name="T9" fmla="*/ 1127 h 1530"/>
              <a:gd name="T10" fmla="*/ 968 w 1530"/>
              <a:gd name="T11" fmla="*/ 1114 h 1530"/>
              <a:gd name="T12" fmla="*/ 798 w 1530"/>
              <a:gd name="T13" fmla="*/ 1369 h 1530"/>
              <a:gd name="T14" fmla="*/ 532 w 1530"/>
              <a:gd name="T15" fmla="*/ 1023 h 1530"/>
              <a:gd name="T16" fmla="*/ 511 w 1530"/>
              <a:gd name="T17" fmla="*/ 702 h 1530"/>
              <a:gd name="T18" fmla="*/ 769 w 1530"/>
              <a:gd name="T19" fmla="*/ 734 h 1530"/>
              <a:gd name="T20" fmla="*/ 1024 w 1530"/>
              <a:gd name="T21" fmla="*/ 788 h 1530"/>
              <a:gd name="T22" fmla="*/ 744 w 1530"/>
              <a:gd name="T23" fmla="*/ 1047 h 1530"/>
              <a:gd name="T24" fmla="*/ 217 w 1530"/>
              <a:gd name="T25" fmla="*/ 509 h 1530"/>
              <a:gd name="T26" fmla="*/ 433 w 1530"/>
              <a:gd name="T27" fmla="*/ 677 h 1530"/>
              <a:gd name="T28" fmla="*/ 446 w 1530"/>
              <a:gd name="T29" fmla="*/ 1002 h 1530"/>
              <a:gd name="T30" fmla="*/ 161 w 1530"/>
              <a:gd name="T31" fmla="*/ 762 h 1530"/>
              <a:gd name="T32" fmla="*/ 747 w 1530"/>
              <a:gd name="T33" fmla="*/ 160 h 1530"/>
              <a:gd name="T34" fmla="*/ 774 w 1530"/>
              <a:gd name="T35" fmla="*/ 160 h 1530"/>
              <a:gd name="T36" fmla="*/ 520 w 1530"/>
              <a:gd name="T37" fmla="*/ 621 h 1530"/>
              <a:gd name="T38" fmla="*/ 747 w 1530"/>
              <a:gd name="T39" fmla="*/ 160 h 1530"/>
              <a:gd name="T40" fmla="*/ 1178 w 1530"/>
              <a:gd name="T41" fmla="*/ 641 h 1530"/>
              <a:gd name="T42" fmla="*/ 1370 w 1530"/>
              <a:gd name="T43" fmla="*/ 760 h 1530"/>
              <a:gd name="T44" fmla="*/ 1078 w 1530"/>
              <a:gd name="T45" fmla="*/ 1010 h 1530"/>
              <a:gd name="T46" fmla="*/ 1103 w 1530"/>
              <a:gd name="T47" fmla="*/ 676 h 1530"/>
              <a:gd name="T48" fmla="*/ 1138 w 1530"/>
              <a:gd name="T49" fmla="*/ 571 h 1530"/>
              <a:gd name="T50" fmla="*/ 1041 w 1530"/>
              <a:gd name="T51" fmla="*/ 367 h 1530"/>
              <a:gd name="T52" fmla="*/ 1260 w 1530"/>
              <a:gd name="T53" fmla="*/ 417 h 1530"/>
              <a:gd name="T54" fmla="*/ 515 w 1530"/>
              <a:gd name="T55" fmla="*/ 329 h 1530"/>
              <a:gd name="T56" fmla="*/ 391 w 1530"/>
              <a:gd name="T57" fmla="*/ 569 h 1530"/>
              <a:gd name="T58" fmla="*/ 600 w 1530"/>
              <a:gd name="T59" fmla="*/ 183 h 1530"/>
              <a:gd name="T60" fmla="*/ 303 w 1530"/>
              <a:gd name="T61" fmla="*/ 1034 h 1530"/>
              <a:gd name="T62" fmla="*/ 492 w 1530"/>
              <a:gd name="T63" fmla="*/ 1168 h 1530"/>
              <a:gd name="T64" fmla="*/ 195 w 1530"/>
              <a:gd name="T65" fmla="*/ 968 h 1530"/>
              <a:gd name="T66" fmla="*/ 1018 w 1530"/>
              <a:gd name="T67" fmla="*/ 1206 h 1530"/>
              <a:gd name="T68" fmla="*/ 1333 w 1530"/>
              <a:gd name="T69" fmla="*/ 974 h 1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0" h="1530">
                <a:moveTo>
                  <a:pt x="765" y="0"/>
                </a:moveTo>
                <a:cubicBezTo>
                  <a:pt x="343" y="0"/>
                  <a:pt x="0" y="343"/>
                  <a:pt x="0" y="765"/>
                </a:cubicBezTo>
                <a:cubicBezTo>
                  <a:pt x="0" y="1186"/>
                  <a:pt x="343" y="1530"/>
                  <a:pt x="765" y="1530"/>
                </a:cubicBezTo>
                <a:cubicBezTo>
                  <a:pt x="1187" y="1530"/>
                  <a:pt x="1530" y="1186"/>
                  <a:pt x="1530" y="765"/>
                </a:cubicBezTo>
                <a:cubicBezTo>
                  <a:pt x="1530" y="343"/>
                  <a:pt x="1187" y="0"/>
                  <a:pt x="765" y="0"/>
                </a:cubicBezTo>
                <a:close/>
                <a:moveTo>
                  <a:pt x="798" y="1369"/>
                </a:moveTo>
                <a:cubicBezTo>
                  <a:pt x="787" y="1369"/>
                  <a:pt x="776" y="1370"/>
                  <a:pt x="765" y="1370"/>
                </a:cubicBezTo>
                <a:cubicBezTo>
                  <a:pt x="759" y="1370"/>
                  <a:pt x="754" y="1369"/>
                  <a:pt x="748" y="1369"/>
                </a:cubicBezTo>
                <a:cubicBezTo>
                  <a:pt x="655" y="1316"/>
                  <a:pt x="593" y="1220"/>
                  <a:pt x="556" y="1109"/>
                </a:cubicBezTo>
                <a:cubicBezTo>
                  <a:pt x="615" y="1119"/>
                  <a:pt x="678" y="1125"/>
                  <a:pt x="741" y="1127"/>
                </a:cubicBezTo>
                <a:cubicBezTo>
                  <a:pt x="755" y="1127"/>
                  <a:pt x="768" y="1127"/>
                  <a:pt x="781" y="1127"/>
                </a:cubicBezTo>
                <a:cubicBezTo>
                  <a:pt x="844" y="1127"/>
                  <a:pt x="907" y="1123"/>
                  <a:pt x="968" y="1114"/>
                </a:cubicBezTo>
                <a:cubicBezTo>
                  <a:pt x="961" y="1135"/>
                  <a:pt x="953" y="1155"/>
                  <a:pt x="945" y="1175"/>
                </a:cubicBezTo>
                <a:cubicBezTo>
                  <a:pt x="905" y="1268"/>
                  <a:pt x="854" y="1335"/>
                  <a:pt x="798" y="1369"/>
                </a:cubicBezTo>
                <a:close/>
                <a:moveTo>
                  <a:pt x="744" y="1047"/>
                </a:moveTo>
                <a:cubicBezTo>
                  <a:pt x="670" y="1045"/>
                  <a:pt x="599" y="1037"/>
                  <a:pt x="532" y="1023"/>
                </a:cubicBezTo>
                <a:cubicBezTo>
                  <a:pt x="512" y="933"/>
                  <a:pt x="506" y="837"/>
                  <a:pt x="509" y="747"/>
                </a:cubicBezTo>
                <a:cubicBezTo>
                  <a:pt x="509" y="732"/>
                  <a:pt x="510" y="717"/>
                  <a:pt x="511" y="702"/>
                </a:cubicBezTo>
                <a:cubicBezTo>
                  <a:pt x="589" y="722"/>
                  <a:pt x="675" y="733"/>
                  <a:pt x="765" y="734"/>
                </a:cubicBezTo>
                <a:cubicBezTo>
                  <a:pt x="766" y="734"/>
                  <a:pt x="768" y="734"/>
                  <a:pt x="769" y="734"/>
                </a:cubicBezTo>
                <a:cubicBezTo>
                  <a:pt x="859" y="734"/>
                  <a:pt x="947" y="723"/>
                  <a:pt x="1024" y="702"/>
                </a:cubicBezTo>
                <a:cubicBezTo>
                  <a:pt x="1025" y="731"/>
                  <a:pt x="1025" y="760"/>
                  <a:pt x="1024" y="788"/>
                </a:cubicBezTo>
                <a:cubicBezTo>
                  <a:pt x="1022" y="871"/>
                  <a:pt x="1010" y="953"/>
                  <a:pt x="992" y="1029"/>
                </a:cubicBezTo>
                <a:cubicBezTo>
                  <a:pt x="912" y="1043"/>
                  <a:pt x="826" y="1049"/>
                  <a:pt x="744" y="1047"/>
                </a:cubicBezTo>
                <a:close/>
                <a:moveTo>
                  <a:pt x="160" y="762"/>
                </a:moveTo>
                <a:cubicBezTo>
                  <a:pt x="161" y="672"/>
                  <a:pt x="181" y="586"/>
                  <a:pt x="217" y="509"/>
                </a:cubicBezTo>
                <a:cubicBezTo>
                  <a:pt x="244" y="559"/>
                  <a:pt x="289" y="602"/>
                  <a:pt x="351" y="638"/>
                </a:cubicBezTo>
                <a:cubicBezTo>
                  <a:pt x="376" y="652"/>
                  <a:pt x="403" y="665"/>
                  <a:pt x="433" y="677"/>
                </a:cubicBezTo>
                <a:cubicBezTo>
                  <a:pt x="431" y="699"/>
                  <a:pt x="430" y="722"/>
                  <a:pt x="429" y="745"/>
                </a:cubicBezTo>
                <a:cubicBezTo>
                  <a:pt x="426" y="835"/>
                  <a:pt x="432" y="922"/>
                  <a:pt x="446" y="1002"/>
                </a:cubicBezTo>
                <a:cubicBezTo>
                  <a:pt x="407" y="990"/>
                  <a:pt x="371" y="977"/>
                  <a:pt x="338" y="961"/>
                </a:cubicBezTo>
                <a:cubicBezTo>
                  <a:pt x="260" y="925"/>
                  <a:pt x="167" y="861"/>
                  <a:pt x="161" y="762"/>
                </a:cubicBezTo>
                <a:lnTo>
                  <a:pt x="160" y="762"/>
                </a:lnTo>
                <a:close/>
                <a:moveTo>
                  <a:pt x="747" y="160"/>
                </a:moveTo>
                <a:cubicBezTo>
                  <a:pt x="753" y="160"/>
                  <a:pt x="759" y="160"/>
                  <a:pt x="765" y="160"/>
                </a:cubicBezTo>
                <a:cubicBezTo>
                  <a:pt x="768" y="160"/>
                  <a:pt x="771" y="160"/>
                  <a:pt x="774" y="160"/>
                </a:cubicBezTo>
                <a:cubicBezTo>
                  <a:pt x="926" y="240"/>
                  <a:pt x="998" y="429"/>
                  <a:pt x="1018" y="621"/>
                </a:cubicBezTo>
                <a:cubicBezTo>
                  <a:pt x="867" y="664"/>
                  <a:pt x="673" y="664"/>
                  <a:pt x="520" y="621"/>
                </a:cubicBezTo>
                <a:cubicBezTo>
                  <a:pt x="533" y="526"/>
                  <a:pt x="556" y="437"/>
                  <a:pt x="589" y="361"/>
                </a:cubicBezTo>
                <a:cubicBezTo>
                  <a:pt x="631" y="261"/>
                  <a:pt x="687" y="191"/>
                  <a:pt x="747" y="160"/>
                </a:cubicBezTo>
                <a:close/>
                <a:moveTo>
                  <a:pt x="1103" y="676"/>
                </a:moveTo>
                <a:cubicBezTo>
                  <a:pt x="1130" y="666"/>
                  <a:pt x="1155" y="654"/>
                  <a:pt x="1178" y="641"/>
                </a:cubicBezTo>
                <a:cubicBezTo>
                  <a:pt x="1241" y="604"/>
                  <a:pt x="1286" y="560"/>
                  <a:pt x="1313" y="508"/>
                </a:cubicBezTo>
                <a:cubicBezTo>
                  <a:pt x="1349" y="585"/>
                  <a:pt x="1369" y="670"/>
                  <a:pt x="1370" y="760"/>
                </a:cubicBezTo>
                <a:cubicBezTo>
                  <a:pt x="1369" y="760"/>
                  <a:pt x="1369" y="760"/>
                  <a:pt x="1369" y="760"/>
                </a:cubicBezTo>
                <a:cubicBezTo>
                  <a:pt x="1355" y="885"/>
                  <a:pt x="1234" y="967"/>
                  <a:pt x="1078" y="1010"/>
                </a:cubicBezTo>
                <a:cubicBezTo>
                  <a:pt x="1093" y="939"/>
                  <a:pt x="1102" y="865"/>
                  <a:pt x="1104" y="791"/>
                </a:cubicBezTo>
                <a:cubicBezTo>
                  <a:pt x="1106" y="752"/>
                  <a:pt x="1105" y="714"/>
                  <a:pt x="1103" y="676"/>
                </a:cubicBezTo>
                <a:close/>
                <a:moveTo>
                  <a:pt x="1260" y="417"/>
                </a:moveTo>
                <a:cubicBezTo>
                  <a:pt x="1250" y="478"/>
                  <a:pt x="1209" y="530"/>
                  <a:pt x="1138" y="571"/>
                </a:cubicBezTo>
                <a:cubicBezTo>
                  <a:pt x="1125" y="579"/>
                  <a:pt x="1111" y="586"/>
                  <a:pt x="1096" y="593"/>
                </a:cubicBezTo>
                <a:cubicBezTo>
                  <a:pt x="1086" y="511"/>
                  <a:pt x="1067" y="435"/>
                  <a:pt x="1041" y="367"/>
                </a:cubicBezTo>
                <a:cubicBezTo>
                  <a:pt x="1013" y="295"/>
                  <a:pt x="976" y="233"/>
                  <a:pt x="931" y="183"/>
                </a:cubicBezTo>
                <a:cubicBezTo>
                  <a:pt x="1065" y="221"/>
                  <a:pt x="1181" y="305"/>
                  <a:pt x="1260" y="417"/>
                </a:cubicBezTo>
                <a:close/>
                <a:moveTo>
                  <a:pt x="600" y="183"/>
                </a:moveTo>
                <a:cubicBezTo>
                  <a:pt x="568" y="223"/>
                  <a:pt x="540" y="272"/>
                  <a:pt x="515" y="329"/>
                </a:cubicBezTo>
                <a:cubicBezTo>
                  <a:pt x="482" y="407"/>
                  <a:pt x="457" y="498"/>
                  <a:pt x="443" y="594"/>
                </a:cubicBezTo>
                <a:cubicBezTo>
                  <a:pt x="424" y="587"/>
                  <a:pt x="407" y="578"/>
                  <a:pt x="391" y="569"/>
                </a:cubicBezTo>
                <a:cubicBezTo>
                  <a:pt x="320" y="528"/>
                  <a:pt x="279" y="478"/>
                  <a:pt x="269" y="419"/>
                </a:cubicBezTo>
                <a:cubicBezTo>
                  <a:pt x="348" y="306"/>
                  <a:pt x="464" y="221"/>
                  <a:pt x="600" y="183"/>
                </a:cubicBezTo>
                <a:close/>
                <a:moveTo>
                  <a:pt x="195" y="968"/>
                </a:moveTo>
                <a:cubicBezTo>
                  <a:pt x="226" y="992"/>
                  <a:pt x="262" y="1014"/>
                  <a:pt x="303" y="1034"/>
                </a:cubicBezTo>
                <a:cubicBezTo>
                  <a:pt x="352" y="1057"/>
                  <a:pt x="407" y="1075"/>
                  <a:pt x="467" y="1090"/>
                </a:cubicBezTo>
                <a:cubicBezTo>
                  <a:pt x="474" y="1117"/>
                  <a:pt x="483" y="1143"/>
                  <a:pt x="492" y="1168"/>
                </a:cubicBezTo>
                <a:cubicBezTo>
                  <a:pt x="519" y="1237"/>
                  <a:pt x="554" y="1297"/>
                  <a:pt x="597" y="1346"/>
                </a:cubicBezTo>
                <a:cubicBezTo>
                  <a:pt x="410" y="1291"/>
                  <a:pt x="260" y="1150"/>
                  <a:pt x="195" y="968"/>
                </a:cubicBezTo>
                <a:close/>
                <a:moveTo>
                  <a:pt x="940" y="1344"/>
                </a:moveTo>
                <a:cubicBezTo>
                  <a:pt x="969" y="1306"/>
                  <a:pt x="995" y="1260"/>
                  <a:pt x="1018" y="1206"/>
                </a:cubicBezTo>
                <a:cubicBezTo>
                  <a:pt x="1033" y="1172"/>
                  <a:pt x="1045" y="1136"/>
                  <a:pt x="1057" y="1098"/>
                </a:cubicBezTo>
                <a:cubicBezTo>
                  <a:pt x="1165" y="1073"/>
                  <a:pt x="1262" y="1032"/>
                  <a:pt x="1333" y="974"/>
                </a:cubicBezTo>
                <a:cubicBezTo>
                  <a:pt x="1267" y="1150"/>
                  <a:pt x="1122" y="1288"/>
                  <a:pt x="940" y="1344"/>
                </a:cubicBezTo>
                <a:close/>
              </a:path>
            </a:pathLst>
          </a:custGeom>
          <a:solidFill>
            <a:srgbClr val="FFFFFF"/>
          </a:solidFill>
          <a:ln>
            <a:noFill/>
          </a:ln>
        </p:spPr>
        <p:txBody>
          <a:bodyPr vert="horz" wrap="square" lIns="91416" tIns="45708" rIns="91416" bIns="45708" numCol="1" anchor="t" anchorCtr="0" compatLnSpc="1">
            <a:prstTxWarp prst="textNoShape">
              <a:avLst/>
            </a:prstTxWarp>
          </a:bodyPr>
          <a:lstStyle/>
          <a:p>
            <a:pPr marL="0" marR="0" lvl="0" indent="0" defTabSz="1218534"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dirty="0" smtClean="0">
              <a:ln>
                <a:noFill/>
              </a:ln>
              <a:solidFill>
                <a:srgbClr val="FFFFFF"/>
              </a:solidFill>
              <a:effectLst/>
              <a:uLnTx/>
              <a:uFillTx/>
            </a:endParaRPr>
          </a:p>
        </p:txBody>
      </p:sp>
    </p:spTree>
    <p:extLst>
      <p:ext uri="{BB962C8B-B14F-4D97-AF65-F5344CB8AC3E}">
        <p14:creationId xmlns:p14="http://schemas.microsoft.com/office/powerpoint/2010/main" val="37548642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5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750"/>
                                        <p:tgtEl>
                                          <p:spTgt spid="13"/>
                                        </p:tgtEl>
                                      </p:cBhvr>
                                    </p:animEffect>
                                  </p:childTnLst>
                                </p:cTn>
                              </p:par>
                              <p:par>
                                <p:cTn id="8" presetID="63" presetClass="path" presetSubtype="0" decel="100000" fill="hold" grpId="1" nodeType="withEffect">
                                  <p:stCondLst>
                                    <p:cond delay="500"/>
                                  </p:stCondLst>
                                  <p:childTnLst>
                                    <p:animMotion origin="layout" path="M -0.02409 2.22222E-6 L 2.5E-6 2.22222E-6 " pathEditMode="relative" rAng="0" ptsTypes="AA">
                                      <p:cBhvr>
                                        <p:cTn id="9" dur="500" fill="hold"/>
                                        <p:tgtEl>
                                          <p:spTgt spid="13"/>
                                        </p:tgtEl>
                                        <p:attrNameLst>
                                          <p:attrName>ppt_x</p:attrName>
                                          <p:attrName>ppt_y</p:attrName>
                                        </p:attrNameLst>
                                      </p:cBhvr>
                                      <p:rCtr x="1198" y="0"/>
                                    </p:animMotion>
                                  </p:childTnLst>
                                </p:cTn>
                              </p:par>
                              <p:par>
                                <p:cTn id="10" presetID="6" presetClass="emph" presetSubtype="0" accel="100000" autoRev="1" fill="hold" grpId="2" nodeType="withEffect">
                                  <p:stCondLst>
                                    <p:cond delay="0"/>
                                  </p:stCondLst>
                                  <p:childTnLst>
                                    <p:animScale>
                                      <p:cBhvr>
                                        <p:cTn id="11" dur="500" fill="hold"/>
                                        <p:tgtEl>
                                          <p:spTgt spid="1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3" grpId="2"/>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nvSpPr>
        <p:spPr bwMode="auto">
          <a:xfrm>
            <a:off x="192432" y="1453415"/>
            <a:ext cx="12022313" cy="540939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Unify </a:t>
            </a:r>
            <a:r>
              <a:rPr lang="en-US" dirty="0"/>
              <a:t>Y</a:t>
            </a:r>
            <a:r>
              <a:rPr lang="en-US" dirty="0" smtClean="0"/>
              <a:t>our Environment</a:t>
            </a:r>
            <a:br>
              <a:rPr lang="en-US" dirty="0" smtClean="0"/>
            </a:br>
            <a:r>
              <a:rPr lang="en-US" sz="2000" spc="0" dirty="0" smtClean="0">
                <a:solidFill>
                  <a:schemeClr val="tx1"/>
                </a:solidFill>
              </a:rPr>
              <a:t>Deliver comprehensive application and device management</a:t>
            </a:r>
            <a:endParaRPr lang="en-US" sz="2000" dirty="0">
              <a:solidFill>
                <a:schemeClr val="tx1"/>
              </a:solidFill>
            </a:endParaRPr>
          </a:p>
        </p:txBody>
      </p:sp>
      <p:sp>
        <p:nvSpPr>
          <p:cNvPr id="710" name="Freeform 709"/>
          <p:cNvSpPr>
            <a:spLocks/>
          </p:cNvSpPr>
          <p:nvPr/>
        </p:nvSpPr>
        <p:spPr bwMode="auto">
          <a:xfrm>
            <a:off x="4739158" y="1898875"/>
            <a:ext cx="1818888" cy="932329"/>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969696">
              <a:lumMod val="50000"/>
            </a:srgbClr>
          </a:solidFill>
          <a:ln w="19050" cap="flat" cmpd="sng" algn="ctr">
            <a:solidFill>
              <a:srgbClr val="969696">
                <a:lumMod val="50000"/>
              </a:srgbClr>
            </a:solidFill>
            <a:prstDash val="solid"/>
            <a:headEnd type="none" w="med" len="med"/>
            <a:tailEnd type="none" w="med" len="med"/>
          </a:ln>
          <a:effectLst/>
          <a:extLst/>
        </p:spPr>
        <p:txBody>
          <a:bodyPr vert="horz" wrap="square" lIns="111988" tIns="0" rIns="111988" bIns="55993"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marL="0" marR="0" lvl="0" indent="0" algn="l" defTabSz="1119664" rtl="0" eaLnBrk="1" fontAlgn="base" latinLnBrk="0" hangingPunct="1">
              <a:lnSpc>
                <a:spcPct val="100000"/>
              </a:lnSpc>
              <a:spcBef>
                <a:spcPct val="0"/>
              </a:spcBef>
              <a:spcAft>
                <a:spcPct val="0"/>
              </a:spcAft>
              <a:buClrTx/>
              <a:buSzTx/>
              <a:buFontTx/>
              <a:buNone/>
              <a:tabLst/>
              <a:defRPr/>
            </a:pPr>
            <a:endParaRPr kumimoji="0" lang="en-US" sz="1899" b="1" i="0" u="none" strike="noStrike" kern="0" cap="none" spc="0" normalizeH="0" baseline="0" noProof="0" dirty="0">
              <a:ln>
                <a:noFill/>
              </a:ln>
              <a:solidFill>
                <a:srgbClr val="505050"/>
              </a:solidFill>
              <a:effectLst/>
              <a:uLnTx/>
              <a:uFillTx/>
              <a:latin typeface="Segoe" pitchFamily="34" charset="0"/>
            </a:endParaRPr>
          </a:p>
        </p:txBody>
      </p:sp>
      <p:cxnSp>
        <p:nvCxnSpPr>
          <p:cNvPr id="711" name="Straight Connector 710"/>
          <p:cNvCxnSpPr/>
          <p:nvPr/>
        </p:nvCxnSpPr>
        <p:spPr>
          <a:xfrm>
            <a:off x="1268191" y="3602963"/>
            <a:ext cx="698219" cy="0"/>
          </a:xfrm>
          <a:prstGeom prst="line">
            <a:avLst/>
          </a:prstGeom>
          <a:noFill/>
          <a:ln w="19050" cap="rnd" cmpd="sng" algn="ctr">
            <a:solidFill>
              <a:srgbClr val="505050"/>
            </a:solidFill>
            <a:prstDash val="sysDot"/>
            <a:headEnd type="triangle" w="med" len="med"/>
            <a:tailEnd type="triangle" w="med" len="med"/>
          </a:ln>
          <a:effectLst/>
        </p:spPr>
      </p:cxnSp>
      <p:sp>
        <p:nvSpPr>
          <p:cNvPr id="712" name="Oval 711"/>
          <p:cNvSpPr/>
          <p:nvPr>
            <p:custDataLst>
              <p:tags r:id="rId1"/>
            </p:custDataLst>
          </p:nvPr>
        </p:nvSpPr>
        <p:spPr bwMode="auto">
          <a:xfrm>
            <a:off x="4822949" y="3878650"/>
            <a:ext cx="1729118" cy="1354635"/>
          </a:xfrm>
          <a:prstGeom prst="ellipse">
            <a:avLst/>
          </a:prstGeom>
          <a:solidFill>
            <a:srgbClr val="969696">
              <a:lumMod val="50000"/>
            </a:srgbClr>
          </a:solidFill>
          <a:ln w="19050" cap="flat" cmpd="sng" algn="ctr">
            <a:solidFill>
              <a:srgbClr val="969696">
                <a:lumMod val="50000"/>
              </a:srgbClr>
            </a:solidFill>
            <a:prstDash val="solid"/>
            <a:headEnd type="none" w="med" len="med"/>
            <a:tailEnd type="none" w="med" len="med"/>
          </a:ln>
          <a:effectLst/>
        </p:spPr>
        <p:txBody>
          <a:bodyPr vert="horz" wrap="square" lIns="109686" tIns="54843" rIns="109686" bIns="54843" numCol="1" rtlCol="0" anchor="ctr" anchorCtr="0" compatLnSpc="1">
            <a:prstTxWarp prst="textNoShape">
              <a:avLst/>
            </a:prstTxWarp>
          </a:bodyPr>
          <a:lstStyle/>
          <a:p>
            <a:pPr marL="0" marR="0" lvl="0" indent="0" algn="ctr" defTabSz="1096653" eaLnBrk="1" fontAlgn="base" latinLnBrk="0" hangingPunct="1">
              <a:lnSpc>
                <a:spcPct val="100000"/>
              </a:lnSpc>
              <a:spcBef>
                <a:spcPct val="0"/>
              </a:spcBef>
              <a:spcAft>
                <a:spcPct val="0"/>
              </a:spcAft>
              <a:buClrTx/>
              <a:buSzTx/>
              <a:buFontTx/>
              <a:buNone/>
              <a:tabLst/>
              <a:defRPr/>
            </a:pPr>
            <a:endParaRPr kumimoji="0" lang="en-US" sz="2699" b="0" i="0" u="none" strike="noStrike" kern="0" cap="none" spc="0" normalizeH="0" baseline="0" noProof="0" dirty="0">
              <a:ln>
                <a:noFill/>
              </a:ln>
              <a:solidFill>
                <a:srgbClr val="505050"/>
              </a:solidFill>
              <a:effectLst/>
              <a:uLnTx/>
              <a:uFillTx/>
            </a:endParaRPr>
          </a:p>
        </p:txBody>
      </p:sp>
      <p:sp>
        <p:nvSpPr>
          <p:cNvPr id="713" name="Rounded Rectangle 2058"/>
          <p:cNvSpPr>
            <a:spLocks noChangeAspect="1"/>
          </p:cNvSpPr>
          <p:nvPr/>
        </p:nvSpPr>
        <p:spPr bwMode="auto">
          <a:xfrm>
            <a:off x="5548330" y="4011577"/>
            <a:ext cx="278352" cy="548342"/>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rgbClr val="EFEFEF"/>
          </a:solidFill>
          <a:ln w="9525" cap="flat" cmpd="sng" algn="ctr">
            <a:noFill/>
            <a:prstDash val="solid"/>
            <a:headEnd type="none" w="med" len="med"/>
            <a:tailEnd type="none" w="med" len="med"/>
          </a:ln>
          <a:effectLst/>
        </p:spPr>
        <p:txBody>
          <a:bodyPr rot="0" spcFirstLastPara="0" vertOverflow="overflow" horzOverflow="overflow" vert="horz" wrap="square" lIns="91407" tIns="45703" rIns="45703" bIns="91407" numCol="1" spcCol="0" rtlCol="0" fromWordArt="0" anchor="b" anchorCtr="0" forceAA="0" compatLnSpc="1">
            <a:prstTxWarp prst="textNoShape">
              <a:avLst/>
            </a:prstTxWarp>
            <a:noAutofit/>
          </a:bodyPr>
          <a:lstStyle/>
          <a:p>
            <a:pPr marL="0" marR="0" lvl="0" indent="0" algn="ctr" defTabSz="913836" eaLnBrk="1" fontAlgn="base" latinLnBrk="0" hangingPunct="1">
              <a:lnSpc>
                <a:spcPct val="100000"/>
              </a:lnSpc>
              <a:spcBef>
                <a:spcPct val="0"/>
              </a:spcBef>
              <a:spcAft>
                <a:spcPct val="0"/>
              </a:spcAft>
              <a:buClrTx/>
              <a:buSzTx/>
              <a:buFontTx/>
              <a:buNone/>
              <a:tabLst/>
              <a:defRPr/>
            </a:pPr>
            <a:endParaRPr kumimoji="0" lang="en-US" sz="1764" b="0" i="0" u="none" strike="noStrike" kern="0" cap="none" spc="-5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714" name="Group 713"/>
          <p:cNvGrpSpPr/>
          <p:nvPr/>
        </p:nvGrpSpPr>
        <p:grpSpPr>
          <a:xfrm>
            <a:off x="2034484" y="3091496"/>
            <a:ext cx="1356867" cy="1047638"/>
            <a:chOff x="2662181" y="2491920"/>
            <a:chExt cx="1384436" cy="1068924"/>
          </a:xfrm>
        </p:grpSpPr>
        <p:pic>
          <p:nvPicPr>
            <p:cNvPr id="715" name="Picture 714"/>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2678756" y="2491920"/>
              <a:ext cx="1367861" cy="1068924"/>
            </a:xfrm>
            <a:prstGeom prst="rect">
              <a:avLst/>
            </a:prstGeom>
            <a:solidFill>
              <a:srgbClr val="969696">
                <a:lumMod val="50000"/>
              </a:srgbClr>
            </a:solidFill>
          </p:spPr>
        </p:pic>
        <p:sp>
          <p:nvSpPr>
            <p:cNvPr id="716" name="Rectangle 715"/>
            <p:cNvSpPr/>
            <p:nvPr/>
          </p:nvSpPr>
          <p:spPr>
            <a:xfrm>
              <a:off x="2662181" y="2895672"/>
              <a:ext cx="1302101" cy="470593"/>
            </a:xfrm>
            <a:prstGeom prst="rect">
              <a:avLst/>
            </a:prstGeom>
            <a:noFill/>
          </p:spPr>
          <p:txBody>
            <a:bodyPr wrap="square">
              <a:spAutoFit/>
            </a:bodyPr>
            <a:lstStyle/>
            <a:p>
              <a:pPr marL="164895" marR="0" lvl="1" indent="0" algn="ctr" defTabSz="914038" eaLnBrk="1" fontAlgn="auto" latinLnBrk="0" hangingPunct="1">
                <a:lnSpc>
                  <a:spcPct val="100000"/>
                </a:lnSpc>
                <a:spcBef>
                  <a:spcPts val="0"/>
                </a:spcBef>
                <a:spcAft>
                  <a:spcPts val="0"/>
                </a:spcAft>
                <a:buClrTx/>
                <a:buSzTx/>
                <a:buFontTx/>
                <a:buNone/>
                <a:tabLst/>
                <a:defRPr/>
              </a:pPr>
              <a:r>
                <a:rPr kumimoji="0" lang="en-US" sz="1175" b="0" i="0" u="none" strike="noStrike" kern="0" cap="none" spc="0" normalizeH="0" baseline="0" noProof="0" dirty="0" smtClean="0">
                  <a:ln>
                    <a:noFill/>
                  </a:ln>
                  <a:solidFill>
                    <a:srgbClr val="EFEFEF"/>
                  </a:solidFill>
                  <a:effectLst/>
                  <a:uLnTx/>
                  <a:uFillTx/>
                  <a:ea typeface="Calibri"/>
                  <a:cs typeface="Arial" pitchFamily="34" charset="0"/>
                </a:rPr>
                <a:t>Single admin</a:t>
              </a:r>
            </a:p>
            <a:p>
              <a:pPr marL="164895" marR="0" lvl="1" indent="0" algn="ctr" defTabSz="914038" eaLnBrk="1" fontAlgn="auto" latinLnBrk="0" hangingPunct="1">
                <a:lnSpc>
                  <a:spcPct val="100000"/>
                </a:lnSpc>
                <a:spcBef>
                  <a:spcPts val="0"/>
                </a:spcBef>
                <a:spcAft>
                  <a:spcPts val="0"/>
                </a:spcAft>
                <a:buClrTx/>
                <a:buSzTx/>
                <a:buFontTx/>
                <a:buNone/>
                <a:tabLst/>
                <a:defRPr/>
              </a:pPr>
              <a:r>
                <a:rPr kumimoji="0" lang="en-US" sz="1175" b="0" i="0" u="none" strike="noStrike" kern="0" cap="none" spc="0" normalizeH="0" baseline="0" noProof="0" dirty="0" smtClean="0">
                  <a:ln>
                    <a:noFill/>
                  </a:ln>
                  <a:solidFill>
                    <a:srgbClr val="EFEFEF"/>
                  </a:solidFill>
                  <a:effectLst/>
                  <a:uLnTx/>
                  <a:uFillTx/>
                  <a:ea typeface="Calibri"/>
                  <a:cs typeface="Arial" pitchFamily="34" charset="0"/>
                </a:rPr>
                <a:t>console</a:t>
              </a:r>
            </a:p>
          </p:txBody>
        </p:sp>
      </p:grpSp>
      <p:cxnSp>
        <p:nvCxnSpPr>
          <p:cNvPr id="717" name="Straight Connector 716"/>
          <p:cNvCxnSpPr/>
          <p:nvPr/>
        </p:nvCxnSpPr>
        <p:spPr>
          <a:xfrm flipV="1">
            <a:off x="6521451" y="3686542"/>
            <a:ext cx="759204" cy="606169"/>
          </a:xfrm>
          <a:prstGeom prst="line">
            <a:avLst/>
          </a:prstGeom>
          <a:noFill/>
          <a:ln w="19050" cap="rnd" cmpd="sng" algn="ctr">
            <a:solidFill>
              <a:srgbClr val="505050"/>
            </a:solidFill>
            <a:prstDash val="sysDot"/>
            <a:headEnd type="triangle" w="med" len="med"/>
            <a:tailEnd type="triangle" w="med" len="med"/>
          </a:ln>
          <a:effectLst/>
        </p:spPr>
      </p:cxnSp>
      <p:cxnSp>
        <p:nvCxnSpPr>
          <p:cNvPr id="718" name="Straight Connector 717"/>
          <p:cNvCxnSpPr/>
          <p:nvPr/>
        </p:nvCxnSpPr>
        <p:spPr>
          <a:xfrm flipH="1" flipV="1">
            <a:off x="5665280" y="2879199"/>
            <a:ext cx="13408" cy="932697"/>
          </a:xfrm>
          <a:prstGeom prst="line">
            <a:avLst/>
          </a:prstGeom>
          <a:noFill/>
          <a:ln w="19050" cap="rnd" cmpd="sng" algn="ctr">
            <a:solidFill>
              <a:srgbClr val="505050"/>
            </a:solidFill>
            <a:prstDash val="sysDot"/>
            <a:headEnd type="triangle" w="med" len="med"/>
            <a:tailEnd type="triangle" w="med" len="med"/>
          </a:ln>
          <a:effectLst/>
        </p:spPr>
      </p:cxnSp>
      <p:cxnSp>
        <p:nvCxnSpPr>
          <p:cNvPr id="719" name="Straight Connector 718"/>
          <p:cNvCxnSpPr/>
          <p:nvPr/>
        </p:nvCxnSpPr>
        <p:spPr>
          <a:xfrm>
            <a:off x="3478617" y="3876665"/>
            <a:ext cx="1330493" cy="358469"/>
          </a:xfrm>
          <a:prstGeom prst="line">
            <a:avLst/>
          </a:prstGeom>
          <a:noFill/>
          <a:ln w="19050" cap="rnd" cmpd="sng" algn="ctr">
            <a:solidFill>
              <a:srgbClr val="505050"/>
            </a:solidFill>
            <a:prstDash val="sysDot"/>
            <a:headEnd type="triangle" w="med" len="med"/>
            <a:tailEnd type="triangle" w="med" len="med"/>
          </a:ln>
          <a:effectLst/>
        </p:spPr>
      </p:cxnSp>
      <p:cxnSp>
        <p:nvCxnSpPr>
          <p:cNvPr id="720" name="Straight Connector 719"/>
          <p:cNvCxnSpPr/>
          <p:nvPr/>
        </p:nvCxnSpPr>
        <p:spPr>
          <a:xfrm>
            <a:off x="6500225" y="2761461"/>
            <a:ext cx="759204" cy="606169"/>
          </a:xfrm>
          <a:prstGeom prst="line">
            <a:avLst/>
          </a:prstGeom>
          <a:noFill/>
          <a:ln w="19050" cap="rnd" cmpd="sng" algn="ctr">
            <a:solidFill>
              <a:srgbClr val="505050"/>
            </a:solidFill>
            <a:prstDash val="sysDot"/>
            <a:headEnd type="triangle" w="med" len="med"/>
            <a:tailEnd type="triangle" w="med" len="med"/>
          </a:ln>
          <a:effectLst/>
        </p:spPr>
      </p:cxnSp>
      <p:sp>
        <p:nvSpPr>
          <p:cNvPr id="721" name="Oval 720"/>
          <p:cNvSpPr/>
          <p:nvPr/>
        </p:nvSpPr>
        <p:spPr bwMode="auto">
          <a:xfrm>
            <a:off x="7410639" y="1622404"/>
            <a:ext cx="2552703" cy="3848327"/>
          </a:xfrm>
          <a:prstGeom prst="ellipse">
            <a:avLst/>
          </a:prstGeom>
          <a:noFill/>
          <a:ln w="57150" cap="flat" cmpd="sng" algn="ctr">
            <a:solidFill>
              <a:srgbClr val="3D5800"/>
            </a:solidFill>
            <a:prstDash val="solid"/>
            <a:headEnd type="none" w="med" len="med"/>
            <a:tailEnd type="none" w="med" len="med"/>
          </a:ln>
          <a:effectLst/>
        </p:spPr>
        <p:txBody>
          <a:bodyPr vert="horz" wrap="square" lIns="76148" tIns="38074" rIns="76148" bIns="38074" numCol="1" rtlCol="0" anchor="ctr" anchorCtr="0" compatLnSpc="1">
            <a:prstTxWarp prst="textNoShape">
              <a:avLst/>
            </a:prstTxWarp>
          </a:bodyPr>
          <a:lstStyle/>
          <a:p>
            <a:pPr marL="0" marR="0" lvl="0" indent="0" algn="ctr" defTabSz="761316" eaLnBrk="1" fontAlgn="base" latinLnBrk="0" hangingPunct="1">
              <a:lnSpc>
                <a:spcPct val="90000"/>
              </a:lnSpc>
              <a:spcBef>
                <a:spcPct val="0"/>
              </a:spcBef>
              <a:spcAft>
                <a:spcPct val="0"/>
              </a:spcAft>
              <a:buClrTx/>
              <a:buSzTx/>
              <a:buFontTx/>
              <a:buNone/>
              <a:tabLst/>
              <a:defRPr/>
            </a:pPr>
            <a:endParaRPr kumimoji="0" lang="en-US" sz="1666" b="0" i="0" u="none" strike="noStrike" kern="0" cap="none" spc="-42" normalizeH="0" baseline="0" noProof="0" dirty="0">
              <a:ln>
                <a:noFill/>
              </a:ln>
              <a:gradFill>
                <a:gsLst>
                  <a:gs pos="0">
                    <a:srgbClr val="FFFFFF"/>
                  </a:gs>
                  <a:gs pos="100000">
                    <a:srgbClr val="FFFFFF"/>
                  </a:gs>
                </a:gsLst>
                <a:lin ang="5400000" scaled="0"/>
              </a:gradFill>
              <a:effectLst/>
              <a:uLnTx/>
              <a:uFillTx/>
            </a:endParaRPr>
          </a:p>
        </p:txBody>
      </p:sp>
      <p:sp>
        <p:nvSpPr>
          <p:cNvPr id="722" name="Freeform 89"/>
          <p:cNvSpPr>
            <a:spLocks noEditPoints="1"/>
          </p:cNvSpPr>
          <p:nvPr/>
        </p:nvSpPr>
        <p:spPr bwMode="black">
          <a:xfrm>
            <a:off x="8241883" y="4717731"/>
            <a:ext cx="890215" cy="572973"/>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3D5800"/>
          </a:solidFill>
          <a:ln>
            <a:noFill/>
          </a:ln>
        </p:spPr>
        <p:txBody>
          <a:bodyPr vert="horz" wrap="square" lIns="68543" tIns="34274" rIns="68543" bIns="34274" numCol="1" anchor="t" anchorCtr="0" compatLnSpc="1">
            <a:prstTxWarp prst="textNoShape">
              <a:avLst/>
            </a:prstTxWarp>
          </a:bodyPr>
          <a:lstStyle/>
          <a:p>
            <a:pPr marL="0" marR="0" lvl="0" indent="0" defTabSz="914100" eaLnBrk="1" fontAlgn="auto" latinLnBrk="0" hangingPunct="1">
              <a:lnSpc>
                <a:spcPct val="100000"/>
              </a:lnSpc>
              <a:spcBef>
                <a:spcPts val="0"/>
              </a:spcBef>
              <a:spcAft>
                <a:spcPts val="0"/>
              </a:spcAft>
              <a:buClrTx/>
              <a:buSzTx/>
              <a:buFontTx/>
              <a:buNone/>
              <a:tabLst/>
              <a:defRPr/>
            </a:pPr>
            <a:endParaRPr kumimoji="0" lang="en-US" sz="1274" b="0" i="0" u="none" strike="noStrike" kern="0" cap="none" spc="0" normalizeH="0" baseline="0" noProof="0" dirty="0">
              <a:ln>
                <a:noFill/>
              </a:ln>
              <a:solidFill>
                <a:srgbClr val="505050"/>
              </a:solidFill>
              <a:effectLst/>
              <a:uLnTx/>
              <a:uFillTx/>
            </a:endParaRPr>
          </a:p>
        </p:txBody>
      </p:sp>
      <p:sp>
        <p:nvSpPr>
          <p:cNvPr id="724" name="Freeform 107"/>
          <p:cNvSpPr>
            <a:spLocks noEditPoints="1"/>
          </p:cNvSpPr>
          <p:nvPr/>
        </p:nvSpPr>
        <p:spPr bwMode="auto">
          <a:xfrm rot="5400000">
            <a:off x="8421139" y="2433229"/>
            <a:ext cx="541171" cy="350766"/>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3D5800"/>
          </a:solidFill>
          <a:extLst/>
        </p:spPr>
        <p:txBody>
          <a:bodyPr vert="horz" wrap="square" lIns="113720" tIns="56859" rIns="113720" bIns="56859" numCol="1" anchor="t" anchorCtr="0" compatLnSpc="1">
            <a:prstTxWarp prst="textNoShape">
              <a:avLst/>
            </a:prstTxWarp>
          </a:bodyPr>
          <a:lstStyle/>
          <a:p>
            <a:pPr marL="0" marR="0" lvl="0" indent="0" defTabSz="896031"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969696"/>
              </a:solidFill>
              <a:effectLst/>
              <a:uLnTx/>
              <a:uFillTx/>
            </a:endParaRPr>
          </a:p>
        </p:txBody>
      </p:sp>
      <p:grpSp>
        <p:nvGrpSpPr>
          <p:cNvPr id="725" name="Group 724"/>
          <p:cNvGrpSpPr/>
          <p:nvPr/>
        </p:nvGrpSpPr>
        <p:grpSpPr>
          <a:xfrm>
            <a:off x="8914349" y="2338027"/>
            <a:ext cx="350766" cy="541171"/>
            <a:chOff x="10693040" y="5386952"/>
            <a:chExt cx="357943" cy="552244"/>
          </a:xfrm>
          <a:solidFill>
            <a:srgbClr val="3D5800"/>
          </a:solidFill>
        </p:grpSpPr>
        <p:pic>
          <p:nvPicPr>
            <p:cNvPr id="726" name="Picture 3" descr="F:\MyPhotos\Logos\Android_B_withBug_060311.png"/>
            <p:cNvPicPr>
              <a:picLocks noChangeAspect="1" noChangeArrowheads="1"/>
            </p:cNvPicPr>
            <p:nvPr/>
          </p:nvPicPr>
          <p:blipFill rotWithShape="1">
            <a:blip r:embed="rId8" cstate="screen">
              <a:biLevel thresh="50000"/>
              <a:extLst>
                <a:ext uri="{28A0092B-C50C-407E-A947-70E740481C1C}">
                  <a14:useLocalDpi xmlns:a14="http://schemas.microsoft.com/office/drawing/2010/main"/>
                </a:ext>
              </a:extLst>
            </a:blip>
            <a:srcRect/>
            <a:stretch/>
          </p:blipFill>
          <p:spPr bwMode="auto">
            <a:xfrm>
              <a:off x="10792136" y="5564981"/>
              <a:ext cx="159750" cy="176809"/>
            </a:xfrm>
            <a:prstGeom prst="rect">
              <a:avLst/>
            </a:prstGeom>
            <a:grpFill/>
            <a:extLst/>
          </p:spPr>
        </p:pic>
        <p:sp>
          <p:nvSpPr>
            <p:cNvPr id="727" name="Freeform 107"/>
            <p:cNvSpPr>
              <a:spLocks noEditPoints="1"/>
            </p:cNvSpPr>
            <p:nvPr/>
          </p:nvSpPr>
          <p:spPr bwMode="auto">
            <a:xfrm rot="5400000">
              <a:off x="10595890" y="5484102"/>
              <a:ext cx="552244" cy="357943"/>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grpFill/>
            <a:extLst/>
          </p:spPr>
          <p:txBody>
            <a:bodyPr vert="horz" wrap="square" lIns="113720" tIns="56859" rIns="113720" bIns="56859" numCol="1" anchor="t" anchorCtr="0" compatLnSpc="1">
              <a:prstTxWarp prst="textNoShape">
                <a:avLst/>
              </a:prstTxWarp>
            </a:bodyPr>
            <a:lstStyle/>
            <a:p>
              <a:pPr marL="0" marR="0" lvl="0" indent="0" defTabSz="896031"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969696"/>
                </a:solidFill>
                <a:effectLst/>
                <a:uLnTx/>
                <a:uFillTx/>
              </a:endParaRPr>
            </a:p>
          </p:txBody>
        </p:sp>
      </p:grpSp>
      <p:sp>
        <p:nvSpPr>
          <p:cNvPr id="729" name="Freeform 6"/>
          <p:cNvSpPr>
            <a:spLocks noChangeAspect="1" noEditPoints="1"/>
          </p:cNvSpPr>
          <p:nvPr/>
        </p:nvSpPr>
        <p:spPr bwMode="auto">
          <a:xfrm>
            <a:off x="8572716" y="1844542"/>
            <a:ext cx="250197" cy="441072"/>
          </a:xfrm>
          <a:custGeom>
            <a:avLst/>
            <a:gdLst>
              <a:gd name="T0" fmla="*/ 761 w 995"/>
              <a:gd name="T1" fmla="*/ 1817 h 1934"/>
              <a:gd name="T2" fmla="*/ 761 w 995"/>
              <a:gd name="T3" fmla="*/ 1782 h 1934"/>
              <a:gd name="T4" fmla="*/ 995 w 995"/>
              <a:gd name="T5" fmla="*/ 179 h 1934"/>
              <a:gd name="T6" fmla="*/ 694 w 995"/>
              <a:gd name="T7" fmla="*/ 1934 h 1934"/>
              <a:gd name="T8" fmla="*/ 0 w 995"/>
              <a:gd name="T9" fmla="*/ 1750 h 1934"/>
              <a:gd name="T10" fmla="*/ 305 w 995"/>
              <a:gd name="T11" fmla="*/ 0 h 1934"/>
              <a:gd name="T12" fmla="*/ 995 w 995"/>
              <a:gd name="T13" fmla="*/ 179 h 1934"/>
              <a:gd name="T14" fmla="*/ 262 w 995"/>
              <a:gd name="T15" fmla="*/ 1800 h 1934"/>
              <a:gd name="T16" fmla="*/ 240 w 995"/>
              <a:gd name="T17" fmla="*/ 1782 h 1934"/>
              <a:gd name="T18" fmla="*/ 210 w 995"/>
              <a:gd name="T19" fmla="*/ 1801 h 1934"/>
              <a:gd name="T20" fmla="*/ 210 w 995"/>
              <a:gd name="T21" fmla="*/ 1807 h 1934"/>
              <a:gd name="T22" fmla="*/ 241 w 995"/>
              <a:gd name="T23" fmla="*/ 1826 h 1934"/>
              <a:gd name="T24" fmla="*/ 262 w 995"/>
              <a:gd name="T25" fmla="*/ 1808 h 1934"/>
              <a:gd name="T26" fmla="*/ 489 w 995"/>
              <a:gd name="T27" fmla="*/ 1835 h 1934"/>
              <a:gd name="T28" fmla="*/ 463 w 995"/>
              <a:gd name="T29" fmla="*/ 1803 h 1934"/>
              <a:gd name="T30" fmla="*/ 454 w 995"/>
              <a:gd name="T31" fmla="*/ 1831 h 1934"/>
              <a:gd name="T32" fmla="*/ 455 w 995"/>
              <a:gd name="T33" fmla="*/ 1832 h 1934"/>
              <a:gd name="T34" fmla="*/ 499 w 995"/>
              <a:gd name="T35" fmla="*/ 1800 h 1934"/>
              <a:gd name="T36" fmla="*/ 473 w 995"/>
              <a:gd name="T37" fmla="*/ 1768 h 1934"/>
              <a:gd name="T38" fmla="*/ 499 w 995"/>
              <a:gd name="T39" fmla="*/ 1800 h 1934"/>
              <a:gd name="T40" fmla="*/ 503 w 995"/>
              <a:gd name="T41" fmla="*/ 1808 h 1934"/>
              <a:gd name="T42" fmla="*/ 529 w 995"/>
              <a:gd name="T43" fmla="*/ 1840 h 1934"/>
              <a:gd name="T44" fmla="*/ 549 w 995"/>
              <a:gd name="T45" fmla="*/ 1776 h 1934"/>
              <a:gd name="T46" fmla="*/ 504 w 995"/>
              <a:gd name="T47" fmla="*/ 1803 h 1934"/>
              <a:gd name="T48" fmla="*/ 549 w 995"/>
              <a:gd name="T49" fmla="*/ 1776 h 1934"/>
              <a:gd name="T50" fmla="*/ 761 w 995"/>
              <a:gd name="T51" fmla="*/ 1772 h 1934"/>
              <a:gd name="T52" fmla="*/ 739 w 995"/>
              <a:gd name="T53" fmla="*/ 1815 h 1934"/>
              <a:gd name="T54" fmla="*/ 731 w 995"/>
              <a:gd name="T55" fmla="*/ 1837 h 1934"/>
              <a:gd name="T56" fmla="*/ 761 w 995"/>
              <a:gd name="T57" fmla="*/ 1826 h 1934"/>
              <a:gd name="T58" fmla="*/ 942 w 995"/>
              <a:gd name="T59" fmla="*/ 339 h 1934"/>
              <a:gd name="T60" fmla="*/ 168 w 995"/>
              <a:gd name="T61" fmla="*/ 224 h 1934"/>
              <a:gd name="T62" fmla="*/ 53 w 995"/>
              <a:gd name="T63" fmla="*/ 1615 h 1934"/>
              <a:gd name="T64" fmla="*/ 827 w 995"/>
              <a:gd name="T65" fmla="*/ 1730 h 1934"/>
              <a:gd name="T66" fmla="*/ 942 w 995"/>
              <a:gd name="T67" fmla="*/ 339 h 19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5" h="1934">
                <a:moveTo>
                  <a:pt x="779" y="1799"/>
                </a:moveTo>
                <a:cubicBezTo>
                  <a:pt x="779" y="1809"/>
                  <a:pt x="771" y="1817"/>
                  <a:pt x="761" y="1817"/>
                </a:cubicBezTo>
                <a:cubicBezTo>
                  <a:pt x="751" y="1817"/>
                  <a:pt x="744" y="1809"/>
                  <a:pt x="744" y="1799"/>
                </a:cubicBezTo>
                <a:cubicBezTo>
                  <a:pt x="744" y="1790"/>
                  <a:pt x="751" y="1782"/>
                  <a:pt x="761" y="1782"/>
                </a:cubicBezTo>
                <a:cubicBezTo>
                  <a:pt x="771" y="1782"/>
                  <a:pt x="779" y="1790"/>
                  <a:pt x="779" y="1799"/>
                </a:cubicBezTo>
                <a:close/>
                <a:moveTo>
                  <a:pt x="995" y="179"/>
                </a:moveTo>
                <a:cubicBezTo>
                  <a:pt x="995" y="1751"/>
                  <a:pt x="995" y="1751"/>
                  <a:pt x="995" y="1751"/>
                </a:cubicBezTo>
                <a:cubicBezTo>
                  <a:pt x="995" y="1887"/>
                  <a:pt x="934" y="1923"/>
                  <a:pt x="694" y="1934"/>
                </a:cubicBezTo>
                <a:cubicBezTo>
                  <a:pt x="302" y="1934"/>
                  <a:pt x="302" y="1934"/>
                  <a:pt x="302" y="1934"/>
                </a:cubicBezTo>
                <a:cubicBezTo>
                  <a:pt x="62" y="1934"/>
                  <a:pt x="0" y="1883"/>
                  <a:pt x="0" y="1750"/>
                </a:cubicBezTo>
                <a:cubicBezTo>
                  <a:pt x="0" y="1632"/>
                  <a:pt x="0" y="1696"/>
                  <a:pt x="0" y="179"/>
                </a:cubicBezTo>
                <a:cubicBezTo>
                  <a:pt x="0" y="94"/>
                  <a:pt x="9" y="0"/>
                  <a:pt x="305" y="0"/>
                </a:cubicBezTo>
                <a:cubicBezTo>
                  <a:pt x="694" y="0"/>
                  <a:pt x="694" y="0"/>
                  <a:pt x="694" y="0"/>
                </a:cubicBezTo>
                <a:cubicBezTo>
                  <a:pt x="929" y="0"/>
                  <a:pt x="995" y="56"/>
                  <a:pt x="995" y="179"/>
                </a:cubicBezTo>
                <a:close/>
                <a:moveTo>
                  <a:pt x="266" y="1804"/>
                </a:moveTo>
                <a:cubicBezTo>
                  <a:pt x="266" y="1802"/>
                  <a:pt x="265" y="1800"/>
                  <a:pt x="262" y="1800"/>
                </a:cubicBezTo>
                <a:cubicBezTo>
                  <a:pt x="223" y="1800"/>
                  <a:pt x="223" y="1800"/>
                  <a:pt x="223" y="1800"/>
                </a:cubicBezTo>
                <a:cubicBezTo>
                  <a:pt x="240" y="1782"/>
                  <a:pt x="240" y="1782"/>
                  <a:pt x="240" y="1782"/>
                </a:cubicBezTo>
                <a:cubicBezTo>
                  <a:pt x="234" y="1776"/>
                  <a:pt x="234" y="1776"/>
                  <a:pt x="234" y="1776"/>
                </a:cubicBezTo>
                <a:cubicBezTo>
                  <a:pt x="210" y="1801"/>
                  <a:pt x="210" y="1801"/>
                  <a:pt x="210" y="1801"/>
                </a:cubicBezTo>
                <a:cubicBezTo>
                  <a:pt x="209" y="1802"/>
                  <a:pt x="208" y="1803"/>
                  <a:pt x="208" y="1804"/>
                </a:cubicBezTo>
                <a:cubicBezTo>
                  <a:pt x="208" y="1805"/>
                  <a:pt x="209" y="1806"/>
                  <a:pt x="210" y="1807"/>
                </a:cubicBezTo>
                <a:cubicBezTo>
                  <a:pt x="235" y="1832"/>
                  <a:pt x="235" y="1832"/>
                  <a:pt x="235" y="1832"/>
                </a:cubicBezTo>
                <a:cubicBezTo>
                  <a:pt x="241" y="1826"/>
                  <a:pt x="241" y="1826"/>
                  <a:pt x="241" y="1826"/>
                </a:cubicBezTo>
                <a:cubicBezTo>
                  <a:pt x="223" y="1808"/>
                  <a:pt x="223" y="1808"/>
                  <a:pt x="223" y="1808"/>
                </a:cubicBezTo>
                <a:cubicBezTo>
                  <a:pt x="262" y="1808"/>
                  <a:pt x="262" y="1808"/>
                  <a:pt x="262" y="1808"/>
                </a:cubicBezTo>
                <a:cubicBezTo>
                  <a:pt x="265" y="1808"/>
                  <a:pt x="266" y="1806"/>
                  <a:pt x="266" y="1804"/>
                </a:cubicBezTo>
                <a:close/>
                <a:moveTo>
                  <a:pt x="489" y="1835"/>
                </a:moveTo>
                <a:cubicBezTo>
                  <a:pt x="498" y="1805"/>
                  <a:pt x="498" y="1805"/>
                  <a:pt x="498" y="1805"/>
                </a:cubicBezTo>
                <a:cubicBezTo>
                  <a:pt x="490" y="1800"/>
                  <a:pt x="481" y="1796"/>
                  <a:pt x="463" y="1803"/>
                </a:cubicBezTo>
                <a:cubicBezTo>
                  <a:pt x="454" y="1831"/>
                  <a:pt x="454" y="1831"/>
                  <a:pt x="454" y="1831"/>
                </a:cubicBezTo>
                <a:cubicBezTo>
                  <a:pt x="454" y="1831"/>
                  <a:pt x="454" y="1831"/>
                  <a:pt x="454" y="1831"/>
                </a:cubicBezTo>
                <a:cubicBezTo>
                  <a:pt x="454" y="1832"/>
                  <a:pt x="454" y="1832"/>
                  <a:pt x="455" y="1832"/>
                </a:cubicBezTo>
                <a:cubicBezTo>
                  <a:pt x="455" y="1832"/>
                  <a:pt x="455" y="1832"/>
                  <a:pt x="455" y="1832"/>
                </a:cubicBezTo>
                <a:cubicBezTo>
                  <a:pt x="472" y="1826"/>
                  <a:pt x="481" y="1830"/>
                  <a:pt x="489" y="1835"/>
                </a:cubicBezTo>
                <a:close/>
                <a:moveTo>
                  <a:pt x="499" y="1800"/>
                </a:moveTo>
                <a:cubicBezTo>
                  <a:pt x="509" y="1770"/>
                  <a:pt x="509" y="1770"/>
                  <a:pt x="509" y="1770"/>
                </a:cubicBezTo>
                <a:cubicBezTo>
                  <a:pt x="501" y="1765"/>
                  <a:pt x="492" y="1761"/>
                  <a:pt x="473" y="1768"/>
                </a:cubicBezTo>
                <a:cubicBezTo>
                  <a:pt x="464" y="1798"/>
                  <a:pt x="464" y="1798"/>
                  <a:pt x="464" y="1798"/>
                </a:cubicBezTo>
                <a:cubicBezTo>
                  <a:pt x="483" y="1791"/>
                  <a:pt x="491" y="1795"/>
                  <a:pt x="499" y="1800"/>
                </a:cubicBezTo>
                <a:close/>
                <a:moveTo>
                  <a:pt x="538" y="1810"/>
                </a:moveTo>
                <a:cubicBezTo>
                  <a:pt x="519" y="1817"/>
                  <a:pt x="511" y="1813"/>
                  <a:pt x="503" y="1808"/>
                </a:cubicBezTo>
                <a:cubicBezTo>
                  <a:pt x="494" y="1838"/>
                  <a:pt x="494" y="1838"/>
                  <a:pt x="494" y="1838"/>
                </a:cubicBezTo>
                <a:cubicBezTo>
                  <a:pt x="502" y="1843"/>
                  <a:pt x="510" y="1847"/>
                  <a:pt x="529" y="1840"/>
                </a:cubicBezTo>
                <a:lnTo>
                  <a:pt x="538" y="1810"/>
                </a:lnTo>
                <a:close/>
                <a:moveTo>
                  <a:pt x="549" y="1776"/>
                </a:moveTo>
                <a:cubicBezTo>
                  <a:pt x="530" y="1783"/>
                  <a:pt x="521" y="1779"/>
                  <a:pt x="513" y="1774"/>
                </a:cubicBezTo>
                <a:cubicBezTo>
                  <a:pt x="504" y="1803"/>
                  <a:pt x="504" y="1803"/>
                  <a:pt x="504" y="1803"/>
                </a:cubicBezTo>
                <a:cubicBezTo>
                  <a:pt x="512" y="1808"/>
                  <a:pt x="521" y="1812"/>
                  <a:pt x="540" y="1805"/>
                </a:cubicBezTo>
                <a:lnTo>
                  <a:pt x="549" y="1776"/>
                </a:lnTo>
                <a:close/>
                <a:moveTo>
                  <a:pt x="788" y="1799"/>
                </a:moveTo>
                <a:cubicBezTo>
                  <a:pt x="788" y="1784"/>
                  <a:pt x="776" y="1772"/>
                  <a:pt x="761" y="1772"/>
                </a:cubicBezTo>
                <a:cubicBezTo>
                  <a:pt x="746" y="1772"/>
                  <a:pt x="734" y="1784"/>
                  <a:pt x="734" y="1799"/>
                </a:cubicBezTo>
                <a:cubicBezTo>
                  <a:pt x="734" y="1805"/>
                  <a:pt x="736" y="1810"/>
                  <a:pt x="739" y="1815"/>
                </a:cubicBezTo>
                <a:cubicBezTo>
                  <a:pt x="724" y="1830"/>
                  <a:pt x="724" y="1830"/>
                  <a:pt x="724" y="1830"/>
                </a:cubicBezTo>
                <a:cubicBezTo>
                  <a:pt x="731" y="1837"/>
                  <a:pt x="731" y="1837"/>
                  <a:pt x="731" y="1837"/>
                </a:cubicBezTo>
                <a:cubicBezTo>
                  <a:pt x="746" y="1821"/>
                  <a:pt x="746" y="1821"/>
                  <a:pt x="746" y="1821"/>
                </a:cubicBezTo>
                <a:cubicBezTo>
                  <a:pt x="750" y="1824"/>
                  <a:pt x="755" y="1826"/>
                  <a:pt x="761" y="1826"/>
                </a:cubicBezTo>
                <a:cubicBezTo>
                  <a:pt x="776" y="1826"/>
                  <a:pt x="788" y="1814"/>
                  <a:pt x="788" y="1799"/>
                </a:cubicBezTo>
                <a:close/>
                <a:moveTo>
                  <a:pt x="942" y="339"/>
                </a:moveTo>
                <a:cubicBezTo>
                  <a:pt x="942" y="275"/>
                  <a:pt x="890" y="224"/>
                  <a:pt x="827" y="224"/>
                </a:cubicBezTo>
                <a:cubicBezTo>
                  <a:pt x="168" y="224"/>
                  <a:pt x="168" y="224"/>
                  <a:pt x="168" y="224"/>
                </a:cubicBezTo>
                <a:cubicBezTo>
                  <a:pt x="105" y="224"/>
                  <a:pt x="53" y="275"/>
                  <a:pt x="53" y="339"/>
                </a:cubicBezTo>
                <a:cubicBezTo>
                  <a:pt x="53" y="1615"/>
                  <a:pt x="53" y="1615"/>
                  <a:pt x="53" y="1615"/>
                </a:cubicBezTo>
                <a:cubicBezTo>
                  <a:pt x="53" y="1679"/>
                  <a:pt x="105" y="1730"/>
                  <a:pt x="168" y="1730"/>
                </a:cubicBezTo>
                <a:cubicBezTo>
                  <a:pt x="827" y="1730"/>
                  <a:pt x="827" y="1730"/>
                  <a:pt x="827" y="1730"/>
                </a:cubicBezTo>
                <a:cubicBezTo>
                  <a:pt x="890" y="1730"/>
                  <a:pt x="942" y="1679"/>
                  <a:pt x="942" y="1615"/>
                </a:cubicBezTo>
                <a:lnTo>
                  <a:pt x="942" y="339"/>
                </a:lnTo>
                <a:close/>
              </a:path>
            </a:pathLst>
          </a:custGeom>
          <a:solidFill>
            <a:srgbClr val="3D5800"/>
          </a:solidFill>
          <a:ln w="10795" cap="flat" cmpd="sng" algn="ctr">
            <a:noFill/>
            <a:prstDash val="solid"/>
            <a:headEnd type="none" w="med" len="med"/>
            <a:tailEnd type="none" w="med" len="med"/>
          </a:ln>
          <a:effectLst/>
          <a:extLst/>
        </p:spPr>
        <p:txBody>
          <a:bodyPr vert="horz" wrap="square" lIns="0" tIns="44801" rIns="89601" bIns="44801" numCol="1" rtlCol="0" anchor="ctr" anchorCtr="0" compatLnSpc="1">
            <a:prstTxWarp prst="textNoShape">
              <a:avLst/>
            </a:prstTxWarp>
          </a:bodyPr>
          <a:lstStyle/>
          <a:p>
            <a:pPr algn="ctr" defTabSz="725936">
              <a:defRPr/>
            </a:pPr>
            <a:endParaRPr lang="en-US" sz="1372" kern="0" spc="-120">
              <a:gradFill>
                <a:gsLst>
                  <a:gs pos="0">
                    <a:srgbClr val="FFFFFF"/>
                  </a:gs>
                  <a:gs pos="100000">
                    <a:srgbClr val="FFFFFF"/>
                  </a:gs>
                </a:gsLst>
                <a:lin ang="5400000" scaled="0"/>
              </a:gradFill>
              <a:latin typeface="Segoe Light" pitchFamily="34" charset="0"/>
            </a:endParaRPr>
          </a:p>
        </p:txBody>
      </p:sp>
      <p:sp>
        <p:nvSpPr>
          <p:cNvPr id="730" name="Freeform 6"/>
          <p:cNvSpPr>
            <a:spLocks noChangeAspect="1" noEditPoints="1"/>
          </p:cNvSpPr>
          <p:nvPr/>
        </p:nvSpPr>
        <p:spPr bwMode="auto">
          <a:xfrm>
            <a:off x="8870908" y="1844542"/>
            <a:ext cx="250197" cy="441072"/>
          </a:xfrm>
          <a:custGeom>
            <a:avLst/>
            <a:gdLst>
              <a:gd name="T0" fmla="*/ 761 w 995"/>
              <a:gd name="T1" fmla="*/ 1817 h 1934"/>
              <a:gd name="T2" fmla="*/ 761 w 995"/>
              <a:gd name="T3" fmla="*/ 1782 h 1934"/>
              <a:gd name="T4" fmla="*/ 995 w 995"/>
              <a:gd name="T5" fmla="*/ 179 h 1934"/>
              <a:gd name="T6" fmla="*/ 694 w 995"/>
              <a:gd name="T7" fmla="*/ 1934 h 1934"/>
              <a:gd name="T8" fmla="*/ 0 w 995"/>
              <a:gd name="T9" fmla="*/ 1750 h 1934"/>
              <a:gd name="T10" fmla="*/ 305 w 995"/>
              <a:gd name="T11" fmla="*/ 0 h 1934"/>
              <a:gd name="T12" fmla="*/ 995 w 995"/>
              <a:gd name="T13" fmla="*/ 179 h 1934"/>
              <a:gd name="T14" fmla="*/ 262 w 995"/>
              <a:gd name="T15" fmla="*/ 1800 h 1934"/>
              <a:gd name="T16" fmla="*/ 240 w 995"/>
              <a:gd name="T17" fmla="*/ 1782 h 1934"/>
              <a:gd name="T18" fmla="*/ 210 w 995"/>
              <a:gd name="T19" fmla="*/ 1801 h 1934"/>
              <a:gd name="T20" fmla="*/ 210 w 995"/>
              <a:gd name="T21" fmla="*/ 1807 h 1934"/>
              <a:gd name="T22" fmla="*/ 241 w 995"/>
              <a:gd name="T23" fmla="*/ 1826 h 1934"/>
              <a:gd name="T24" fmla="*/ 262 w 995"/>
              <a:gd name="T25" fmla="*/ 1808 h 1934"/>
              <a:gd name="T26" fmla="*/ 489 w 995"/>
              <a:gd name="T27" fmla="*/ 1835 h 1934"/>
              <a:gd name="T28" fmla="*/ 463 w 995"/>
              <a:gd name="T29" fmla="*/ 1803 h 1934"/>
              <a:gd name="T30" fmla="*/ 454 w 995"/>
              <a:gd name="T31" fmla="*/ 1831 h 1934"/>
              <a:gd name="T32" fmla="*/ 455 w 995"/>
              <a:gd name="T33" fmla="*/ 1832 h 1934"/>
              <a:gd name="T34" fmla="*/ 499 w 995"/>
              <a:gd name="T35" fmla="*/ 1800 h 1934"/>
              <a:gd name="T36" fmla="*/ 473 w 995"/>
              <a:gd name="T37" fmla="*/ 1768 h 1934"/>
              <a:gd name="T38" fmla="*/ 499 w 995"/>
              <a:gd name="T39" fmla="*/ 1800 h 1934"/>
              <a:gd name="T40" fmla="*/ 503 w 995"/>
              <a:gd name="T41" fmla="*/ 1808 h 1934"/>
              <a:gd name="T42" fmla="*/ 529 w 995"/>
              <a:gd name="T43" fmla="*/ 1840 h 1934"/>
              <a:gd name="T44" fmla="*/ 549 w 995"/>
              <a:gd name="T45" fmla="*/ 1776 h 1934"/>
              <a:gd name="T46" fmla="*/ 504 w 995"/>
              <a:gd name="T47" fmla="*/ 1803 h 1934"/>
              <a:gd name="T48" fmla="*/ 549 w 995"/>
              <a:gd name="T49" fmla="*/ 1776 h 1934"/>
              <a:gd name="T50" fmla="*/ 761 w 995"/>
              <a:gd name="T51" fmla="*/ 1772 h 1934"/>
              <a:gd name="T52" fmla="*/ 739 w 995"/>
              <a:gd name="T53" fmla="*/ 1815 h 1934"/>
              <a:gd name="T54" fmla="*/ 731 w 995"/>
              <a:gd name="T55" fmla="*/ 1837 h 1934"/>
              <a:gd name="T56" fmla="*/ 761 w 995"/>
              <a:gd name="T57" fmla="*/ 1826 h 1934"/>
              <a:gd name="T58" fmla="*/ 942 w 995"/>
              <a:gd name="T59" fmla="*/ 339 h 1934"/>
              <a:gd name="T60" fmla="*/ 168 w 995"/>
              <a:gd name="T61" fmla="*/ 224 h 1934"/>
              <a:gd name="T62" fmla="*/ 53 w 995"/>
              <a:gd name="T63" fmla="*/ 1615 h 1934"/>
              <a:gd name="T64" fmla="*/ 827 w 995"/>
              <a:gd name="T65" fmla="*/ 1730 h 1934"/>
              <a:gd name="T66" fmla="*/ 942 w 995"/>
              <a:gd name="T67" fmla="*/ 339 h 19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5" h="1934">
                <a:moveTo>
                  <a:pt x="779" y="1799"/>
                </a:moveTo>
                <a:cubicBezTo>
                  <a:pt x="779" y="1809"/>
                  <a:pt x="771" y="1817"/>
                  <a:pt x="761" y="1817"/>
                </a:cubicBezTo>
                <a:cubicBezTo>
                  <a:pt x="751" y="1817"/>
                  <a:pt x="744" y="1809"/>
                  <a:pt x="744" y="1799"/>
                </a:cubicBezTo>
                <a:cubicBezTo>
                  <a:pt x="744" y="1790"/>
                  <a:pt x="751" y="1782"/>
                  <a:pt x="761" y="1782"/>
                </a:cubicBezTo>
                <a:cubicBezTo>
                  <a:pt x="771" y="1782"/>
                  <a:pt x="779" y="1790"/>
                  <a:pt x="779" y="1799"/>
                </a:cubicBezTo>
                <a:close/>
                <a:moveTo>
                  <a:pt x="995" y="179"/>
                </a:moveTo>
                <a:cubicBezTo>
                  <a:pt x="995" y="1751"/>
                  <a:pt x="995" y="1751"/>
                  <a:pt x="995" y="1751"/>
                </a:cubicBezTo>
                <a:cubicBezTo>
                  <a:pt x="995" y="1887"/>
                  <a:pt x="934" y="1923"/>
                  <a:pt x="694" y="1934"/>
                </a:cubicBezTo>
                <a:cubicBezTo>
                  <a:pt x="302" y="1934"/>
                  <a:pt x="302" y="1934"/>
                  <a:pt x="302" y="1934"/>
                </a:cubicBezTo>
                <a:cubicBezTo>
                  <a:pt x="62" y="1934"/>
                  <a:pt x="0" y="1883"/>
                  <a:pt x="0" y="1750"/>
                </a:cubicBezTo>
                <a:cubicBezTo>
                  <a:pt x="0" y="1632"/>
                  <a:pt x="0" y="1696"/>
                  <a:pt x="0" y="179"/>
                </a:cubicBezTo>
                <a:cubicBezTo>
                  <a:pt x="0" y="94"/>
                  <a:pt x="9" y="0"/>
                  <a:pt x="305" y="0"/>
                </a:cubicBezTo>
                <a:cubicBezTo>
                  <a:pt x="694" y="0"/>
                  <a:pt x="694" y="0"/>
                  <a:pt x="694" y="0"/>
                </a:cubicBezTo>
                <a:cubicBezTo>
                  <a:pt x="929" y="0"/>
                  <a:pt x="995" y="56"/>
                  <a:pt x="995" y="179"/>
                </a:cubicBezTo>
                <a:close/>
                <a:moveTo>
                  <a:pt x="266" y="1804"/>
                </a:moveTo>
                <a:cubicBezTo>
                  <a:pt x="266" y="1802"/>
                  <a:pt x="265" y="1800"/>
                  <a:pt x="262" y="1800"/>
                </a:cubicBezTo>
                <a:cubicBezTo>
                  <a:pt x="223" y="1800"/>
                  <a:pt x="223" y="1800"/>
                  <a:pt x="223" y="1800"/>
                </a:cubicBezTo>
                <a:cubicBezTo>
                  <a:pt x="240" y="1782"/>
                  <a:pt x="240" y="1782"/>
                  <a:pt x="240" y="1782"/>
                </a:cubicBezTo>
                <a:cubicBezTo>
                  <a:pt x="234" y="1776"/>
                  <a:pt x="234" y="1776"/>
                  <a:pt x="234" y="1776"/>
                </a:cubicBezTo>
                <a:cubicBezTo>
                  <a:pt x="210" y="1801"/>
                  <a:pt x="210" y="1801"/>
                  <a:pt x="210" y="1801"/>
                </a:cubicBezTo>
                <a:cubicBezTo>
                  <a:pt x="209" y="1802"/>
                  <a:pt x="208" y="1803"/>
                  <a:pt x="208" y="1804"/>
                </a:cubicBezTo>
                <a:cubicBezTo>
                  <a:pt x="208" y="1805"/>
                  <a:pt x="209" y="1806"/>
                  <a:pt x="210" y="1807"/>
                </a:cubicBezTo>
                <a:cubicBezTo>
                  <a:pt x="235" y="1832"/>
                  <a:pt x="235" y="1832"/>
                  <a:pt x="235" y="1832"/>
                </a:cubicBezTo>
                <a:cubicBezTo>
                  <a:pt x="241" y="1826"/>
                  <a:pt x="241" y="1826"/>
                  <a:pt x="241" y="1826"/>
                </a:cubicBezTo>
                <a:cubicBezTo>
                  <a:pt x="223" y="1808"/>
                  <a:pt x="223" y="1808"/>
                  <a:pt x="223" y="1808"/>
                </a:cubicBezTo>
                <a:cubicBezTo>
                  <a:pt x="262" y="1808"/>
                  <a:pt x="262" y="1808"/>
                  <a:pt x="262" y="1808"/>
                </a:cubicBezTo>
                <a:cubicBezTo>
                  <a:pt x="265" y="1808"/>
                  <a:pt x="266" y="1806"/>
                  <a:pt x="266" y="1804"/>
                </a:cubicBezTo>
                <a:close/>
                <a:moveTo>
                  <a:pt x="489" y="1835"/>
                </a:moveTo>
                <a:cubicBezTo>
                  <a:pt x="498" y="1805"/>
                  <a:pt x="498" y="1805"/>
                  <a:pt x="498" y="1805"/>
                </a:cubicBezTo>
                <a:cubicBezTo>
                  <a:pt x="490" y="1800"/>
                  <a:pt x="481" y="1796"/>
                  <a:pt x="463" y="1803"/>
                </a:cubicBezTo>
                <a:cubicBezTo>
                  <a:pt x="454" y="1831"/>
                  <a:pt x="454" y="1831"/>
                  <a:pt x="454" y="1831"/>
                </a:cubicBezTo>
                <a:cubicBezTo>
                  <a:pt x="454" y="1831"/>
                  <a:pt x="454" y="1831"/>
                  <a:pt x="454" y="1831"/>
                </a:cubicBezTo>
                <a:cubicBezTo>
                  <a:pt x="454" y="1832"/>
                  <a:pt x="454" y="1832"/>
                  <a:pt x="455" y="1832"/>
                </a:cubicBezTo>
                <a:cubicBezTo>
                  <a:pt x="455" y="1832"/>
                  <a:pt x="455" y="1832"/>
                  <a:pt x="455" y="1832"/>
                </a:cubicBezTo>
                <a:cubicBezTo>
                  <a:pt x="472" y="1826"/>
                  <a:pt x="481" y="1830"/>
                  <a:pt x="489" y="1835"/>
                </a:cubicBezTo>
                <a:close/>
                <a:moveTo>
                  <a:pt x="499" y="1800"/>
                </a:moveTo>
                <a:cubicBezTo>
                  <a:pt x="509" y="1770"/>
                  <a:pt x="509" y="1770"/>
                  <a:pt x="509" y="1770"/>
                </a:cubicBezTo>
                <a:cubicBezTo>
                  <a:pt x="501" y="1765"/>
                  <a:pt x="492" y="1761"/>
                  <a:pt x="473" y="1768"/>
                </a:cubicBezTo>
                <a:cubicBezTo>
                  <a:pt x="464" y="1798"/>
                  <a:pt x="464" y="1798"/>
                  <a:pt x="464" y="1798"/>
                </a:cubicBezTo>
                <a:cubicBezTo>
                  <a:pt x="483" y="1791"/>
                  <a:pt x="491" y="1795"/>
                  <a:pt x="499" y="1800"/>
                </a:cubicBezTo>
                <a:close/>
                <a:moveTo>
                  <a:pt x="538" y="1810"/>
                </a:moveTo>
                <a:cubicBezTo>
                  <a:pt x="519" y="1817"/>
                  <a:pt x="511" y="1813"/>
                  <a:pt x="503" y="1808"/>
                </a:cubicBezTo>
                <a:cubicBezTo>
                  <a:pt x="494" y="1838"/>
                  <a:pt x="494" y="1838"/>
                  <a:pt x="494" y="1838"/>
                </a:cubicBezTo>
                <a:cubicBezTo>
                  <a:pt x="502" y="1843"/>
                  <a:pt x="510" y="1847"/>
                  <a:pt x="529" y="1840"/>
                </a:cubicBezTo>
                <a:lnTo>
                  <a:pt x="538" y="1810"/>
                </a:lnTo>
                <a:close/>
                <a:moveTo>
                  <a:pt x="549" y="1776"/>
                </a:moveTo>
                <a:cubicBezTo>
                  <a:pt x="530" y="1783"/>
                  <a:pt x="521" y="1779"/>
                  <a:pt x="513" y="1774"/>
                </a:cubicBezTo>
                <a:cubicBezTo>
                  <a:pt x="504" y="1803"/>
                  <a:pt x="504" y="1803"/>
                  <a:pt x="504" y="1803"/>
                </a:cubicBezTo>
                <a:cubicBezTo>
                  <a:pt x="512" y="1808"/>
                  <a:pt x="521" y="1812"/>
                  <a:pt x="540" y="1805"/>
                </a:cubicBezTo>
                <a:lnTo>
                  <a:pt x="549" y="1776"/>
                </a:lnTo>
                <a:close/>
                <a:moveTo>
                  <a:pt x="788" y="1799"/>
                </a:moveTo>
                <a:cubicBezTo>
                  <a:pt x="788" y="1784"/>
                  <a:pt x="776" y="1772"/>
                  <a:pt x="761" y="1772"/>
                </a:cubicBezTo>
                <a:cubicBezTo>
                  <a:pt x="746" y="1772"/>
                  <a:pt x="734" y="1784"/>
                  <a:pt x="734" y="1799"/>
                </a:cubicBezTo>
                <a:cubicBezTo>
                  <a:pt x="734" y="1805"/>
                  <a:pt x="736" y="1810"/>
                  <a:pt x="739" y="1815"/>
                </a:cubicBezTo>
                <a:cubicBezTo>
                  <a:pt x="724" y="1830"/>
                  <a:pt x="724" y="1830"/>
                  <a:pt x="724" y="1830"/>
                </a:cubicBezTo>
                <a:cubicBezTo>
                  <a:pt x="731" y="1837"/>
                  <a:pt x="731" y="1837"/>
                  <a:pt x="731" y="1837"/>
                </a:cubicBezTo>
                <a:cubicBezTo>
                  <a:pt x="746" y="1821"/>
                  <a:pt x="746" y="1821"/>
                  <a:pt x="746" y="1821"/>
                </a:cubicBezTo>
                <a:cubicBezTo>
                  <a:pt x="750" y="1824"/>
                  <a:pt x="755" y="1826"/>
                  <a:pt x="761" y="1826"/>
                </a:cubicBezTo>
                <a:cubicBezTo>
                  <a:pt x="776" y="1826"/>
                  <a:pt x="788" y="1814"/>
                  <a:pt x="788" y="1799"/>
                </a:cubicBezTo>
                <a:close/>
                <a:moveTo>
                  <a:pt x="942" y="339"/>
                </a:moveTo>
                <a:cubicBezTo>
                  <a:pt x="942" y="275"/>
                  <a:pt x="890" y="224"/>
                  <a:pt x="827" y="224"/>
                </a:cubicBezTo>
                <a:cubicBezTo>
                  <a:pt x="168" y="224"/>
                  <a:pt x="168" y="224"/>
                  <a:pt x="168" y="224"/>
                </a:cubicBezTo>
                <a:cubicBezTo>
                  <a:pt x="105" y="224"/>
                  <a:pt x="53" y="275"/>
                  <a:pt x="53" y="339"/>
                </a:cubicBezTo>
                <a:cubicBezTo>
                  <a:pt x="53" y="1615"/>
                  <a:pt x="53" y="1615"/>
                  <a:pt x="53" y="1615"/>
                </a:cubicBezTo>
                <a:cubicBezTo>
                  <a:pt x="53" y="1679"/>
                  <a:pt x="105" y="1730"/>
                  <a:pt x="168" y="1730"/>
                </a:cubicBezTo>
                <a:cubicBezTo>
                  <a:pt x="827" y="1730"/>
                  <a:pt x="827" y="1730"/>
                  <a:pt x="827" y="1730"/>
                </a:cubicBezTo>
                <a:cubicBezTo>
                  <a:pt x="890" y="1730"/>
                  <a:pt x="942" y="1679"/>
                  <a:pt x="942" y="1615"/>
                </a:cubicBezTo>
                <a:lnTo>
                  <a:pt x="942" y="339"/>
                </a:lnTo>
                <a:close/>
              </a:path>
            </a:pathLst>
          </a:custGeom>
          <a:solidFill>
            <a:srgbClr val="3D5800"/>
          </a:solidFill>
          <a:ln w="10795" cap="flat" cmpd="sng" algn="ctr">
            <a:noFill/>
            <a:prstDash val="solid"/>
            <a:headEnd type="none" w="med" len="med"/>
            <a:tailEnd type="none" w="med" len="med"/>
          </a:ln>
          <a:effectLst/>
          <a:extLst/>
        </p:spPr>
        <p:txBody>
          <a:bodyPr vert="horz" wrap="square" lIns="0" tIns="44801" rIns="89601" bIns="44801" numCol="1" rtlCol="0" anchor="ctr" anchorCtr="0" compatLnSpc="1">
            <a:prstTxWarp prst="textNoShape">
              <a:avLst/>
            </a:prstTxWarp>
          </a:bodyPr>
          <a:lstStyle/>
          <a:p>
            <a:pPr algn="ctr" defTabSz="725936">
              <a:defRPr/>
            </a:pPr>
            <a:endParaRPr lang="en-US" sz="1372" kern="0" spc="-120">
              <a:gradFill>
                <a:gsLst>
                  <a:gs pos="0">
                    <a:srgbClr val="FFFFFF"/>
                  </a:gs>
                  <a:gs pos="100000">
                    <a:srgbClr val="FFFFFF"/>
                  </a:gs>
                </a:gsLst>
                <a:lin ang="5400000" scaled="0"/>
              </a:gradFill>
              <a:latin typeface="Segoe Light" pitchFamily="34" charset="0"/>
            </a:endParaRPr>
          </a:p>
        </p:txBody>
      </p:sp>
      <p:pic>
        <p:nvPicPr>
          <p:cNvPr id="731" name="Picture 3" descr="F:\MyPhotos\Logos\Android_B_withBug_060311.png"/>
          <p:cNvPicPr>
            <a:picLocks noChangeAspect="1" noChangeArrowheads="1"/>
          </p:cNvPicPr>
          <p:nvPr/>
        </p:nvPicPr>
        <p:blipFill rotWithShape="1">
          <a:blip r:embed="rId8" cstate="screen">
            <a:biLevel thresh="50000"/>
            <a:extLst>
              <a:ext uri="{28A0092B-C50C-407E-A947-70E740481C1C}">
                <a14:useLocalDpi xmlns:a14="http://schemas.microsoft.com/office/drawing/2010/main"/>
              </a:ext>
            </a:extLst>
          </a:blip>
          <a:srcRect/>
          <a:stretch/>
        </p:blipFill>
        <p:spPr bwMode="auto">
          <a:xfrm>
            <a:off x="8914349" y="1988460"/>
            <a:ext cx="156547" cy="173264"/>
          </a:xfrm>
          <a:prstGeom prst="rect">
            <a:avLst/>
          </a:prstGeom>
          <a:solidFill>
            <a:srgbClr val="3D5800"/>
          </a:solidFill>
          <a:extLst/>
        </p:spPr>
      </p:pic>
      <p:grpSp>
        <p:nvGrpSpPr>
          <p:cNvPr id="732" name="Group 731"/>
          <p:cNvGrpSpPr/>
          <p:nvPr/>
        </p:nvGrpSpPr>
        <p:grpSpPr>
          <a:xfrm>
            <a:off x="7665794" y="4078022"/>
            <a:ext cx="752567" cy="586386"/>
            <a:chOff x="10242275" y="-961788"/>
            <a:chExt cx="780141" cy="619510"/>
          </a:xfrm>
          <a:solidFill>
            <a:srgbClr val="3D5800"/>
          </a:solidFill>
        </p:grpSpPr>
        <p:sp>
          <p:nvSpPr>
            <p:cNvPr id="733" name="Freeform 7"/>
            <p:cNvSpPr>
              <a:spLocks noChangeAspect="1" noEditPoints="1"/>
            </p:cNvSpPr>
            <p:nvPr/>
          </p:nvSpPr>
          <p:spPr bwMode="auto">
            <a:xfrm>
              <a:off x="10242275" y="-961788"/>
              <a:ext cx="780141" cy="619510"/>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grpFill/>
            <a:ln w="25400" cap="flat" cmpd="sng" algn="ctr">
              <a:noFill/>
              <a:prstDash val="solid"/>
              <a:headEnd type="none" w="med" len="med"/>
              <a:tailEnd type="none" w="med" len="med"/>
            </a:ln>
            <a:effectLst/>
          </p:spPr>
          <p:txBody>
            <a:bodyPr vert="horz" wrap="square" lIns="113715" tIns="56857" rIns="113715" bIns="56857" numCol="1" rtlCol="0" anchor="ctr" anchorCtr="0" compatLnSpc="1">
              <a:prstTxWarp prst="textNoShape">
                <a:avLst/>
              </a:prstTxWarp>
            </a:bodyPr>
            <a:lstStyle/>
            <a:p>
              <a:pPr defTabSz="1023429">
                <a:defRPr/>
              </a:pPr>
              <a:endParaRPr lang="en-US" sz="2744" kern="0" spc="-168">
                <a:solidFill>
                  <a:srgbClr val="969696"/>
                </a:solidFill>
                <a:latin typeface="Segoe Light" pitchFamily="34" charset="0"/>
              </a:endParaRPr>
            </a:p>
          </p:txBody>
        </p:sp>
        <p:pic>
          <p:nvPicPr>
            <p:cNvPr id="734" name="Picture 6" descr="http://www.kizel.com/http:/www.kizel.com/wp-content/img/2010/03/Apple-Logo.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548445" y="-786622"/>
              <a:ext cx="167800" cy="167800"/>
            </a:xfrm>
            <a:prstGeom prst="rect">
              <a:avLst/>
            </a:prstGeom>
            <a:grpFill/>
            <a:extLst/>
          </p:spPr>
        </p:pic>
      </p:grpSp>
      <p:sp>
        <p:nvSpPr>
          <p:cNvPr id="735" name="Rounded Rectangle 2058"/>
          <p:cNvSpPr>
            <a:spLocks noChangeAspect="1"/>
          </p:cNvSpPr>
          <p:nvPr/>
        </p:nvSpPr>
        <p:spPr bwMode="auto">
          <a:xfrm>
            <a:off x="8742103" y="4063003"/>
            <a:ext cx="278352" cy="548342"/>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rgbClr val="3D5800"/>
          </a:solidFill>
          <a:ln w="9525" cap="flat" cmpd="sng" algn="ctr">
            <a:noFill/>
            <a:prstDash val="solid"/>
            <a:headEnd type="none" w="med" len="med"/>
            <a:tailEnd type="none" w="med" len="med"/>
          </a:ln>
          <a:effectLst/>
        </p:spPr>
        <p:txBody>
          <a:bodyPr rot="0" spcFirstLastPara="0" vertOverflow="overflow" horzOverflow="overflow" vert="horz" wrap="square" lIns="91407" tIns="45703" rIns="45703" bIns="91407" numCol="1" spcCol="0" rtlCol="0" fromWordArt="0" anchor="b" anchorCtr="0" forceAA="0" compatLnSpc="1">
            <a:prstTxWarp prst="textNoShape">
              <a:avLst/>
            </a:prstTxWarp>
            <a:noAutofit/>
          </a:bodyPr>
          <a:lstStyle/>
          <a:p>
            <a:pPr algn="ctr" defTabSz="913836" fontAlgn="base">
              <a:spcBef>
                <a:spcPct val="0"/>
              </a:spcBef>
              <a:spcAft>
                <a:spcPct val="0"/>
              </a:spcAft>
              <a:defRPr/>
            </a:pPr>
            <a:endParaRPr lang="en-US" sz="1764"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736" name="Rounded Rectangle 2060"/>
          <p:cNvSpPr/>
          <p:nvPr/>
        </p:nvSpPr>
        <p:spPr bwMode="auto">
          <a:xfrm>
            <a:off x="9073597" y="4063002"/>
            <a:ext cx="567395" cy="550971"/>
          </a:xfrm>
          <a:custGeom>
            <a:avLst/>
            <a:gdLst/>
            <a:ahLst/>
            <a:cxnLst/>
            <a:rect l="l" t="t" r="r" b="b"/>
            <a:pathLst>
              <a:path w="542456" h="526753">
                <a:moveTo>
                  <a:pt x="45804" y="47263"/>
                </a:moveTo>
                <a:lnTo>
                  <a:pt x="45804" y="392812"/>
                </a:lnTo>
                <a:lnTo>
                  <a:pt x="496653" y="392812"/>
                </a:lnTo>
                <a:lnTo>
                  <a:pt x="496653" y="47263"/>
                </a:lnTo>
                <a:close/>
                <a:moveTo>
                  <a:pt x="35310" y="0"/>
                </a:moveTo>
                <a:lnTo>
                  <a:pt x="507146" y="0"/>
                </a:lnTo>
                <a:cubicBezTo>
                  <a:pt x="526647" y="0"/>
                  <a:pt x="542456" y="15809"/>
                  <a:pt x="542456" y="35310"/>
                </a:cubicBezTo>
                <a:lnTo>
                  <a:pt x="542456" y="405128"/>
                </a:lnTo>
                <a:cubicBezTo>
                  <a:pt x="542456" y="424629"/>
                  <a:pt x="526647" y="440438"/>
                  <a:pt x="507146" y="440438"/>
                </a:cubicBezTo>
                <a:lnTo>
                  <a:pt x="325203" y="440438"/>
                </a:lnTo>
                <a:lnTo>
                  <a:pt x="325203" y="485340"/>
                </a:lnTo>
                <a:cubicBezTo>
                  <a:pt x="383488" y="490959"/>
                  <a:pt x="432800" y="506124"/>
                  <a:pt x="463161" y="526753"/>
                </a:cubicBezTo>
                <a:lnTo>
                  <a:pt x="79298" y="526753"/>
                </a:lnTo>
                <a:cubicBezTo>
                  <a:pt x="109659" y="506125"/>
                  <a:pt x="158970" y="490959"/>
                  <a:pt x="217253" y="485341"/>
                </a:cubicBezTo>
                <a:lnTo>
                  <a:pt x="217253" y="440438"/>
                </a:lnTo>
                <a:lnTo>
                  <a:pt x="35310" y="440438"/>
                </a:lnTo>
                <a:cubicBezTo>
                  <a:pt x="15809" y="440438"/>
                  <a:pt x="0" y="424629"/>
                  <a:pt x="0" y="405128"/>
                </a:cubicBezTo>
                <a:lnTo>
                  <a:pt x="0" y="35310"/>
                </a:lnTo>
                <a:cubicBezTo>
                  <a:pt x="0" y="15809"/>
                  <a:pt x="15809" y="0"/>
                  <a:pt x="35310" y="0"/>
                </a:cubicBezTo>
                <a:close/>
              </a:path>
            </a:pathLst>
          </a:custGeom>
          <a:solidFill>
            <a:srgbClr val="3D5800"/>
          </a:solidFill>
          <a:ln w="9525" cap="flat" cmpd="sng" algn="ctr">
            <a:noFill/>
            <a:prstDash val="solid"/>
            <a:headEnd type="none" w="med" len="med"/>
            <a:tailEnd type="none" w="med" len="med"/>
          </a:ln>
          <a:effectLst/>
        </p:spPr>
        <p:txBody>
          <a:bodyPr rot="0" spcFirstLastPara="0" vertOverflow="overflow" horzOverflow="overflow" vert="horz" wrap="square" lIns="89606" tIns="44803" rIns="44803" bIns="89606" numCol="1" spcCol="0" rtlCol="0" fromWordArt="0" anchor="b" anchorCtr="0" forceAA="0" compatLnSpc="1">
            <a:prstTxWarp prst="textNoShape">
              <a:avLst/>
            </a:prstTxWarp>
            <a:noAutofit/>
          </a:bodyPr>
          <a:lstStyle/>
          <a:p>
            <a:pPr algn="ctr" defTabSz="895736" fontAlgn="base">
              <a:spcBef>
                <a:spcPct val="0"/>
              </a:spcBef>
              <a:spcAft>
                <a:spcPct val="0"/>
              </a:spcAft>
              <a:defRPr/>
            </a:pPr>
            <a:endParaRPr lang="en-US" sz="1764" kern="0" spc="-49" dirty="0" err="1">
              <a:solidFill>
                <a:srgbClr val="FFFFFF"/>
              </a:solidFill>
              <a:ea typeface="Segoe UI" pitchFamily="34" charset="0"/>
              <a:cs typeface="Segoe UI" pitchFamily="34" charset="0"/>
            </a:endParaRPr>
          </a:p>
        </p:txBody>
      </p:sp>
      <p:sp>
        <p:nvSpPr>
          <p:cNvPr id="737" name="Rectangle 736"/>
          <p:cNvSpPr/>
          <p:nvPr>
            <p:custDataLst>
              <p:tags r:id="rId2"/>
            </p:custDataLst>
          </p:nvPr>
        </p:nvSpPr>
        <p:spPr bwMode="auto">
          <a:xfrm>
            <a:off x="9088889" y="5507765"/>
            <a:ext cx="1935223" cy="651559"/>
          </a:xfrm>
          <a:prstGeom prst="rect">
            <a:avLst/>
          </a:prstGeom>
        </p:spPr>
        <p:txBody>
          <a:bodyPr vert="horz" wrap="square" lIns="0" tIns="0" rIns="0" bIns="0" rtlCol="0">
            <a:spAutoFit/>
          </a:bodyPr>
          <a:lstStyle/>
          <a:p>
            <a:pPr defTabSz="914363">
              <a:lnSpc>
                <a:spcPct val="90000"/>
              </a:lnSpc>
              <a:spcAft>
                <a:spcPts val="882"/>
              </a:spcAft>
              <a:buSzPct val="90000"/>
            </a:pPr>
            <a:r>
              <a:rPr lang="en-US" sz="1568" dirty="0">
                <a:solidFill>
                  <a:srgbClr val="969696">
                    <a:lumMod val="50000"/>
                  </a:srgbClr>
                </a:solidFill>
                <a:ea typeface="Segoe UI" pitchFamily="34" charset="0"/>
                <a:cs typeface="Segoe UI" pitchFamily="34" charset="0"/>
              </a:rPr>
              <a:t>IT can manage the device and application lifecycle</a:t>
            </a:r>
          </a:p>
        </p:txBody>
      </p:sp>
      <p:sp>
        <p:nvSpPr>
          <p:cNvPr id="738" name="Rectangle 737"/>
          <p:cNvSpPr/>
          <p:nvPr>
            <p:custDataLst>
              <p:tags r:id="rId3"/>
            </p:custDataLst>
          </p:nvPr>
        </p:nvSpPr>
        <p:spPr bwMode="auto">
          <a:xfrm>
            <a:off x="1395788" y="5507765"/>
            <a:ext cx="2637114" cy="651559"/>
          </a:xfrm>
          <a:prstGeom prst="rect">
            <a:avLst/>
          </a:prstGeom>
        </p:spPr>
        <p:txBody>
          <a:bodyPr vert="horz" wrap="square" lIns="0" tIns="0" rIns="0" bIns="0" rtlCol="0">
            <a:spAutoFit/>
          </a:bodyPr>
          <a:lstStyle/>
          <a:p>
            <a:pPr defTabSz="914363">
              <a:lnSpc>
                <a:spcPct val="90000"/>
              </a:lnSpc>
              <a:spcAft>
                <a:spcPts val="882"/>
              </a:spcAft>
              <a:buSzPct val="90000"/>
            </a:pPr>
            <a:r>
              <a:rPr lang="en-US" sz="1568" dirty="0">
                <a:solidFill>
                  <a:srgbClr val="969696">
                    <a:lumMod val="50000"/>
                  </a:srgbClr>
                </a:solidFill>
                <a:ea typeface="Segoe UI" pitchFamily="34" charset="0"/>
                <a:cs typeface="Segoe UI" pitchFamily="34" charset="0"/>
              </a:rPr>
              <a:t>Unified infrastructure enables IT to manage devices “where they live”</a:t>
            </a:r>
          </a:p>
        </p:txBody>
      </p:sp>
      <p:sp>
        <p:nvSpPr>
          <p:cNvPr id="739" name="Rectangle 738"/>
          <p:cNvSpPr/>
          <p:nvPr>
            <p:custDataLst>
              <p:tags r:id="rId4"/>
            </p:custDataLst>
          </p:nvPr>
        </p:nvSpPr>
        <p:spPr bwMode="auto">
          <a:xfrm>
            <a:off x="4968365" y="5411561"/>
            <a:ext cx="2851592" cy="868746"/>
          </a:xfrm>
          <a:prstGeom prst="rect">
            <a:avLst/>
          </a:prstGeom>
        </p:spPr>
        <p:txBody>
          <a:bodyPr vert="horz" wrap="square" lIns="0" tIns="0" rIns="0" bIns="0" rtlCol="0">
            <a:spAutoFit/>
          </a:bodyPr>
          <a:lstStyle/>
          <a:p>
            <a:pPr marL="0" marR="0" lvl="0" indent="0" defTabSz="914180" eaLnBrk="1" fontAlgn="auto" latinLnBrk="0" hangingPunct="1">
              <a:lnSpc>
                <a:spcPct val="90000"/>
              </a:lnSpc>
              <a:spcBef>
                <a:spcPts val="0"/>
              </a:spcBef>
              <a:spcAft>
                <a:spcPts val="0"/>
              </a:spcAft>
              <a:buClrTx/>
              <a:buSzTx/>
              <a:buFontTx/>
              <a:buNone/>
              <a:tabLst/>
              <a:defRPr/>
            </a:pPr>
            <a:r>
              <a:rPr kumimoji="0" lang="en-US" sz="1568" b="0" i="0" u="none" strike="noStrike" kern="0" cap="none" spc="-29" normalizeH="0" baseline="0" noProof="0" dirty="0" smtClean="0">
                <a:ln>
                  <a:noFill/>
                </a:ln>
                <a:solidFill>
                  <a:srgbClr val="969696">
                    <a:lumMod val="50000"/>
                  </a:srgbClr>
                </a:solidFill>
                <a:effectLst/>
                <a:uLnTx/>
                <a:uFillTx/>
              </a:rPr>
              <a:t>Comprehensive settings management across platforms, including certificates, VPNs, and wireless network profiles</a:t>
            </a:r>
            <a:endParaRPr kumimoji="0" lang="en-US" sz="1568" b="0" i="0" u="none" strike="noStrike" kern="0" cap="none" spc="-49" normalizeH="0" baseline="0" noProof="0" dirty="0" smtClean="0">
              <a:ln>
                <a:noFill/>
              </a:ln>
              <a:gradFill>
                <a:gsLst>
                  <a:gs pos="2917">
                    <a:srgbClr val="505050"/>
                  </a:gs>
                  <a:gs pos="30000">
                    <a:srgbClr val="505050"/>
                  </a:gs>
                </a:gsLst>
                <a:lin ang="5400000" scaled="0"/>
              </a:gradFill>
              <a:effectLst/>
              <a:uLnTx/>
              <a:uFillTx/>
            </a:endParaRPr>
          </a:p>
        </p:txBody>
      </p:sp>
      <p:sp>
        <p:nvSpPr>
          <p:cNvPr id="740" name="Rectangle 739"/>
          <p:cNvSpPr/>
          <p:nvPr/>
        </p:nvSpPr>
        <p:spPr>
          <a:xfrm>
            <a:off x="502655" y="4476012"/>
            <a:ext cx="832348" cy="241318"/>
          </a:xfrm>
          <a:prstGeom prst="rect">
            <a:avLst/>
          </a:prstGeom>
          <a:noFill/>
          <a:ln>
            <a:noFill/>
          </a:ln>
        </p:spPr>
        <p:txBody>
          <a:bodyPr wrap="square" lIns="0" tIns="0" rIns="0" bIns="0" anchor="ctr">
            <a:spAutoFit/>
          </a:bodyPr>
          <a:lstStyle/>
          <a:p>
            <a:pPr algn="ctr" defTabSz="1096279" fontAlgn="base">
              <a:spcAft>
                <a:spcPct val="0"/>
              </a:spcAft>
            </a:pPr>
            <a:r>
              <a:rPr lang="en-US" sz="1568" dirty="0">
                <a:ln>
                  <a:solidFill>
                    <a:srgbClr val="FFFFFF">
                      <a:alpha val="0"/>
                    </a:srgbClr>
                  </a:solidFill>
                </a:ln>
                <a:solidFill>
                  <a:srgbClr val="256AAF"/>
                </a:solidFill>
                <a:latin typeface="Segoe"/>
              </a:rPr>
              <a:t>IT</a:t>
            </a:r>
          </a:p>
        </p:txBody>
      </p:sp>
      <p:grpSp>
        <p:nvGrpSpPr>
          <p:cNvPr id="741" name="Group 740"/>
          <p:cNvGrpSpPr>
            <a:grpSpLocks noChangeAspect="1"/>
          </p:cNvGrpSpPr>
          <p:nvPr/>
        </p:nvGrpSpPr>
        <p:grpSpPr>
          <a:xfrm>
            <a:off x="337659" y="3052018"/>
            <a:ext cx="1175678" cy="1276668"/>
            <a:chOff x="605464" y="3749753"/>
            <a:chExt cx="979487" cy="1063625"/>
          </a:xfrm>
          <a:solidFill>
            <a:srgbClr val="0070C0"/>
          </a:solidFill>
        </p:grpSpPr>
        <p:sp>
          <p:nvSpPr>
            <p:cNvPr id="742" name="Freeform 6"/>
            <p:cNvSpPr>
              <a:spLocks/>
            </p:cNvSpPr>
            <p:nvPr/>
          </p:nvSpPr>
          <p:spPr bwMode="auto">
            <a:xfrm>
              <a:off x="605464" y="4340303"/>
              <a:ext cx="414337" cy="468313"/>
            </a:xfrm>
            <a:custGeom>
              <a:avLst/>
              <a:gdLst>
                <a:gd name="T0" fmla="*/ 96 w 314"/>
                <a:gd name="T1" fmla="*/ 64 h 356"/>
                <a:gd name="T2" fmla="*/ 0 w 314"/>
                <a:gd name="T3" fmla="*/ 154 h 356"/>
                <a:gd name="T4" fmla="*/ 0 w 314"/>
                <a:gd name="T5" fmla="*/ 324 h 356"/>
                <a:gd name="T6" fmla="*/ 314 w 314"/>
                <a:gd name="T7" fmla="*/ 356 h 356"/>
                <a:gd name="T8" fmla="*/ 271 w 314"/>
                <a:gd name="T9" fmla="*/ 0 h 356"/>
                <a:gd name="T10" fmla="*/ 96 w 314"/>
                <a:gd name="T11" fmla="*/ 64 h 356"/>
              </a:gdLst>
              <a:ahLst/>
              <a:cxnLst>
                <a:cxn ang="0">
                  <a:pos x="T0" y="T1"/>
                </a:cxn>
                <a:cxn ang="0">
                  <a:pos x="T2" y="T3"/>
                </a:cxn>
                <a:cxn ang="0">
                  <a:pos x="T4" y="T5"/>
                </a:cxn>
                <a:cxn ang="0">
                  <a:pos x="T6" y="T7"/>
                </a:cxn>
                <a:cxn ang="0">
                  <a:pos x="T8" y="T9"/>
                </a:cxn>
                <a:cxn ang="0">
                  <a:pos x="T10" y="T11"/>
                </a:cxn>
              </a:cxnLst>
              <a:rect l="0" t="0" r="r" b="b"/>
              <a:pathLst>
                <a:path w="314" h="356">
                  <a:moveTo>
                    <a:pt x="96" y="64"/>
                  </a:moveTo>
                  <a:cubicBezTo>
                    <a:pt x="11" y="91"/>
                    <a:pt x="0" y="154"/>
                    <a:pt x="0" y="154"/>
                  </a:cubicBezTo>
                  <a:cubicBezTo>
                    <a:pt x="0" y="324"/>
                    <a:pt x="0" y="324"/>
                    <a:pt x="0" y="324"/>
                  </a:cubicBezTo>
                  <a:cubicBezTo>
                    <a:pt x="59" y="335"/>
                    <a:pt x="314" y="356"/>
                    <a:pt x="314" y="356"/>
                  </a:cubicBezTo>
                  <a:cubicBezTo>
                    <a:pt x="271" y="0"/>
                    <a:pt x="271" y="0"/>
                    <a:pt x="271" y="0"/>
                  </a:cubicBezTo>
                  <a:cubicBezTo>
                    <a:pt x="271" y="0"/>
                    <a:pt x="181" y="37"/>
                    <a:pt x="96"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smtClean="0">
                <a:ln>
                  <a:noFill/>
                </a:ln>
                <a:solidFill>
                  <a:srgbClr val="505050"/>
                </a:solidFill>
                <a:effectLst/>
                <a:uLnTx/>
                <a:uFillTx/>
              </a:endParaRPr>
            </a:p>
          </p:txBody>
        </p:sp>
        <p:sp>
          <p:nvSpPr>
            <p:cNvPr id="743" name="Freeform 7"/>
            <p:cNvSpPr>
              <a:spLocks/>
            </p:cNvSpPr>
            <p:nvPr/>
          </p:nvSpPr>
          <p:spPr bwMode="auto">
            <a:xfrm>
              <a:off x="1172201" y="4340303"/>
              <a:ext cx="412750" cy="468313"/>
            </a:xfrm>
            <a:custGeom>
              <a:avLst/>
              <a:gdLst>
                <a:gd name="T0" fmla="*/ 218 w 313"/>
                <a:gd name="T1" fmla="*/ 64 h 356"/>
                <a:gd name="T2" fmla="*/ 42 w 313"/>
                <a:gd name="T3" fmla="*/ 0 h 356"/>
                <a:gd name="T4" fmla="*/ 0 w 313"/>
                <a:gd name="T5" fmla="*/ 356 h 356"/>
                <a:gd name="T6" fmla="*/ 313 w 313"/>
                <a:gd name="T7" fmla="*/ 324 h 356"/>
                <a:gd name="T8" fmla="*/ 313 w 313"/>
                <a:gd name="T9" fmla="*/ 154 h 356"/>
                <a:gd name="T10" fmla="*/ 218 w 313"/>
                <a:gd name="T11" fmla="*/ 64 h 356"/>
              </a:gdLst>
              <a:ahLst/>
              <a:cxnLst>
                <a:cxn ang="0">
                  <a:pos x="T0" y="T1"/>
                </a:cxn>
                <a:cxn ang="0">
                  <a:pos x="T2" y="T3"/>
                </a:cxn>
                <a:cxn ang="0">
                  <a:pos x="T4" y="T5"/>
                </a:cxn>
                <a:cxn ang="0">
                  <a:pos x="T6" y="T7"/>
                </a:cxn>
                <a:cxn ang="0">
                  <a:pos x="T8" y="T9"/>
                </a:cxn>
                <a:cxn ang="0">
                  <a:pos x="T10" y="T11"/>
                </a:cxn>
              </a:cxnLst>
              <a:rect l="0" t="0" r="r" b="b"/>
              <a:pathLst>
                <a:path w="313" h="356">
                  <a:moveTo>
                    <a:pt x="218" y="64"/>
                  </a:moveTo>
                  <a:cubicBezTo>
                    <a:pt x="133" y="37"/>
                    <a:pt x="42" y="0"/>
                    <a:pt x="42" y="0"/>
                  </a:cubicBezTo>
                  <a:cubicBezTo>
                    <a:pt x="0" y="356"/>
                    <a:pt x="0" y="356"/>
                    <a:pt x="0" y="356"/>
                  </a:cubicBezTo>
                  <a:cubicBezTo>
                    <a:pt x="0" y="356"/>
                    <a:pt x="255" y="335"/>
                    <a:pt x="313" y="324"/>
                  </a:cubicBezTo>
                  <a:cubicBezTo>
                    <a:pt x="313" y="154"/>
                    <a:pt x="313" y="154"/>
                    <a:pt x="313" y="154"/>
                  </a:cubicBezTo>
                  <a:cubicBezTo>
                    <a:pt x="313" y="154"/>
                    <a:pt x="303" y="91"/>
                    <a:pt x="218"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smtClean="0">
                <a:ln>
                  <a:noFill/>
                </a:ln>
                <a:solidFill>
                  <a:srgbClr val="505050"/>
                </a:solidFill>
                <a:effectLst/>
                <a:uLnTx/>
                <a:uFillTx/>
              </a:endParaRPr>
            </a:p>
          </p:txBody>
        </p:sp>
        <p:sp>
          <p:nvSpPr>
            <p:cNvPr id="744" name="Freeform 10"/>
            <p:cNvSpPr>
              <a:spLocks/>
            </p:cNvSpPr>
            <p:nvPr/>
          </p:nvSpPr>
          <p:spPr bwMode="auto">
            <a:xfrm>
              <a:off x="976939" y="4286328"/>
              <a:ext cx="231775" cy="527050"/>
            </a:xfrm>
            <a:custGeom>
              <a:avLst/>
              <a:gdLst>
                <a:gd name="T0" fmla="*/ 10 w 175"/>
                <a:gd name="T1" fmla="*/ 2 h 399"/>
                <a:gd name="T2" fmla="*/ 0 w 175"/>
                <a:gd name="T3" fmla="*/ 2 h 399"/>
                <a:gd name="T4" fmla="*/ 0 w 175"/>
                <a:gd name="T5" fmla="*/ 36 h 399"/>
                <a:gd name="T6" fmla="*/ 5 w 175"/>
                <a:gd name="T7" fmla="*/ 42 h 399"/>
                <a:gd name="T8" fmla="*/ 83 w 175"/>
                <a:gd name="T9" fmla="*/ 100 h 399"/>
                <a:gd name="T10" fmla="*/ 53 w 175"/>
                <a:gd name="T11" fmla="*/ 141 h 399"/>
                <a:gd name="T12" fmla="*/ 74 w 175"/>
                <a:gd name="T13" fmla="*/ 184 h 399"/>
                <a:gd name="T14" fmla="*/ 67 w 175"/>
                <a:gd name="T15" fmla="*/ 398 h 399"/>
                <a:gd name="T16" fmla="*/ 120 w 175"/>
                <a:gd name="T17" fmla="*/ 399 h 399"/>
                <a:gd name="T18" fmla="*/ 106 w 175"/>
                <a:gd name="T19" fmla="*/ 181 h 399"/>
                <a:gd name="T20" fmla="*/ 126 w 175"/>
                <a:gd name="T21" fmla="*/ 141 h 399"/>
                <a:gd name="T22" fmla="*/ 90 w 175"/>
                <a:gd name="T23" fmla="*/ 97 h 399"/>
                <a:gd name="T24" fmla="*/ 175 w 175"/>
                <a:gd name="T25" fmla="*/ 37 h 399"/>
                <a:gd name="T26" fmla="*/ 175 w 175"/>
                <a:gd name="T27" fmla="*/ 0 h 399"/>
                <a:gd name="T28" fmla="*/ 161 w 175"/>
                <a:gd name="T29" fmla="*/ 0 h 399"/>
                <a:gd name="T30" fmla="*/ 85 w 175"/>
                <a:gd name="T31" fmla="*/ 25 h 399"/>
                <a:gd name="T32" fmla="*/ 10 w 175"/>
                <a:gd name="T33" fmla="*/ 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 h="399">
                  <a:moveTo>
                    <a:pt x="10" y="2"/>
                  </a:moveTo>
                  <a:cubicBezTo>
                    <a:pt x="0" y="2"/>
                    <a:pt x="0" y="2"/>
                    <a:pt x="0" y="2"/>
                  </a:cubicBezTo>
                  <a:cubicBezTo>
                    <a:pt x="0" y="36"/>
                    <a:pt x="0" y="36"/>
                    <a:pt x="0" y="36"/>
                  </a:cubicBezTo>
                  <a:cubicBezTo>
                    <a:pt x="5" y="42"/>
                    <a:pt x="5" y="42"/>
                    <a:pt x="5" y="42"/>
                  </a:cubicBezTo>
                  <a:cubicBezTo>
                    <a:pt x="83" y="100"/>
                    <a:pt x="83" y="100"/>
                    <a:pt x="83" y="100"/>
                  </a:cubicBezTo>
                  <a:cubicBezTo>
                    <a:pt x="53" y="141"/>
                    <a:pt x="53" y="141"/>
                    <a:pt x="53" y="141"/>
                  </a:cubicBezTo>
                  <a:cubicBezTo>
                    <a:pt x="74" y="184"/>
                    <a:pt x="74" y="184"/>
                    <a:pt x="74" y="184"/>
                  </a:cubicBezTo>
                  <a:cubicBezTo>
                    <a:pt x="67" y="398"/>
                    <a:pt x="67" y="398"/>
                    <a:pt x="67" y="398"/>
                  </a:cubicBezTo>
                  <a:cubicBezTo>
                    <a:pt x="120" y="399"/>
                    <a:pt x="120" y="399"/>
                    <a:pt x="120" y="399"/>
                  </a:cubicBezTo>
                  <a:cubicBezTo>
                    <a:pt x="106" y="181"/>
                    <a:pt x="106" y="181"/>
                    <a:pt x="106" y="181"/>
                  </a:cubicBezTo>
                  <a:cubicBezTo>
                    <a:pt x="126" y="141"/>
                    <a:pt x="126" y="141"/>
                    <a:pt x="126" y="141"/>
                  </a:cubicBezTo>
                  <a:cubicBezTo>
                    <a:pt x="90" y="97"/>
                    <a:pt x="90" y="97"/>
                    <a:pt x="90" y="97"/>
                  </a:cubicBezTo>
                  <a:cubicBezTo>
                    <a:pt x="175" y="37"/>
                    <a:pt x="175" y="37"/>
                    <a:pt x="175" y="37"/>
                  </a:cubicBezTo>
                  <a:cubicBezTo>
                    <a:pt x="175" y="0"/>
                    <a:pt x="175" y="0"/>
                    <a:pt x="175" y="0"/>
                  </a:cubicBezTo>
                  <a:cubicBezTo>
                    <a:pt x="161" y="0"/>
                    <a:pt x="161" y="0"/>
                    <a:pt x="161" y="0"/>
                  </a:cubicBezTo>
                  <a:cubicBezTo>
                    <a:pt x="139" y="16"/>
                    <a:pt x="112" y="25"/>
                    <a:pt x="85" y="25"/>
                  </a:cubicBezTo>
                  <a:cubicBezTo>
                    <a:pt x="58" y="25"/>
                    <a:pt x="33" y="16"/>
                    <a:pt x="1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smtClean="0">
                <a:ln>
                  <a:noFill/>
                </a:ln>
                <a:solidFill>
                  <a:srgbClr val="505050"/>
                </a:solidFill>
                <a:effectLst/>
                <a:uLnTx/>
                <a:uFillTx/>
              </a:endParaRPr>
            </a:p>
          </p:txBody>
        </p:sp>
        <p:sp>
          <p:nvSpPr>
            <p:cNvPr id="745" name="Freeform 11"/>
            <p:cNvSpPr>
              <a:spLocks/>
            </p:cNvSpPr>
            <p:nvPr/>
          </p:nvSpPr>
          <p:spPr bwMode="auto">
            <a:xfrm>
              <a:off x="991226" y="4289503"/>
              <a:ext cx="9525" cy="0"/>
            </a:xfrm>
            <a:custGeom>
              <a:avLst/>
              <a:gdLst>
                <a:gd name="T0" fmla="*/ 6 w 6"/>
                <a:gd name="T1" fmla="*/ 0 w 6"/>
                <a:gd name="T2" fmla="*/ 6 w 6"/>
                <a:gd name="T3" fmla="*/ 6 w 6"/>
              </a:gdLst>
              <a:ahLst/>
              <a:cxnLst>
                <a:cxn ang="0">
                  <a:pos x="T0" y="0"/>
                </a:cxn>
                <a:cxn ang="0">
                  <a:pos x="T1" y="0"/>
                </a:cxn>
                <a:cxn ang="0">
                  <a:pos x="T2" y="0"/>
                </a:cxn>
                <a:cxn ang="0">
                  <a:pos x="T3" y="0"/>
                </a:cxn>
              </a:cxnLst>
              <a:rect l="0" t="0" r="r" b="b"/>
              <a:pathLst>
                <a:path w="6">
                  <a:moveTo>
                    <a:pt x="6" y="0"/>
                  </a:moveTo>
                  <a:lnTo>
                    <a:pt x="0" y="0"/>
                  </a:lnTo>
                  <a:lnTo>
                    <a:pt x="6"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smtClean="0">
                <a:ln>
                  <a:noFill/>
                </a:ln>
                <a:solidFill>
                  <a:srgbClr val="505050"/>
                </a:solidFill>
                <a:effectLst/>
                <a:uLnTx/>
                <a:uFillTx/>
              </a:endParaRPr>
            </a:p>
          </p:txBody>
        </p:sp>
        <p:sp>
          <p:nvSpPr>
            <p:cNvPr id="746" name="Freeform 12"/>
            <p:cNvSpPr>
              <a:spLocks/>
            </p:cNvSpPr>
            <p:nvPr/>
          </p:nvSpPr>
          <p:spPr bwMode="auto">
            <a:xfrm>
              <a:off x="1000751" y="4289503"/>
              <a:ext cx="11112" cy="0"/>
            </a:xfrm>
            <a:custGeom>
              <a:avLst/>
              <a:gdLst>
                <a:gd name="T0" fmla="*/ 0 w 7"/>
                <a:gd name="T1" fmla="*/ 0 w 7"/>
                <a:gd name="T2" fmla="*/ 7 w 7"/>
                <a:gd name="T3" fmla="*/ 0 w 7"/>
              </a:gdLst>
              <a:ahLst/>
              <a:cxnLst>
                <a:cxn ang="0">
                  <a:pos x="T0" y="0"/>
                </a:cxn>
                <a:cxn ang="0">
                  <a:pos x="T1" y="0"/>
                </a:cxn>
                <a:cxn ang="0">
                  <a:pos x="T2" y="0"/>
                </a:cxn>
                <a:cxn ang="0">
                  <a:pos x="T3" y="0"/>
                </a:cxn>
              </a:cxnLst>
              <a:rect l="0" t="0" r="r" b="b"/>
              <a:pathLst>
                <a:path w="7">
                  <a:moveTo>
                    <a:pt x="0" y="0"/>
                  </a:moveTo>
                  <a:lnTo>
                    <a:pt x="0" y="0"/>
                  </a:lnTo>
                  <a:lnTo>
                    <a:pt x="7"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smtClean="0">
                <a:ln>
                  <a:noFill/>
                </a:ln>
                <a:solidFill>
                  <a:srgbClr val="505050"/>
                </a:solidFill>
                <a:effectLst/>
                <a:uLnTx/>
                <a:uFillTx/>
              </a:endParaRPr>
            </a:p>
          </p:txBody>
        </p:sp>
        <p:sp>
          <p:nvSpPr>
            <p:cNvPr id="747" name="Freeform 13"/>
            <p:cNvSpPr>
              <a:spLocks/>
            </p:cNvSpPr>
            <p:nvPr/>
          </p:nvSpPr>
          <p:spPr bwMode="auto">
            <a:xfrm>
              <a:off x="884864" y="3749753"/>
              <a:ext cx="409575" cy="528638"/>
            </a:xfrm>
            <a:custGeom>
              <a:avLst/>
              <a:gdLst>
                <a:gd name="T0" fmla="*/ 310 w 310"/>
                <a:gd name="T1" fmla="*/ 200 h 400"/>
                <a:gd name="T2" fmla="*/ 155 w 310"/>
                <a:gd name="T3" fmla="*/ 0 h 400"/>
                <a:gd name="T4" fmla="*/ 0 w 310"/>
                <a:gd name="T5" fmla="*/ 200 h 400"/>
                <a:gd name="T6" fmla="*/ 96 w 310"/>
                <a:gd name="T7" fmla="*/ 385 h 400"/>
                <a:gd name="T8" fmla="*/ 155 w 310"/>
                <a:gd name="T9" fmla="*/ 400 h 400"/>
                <a:gd name="T10" fmla="*/ 216 w 310"/>
                <a:gd name="T11" fmla="*/ 383 h 400"/>
                <a:gd name="T12" fmla="*/ 310 w 310"/>
                <a:gd name="T13" fmla="*/ 200 h 400"/>
              </a:gdLst>
              <a:ahLst/>
              <a:cxnLst>
                <a:cxn ang="0">
                  <a:pos x="T0" y="T1"/>
                </a:cxn>
                <a:cxn ang="0">
                  <a:pos x="T2" y="T3"/>
                </a:cxn>
                <a:cxn ang="0">
                  <a:pos x="T4" y="T5"/>
                </a:cxn>
                <a:cxn ang="0">
                  <a:pos x="T6" y="T7"/>
                </a:cxn>
                <a:cxn ang="0">
                  <a:pos x="T8" y="T9"/>
                </a:cxn>
                <a:cxn ang="0">
                  <a:pos x="T10" y="T11"/>
                </a:cxn>
                <a:cxn ang="0">
                  <a:pos x="T12" y="T13"/>
                </a:cxn>
              </a:cxnLst>
              <a:rect l="0" t="0" r="r" b="b"/>
              <a:pathLst>
                <a:path w="310" h="400">
                  <a:moveTo>
                    <a:pt x="310" y="200"/>
                  </a:moveTo>
                  <a:cubicBezTo>
                    <a:pt x="310" y="89"/>
                    <a:pt x="240" y="0"/>
                    <a:pt x="155" y="0"/>
                  </a:cubicBezTo>
                  <a:cubicBezTo>
                    <a:pt x="69" y="0"/>
                    <a:pt x="0" y="89"/>
                    <a:pt x="0" y="200"/>
                  </a:cubicBezTo>
                  <a:cubicBezTo>
                    <a:pt x="0" y="283"/>
                    <a:pt x="39" y="355"/>
                    <a:pt x="96" y="385"/>
                  </a:cubicBezTo>
                  <a:cubicBezTo>
                    <a:pt x="114" y="394"/>
                    <a:pt x="134" y="400"/>
                    <a:pt x="155" y="400"/>
                  </a:cubicBezTo>
                  <a:cubicBezTo>
                    <a:pt x="177" y="400"/>
                    <a:pt x="197" y="394"/>
                    <a:pt x="216" y="383"/>
                  </a:cubicBezTo>
                  <a:cubicBezTo>
                    <a:pt x="271" y="353"/>
                    <a:pt x="310" y="282"/>
                    <a:pt x="310"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smtClean="0">
                <a:ln>
                  <a:noFill/>
                </a:ln>
                <a:solidFill>
                  <a:srgbClr val="505050"/>
                </a:solidFill>
                <a:effectLst/>
                <a:uLnTx/>
                <a:uFillTx/>
              </a:endParaRPr>
            </a:p>
          </p:txBody>
        </p:sp>
      </p:grpSp>
      <p:sp>
        <p:nvSpPr>
          <p:cNvPr id="748" name="Rectangle 747"/>
          <p:cNvSpPr/>
          <p:nvPr/>
        </p:nvSpPr>
        <p:spPr bwMode="auto">
          <a:xfrm>
            <a:off x="8606736" y="2234765"/>
            <a:ext cx="187634" cy="44809"/>
          </a:xfrm>
          <a:prstGeom prst="rect">
            <a:avLst/>
          </a:prstGeom>
          <a:solidFill>
            <a:srgbClr val="3D5800"/>
          </a:solidFill>
          <a:ln w="1079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895908" eaLnBrk="1" fontAlgn="base" latinLnBrk="0" hangingPunct="1">
              <a:lnSpc>
                <a:spcPct val="90000"/>
              </a:lnSpc>
              <a:spcBef>
                <a:spcPct val="0"/>
              </a:spcBef>
              <a:spcAft>
                <a:spcPct val="0"/>
              </a:spcAft>
              <a:buClrTx/>
              <a:buSzTx/>
              <a:buFontTx/>
              <a:buNone/>
              <a:tabLst/>
              <a:defRPr/>
            </a:pPr>
            <a:endParaRPr kumimoji="0" lang="en-US" sz="1960" b="0" i="0" u="none" strike="noStrike" kern="0" cap="none" spc="-49"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749" name="Rectangle 748"/>
          <p:cNvSpPr/>
          <p:nvPr/>
        </p:nvSpPr>
        <p:spPr bwMode="auto">
          <a:xfrm>
            <a:off x="8910216" y="2237593"/>
            <a:ext cx="163380" cy="44809"/>
          </a:xfrm>
          <a:prstGeom prst="rect">
            <a:avLst/>
          </a:prstGeom>
          <a:solidFill>
            <a:srgbClr val="3D5800"/>
          </a:solidFill>
          <a:ln w="1079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895908" eaLnBrk="1" fontAlgn="base" latinLnBrk="0" hangingPunct="1">
              <a:lnSpc>
                <a:spcPct val="90000"/>
              </a:lnSpc>
              <a:spcBef>
                <a:spcPct val="0"/>
              </a:spcBef>
              <a:spcAft>
                <a:spcPct val="0"/>
              </a:spcAft>
              <a:buClrTx/>
              <a:buSzTx/>
              <a:buFontTx/>
              <a:buNone/>
              <a:tabLst/>
              <a:defRPr/>
            </a:pPr>
            <a:endParaRPr kumimoji="0" lang="en-US" sz="1960" b="0" i="0" u="none" strike="noStrike" kern="0" cap="none" spc="-49"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nvGrpSpPr>
          <p:cNvPr id="750" name="Group 749"/>
          <p:cNvGrpSpPr/>
          <p:nvPr/>
        </p:nvGrpSpPr>
        <p:grpSpPr>
          <a:xfrm rot="21222739">
            <a:off x="8648659" y="1995782"/>
            <a:ext cx="98310" cy="135918"/>
            <a:chOff x="3982312" y="3568682"/>
            <a:chExt cx="100307" cy="138680"/>
          </a:xfrm>
        </p:grpSpPr>
        <p:sp>
          <p:nvSpPr>
            <p:cNvPr id="751" name="Freeform 43"/>
            <p:cNvSpPr>
              <a:spLocks/>
            </p:cNvSpPr>
            <p:nvPr/>
          </p:nvSpPr>
          <p:spPr bwMode="auto">
            <a:xfrm>
              <a:off x="4036168" y="3568682"/>
              <a:ext cx="30967" cy="26928"/>
            </a:xfrm>
            <a:custGeom>
              <a:avLst/>
              <a:gdLst>
                <a:gd name="T0" fmla="*/ 68 w 68"/>
                <a:gd name="T1" fmla="*/ 0 h 60"/>
                <a:gd name="T2" fmla="*/ 67 w 68"/>
                <a:gd name="T3" fmla="*/ 10 h 60"/>
                <a:gd name="T4" fmla="*/ 64 w 68"/>
                <a:gd name="T5" fmla="*/ 19 h 60"/>
                <a:gd name="T6" fmla="*/ 61 w 68"/>
                <a:gd name="T7" fmla="*/ 27 h 60"/>
                <a:gd name="T8" fmla="*/ 56 w 68"/>
                <a:gd name="T9" fmla="*/ 35 h 60"/>
                <a:gd name="T10" fmla="*/ 44 w 68"/>
                <a:gd name="T11" fmla="*/ 46 h 60"/>
                <a:gd name="T12" fmla="*/ 31 w 68"/>
                <a:gd name="T13" fmla="*/ 54 h 60"/>
                <a:gd name="T14" fmla="*/ 17 w 68"/>
                <a:gd name="T15" fmla="*/ 59 h 60"/>
                <a:gd name="T16" fmla="*/ 2 w 68"/>
                <a:gd name="T17" fmla="*/ 60 h 60"/>
                <a:gd name="T18" fmla="*/ 2 w 68"/>
                <a:gd name="T19" fmla="*/ 60 h 60"/>
                <a:gd name="T20" fmla="*/ 1 w 68"/>
                <a:gd name="T21" fmla="*/ 60 h 60"/>
                <a:gd name="T22" fmla="*/ 0 w 68"/>
                <a:gd name="T23" fmla="*/ 60 h 60"/>
                <a:gd name="T24" fmla="*/ 0 w 68"/>
                <a:gd name="T25" fmla="*/ 60 h 60"/>
                <a:gd name="T26" fmla="*/ 0 w 68"/>
                <a:gd name="T27" fmla="*/ 57 h 60"/>
                <a:gd name="T28" fmla="*/ 0 w 68"/>
                <a:gd name="T29" fmla="*/ 54 h 60"/>
                <a:gd name="T30" fmla="*/ 0 w 68"/>
                <a:gd name="T31" fmla="*/ 51 h 60"/>
                <a:gd name="T32" fmla="*/ 0 w 68"/>
                <a:gd name="T33" fmla="*/ 48 h 60"/>
                <a:gd name="T34" fmla="*/ 5 w 68"/>
                <a:gd name="T35" fmla="*/ 39 h 60"/>
                <a:gd name="T36" fmla="*/ 10 w 68"/>
                <a:gd name="T37" fmla="*/ 31 h 60"/>
                <a:gd name="T38" fmla="*/ 16 w 68"/>
                <a:gd name="T39" fmla="*/ 25 h 60"/>
                <a:gd name="T40" fmla="*/ 22 w 68"/>
                <a:gd name="T41" fmla="*/ 19 h 60"/>
                <a:gd name="T42" fmla="*/ 32 w 68"/>
                <a:gd name="T43" fmla="*/ 11 h 60"/>
                <a:gd name="T44" fmla="*/ 44 w 68"/>
                <a:gd name="T45" fmla="*/ 5 h 60"/>
                <a:gd name="T46" fmla="*/ 56 w 68"/>
                <a:gd name="T47" fmla="*/ 2 h 60"/>
                <a:gd name="T48" fmla="*/ 68 w 68"/>
                <a:gd name="T4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0">
                  <a:moveTo>
                    <a:pt x="68" y="0"/>
                  </a:moveTo>
                  <a:cubicBezTo>
                    <a:pt x="68" y="4"/>
                    <a:pt x="67" y="7"/>
                    <a:pt x="67" y="10"/>
                  </a:cubicBezTo>
                  <a:cubicBezTo>
                    <a:pt x="66" y="13"/>
                    <a:pt x="65" y="16"/>
                    <a:pt x="64" y="19"/>
                  </a:cubicBezTo>
                  <a:cubicBezTo>
                    <a:pt x="63" y="22"/>
                    <a:pt x="62" y="24"/>
                    <a:pt x="61" y="27"/>
                  </a:cubicBezTo>
                  <a:cubicBezTo>
                    <a:pt x="59" y="30"/>
                    <a:pt x="58" y="33"/>
                    <a:pt x="56" y="35"/>
                  </a:cubicBezTo>
                  <a:cubicBezTo>
                    <a:pt x="53" y="39"/>
                    <a:pt x="49" y="43"/>
                    <a:pt x="44" y="46"/>
                  </a:cubicBezTo>
                  <a:cubicBezTo>
                    <a:pt x="40" y="49"/>
                    <a:pt x="36" y="52"/>
                    <a:pt x="31" y="54"/>
                  </a:cubicBezTo>
                  <a:cubicBezTo>
                    <a:pt x="26" y="56"/>
                    <a:pt x="22" y="58"/>
                    <a:pt x="17" y="59"/>
                  </a:cubicBezTo>
                  <a:cubicBezTo>
                    <a:pt x="12" y="60"/>
                    <a:pt x="7" y="60"/>
                    <a:pt x="2" y="60"/>
                  </a:cubicBezTo>
                  <a:cubicBezTo>
                    <a:pt x="2" y="60"/>
                    <a:pt x="2" y="60"/>
                    <a:pt x="2" y="60"/>
                  </a:cubicBezTo>
                  <a:cubicBezTo>
                    <a:pt x="2" y="60"/>
                    <a:pt x="1" y="60"/>
                    <a:pt x="1" y="60"/>
                  </a:cubicBezTo>
                  <a:cubicBezTo>
                    <a:pt x="1" y="60"/>
                    <a:pt x="1" y="60"/>
                    <a:pt x="0" y="60"/>
                  </a:cubicBezTo>
                  <a:cubicBezTo>
                    <a:pt x="0" y="60"/>
                    <a:pt x="0" y="60"/>
                    <a:pt x="0" y="60"/>
                  </a:cubicBezTo>
                  <a:cubicBezTo>
                    <a:pt x="0" y="59"/>
                    <a:pt x="0" y="58"/>
                    <a:pt x="0" y="57"/>
                  </a:cubicBezTo>
                  <a:cubicBezTo>
                    <a:pt x="0" y="56"/>
                    <a:pt x="0" y="55"/>
                    <a:pt x="0" y="54"/>
                  </a:cubicBezTo>
                  <a:cubicBezTo>
                    <a:pt x="0" y="53"/>
                    <a:pt x="0" y="52"/>
                    <a:pt x="0" y="51"/>
                  </a:cubicBezTo>
                  <a:cubicBezTo>
                    <a:pt x="0" y="50"/>
                    <a:pt x="0" y="49"/>
                    <a:pt x="0" y="48"/>
                  </a:cubicBezTo>
                  <a:cubicBezTo>
                    <a:pt x="2" y="45"/>
                    <a:pt x="3" y="42"/>
                    <a:pt x="5" y="39"/>
                  </a:cubicBezTo>
                  <a:cubicBezTo>
                    <a:pt x="6" y="37"/>
                    <a:pt x="8" y="34"/>
                    <a:pt x="10" y="31"/>
                  </a:cubicBezTo>
                  <a:cubicBezTo>
                    <a:pt x="12" y="29"/>
                    <a:pt x="14" y="27"/>
                    <a:pt x="16" y="25"/>
                  </a:cubicBezTo>
                  <a:cubicBezTo>
                    <a:pt x="18" y="22"/>
                    <a:pt x="20" y="20"/>
                    <a:pt x="22" y="19"/>
                  </a:cubicBezTo>
                  <a:cubicBezTo>
                    <a:pt x="25" y="16"/>
                    <a:pt x="29" y="13"/>
                    <a:pt x="32" y="11"/>
                  </a:cubicBezTo>
                  <a:cubicBezTo>
                    <a:pt x="36" y="9"/>
                    <a:pt x="40" y="7"/>
                    <a:pt x="44" y="5"/>
                  </a:cubicBezTo>
                  <a:cubicBezTo>
                    <a:pt x="48" y="4"/>
                    <a:pt x="52" y="2"/>
                    <a:pt x="56" y="2"/>
                  </a:cubicBezTo>
                  <a:cubicBezTo>
                    <a:pt x="61" y="1"/>
                    <a:pt x="65" y="0"/>
                    <a:pt x="68" y="0"/>
                  </a:cubicBezTo>
                  <a:close/>
                </a:path>
              </a:pathLst>
            </a:custGeom>
            <a:solidFill>
              <a:srgbClr val="3D5800"/>
            </a:solidFill>
            <a:ln>
              <a:noFill/>
            </a:ln>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smtClean="0">
                <a:ln>
                  <a:noFill/>
                </a:ln>
                <a:solidFill>
                  <a:srgbClr val="505050"/>
                </a:solidFill>
                <a:effectLst/>
                <a:uLnTx/>
                <a:uFillTx/>
              </a:endParaRPr>
            </a:p>
          </p:txBody>
        </p:sp>
        <p:sp>
          <p:nvSpPr>
            <p:cNvPr id="752" name="Freeform 44"/>
            <p:cNvSpPr>
              <a:spLocks/>
            </p:cNvSpPr>
            <p:nvPr/>
          </p:nvSpPr>
          <p:spPr bwMode="auto">
            <a:xfrm>
              <a:off x="3982312" y="3596283"/>
              <a:ext cx="100307" cy="111079"/>
            </a:xfrm>
            <a:custGeom>
              <a:avLst/>
              <a:gdLst>
                <a:gd name="T0" fmla="*/ 75 w 221"/>
                <a:gd name="T1" fmla="*/ 0 h 244"/>
                <a:gd name="T2" fmla="*/ 91 w 221"/>
                <a:gd name="T3" fmla="*/ 4 h 244"/>
                <a:gd name="T4" fmla="*/ 102 w 221"/>
                <a:gd name="T5" fmla="*/ 10 h 244"/>
                <a:gd name="T6" fmla="*/ 112 w 221"/>
                <a:gd name="T7" fmla="*/ 15 h 244"/>
                <a:gd name="T8" fmla="*/ 125 w 221"/>
                <a:gd name="T9" fmla="*/ 19 h 244"/>
                <a:gd name="T10" fmla="*/ 135 w 221"/>
                <a:gd name="T11" fmla="*/ 17 h 244"/>
                <a:gd name="T12" fmla="*/ 146 w 221"/>
                <a:gd name="T13" fmla="*/ 13 h 244"/>
                <a:gd name="T14" fmla="*/ 160 w 221"/>
                <a:gd name="T15" fmla="*/ 10 h 244"/>
                <a:gd name="T16" fmla="*/ 180 w 221"/>
                <a:gd name="T17" fmla="*/ 9 h 244"/>
                <a:gd name="T18" fmla="*/ 196 w 221"/>
                <a:gd name="T19" fmla="*/ 14 h 244"/>
                <a:gd name="T20" fmla="*/ 209 w 221"/>
                <a:gd name="T21" fmla="*/ 24 h 244"/>
                <a:gd name="T22" fmla="*/ 217 w 221"/>
                <a:gd name="T23" fmla="*/ 34 h 244"/>
                <a:gd name="T24" fmla="*/ 221 w 221"/>
                <a:gd name="T25" fmla="*/ 41 h 244"/>
                <a:gd name="T26" fmla="*/ 210 w 221"/>
                <a:gd name="T27" fmla="*/ 47 h 244"/>
                <a:gd name="T28" fmla="*/ 196 w 221"/>
                <a:gd name="T29" fmla="*/ 60 h 244"/>
                <a:gd name="T30" fmla="*/ 182 w 221"/>
                <a:gd name="T31" fmla="*/ 79 h 244"/>
                <a:gd name="T32" fmla="*/ 175 w 221"/>
                <a:gd name="T33" fmla="*/ 106 h 244"/>
                <a:gd name="T34" fmla="*/ 179 w 221"/>
                <a:gd name="T35" fmla="*/ 134 h 244"/>
                <a:gd name="T36" fmla="*/ 192 w 221"/>
                <a:gd name="T37" fmla="*/ 154 h 244"/>
                <a:gd name="T38" fmla="*/ 205 w 221"/>
                <a:gd name="T39" fmla="*/ 167 h 244"/>
                <a:gd name="T40" fmla="*/ 213 w 221"/>
                <a:gd name="T41" fmla="*/ 173 h 244"/>
                <a:gd name="T42" fmla="*/ 205 w 221"/>
                <a:gd name="T43" fmla="*/ 188 h 244"/>
                <a:gd name="T44" fmla="*/ 189 w 221"/>
                <a:gd name="T45" fmla="*/ 212 h 244"/>
                <a:gd name="T46" fmla="*/ 168 w 221"/>
                <a:gd name="T47" fmla="*/ 235 h 244"/>
                <a:gd name="T48" fmla="*/ 149 w 221"/>
                <a:gd name="T49" fmla="*/ 243 h 244"/>
                <a:gd name="T50" fmla="*/ 135 w 221"/>
                <a:gd name="T51" fmla="*/ 239 h 244"/>
                <a:gd name="T52" fmla="*/ 125 w 221"/>
                <a:gd name="T53" fmla="*/ 233 h 244"/>
                <a:gd name="T54" fmla="*/ 116 w 221"/>
                <a:gd name="T55" fmla="*/ 227 h 244"/>
                <a:gd name="T56" fmla="*/ 103 w 221"/>
                <a:gd name="T57" fmla="*/ 223 h 244"/>
                <a:gd name="T58" fmla="*/ 87 w 221"/>
                <a:gd name="T59" fmla="*/ 223 h 244"/>
                <a:gd name="T60" fmla="*/ 76 w 221"/>
                <a:gd name="T61" fmla="*/ 226 h 244"/>
                <a:gd name="T62" fmla="*/ 66 w 221"/>
                <a:gd name="T63" fmla="*/ 230 h 244"/>
                <a:gd name="T64" fmla="*/ 56 w 221"/>
                <a:gd name="T65" fmla="*/ 231 h 244"/>
                <a:gd name="T66" fmla="*/ 43 w 221"/>
                <a:gd name="T67" fmla="*/ 225 h 244"/>
                <a:gd name="T68" fmla="*/ 32 w 221"/>
                <a:gd name="T69" fmla="*/ 214 h 244"/>
                <a:gd name="T70" fmla="*/ 20 w 221"/>
                <a:gd name="T71" fmla="*/ 195 h 244"/>
                <a:gd name="T72" fmla="*/ 10 w 221"/>
                <a:gd name="T73" fmla="*/ 171 h 244"/>
                <a:gd name="T74" fmla="*/ 3 w 221"/>
                <a:gd name="T75" fmla="*/ 142 h 244"/>
                <a:gd name="T76" fmla="*/ 0 w 221"/>
                <a:gd name="T77" fmla="*/ 112 h 244"/>
                <a:gd name="T78" fmla="*/ 2 w 221"/>
                <a:gd name="T79" fmla="*/ 83 h 244"/>
                <a:gd name="T80" fmla="*/ 9 w 221"/>
                <a:gd name="T81" fmla="*/ 55 h 244"/>
                <a:gd name="T82" fmla="*/ 21 w 221"/>
                <a:gd name="T83" fmla="*/ 32 h 244"/>
                <a:gd name="T84" fmla="*/ 38 w 221"/>
                <a:gd name="T85" fmla="*/ 15 h 244"/>
                <a:gd name="T86" fmla="*/ 56 w 221"/>
                <a:gd name="T87" fmla="*/ 4 h 244"/>
                <a:gd name="T88" fmla="*/ 75 w 221"/>
                <a:gd name="T8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1" h="244">
                  <a:moveTo>
                    <a:pt x="75" y="0"/>
                  </a:moveTo>
                  <a:cubicBezTo>
                    <a:pt x="81" y="1"/>
                    <a:pt x="86" y="2"/>
                    <a:pt x="91" y="4"/>
                  </a:cubicBezTo>
                  <a:cubicBezTo>
                    <a:pt x="95" y="6"/>
                    <a:pt x="99" y="8"/>
                    <a:pt x="102" y="10"/>
                  </a:cubicBezTo>
                  <a:cubicBezTo>
                    <a:pt x="106" y="12"/>
                    <a:pt x="109" y="14"/>
                    <a:pt x="112" y="15"/>
                  </a:cubicBezTo>
                  <a:cubicBezTo>
                    <a:pt x="116" y="17"/>
                    <a:pt x="120" y="18"/>
                    <a:pt x="125" y="19"/>
                  </a:cubicBezTo>
                  <a:cubicBezTo>
                    <a:pt x="128" y="19"/>
                    <a:pt x="132" y="18"/>
                    <a:pt x="135" y="17"/>
                  </a:cubicBezTo>
                  <a:cubicBezTo>
                    <a:pt x="139" y="16"/>
                    <a:pt x="142" y="15"/>
                    <a:pt x="146" y="13"/>
                  </a:cubicBezTo>
                  <a:cubicBezTo>
                    <a:pt x="150" y="12"/>
                    <a:pt x="155" y="11"/>
                    <a:pt x="160" y="10"/>
                  </a:cubicBezTo>
                  <a:cubicBezTo>
                    <a:pt x="166" y="9"/>
                    <a:pt x="172" y="9"/>
                    <a:pt x="180" y="9"/>
                  </a:cubicBezTo>
                  <a:cubicBezTo>
                    <a:pt x="186" y="10"/>
                    <a:pt x="192" y="12"/>
                    <a:pt x="196" y="14"/>
                  </a:cubicBezTo>
                  <a:cubicBezTo>
                    <a:pt x="201" y="17"/>
                    <a:pt x="205" y="20"/>
                    <a:pt x="209" y="24"/>
                  </a:cubicBezTo>
                  <a:cubicBezTo>
                    <a:pt x="212" y="27"/>
                    <a:pt x="215" y="31"/>
                    <a:pt x="217" y="34"/>
                  </a:cubicBezTo>
                  <a:cubicBezTo>
                    <a:pt x="219" y="37"/>
                    <a:pt x="220" y="39"/>
                    <a:pt x="221" y="41"/>
                  </a:cubicBezTo>
                  <a:cubicBezTo>
                    <a:pt x="218" y="42"/>
                    <a:pt x="215" y="44"/>
                    <a:pt x="210" y="47"/>
                  </a:cubicBezTo>
                  <a:cubicBezTo>
                    <a:pt x="206" y="51"/>
                    <a:pt x="201" y="55"/>
                    <a:pt x="196" y="60"/>
                  </a:cubicBezTo>
                  <a:cubicBezTo>
                    <a:pt x="191" y="65"/>
                    <a:pt x="186" y="72"/>
                    <a:pt x="182" y="79"/>
                  </a:cubicBezTo>
                  <a:cubicBezTo>
                    <a:pt x="179" y="87"/>
                    <a:pt x="176" y="96"/>
                    <a:pt x="175" y="106"/>
                  </a:cubicBezTo>
                  <a:cubicBezTo>
                    <a:pt x="174" y="116"/>
                    <a:pt x="176" y="126"/>
                    <a:pt x="179" y="134"/>
                  </a:cubicBezTo>
                  <a:cubicBezTo>
                    <a:pt x="182" y="142"/>
                    <a:pt x="187" y="149"/>
                    <a:pt x="192" y="154"/>
                  </a:cubicBezTo>
                  <a:cubicBezTo>
                    <a:pt x="196" y="160"/>
                    <a:pt x="201" y="164"/>
                    <a:pt x="205" y="167"/>
                  </a:cubicBezTo>
                  <a:cubicBezTo>
                    <a:pt x="209" y="171"/>
                    <a:pt x="212" y="172"/>
                    <a:pt x="213" y="173"/>
                  </a:cubicBezTo>
                  <a:cubicBezTo>
                    <a:pt x="212" y="175"/>
                    <a:pt x="209" y="180"/>
                    <a:pt x="205" y="188"/>
                  </a:cubicBezTo>
                  <a:cubicBezTo>
                    <a:pt x="201" y="195"/>
                    <a:pt x="195" y="204"/>
                    <a:pt x="189" y="212"/>
                  </a:cubicBezTo>
                  <a:cubicBezTo>
                    <a:pt x="182" y="221"/>
                    <a:pt x="175" y="229"/>
                    <a:pt x="168" y="235"/>
                  </a:cubicBezTo>
                  <a:cubicBezTo>
                    <a:pt x="161" y="240"/>
                    <a:pt x="155" y="244"/>
                    <a:pt x="149" y="243"/>
                  </a:cubicBezTo>
                  <a:cubicBezTo>
                    <a:pt x="143" y="242"/>
                    <a:pt x="138" y="240"/>
                    <a:pt x="135" y="239"/>
                  </a:cubicBezTo>
                  <a:cubicBezTo>
                    <a:pt x="131" y="237"/>
                    <a:pt x="128" y="235"/>
                    <a:pt x="125" y="233"/>
                  </a:cubicBezTo>
                  <a:cubicBezTo>
                    <a:pt x="122" y="231"/>
                    <a:pt x="120" y="228"/>
                    <a:pt x="116" y="227"/>
                  </a:cubicBezTo>
                  <a:cubicBezTo>
                    <a:pt x="113" y="225"/>
                    <a:pt x="108" y="223"/>
                    <a:pt x="103" y="223"/>
                  </a:cubicBezTo>
                  <a:cubicBezTo>
                    <a:pt x="97" y="222"/>
                    <a:pt x="92" y="222"/>
                    <a:pt x="87" y="223"/>
                  </a:cubicBezTo>
                  <a:cubicBezTo>
                    <a:pt x="83" y="224"/>
                    <a:pt x="79" y="225"/>
                    <a:pt x="76" y="226"/>
                  </a:cubicBezTo>
                  <a:cubicBezTo>
                    <a:pt x="72" y="227"/>
                    <a:pt x="69" y="229"/>
                    <a:pt x="66" y="230"/>
                  </a:cubicBezTo>
                  <a:cubicBezTo>
                    <a:pt x="62" y="231"/>
                    <a:pt x="59" y="231"/>
                    <a:pt x="56" y="231"/>
                  </a:cubicBezTo>
                  <a:cubicBezTo>
                    <a:pt x="52" y="230"/>
                    <a:pt x="47" y="228"/>
                    <a:pt x="43" y="225"/>
                  </a:cubicBezTo>
                  <a:cubicBezTo>
                    <a:pt x="39" y="223"/>
                    <a:pt x="35" y="219"/>
                    <a:pt x="32" y="214"/>
                  </a:cubicBezTo>
                  <a:cubicBezTo>
                    <a:pt x="28" y="209"/>
                    <a:pt x="24" y="202"/>
                    <a:pt x="20" y="195"/>
                  </a:cubicBezTo>
                  <a:cubicBezTo>
                    <a:pt x="17" y="188"/>
                    <a:pt x="13" y="180"/>
                    <a:pt x="10" y="171"/>
                  </a:cubicBezTo>
                  <a:cubicBezTo>
                    <a:pt x="7" y="162"/>
                    <a:pt x="4" y="152"/>
                    <a:pt x="3" y="142"/>
                  </a:cubicBezTo>
                  <a:cubicBezTo>
                    <a:pt x="1" y="132"/>
                    <a:pt x="0" y="122"/>
                    <a:pt x="0" y="112"/>
                  </a:cubicBezTo>
                  <a:cubicBezTo>
                    <a:pt x="0" y="102"/>
                    <a:pt x="1" y="92"/>
                    <a:pt x="2" y="83"/>
                  </a:cubicBezTo>
                  <a:cubicBezTo>
                    <a:pt x="4" y="73"/>
                    <a:pt x="6" y="64"/>
                    <a:pt x="9" y="55"/>
                  </a:cubicBezTo>
                  <a:cubicBezTo>
                    <a:pt x="12" y="47"/>
                    <a:pt x="16" y="39"/>
                    <a:pt x="21" y="32"/>
                  </a:cubicBezTo>
                  <a:cubicBezTo>
                    <a:pt x="26" y="26"/>
                    <a:pt x="31" y="20"/>
                    <a:pt x="38" y="15"/>
                  </a:cubicBezTo>
                  <a:cubicBezTo>
                    <a:pt x="44" y="10"/>
                    <a:pt x="50" y="6"/>
                    <a:pt x="56" y="4"/>
                  </a:cubicBezTo>
                  <a:cubicBezTo>
                    <a:pt x="63" y="1"/>
                    <a:pt x="69" y="0"/>
                    <a:pt x="75" y="0"/>
                  </a:cubicBezTo>
                  <a:close/>
                </a:path>
              </a:pathLst>
            </a:custGeom>
            <a:solidFill>
              <a:srgbClr val="3D5800"/>
            </a:solidFill>
            <a:ln>
              <a:noFill/>
            </a:ln>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smtClean="0">
                <a:ln>
                  <a:noFill/>
                </a:ln>
                <a:solidFill>
                  <a:srgbClr val="505050"/>
                </a:solidFill>
                <a:effectLst/>
                <a:uLnTx/>
                <a:uFillTx/>
              </a:endParaRPr>
            </a:p>
          </p:txBody>
        </p:sp>
      </p:grpSp>
      <p:grpSp>
        <p:nvGrpSpPr>
          <p:cNvPr id="753" name="Group 752"/>
          <p:cNvGrpSpPr/>
          <p:nvPr/>
        </p:nvGrpSpPr>
        <p:grpSpPr>
          <a:xfrm rot="21222739">
            <a:off x="8648659" y="2544859"/>
            <a:ext cx="98310" cy="135918"/>
            <a:chOff x="3982312" y="3568682"/>
            <a:chExt cx="100307" cy="138680"/>
          </a:xfrm>
        </p:grpSpPr>
        <p:sp>
          <p:nvSpPr>
            <p:cNvPr id="754" name="Freeform 43"/>
            <p:cNvSpPr>
              <a:spLocks/>
            </p:cNvSpPr>
            <p:nvPr/>
          </p:nvSpPr>
          <p:spPr bwMode="auto">
            <a:xfrm>
              <a:off x="4036168" y="3568682"/>
              <a:ext cx="30967" cy="26928"/>
            </a:xfrm>
            <a:custGeom>
              <a:avLst/>
              <a:gdLst>
                <a:gd name="T0" fmla="*/ 68 w 68"/>
                <a:gd name="T1" fmla="*/ 0 h 60"/>
                <a:gd name="T2" fmla="*/ 67 w 68"/>
                <a:gd name="T3" fmla="*/ 10 h 60"/>
                <a:gd name="T4" fmla="*/ 64 w 68"/>
                <a:gd name="T5" fmla="*/ 19 h 60"/>
                <a:gd name="T6" fmla="*/ 61 w 68"/>
                <a:gd name="T7" fmla="*/ 27 h 60"/>
                <a:gd name="T8" fmla="*/ 56 w 68"/>
                <a:gd name="T9" fmla="*/ 35 h 60"/>
                <a:gd name="T10" fmla="*/ 44 w 68"/>
                <a:gd name="T11" fmla="*/ 46 h 60"/>
                <a:gd name="T12" fmla="*/ 31 w 68"/>
                <a:gd name="T13" fmla="*/ 54 h 60"/>
                <a:gd name="T14" fmla="*/ 17 w 68"/>
                <a:gd name="T15" fmla="*/ 59 h 60"/>
                <a:gd name="T16" fmla="*/ 2 w 68"/>
                <a:gd name="T17" fmla="*/ 60 h 60"/>
                <a:gd name="T18" fmla="*/ 2 w 68"/>
                <a:gd name="T19" fmla="*/ 60 h 60"/>
                <a:gd name="T20" fmla="*/ 1 w 68"/>
                <a:gd name="T21" fmla="*/ 60 h 60"/>
                <a:gd name="T22" fmla="*/ 0 w 68"/>
                <a:gd name="T23" fmla="*/ 60 h 60"/>
                <a:gd name="T24" fmla="*/ 0 w 68"/>
                <a:gd name="T25" fmla="*/ 60 h 60"/>
                <a:gd name="T26" fmla="*/ 0 w 68"/>
                <a:gd name="T27" fmla="*/ 57 h 60"/>
                <a:gd name="T28" fmla="*/ 0 w 68"/>
                <a:gd name="T29" fmla="*/ 54 h 60"/>
                <a:gd name="T30" fmla="*/ 0 w 68"/>
                <a:gd name="T31" fmla="*/ 51 h 60"/>
                <a:gd name="T32" fmla="*/ 0 w 68"/>
                <a:gd name="T33" fmla="*/ 48 h 60"/>
                <a:gd name="T34" fmla="*/ 5 w 68"/>
                <a:gd name="T35" fmla="*/ 39 h 60"/>
                <a:gd name="T36" fmla="*/ 10 w 68"/>
                <a:gd name="T37" fmla="*/ 31 h 60"/>
                <a:gd name="T38" fmla="*/ 16 w 68"/>
                <a:gd name="T39" fmla="*/ 25 h 60"/>
                <a:gd name="T40" fmla="*/ 22 w 68"/>
                <a:gd name="T41" fmla="*/ 19 h 60"/>
                <a:gd name="T42" fmla="*/ 32 w 68"/>
                <a:gd name="T43" fmla="*/ 11 h 60"/>
                <a:gd name="T44" fmla="*/ 44 w 68"/>
                <a:gd name="T45" fmla="*/ 5 h 60"/>
                <a:gd name="T46" fmla="*/ 56 w 68"/>
                <a:gd name="T47" fmla="*/ 2 h 60"/>
                <a:gd name="T48" fmla="*/ 68 w 68"/>
                <a:gd name="T4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0">
                  <a:moveTo>
                    <a:pt x="68" y="0"/>
                  </a:moveTo>
                  <a:cubicBezTo>
                    <a:pt x="68" y="4"/>
                    <a:pt x="67" y="7"/>
                    <a:pt x="67" y="10"/>
                  </a:cubicBezTo>
                  <a:cubicBezTo>
                    <a:pt x="66" y="13"/>
                    <a:pt x="65" y="16"/>
                    <a:pt x="64" y="19"/>
                  </a:cubicBezTo>
                  <a:cubicBezTo>
                    <a:pt x="63" y="22"/>
                    <a:pt x="62" y="24"/>
                    <a:pt x="61" y="27"/>
                  </a:cubicBezTo>
                  <a:cubicBezTo>
                    <a:pt x="59" y="30"/>
                    <a:pt x="58" y="33"/>
                    <a:pt x="56" y="35"/>
                  </a:cubicBezTo>
                  <a:cubicBezTo>
                    <a:pt x="53" y="39"/>
                    <a:pt x="49" y="43"/>
                    <a:pt x="44" y="46"/>
                  </a:cubicBezTo>
                  <a:cubicBezTo>
                    <a:pt x="40" y="49"/>
                    <a:pt x="36" y="52"/>
                    <a:pt x="31" y="54"/>
                  </a:cubicBezTo>
                  <a:cubicBezTo>
                    <a:pt x="26" y="56"/>
                    <a:pt x="22" y="58"/>
                    <a:pt x="17" y="59"/>
                  </a:cubicBezTo>
                  <a:cubicBezTo>
                    <a:pt x="12" y="60"/>
                    <a:pt x="7" y="60"/>
                    <a:pt x="2" y="60"/>
                  </a:cubicBezTo>
                  <a:cubicBezTo>
                    <a:pt x="2" y="60"/>
                    <a:pt x="2" y="60"/>
                    <a:pt x="2" y="60"/>
                  </a:cubicBezTo>
                  <a:cubicBezTo>
                    <a:pt x="2" y="60"/>
                    <a:pt x="1" y="60"/>
                    <a:pt x="1" y="60"/>
                  </a:cubicBezTo>
                  <a:cubicBezTo>
                    <a:pt x="1" y="60"/>
                    <a:pt x="1" y="60"/>
                    <a:pt x="0" y="60"/>
                  </a:cubicBezTo>
                  <a:cubicBezTo>
                    <a:pt x="0" y="60"/>
                    <a:pt x="0" y="60"/>
                    <a:pt x="0" y="60"/>
                  </a:cubicBezTo>
                  <a:cubicBezTo>
                    <a:pt x="0" y="59"/>
                    <a:pt x="0" y="58"/>
                    <a:pt x="0" y="57"/>
                  </a:cubicBezTo>
                  <a:cubicBezTo>
                    <a:pt x="0" y="56"/>
                    <a:pt x="0" y="55"/>
                    <a:pt x="0" y="54"/>
                  </a:cubicBezTo>
                  <a:cubicBezTo>
                    <a:pt x="0" y="53"/>
                    <a:pt x="0" y="52"/>
                    <a:pt x="0" y="51"/>
                  </a:cubicBezTo>
                  <a:cubicBezTo>
                    <a:pt x="0" y="50"/>
                    <a:pt x="0" y="49"/>
                    <a:pt x="0" y="48"/>
                  </a:cubicBezTo>
                  <a:cubicBezTo>
                    <a:pt x="2" y="45"/>
                    <a:pt x="3" y="42"/>
                    <a:pt x="5" y="39"/>
                  </a:cubicBezTo>
                  <a:cubicBezTo>
                    <a:pt x="6" y="37"/>
                    <a:pt x="8" y="34"/>
                    <a:pt x="10" y="31"/>
                  </a:cubicBezTo>
                  <a:cubicBezTo>
                    <a:pt x="12" y="29"/>
                    <a:pt x="14" y="27"/>
                    <a:pt x="16" y="25"/>
                  </a:cubicBezTo>
                  <a:cubicBezTo>
                    <a:pt x="18" y="22"/>
                    <a:pt x="20" y="20"/>
                    <a:pt x="22" y="19"/>
                  </a:cubicBezTo>
                  <a:cubicBezTo>
                    <a:pt x="25" y="16"/>
                    <a:pt x="29" y="13"/>
                    <a:pt x="32" y="11"/>
                  </a:cubicBezTo>
                  <a:cubicBezTo>
                    <a:pt x="36" y="9"/>
                    <a:pt x="40" y="7"/>
                    <a:pt x="44" y="5"/>
                  </a:cubicBezTo>
                  <a:cubicBezTo>
                    <a:pt x="48" y="4"/>
                    <a:pt x="52" y="2"/>
                    <a:pt x="56" y="2"/>
                  </a:cubicBezTo>
                  <a:cubicBezTo>
                    <a:pt x="61" y="1"/>
                    <a:pt x="65" y="0"/>
                    <a:pt x="68" y="0"/>
                  </a:cubicBezTo>
                  <a:close/>
                </a:path>
              </a:pathLst>
            </a:custGeom>
            <a:solidFill>
              <a:srgbClr val="3D5800"/>
            </a:solidFill>
            <a:ln>
              <a:noFill/>
            </a:ln>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smtClean="0">
                <a:ln>
                  <a:noFill/>
                </a:ln>
                <a:solidFill>
                  <a:srgbClr val="505050"/>
                </a:solidFill>
                <a:effectLst/>
                <a:uLnTx/>
                <a:uFillTx/>
              </a:endParaRPr>
            </a:p>
          </p:txBody>
        </p:sp>
        <p:sp>
          <p:nvSpPr>
            <p:cNvPr id="755" name="Freeform 44"/>
            <p:cNvSpPr>
              <a:spLocks/>
            </p:cNvSpPr>
            <p:nvPr/>
          </p:nvSpPr>
          <p:spPr bwMode="auto">
            <a:xfrm>
              <a:off x="3982312" y="3596283"/>
              <a:ext cx="100307" cy="111079"/>
            </a:xfrm>
            <a:custGeom>
              <a:avLst/>
              <a:gdLst>
                <a:gd name="T0" fmla="*/ 75 w 221"/>
                <a:gd name="T1" fmla="*/ 0 h 244"/>
                <a:gd name="T2" fmla="*/ 91 w 221"/>
                <a:gd name="T3" fmla="*/ 4 h 244"/>
                <a:gd name="T4" fmla="*/ 102 w 221"/>
                <a:gd name="T5" fmla="*/ 10 h 244"/>
                <a:gd name="T6" fmla="*/ 112 w 221"/>
                <a:gd name="T7" fmla="*/ 15 h 244"/>
                <a:gd name="T8" fmla="*/ 125 w 221"/>
                <a:gd name="T9" fmla="*/ 19 h 244"/>
                <a:gd name="T10" fmla="*/ 135 w 221"/>
                <a:gd name="T11" fmla="*/ 17 h 244"/>
                <a:gd name="T12" fmla="*/ 146 w 221"/>
                <a:gd name="T13" fmla="*/ 13 h 244"/>
                <a:gd name="T14" fmla="*/ 160 w 221"/>
                <a:gd name="T15" fmla="*/ 10 h 244"/>
                <a:gd name="T16" fmla="*/ 180 w 221"/>
                <a:gd name="T17" fmla="*/ 9 h 244"/>
                <a:gd name="T18" fmla="*/ 196 w 221"/>
                <a:gd name="T19" fmla="*/ 14 h 244"/>
                <a:gd name="T20" fmla="*/ 209 w 221"/>
                <a:gd name="T21" fmla="*/ 24 h 244"/>
                <a:gd name="T22" fmla="*/ 217 w 221"/>
                <a:gd name="T23" fmla="*/ 34 h 244"/>
                <a:gd name="T24" fmla="*/ 221 w 221"/>
                <a:gd name="T25" fmla="*/ 41 h 244"/>
                <a:gd name="T26" fmla="*/ 210 w 221"/>
                <a:gd name="T27" fmla="*/ 47 h 244"/>
                <a:gd name="T28" fmla="*/ 196 w 221"/>
                <a:gd name="T29" fmla="*/ 60 h 244"/>
                <a:gd name="T30" fmla="*/ 182 w 221"/>
                <a:gd name="T31" fmla="*/ 79 h 244"/>
                <a:gd name="T32" fmla="*/ 175 w 221"/>
                <a:gd name="T33" fmla="*/ 106 h 244"/>
                <a:gd name="T34" fmla="*/ 179 w 221"/>
                <a:gd name="T35" fmla="*/ 134 h 244"/>
                <a:gd name="T36" fmla="*/ 192 w 221"/>
                <a:gd name="T37" fmla="*/ 154 h 244"/>
                <a:gd name="T38" fmla="*/ 205 w 221"/>
                <a:gd name="T39" fmla="*/ 167 h 244"/>
                <a:gd name="T40" fmla="*/ 213 w 221"/>
                <a:gd name="T41" fmla="*/ 173 h 244"/>
                <a:gd name="T42" fmla="*/ 205 w 221"/>
                <a:gd name="T43" fmla="*/ 188 h 244"/>
                <a:gd name="T44" fmla="*/ 189 w 221"/>
                <a:gd name="T45" fmla="*/ 212 h 244"/>
                <a:gd name="T46" fmla="*/ 168 w 221"/>
                <a:gd name="T47" fmla="*/ 235 h 244"/>
                <a:gd name="T48" fmla="*/ 149 w 221"/>
                <a:gd name="T49" fmla="*/ 243 h 244"/>
                <a:gd name="T50" fmla="*/ 135 w 221"/>
                <a:gd name="T51" fmla="*/ 239 h 244"/>
                <a:gd name="T52" fmla="*/ 125 w 221"/>
                <a:gd name="T53" fmla="*/ 233 h 244"/>
                <a:gd name="T54" fmla="*/ 116 w 221"/>
                <a:gd name="T55" fmla="*/ 227 h 244"/>
                <a:gd name="T56" fmla="*/ 103 w 221"/>
                <a:gd name="T57" fmla="*/ 223 h 244"/>
                <a:gd name="T58" fmla="*/ 87 w 221"/>
                <a:gd name="T59" fmla="*/ 223 h 244"/>
                <a:gd name="T60" fmla="*/ 76 w 221"/>
                <a:gd name="T61" fmla="*/ 226 h 244"/>
                <a:gd name="T62" fmla="*/ 66 w 221"/>
                <a:gd name="T63" fmla="*/ 230 h 244"/>
                <a:gd name="T64" fmla="*/ 56 w 221"/>
                <a:gd name="T65" fmla="*/ 231 h 244"/>
                <a:gd name="T66" fmla="*/ 43 w 221"/>
                <a:gd name="T67" fmla="*/ 225 h 244"/>
                <a:gd name="T68" fmla="*/ 32 w 221"/>
                <a:gd name="T69" fmla="*/ 214 h 244"/>
                <a:gd name="T70" fmla="*/ 20 w 221"/>
                <a:gd name="T71" fmla="*/ 195 h 244"/>
                <a:gd name="T72" fmla="*/ 10 w 221"/>
                <a:gd name="T73" fmla="*/ 171 h 244"/>
                <a:gd name="T74" fmla="*/ 3 w 221"/>
                <a:gd name="T75" fmla="*/ 142 h 244"/>
                <a:gd name="T76" fmla="*/ 0 w 221"/>
                <a:gd name="T77" fmla="*/ 112 h 244"/>
                <a:gd name="T78" fmla="*/ 2 w 221"/>
                <a:gd name="T79" fmla="*/ 83 h 244"/>
                <a:gd name="T80" fmla="*/ 9 w 221"/>
                <a:gd name="T81" fmla="*/ 55 h 244"/>
                <a:gd name="T82" fmla="*/ 21 w 221"/>
                <a:gd name="T83" fmla="*/ 32 h 244"/>
                <a:gd name="T84" fmla="*/ 38 w 221"/>
                <a:gd name="T85" fmla="*/ 15 h 244"/>
                <a:gd name="T86" fmla="*/ 56 w 221"/>
                <a:gd name="T87" fmla="*/ 4 h 244"/>
                <a:gd name="T88" fmla="*/ 75 w 221"/>
                <a:gd name="T8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1" h="244">
                  <a:moveTo>
                    <a:pt x="75" y="0"/>
                  </a:moveTo>
                  <a:cubicBezTo>
                    <a:pt x="81" y="1"/>
                    <a:pt x="86" y="2"/>
                    <a:pt x="91" y="4"/>
                  </a:cubicBezTo>
                  <a:cubicBezTo>
                    <a:pt x="95" y="6"/>
                    <a:pt x="99" y="8"/>
                    <a:pt x="102" y="10"/>
                  </a:cubicBezTo>
                  <a:cubicBezTo>
                    <a:pt x="106" y="12"/>
                    <a:pt x="109" y="14"/>
                    <a:pt x="112" y="15"/>
                  </a:cubicBezTo>
                  <a:cubicBezTo>
                    <a:pt x="116" y="17"/>
                    <a:pt x="120" y="18"/>
                    <a:pt x="125" y="19"/>
                  </a:cubicBezTo>
                  <a:cubicBezTo>
                    <a:pt x="128" y="19"/>
                    <a:pt x="132" y="18"/>
                    <a:pt x="135" y="17"/>
                  </a:cubicBezTo>
                  <a:cubicBezTo>
                    <a:pt x="139" y="16"/>
                    <a:pt x="142" y="15"/>
                    <a:pt x="146" y="13"/>
                  </a:cubicBezTo>
                  <a:cubicBezTo>
                    <a:pt x="150" y="12"/>
                    <a:pt x="155" y="11"/>
                    <a:pt x="160" y="10"/>
                  </a:cubicBezTo>
                  <a:cubicBezTo>
                    <a:pt x="166" y="9"/>
                    <a:pt x="172" y="9"/>
                    <a:pt x="180" y="9"/>
                  </a:cubicBezTo>
                  <a:cubicBezTo>
                    <a:pt x="186" y="10"/>
                    <a:pt x="192" y="12"/>
                    <a:pt x="196" y="14"/>
                  </a:cubicBezTo>
                  <a:cubicBezTo>
                    <a:pt x="201" y="17"/>
                    <a:pt x="205" y="20"/>
                    <a:pt x="209" y="24"/>
                  </a:cubicBezTo>
                  <a:cubicBezTo>
                    <a:pt x="212" y="27"/>
                    <a:pt x="215" y="31"/>
                    <a:pt x="217" y="34"/>
                  </a:cubicBezTo>
                  <a:cubicBezTo>
                    <a:pt x="219" y="37"/>
                    <a:pt x="220" y="39"/>
                    <a:pt x="221" y="41"/>
                  </a:cubicBezTo>
                  <a:cubicBezTo>
                    <a:pt x="218" y="42"/>
                    <a:pt x="215" y="44"/>
                    <a:pt x="210" y="47"/>
                  </a:cubicBezTo>
                  <a:cubicBezTo>
                    <a:pt x="206" y="51"/>
                    <a:pt x="201" y="55"/>
                    <a:pt x="196" y="60"/>
                  </a:cubicBezTo>
                  <a:cubicBezTo>
                    <a:pt x="191" y="65"/>
                    <a:pt x="186" y="72"/>
                    <a:pt x="182" y="79"/>
                  </a:cubicBezTo>
                  <a:cubicBezTo>
                    <a:pt x="179" y="87"/>
                    <a:pt x="176" y="96"/>
                    <a:pt x="175" y="106"/>
                  </a:cubicBezTo>
                  <a:cubicBezTo>
                    <a:pt x="174" y="116"/>
                    <a:pt x="176" y="126"/>
                    <a:pt x="179" y="134"/>
                  </a:cubicBezTo>
                  <a:cubicBezTo>
                    <a:pt x="182" y="142"/>
                    <a:pt x="187" y="149"/>
                    <a:pt x="192" y="154"/>
                  </a:cubicBezTo>
                  <a:cubicBezTo>
                    <a:pt x="196" y="160"/>
                    <a:pt x="201" y="164"/>
                    <a:pt x="205" y="167"/>
                  </a:cubicBezTo>
                  <a:cubicBezTo>
                    <a:pt x="209" y="171"/>
                    <a:pt x="212" y="172"/>
                    <a:pt x="213" y="173"/>
                  </a:cubicBezTo>
                  <a:cubicBezTo>
                    <a:pt x="212" y="175"/>
                    <a:pt x="209" y="180"/>
                    <a:pt x="205" y="188"/>
                  </a:cubicBezTo>
                  <a:cubicBezTo>
                    <a:pt x="201" y="195"/>
                    <a:pt x="195" y="204"/>
                    <a:pt x="189" y="212"/>
                  </a:cubicBezTo>
                  <a:cubicBezTo>
                    <a:pt x="182" y="221"/>
                    <a:pt x="175" y="229"/>
                    <a:pt x="168" y="235"/>
                  </a:cubicBezTo>
                  <a:cubicBezTo>
                    <a:pt x="161" y="240"/>
                    <a:pt x="155" y="244"/>
                    <a:pt x="149" y="243"/>
                  </a:cubicBezTo>
                  <a:cubicBezTo>
                    <a:pt x="143" y="242"/>
                    <a:pt x="138" y="240"/>
                    <a:pt x="135" y="239"/>
                  </a:cubicBezTo>
                  <a:cubicBezTo>
                    <a:pt x="131" y="237"/>
                    <a:pt x="128" y="235"/>
                    <a:pt x="125" y="233"/>
                  </a:cubicBezTo>
                  <a:cubicBezTo>
                    <a:pt x="122" y="231"/>
                    <a:pt x="120" y="228"/>
                    <a:pt x="116" y="227"/>
                  </a:cubicBezTo>
                  <a:cubicBezTo>
                    <a:pt x="113" y="225"/>
                    <a:pt x="108" y="223"/>
                    <a:pt x="103" y="223"/>
                  </a:cubicBezTo>
                  <a:cubicBezTo>
                    <a:pt x="97" y="222"/>
                    <a:pt x="92" y="222"/>
                    <a:pt x="87" y="223"/>
                  </a:cubicBezTo>
                  <a:cubicBezTo>
                    <a:pt x="83" y="224"/>
                    <a:pt x="79" y="225"/>
                    <a:pt x="76" y="226"/>
                  </a:cubicBezTo>
                  <a:cubicBezTo>
                    <a:pt x="72" y="227"/>
                    <a:pt x="69" y="229"/>
                    <a:pt x="66" y="230"/>
                  </a:cubicBezTo>
                  <a:cubicBezTo>
                    <a:pt x="62" y="231"/>
                    <a:pt x="59" y="231"/>
                    <a:pt x="56" y="231"/>
                  </a:cubicBezTo>
                  <a:cubicBezTo>
                    <a:pt x="52" y="230"/>
                    <a:pt x="47" y="228"/>
                    <a:pt x="43" y="225"/>
                  </a:cubicBezTo>
                  <a:cubicBezTo>
                    <a:pt x="39" y="223"/>
                    <a:pt x="35" y="219"/>
                    <a:pt x="32" y="214"/>
                  </a:cubicBezTo>
                  <a:cubicBezTo>
                    <a:pt x="28" y="209"/>
                    <a:pt x="24" y="202"/>
                    <a:pt x="20" y="195"/>
                  </a:cubicBezTo>
                  <a:cubicBezTo>
                    <a:pt x="17" y="188"/>
                    <a:pt x="13" y="180"/>
                    <a:pt x="10" y="171"/>
                  </a:cubicBezTo>
                  <a:cubicBezTo>
                    <a:pt x="7" y="162"/>
                    <a:pt x="4" y="152"/>
                    <a:pt x="3" y="142"/>
                  </a:cubicBezTo>
                  <a:cubicBezTo>
                    <a:pt x="1" y="132"/>
                    <a:pt x="0" y="122"/>
                    <a:pt x="0" y="112"/>
                  </a:cubicBezTo>
                  <a:cubicBezTo>
                    <a:pt x="0" y="102"/>
                    <a:pt x="1" y="92"/>
                    <a:pt x="2" y="83"/>
                  </a:cubicBezTo>
                  <a:cubicBezTo>
                    <a:pt x="4" y="73"/>
                    <a:pt x="6" y="64"/>
                    <a:pt x="9" y="55"/>
                  </a:cubicBezTo>
                  <a:cubicBezTo>
                    <a:pt x="12" y="47"/>
                    <a:pt x="16" y="39"/>
                    <a:pt x="21" y="32"/>
                  </a:cubicBezTo>
                  <a:cubicBezTo>
                    <a:pt x="26" y="26"/>
                    <a:pt x="31" y="20"/>
                    <a:pt x="38" y="15"/>
                  </a:cubicBezTo>
                  <a:cubicBezTo>
                    <a:pt x="44" y="10"/>
                    <a:pt x="50" y="6"/>
                    <a:pt x="56" y="4"/>
                  </a:cubicBezTo>
                  <a:cubicBezTo>
                    <a:pt x="63" y="1"/>
                    <a:pt x="69" y="0"/>
                    <a:pt x="75" y="0"/>
                  </a:cubicBezTo>
                  <a:close/>
                </a:path>
              </a:pathLst>
            </a:custGeom>
            <a:solidFill>
              <a:srgbClr val="3D5800"/>
            </a:solidFill>
            <a:ln>
              <a:noFill/>
            </a:ln>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smtClean="0">
                <a:ln>
                  <a:noFill/>
                </a:ln>
                <a:solidFill>
                  <a:srgbClr val="505050"/>
                </a:solidFill>
                <a:effectLst/>
                <a:uLnTx/>
                <a:uFillTx/>
              </a:endParaRPr>
            </a:p>
          </p:txBody>
        </p:sp>
      </p:grpSp>
      <p:grpSp>
        <p:nvGrpSpPr>
          <p:cNvPr id="756" name="Group 755"/>
          <p:cNvGrpSpPr>
            <a:grpSpLocks noChangeAspect="1"/>
          </p:cNvGrpSpPr>
          <p:nvPr/>
        </p:nvGrpSpPr>
        <p:grpSpPr>
          <a:xfrm>
            <a:off x="10764726" y="2964629"/>
            <a:ext cx="1175678" cy="1276668"/>
            <a:chOff x="605464" y="3749753"/>
            <a:chExt cx="979487" cy="1063625"/>
          </a:xfrm>
          <a:solidFill>
            <a:srgbClr val="00188F"/>
          </a:solidFill>
        </p:grpSpPr>
        <p:sp>
          <p:nvSpPr>
            <p:cNvPr id="757" name="Freeform 6"/>
            <p:cNvSpPr>
              <a:spLocks/>
            </p:cNvSpPr>
            <p:nvPr/>
          </p:nvSpPr>
          <p:spPr bwMode="auto">
            <a:xfrm>
              <a:off x="605464" y="4340303"/>
              <a:ext cx="414337" cy="468313"/>
            </a:xfrm>
            <a:custGeom>
              <a:avLst/>
              <a:gdLst>
                <a:gd name="T0" fmla="*/ 96 w 314"/>
                <a:gd name="T1" fmla="*/ 64 h 356"/>
                <a:gd name="T2" fmla="*/ 0 w 314"/>
                <a:gd name="T3" fmla="*/ 154 h 356"/>
                <a:gd name="T4" fmla="*/ 0 w 314"/>
                <a:gd name="T5" fmla="*/ 324 h 356"/>
                <a:gd name="T6" fmla="*/ 314 w 314"/>
                <a:gd name="T7" fmla="*/ 356 h 356"/>
                <a:gd name="T8" fmla="*/ 271 w 314"/>
                <a:gd name="T9" fmla="*/ 0 h 356"/>
                <a:gd name="T10" fmla="*/ 96 w 314"/>
                <a:gd name="T11" fmla="*/ 64 h 356"/>
              </a:gdLst>
              <a:ahLst/>
              <a:cxnLst>
                <a:cxn ang="0">
                  <a:pos x="T0" y="T1"/>
                </a:cxn>
                <a:cxn ang="0">
                  <a:pos x="T2" y="T3"/>
                </a:cxn>
                <a:cxn ang="0">
                  <a:pos x="T4" y="T5"/>
                </a:cxn>
                <a:cxn ang="0">
                  <a:pos x="T6" y="T7"/>
                </a:cxn>
                <a:cxn ang="0">
                  <a:pos x="T8" y="T9"/>
                </a:cxn>
                <a:cxn ang="0">
                  <a:pos x="T10" y="T11"/>
                </a:cxn>
              </a:cxnLst>
              <a:rect l="0" t="0" r="r" b="b"/>
              <a:pathLst>
                <a:path w="314" h="356">
                  <a:moveTo>
                    <a:pt x="96" y="64"/>
                  </a:moveTo>
                  <a:cubicBezTo>
                    <a:pt x="11" y="91"/>
                    <a:pt x="0" y="154"/>
                    <a:pt x="0" y="154"/>
                  </a:cubicBezTo>
                  <a:cubicBezTo>
                    <a:pt x="0" y="324"/>
                    <a:pt x="0" y="324"/>
                    <a:pt x="0" y="324"/>
                  </a:cubicBezTo>
                  <a:cubicBezTo>
                    <a:pt x="59" y="335"/>
                    <a:pt x="314" y="356"/>
                    <a:pt x="314" y="356"/>
                  </a:cubicBezTo>
                  <a:cubicBezTo>
                    <a:pt x="271" y="0"/>
                    <a:pt x="271" y="0"/>
                    <a:pt x="271" y="0"/>
                  </a:cubicBezTo>
                  <a:cubicBezTo>
                    <a:pt x="271" y="0"/>
                    <a:pt x="181" y="37"/>
                    <a:pt x="96"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smtClean="0">
                <a:ln>
                  <a:noFill/>
                </a:ln>
                <a:solidFill>
                  <a:srgbClr val="505050"/>
                </a:solidFill>
                <a:effectLst/>
                <a:uLnTx/>
                <a:uFillTx/>
              </a:endParaRPr>
            </a:p>
          </p:txBody>
        </p:sp>
        <p:sp>
          <p:nvSpPr>
            <p:cNvPr id="758" name="Freeform 7"/>
            <p:cNvSpPr>
              <a:spLocks/>
            </p:cNvSpPr>
            <p:nvPr/>
          </p:nvSpPr>
          <p:spPr bwMode="auto">
            <a:xfrm>
              <a:off x="1172201" y="4340303"/>
              <a:ext cx="412750" cy="468313"/>
            </a:xfrm>
            <a:custGeom>
              <a:avLst/>
              <a:gdLst>
                <a:gd name="T0" fmla="*/ 218 w 313"/>
                <a:gd name="T1" fmla="*/ 64 h 356"/>
                <a:gd name="T2" fmla="*/ 42 w 313"/>
                <a:gd name="T3" fmla="*/ 0 h 356"/>
                <a:gd name="T4" fmla="*/ 0 w 313"/>
                <a:gd name="T5" fmla="*/ 356 h 356"/>
                <a:gd name="T6" fmla="*/ 313 w 313"/>
                <a:gd name="T7" fmla="*/ 324 h 356"/>
                <a:gd name="T8" fmla="*/ 313 w 313"/>
                <a:gd name="T9" fmla="*/ 154 h 356"/>
                <a:gd name="T10" fmla="*/ 218 w 313"/>
                <a:gd name="T11" fmla="*/ 64 h 356"/>
              </a:gdLst>
              <a:ahLst/>
              <a:cxnLst>
                <a:cxn ang="0">
                  <a:pos x="T0" y="T1"/>
                </a:cxn>
                <a:cxn ang="0">
                  <a:pos x="T2" y="T3"/>
                </a:cxn>
                <a:cxn ang="0">
                  <a:pos x="T4" y="T5"/>
                </a:cxn>
                <a:cxn ang="0">
                  <a:pos x="T6" y="T7"/>
                </a:cxn>
                <a:cxn ang="0">
                  <a:pos x="T8" y="T9"/>
                </a:cxn>
                <a:cxn ang="0">
                  <a:pos x="T10" y="T11"/>
                </a:cxn>
              </a:cxnLst>
              <a:rect l="0" t="0" r="r" b="b"/>
              <a:pathLst>
                <a:path w="313" h="356">
                  <a:moveTo>
                    <a:pt x="218" y="64"/>
                  </a:moveTo>
                  <a:cubicBezTo>
                    <a:pt x="133" y="37"/>
                    <a:pt x="42" y="0"/>
                    <a:pt x="42" y="0"/>
                  </a:cubicBezTo>
                  <a:cubicBezTo>
                    <a:pt x="0" y="356"/>
                    <a:pt x="0" y="356"/>
                    <a:pt x="0" y="356"/>
                  </a:cubicBezTo>
                  <a:cubicBezTo>
                    <a:pt x="0" y="356"/>
                    <a:pt x="255" y="335"/>
                    <a:pt x="313" y="324"/>
                  </a:cubicBezTo>
                  <a:cubicBezTo>
                    <a:pt x="313" y="154"/>
                    <a:pt x="313" y="154"/>
                    <a:pt x="313" y="154"/>
                  </a:cubicBezTo>
                  <a:cubicBezTo>
                    <a:pt x="313" y="154"/>
                    <a:pt x="303" y="91"/>
                    <a:pt x="218"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smtClean="0">
                <a:ln>
                  <a:noFill/>
                </a:ln>
                <a:solidFill>
                  <a:srgbClr val="505050"/>
                </a:solidFill>
                <a:effectLst/>
                <a:uLnTx/>
                <a:uFillTx/>
              </a:endParaRPr>
            </a:p>
          </p:txBody>
        </p:sp>
        <p:sp>
          <p:nvSpPr>
            <p:cNvPr id="759" name="Freeform 10"/>
            <p:cNvSpPr>
              <a:spLocks/>
            </p:cNvSpPr>
            <p:nvPr/>
          </p:nvSpPr>
          <p:spPr bwMode="auto">
            <a:xfrm>
              <a:off x="976939" y="4286328"/>
              <a:ext cx="231775" cy="527050"/>
            </a:xfrm>
            <a:custGeom>
              <a:avLst/>
              <a:gdLst>
                <a:gd name="T0" fmla="*/ 10 w 175"/>
                <a:gd name="T1" fmla="*/ 2 h 399"/>
                <a:gd name="T2" fmla="*/ 0 w 175"/>
                <a:gd name="T3" fmla="*/ 2 h 399"/>
                <a:gd name="T4" fmla="*/ 0 w 175"/>
                <a:gd name="T5" fmla="*/ 36 h 399"/>
                <a:gd name="T6" fmla="*/ 5 w 175"/>
                <a:gd name="T7" fmla="*/ 42 h 399"/>
                <a:gd name="T8" fmla="*/ 83 w 175"/>
                <a:gd name="T9" fmla="*/ 100 h 399"/>
                <a:gd name="T10" fmla="*/ 53 w 175"/>
                <a:gd name="T11" fmla="*/ 141 h 399"/>
                <a:gd name="T12" fmla="*/ 74 w 175"/>
                <a:gd name="T13" fmla="*/ 184 h 399"/>
                <a:gd name="T14" fmla="*/ 67 w 175"/>
                <a:gd name="T15" fmla="*/ 398 h 399"/>
                <a:gd name="T16" fmla="*/ 120 w 175"/>
                <a:gd name="T17" fmla="*/ 399 h 399"/>
                <a:gd name="T18" fmla="*/ 106 w 175"/>
                <a:gd name="T19" fmla="*/ 181 h 399"/>
                <a:gd name="T20" fmla="*/ 126 w 175"/>
                <a:gd name="T21" fmla="*/ 141 h 399"/>
                <a:gd name="T22" fmla="*/ 90 w 175"/>
                <a:gd name="T23" fmla="*/ 97 h 399"/>
                <a:gd name="T24" fmla="*/ 175 w 175"/>
                <a:gd name="T25" fmla="*/ 37 h 399"/>
                <a:gd name="T26" fmla="*/ 175 w 175"/>
                <a:gd name="T27" fmla="*/ 0 h 399"/>
                <a:gd name="T28" fmla="*/ 161 w 175"/>
                <a:gd name="T29" fmla="*/ 0 h 399"/>
                <a:gd name="T30" fmla="*/ 85 w 175"/>
                <a:gd name="T31" fmla="*/ 25 h 399"/>
                <a:gd name="T32" fmla="*/ 10 w 175"/>
                <a:gd name="T33" fmla="*/ 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 h="399">
                  <a:moveTo>
                    <a:pt x="10" y="2"/>
                  </a:moveTo>
                  <a:cubicBezTo>
                    <a:pt x="0" y="2"/>
                    <a:pt x="0" y="2"/>
                    <a:pt x="0" y="2"/>
                  </a:cubicBezTo>
                  <a:cubicBezTo>
                    <a:pt x="0" y="36"/>
                    <a:pt x="0" y="36"/>
                    <a:pt x="0" y="36"/>
                  </a:cubicBezTo>
                  <a:cubicBezTo>
                    <a:pt x="5" y="42"/>
                    <a:pt x="5" y="42"/>
                    <a:pt x="5" y="42"/>
                  </a:cubicBezTo>
                  <a:cubicBezTo>
                    <a:pt x="83" y="100"/>
                    <a:pt x="83" y="100"/>
                    <a:pt x="83" y="100"/>
                  </a:cubicBezTo>
                  <a:cubicBezTo>
                    <a:pt x="53" y="141"/>
                    <a:pt x="53" y="141"/>
                    <a:pt x="53" y="141"/>
                  </a:cubicBezTo>
                  <a:cubicBezTo>
                    <a:pt x="74" y="184"/>
                    <a:pt x="74" y="184"/>
                    <a:pt x="74" y="184"/>
                  </a:cubicBezTo>
                  <a:cubicBezTo>
                    <a:pt x="67" y="398"/>
                    <a:pt x="67" y="398"/>
                    <a:pt x="67" y="398"/>
                  </a:cubicBezTo>
                  <a:cubicBezTo>
                    <a:pt x="120" y="399"/>
                    <a:pt x="120" y="399"/>
                    <a:pt x="120" y="399"/>
                  </a:cubicBezTo>
                  <a:cubicBezTo>
                    <a:pt x="106" y="181"/>
                    <a:pt x="106" y="181"/>
                    <a:pt x="106" y="181"/>
                  </a:cubicBezTo>
                  <a:cubicBezTo>
                    <a:pt x="126" y="141"/>
                    <a:pt x="126" y="141"/>
                    <a:pt x="126" y="141"/>
                  </a:cubicBezTo>
                  <a:cubicBezTo>
                    <a:pt x="90" y="97"/>
                    <a:pt x="90" y="97"/>
                    <a:pt x="90" y="97"/>
                  </a:cubicBezTo>
                  <a:cubicBezTo>
                    <a:pt x="175" y="37"/>
                    <a:pt x="175" y="37"/>
                    <a:pt x="175" y="37"/>
                  </a:cubicBezTo>
                  <a:cubicBezTo>
                    <a:pt x="175" y="0"/>
                    <a:pt x="175" y="0"/>
                    <a:pt x="175" y="0"/>
                  </a:cubicBezTo>
                  <a:cubicBezTo>
                    <a:pt x="161" y="0"/>
                    <a:pt x="161" y="0"/>
                    <a:pt x="161" y="0"/>
                  </a:cubicBezTo>
                  <a:cubicBezTo>
                    <a:pt x="139" y="16"/>
                    <a:pt x="112" y="25"/>
                    <a:pt x="85" y="25"/>
                  </a:cubicBezTo>
                  <a:cubicBezTo>
                    <a:pt x="58" y="25"/>
                    <a:pt x="33" y="16"/>
                    <a:pt x="1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smtClean="0">
                <a:ln>
                  <a:noFill/>
                </a:ln>
                <a:solidFill>
                  <a:srgbClr val="505050"/>
                </a:solidFill>
                <a:effectLst/>
                <a:uLnTx/>
                <a:uFillTx/>
              </a:endParaRPr>
            </a:p>
          </p:txBody>
        </p:sp>
        <p:sp>
          <p:nvSpPr>
            <p:cNvPr id="760" name="Freeform 11"/>
            <p:cNvSpPr>
              <a:spLocks/>
            </p:cNvSpPr>
            <p:nvPr/>
          </p:nvSpPr>
          <p:spPr bwMode="auto">
            <a:xfrm>
              <a:off x="991226" y="4289503"/>
              <a:ext cx="9525" cy="0"/>
            </a:xfrm>
            <a:custGeom>
              <a:avLst/>
              <a:gdLst>
                <a:gd name="T0" fmla="*/ 6 w 6"/>
                <a:gd name="T1" fmla="*/ 0 w 6"/>
                <a:gd name="T2" fmla="*/ 6 w 6"/>
                <a:gd name="T3" fmla="*/ 6 w 6"/>
              </a:gdLst>
              <a:ahLst/>
              <a:cxnLst>
                <a:cxn ang="0">
                  <a:pos x="T0" y="0"/>
                </a:cxn>
                <a:cxn ang="0">
                  <a:pos x="T1" y="0"/>
                </a:cxn>
                <a:cxn ang="0">
                  <a:pos x="T2" y="0"/>
                </a:cxn>
                <a:cxn ang="0">
                  <a:pos x="T3" y="0"/>
                </a:cxn>
              </a:cxnLst>
              <a:rect l="0" t="0" r="r" b="b"/>
              <a:pathLst>
                <a:path w="6">
                  <a:moveTo>
                    <a:pt x="6" y="0"/>
                  </a:moveTo>
                  <a:lnTo>
                    <a:pt x="0" y="0"/>
                  </a:lnTo>
                  <a:lnTo>
                    <a:pt x="6"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smtClean="0">
                <a:ln>
                  <a:noFill/>
                </a:ln>
                <a:solidFill>
                  <a:srgbClr val="505050"/>
                </a:solidFill>
                <a:effectLst/>
                <a:uLnTx/>
                <a:uFillTx/>
              </a:endParaRPr>
            </a:p>
          </p:txBody>
        </p:sp>
        <p:sp>
          <p:nvSpPr>
            <p:cNvPr id="761" name="Freeform 12"/>
            <p:cNvSpPr>
              <a:spLocks/>
            </p:cNvSpPr>
            <p:nvPr/>
          </p:nvSpPr>
          <p:spPr bwMode="auto">
            <a:xfrm>
              <a:off x="1000751" y="4289503"/>
              <a:ext cx="11112" cy="0"/>
            </a:xfrm>
            <a:custGeom>
              <a:avLst/>
              <a:gdLst>
                <a:gd name="T0" fmla="*/ 0 w 7"/>
                <a:gd name="T1" fmla="*/ 0 w 7"/>
                <a:gd name="T2" fmla="*/ 7 w 7"/>
                <a:gd name="T3" fmla="*/ 0 w 7"/>
              </a:gdLst>
              <a:ahLst/>
              <a:cxnLst>
                <a:cxn ang="0">
                  <a:pos x="T0" y="0"/>
                </a:cxn>
                <a:cxn ang="0">
                  <a:pos x="T1" y="0"/>
                </a:cxn>
                <a:cxn ang="0">
                  <a:pos x="T2" y="0"/>
                </a:cxn>
                <a:cxn ang="0">
                  <a:pos x="T3" y="0"/>
                </a:cxn>
              </a:cxnLst>
              <a:rect l="0" t="0" r="r" b="b"/>
              <a:pathLst>
                <a:path w="7">
                  <a:moveTo>
                    <a:pt x="0" y="0"/>
                  </a:moveTo>
                  <a:lnTo>
                    <a:pt x="0" y="0"/>
                  </a:lnTo>
                  <a:lnTo>
                    <a:pt x="7"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smtClean="0">
                <a:ln>
                  <a:noFill/>
                </a:ln>
                <a:solidFill>
                  <a:srgbClr val="505050"/>
                </a:solidFill>
                <a:effectLst/>
                <a:uLnTx/>
                <a:uFillTx/>
              </a:endParaRPr>
            </a:p>
          </p:txBody>
        </p:sp>
        <p:sp>
          <p:nvSpPr>
            <p:cNvPr id="762" name="Freeform 13"/>
            <p:cNvSpPr>
              <a:spLocks/>
            </p:cNvSpPr>
            <p:nvPr/>
          </p:nvSpPr>
          <p:spPr bwMode="auto">
            <a:xfrm>
              <a:off x="884864" y="3749753"/>
              <a:ext cx="409575" cy="528638"/>
            </a:xfrm>
            <a:custGeom>
              <a:avLst/>
              <a:gdLst>
                <a:gd name="T0" fmla="*/ 310 w 310"/>
                <a:gd name="T1" fmla="*/ 200 h 400"/>
                <a:gd name="T2" fmla="*/ 155 w 310"/>
                <a:gd name="T3" fmla="*/ 0 h 400"/>
                <a:gd name="T4" fmla="*/ 0 w 310"/>
                <a:gd name="T5" fmla="*/ 200 h 400"/>
                <a:gd name="T6" fmla="*/ 96 w 310"/>
                <a:gd name="T7" fmla="*/ 385 h 400"/>
                <a:gd name="T8" fmla="*/ 155 w 310"/>
                <a:gd name="T9" fmla="*/ 400 h 400"/>
                <a:gd name="T10" fmla="*/ 216 w 310"/>
                <a:gd name="T11" fmla="*/ 383 h 400"/>
                <a:gd name="T12" fmla="*/ 310 w 310"/>
                <a:gd name="T13" fmla="*/ 200 h 400"/>
              </a:gdLst>
              <a:ahLst/>
              <a:cxnLst>
                <a:cxn ang="0">
                  <a:pos x="T0" y="T1"/>
                </a:cxn>
                <a:cxn ang="0">
                  <a:pos x="T2" y="T3"/>
                </a:cxn>
                <a:cxn ang="0">
                  <a:pos x="T4" y="T5"/>
                </a:cxn>
                <a:cxn ang="0">
                  <a:pos x="T6" y="T7"/>
                </a:cxn>
                <a:cxn ang="0">
                  <a:pos x="T8" y="T9"/>
                </a:cxn>
                <a:cxn ang="0">
                  <a:pos x="T10" y="T11"/>
                </a:cxn>
                <a:cxn ang="0">
                  <a:pos x="T12" y="T13"/>
                </a:cxn>
              </a:cxnLst>
              <a:rect l="0" t="0" r="r" b="b"/>
              <a:pathLst>
                <a:path w="310" h="400">
                  <a:moveTo>
                    <a:pt x="310" y="200"/>
                  </a:moveTo>
                  <a:cubicBezTo>
                    <a:pt x="310" y="89"/>
                    <a:pt x="240" y="0"/>
                    <a:pt x="155" y="0"/>
                  </a:cubicBezTo>
                  <a:cubicBezTo>
                    <a:pt x="69" y="0"/>
                    <a:pt x="0" y="89"/>
                    <a:pt x="0" y="200"/>
                  </a:cubicBezTo>
                  <a:cubicBezTo>
                    <a:pt x="0" y="283"/>
                    <a:pt x="39" y="355"/>
                    <a:pt x="96" y="385"/>
                  </a:cubicBezTo>
                  <a:cubicBezTo>
                    <a:pt x="114" y="394"/>
                    <a:pt x="134" y="400"/>
                    <a:pt x="155" y="400"/>
                  </a:cubicBezTo>
                  <a:cubicBezTo>
                    <a:pt x="177" y="400"/>
                    <a:pt x="197" y="394"/>
                    <a:pt x="216" y="383"/>
                  </a:cubicBezTo>
                  <a:cubicBezTo>
                    <a:pt x="271" y="353"/>
                    <a:pt x="310" y="282"/>
                    <a:pt x="310"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smtClean="0">
                <a:ln>
                  <a:noFill/>
                </a:ln>
                <a:solidFill>
                  <a:srgbClr val="505050"/>
                </a:solidFill>
                <a:effectLst/>
                <a:uLnTx/>
                <a:uFillTx/>
              </a:endParaRPr>
            </a:p>
          </p:txBody>
        </p:sp>
      </p:grpSp>
      <p:cxnSp>
        <p:nvCxnSpPr>
          <p:cNvPr id="763" name="Straight Connector 762"/>
          <p:cNvCxnSpPr/>
          <p:nvPr/>
        </p:nvCxnSpPr>
        <p:spPr>
          <a:xfrm>
            <a:off x="10065803" y="3598799"/>
            <a:ext cx="698219" cy="0"/>
          </a:xfrm>
          <a:prstGeom prst="line">
            <a:avLst/>
          </a:prstGeom>
          <a:noFill/>
          <a:ln w="19050" cap="rnd" cmpd="sng" algn="ctr">
            <a:solidFill>
              <a:srgbClr val="505050"/>
            </a:solidFill>
            <a:prstDash val="sysDot"/>
            <a:headEnd type="triangle" w="med" len="med"/>
            <a:tailEnd type="triangle" w="med" len="med"/>
          </a:ln>
          <a:effectLst/>
        </p:spPr>
      </p:cxnSp>
      <p:sp>
        <p:nvSpPr>
          <p:cNvPr id="764" name="Rectangle 763"/>
          <p:cNvSpPr/>
          <p:nvPr/>
        </p:nvSpPr>
        <p:spPr>
          <a:xfrm>
            <a:off x="10773786" y="4400221"/>
            <a:ext cx="1166617" cy="298405"/>
          </a:xfrm>
          <a:prstGeom prst="rect">
            <a:avLst/>
          </a:prstGeom>
        </p:spPr>
        <p:txBody>
          <a:bodyPr wrap="square" lIns="76152" tIns="38075" rIns="76152" bIns="38075">
            <a:spAutoFit/>
          </a:bodyPr>
          <a:lstStyle/>
          <a:p>
            <a:pPr marL="0" marR="0" lvl="0" indent="0" algn="ctr" defTabSz="761316" eaLnBrk="1" fontAlgn="auto" latinLnBrk="0" hangingPunct="1">
              <a:lnSpc>
                <a:spcPct val="90000"/>
              </a:lnSpc>
              <a:spcBef>
                <a:spcPts val="500"/>
              </a:spcBef>
              <a:spcAft>
                <a:spcPts val="0"/>
              </a:spcAft>
              <a:buClrTx/>
              <a:buSzTx/>
              <a:buFontTx/>
              <a:buNone/>
              <a:tabLst/>
              <a:defRPr/>
            </a:pPr>
            <a:r>
              <a:rPr kumimoji="0" lang="en-US" sz="1568" b="0" i="0" u="none" strike="noStrike" kern="0" cap="none" spc="-42" normalizeH="0" baseline="0" noProof="0" dirty="0">
                <a:ln>
                  <a:noFill/>
                </a:ln>
                <a:solidFill>
                  <a:srgbClr val="00188F"/>
                </a:solidFill>
                <a:effectLst/>
                <a:uLnTx/>
                <a:uFillTx/>
              </a:rPr>
              <a:t>Users</a:t>
            </a:r>
          </a:p>
        </p:txBody>
      </p:sp>
      <p:sp>
        <p:nvSpPr>
          <p:cNvPr id="765" name="Freeform 341"/>
          <p:cNvSpPr>
            <a:spLocks noChangeAspect="1"/>
          </p:cNvSpPr>
          <p:nvPr/>
        </p:nvSpPr>
        <p:spPr bwMode="auto">
          <a:xfrm>
            <a:off x="9195783" y="3456658"/>
            <a:ext cx="450726" cy="487898"/>
          </a:xfrm>
          <a:custGeom>
            <a:avLst/>
            <a:gdLst>
              <a:gd name="T0" fmla="*/ 82 w 82"/>
              <a:gd name="T1" fmla="*/ 42 h 89"/>
              <a:gd name="T2" fmla="*/ 82 w 82"/>
              <a:gd name="T3" fmla="*/ 26 h 89"/>
              <a:gd name="T4" fmla="*/ 82 w 82"/>
              <a:gd name="T5" fmla="*/ 14 h 89"/>
              <a:gd name="T6" fmla="*/ 82 w 82"/>
              <a:gd name="T7" fmla="*/ 12 h 89"/>
              <a:gd name="T8" fmla="*/ 28 w 82"/>
              <a:gd name="T9" fmla="*/ 0 h 89"/>
              <a:gd name="T10" fmla="*/ 27 w 82"/>
              <a:gd name="T11" fmla="*/ 43 h 89"/>
              <a:gd name="T12" fmla="*/ 14 w 82"/>
              <a:gd name="T13" fmla="*/ 73 h 89"/>
              <a:gd name="T14" fmla="*/ 38 w 82"/>
              <a:gd name="T15" fmla="*/ 58 h 89"/>
              <a:gd name="T16" fmla="*/ 38 w 82"/>
              <a:gd name="T17" fmla="*/ 33 h 89"/>
              <a:gd name="T18" fmla="*/ 38 w 82"/>
              <a:gd name="T19" fmla="*/ 13 h 89"/>
              <a:gd name="T20" fmla="*/ 71 w 82"/>
              <a:gd name="T21" fmla="*/ 20 h 89"/>
              <a:gd name="T22" fmla="*/ 71 w 82"/>
              <a:gd name="T23" fmla="*/ 55 h 89"/>
              <a:gd name="T24" fmla="*/ 58 w 82"/>
              <a:gd name="T25" fmla="*/ 84 h 89"/>
              <a:gd name="T26" fmla="*/ 82 w 82"/>
              <a:gd name="T27" fmla="*/ 69 h 89"/>
              <a:gd name="T28" fmla="*/ 82 w 82"/>
              <a:gd name="T29" fmla="*/ 45 h 89"/>
              <a:gd name="T30" fmla="*/ 82 w 82"/>
              <a:gd name="T31" fmla="*/ 4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9">
                <a:moveTo>
                  <a:pt x="82" y="42"/>
                </a:moveTo>
                <a:cubicBezTo>
                  <a:pt x="82" y="26"/>
                  <a:pt x="82" y="26"/>
                  <a:pt x="82" y="26"/>
                </a:cubicBezTo>
                <a:cubicBezTo>
                  <a:pt x="82" y="14"/>
                  <a:pt x="82" y="14"/>
                  <a:pt x="82" y="14"/>
                </a:cubicBezTo>
                <a:cubicBezTo>
                  <a:pt x="82" y="12"/>
                  <a:pt x="82" y="12"/>
                  <a:pt x="82" y="12"/>
                </a:cubicBezTo>
                <a:cubicBezTo>
                  <a:pt x="28" y="0"/>
                  <a:pt x="28" y="0"/>
                  <a:pt x="28" y="0"/>
                </a:cubicBezTo>
                <a:cubicBezTo>
                  <a:pt x="27" y="43"/>
                  <a:pt x="27" y="43"/>
                  <a:pt x="27" y="43"/>
                </a:cubicBezTo>
                <a:cubicBezTo>
                  <a:pt x="4" y="43"/>
                  <a:pt x="0" y="66"/>
                  <a:pt x="14" y="73"/>
                </a:cubicBezTo>
                <a:cubicBezTo>
                  <a:pt x="24" y="77"/>
                  <a:pt x="38" y="71"/>
                  <a:pt x="38" y="58"/>
                </a:cubicBezTo>
                <a:cubicBezTo>
                  <a:pt x="38" y="33"/>
                  <a:pt x="38" y="33"/>
                  <a:pt x="38" y="33"/>
                </a:cubicBezTo>
                <a:cubicBezTo>
                  <a:pt x="38" y="13"/>
                  <a:pt x="38" y="13"/>
                  <a:pt x="38" y="13"/>
                </a:cubicBezTo>
                <a:cubicBezTo>
                  <a:pt x="71" y="20"/>
                  <a:pt x="71" y="20"/>
                  <a:pt x="71" y="20"/>
                </a:cubicBezTo>
                <a:cubicBezTo>
                  <a:pt x="71" y="55"/>
                  <a:pt x="71" y="55"/>
                  <a:pt x="71" y="55"/>
                </a:cubicBezTo>
                <a:cubicBezTo>
                  <a:pt x="48" y="55"/>
                  <a:pt x="43" y="77"/>
                  <a:pt x="58" y="84"/>
                </a:cubicBezTo>
                <a:cubicBezTo>
                  <a:pt x="67" y="89"/>
                  <a:pt x="82" y="83"/>
                  <a:pt x="82" y="69"/>
                </a:cubicBezTo>
                <a:cubicBezTo>
                  <a:pt x="82" y="45"/>
                  <a:pt x="82" y="45"/>
                  <a:pt x="82" y="45"/>
                </a:cubicBezTo>
                <a:cubicBezTo>
                  <a:pt x="82" y="42"/>
                  <a:pt x="82" y="42"/>
                  <a:pt x="82" y="42"/>
                </a:cubicBezTo>
                <a:close/>
              </a:path>
            </a:pathLst>
          </a:custGeom>
          <a:solidFill>
            <a:srgbClr val="FF8C00"/>
          </a:solidFill>
          <a:ln>
            <a:noFill/>
            <a:headEnd type="none" w="med" len="med"/>
            <a:tailEnd type="none" w="med" len="med"/>
          </a:ln>
          <a:effectLst/>
          <a:extLst/>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smtClean="0">
              <a:ln>
                <a:noFill/>
              </a:ln>
              <a:solidFill>
                <a:srgbClr val="505050"/>
              </a:solidFill>
              <a:effectLst/>
              <a:uLnTx/>
              <a:uFillTx/>
            </a:endParaRPr>
          </a:p>
        </p:txBody>
      </p:sp>
      <p:sp>
        <p:nvSpPr>
          <p:cNvPr id="766" name="Freeform 18"/>
          <p:cNvSpPr>
            <a:spLocks noChangeAspect="1" noEditPoints="1"/>
          </p:cNvSpPr>
          <p:nvPr/>
        </p:nvSpPr>
        <p:spPr bwMode="auto">
          <a:xfrm>
            <a:off x="7616723" y="3028260"/>
            <a:ext cx="580135" cy="327125"/>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rgbClr val="FF8C00"/>
          </a:solidFill>
          <a:ln>
            <a:noFill/>
            <a:headEnd type="none" w="med" len="med"/>
            <a:tailEnd type="none" w="med" len="med"/>
          </a:ln>
          <a:effectLst/>
          <a:extLst/>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smtClean="0">
              <a:ln>
                <a:noFill/>
              </a:ln>
              <a:solidFill>
                <a:srgbClr val="505050"/>
              </a:solidFill>
              <a:effectLst/>
              <a:uLnTx/>
              <a:uFillTx/>
            </a:endParaRPr>
          </a:p>
        </p:txBody>
      </p:sp>
      <p:sp>
        <p:nvSpPr>
          <p:cNvPr id="767" name="Freeform 5"/>
          <p:cNvSpPr>
            <a:spLocks noChangeAspect="1"/>
          </p:cNvSpPr>
          <p:nvPr/>
        </p:nvSpPr>
        <p:spPr bwMode="auto">
          <a:xfrm flipH="1">
            <a:off x="9206068" y="2957188"/>
            <a:ext cx="433539" cy="437122"/>
          </a:xfrm>
          <a:custGeom>
            <a:avLst/>
            <a:gdLst>
              <a:gd name="T0" fmla="*/ 164 w 202"/>
              <a:gd name="T1" fmla="*/ 123 h 204"/>
              <a:gd name="T2" fmla="*/ 202 w 202"/>
              <a:gd name="T3" fmla="*/ 156 h 204"/>
              <a:gd name="T4" fmla="*/ 154 w 202"/>
              <a:gd name="T5" fmla="*/ 204 h 204"/>
              <a:gd name="T6" fmla="*/ 0 w 202"/>
              <a:gd name="T7" fmla="*/ 47 h 204"/>
              <a:gd name="T8" fmla="*/ 45 w 202"/>
              <a:gd name="T9" fmla="*/ 0 h 204"/>
              <a:gd name="T10" fmla="*/ 78 w 202"/>
              <a:gd name="T11" fmla="*/ 38 h 204"/>
              <a:gd name="T12" fmla="*/ 69 w 202"/>
              <a:gd name="T13" fmla="*/ 71 h 204"/>
              <a:gd name="T14" fmla="*/ 78 w 202"/>
              <a:gd name="T15" fmla="*/ 97 h 204"/>
              <a:gd name="T16" fmla="*/ 95 w 202"/>
              <a:gd name="T17" fmla="*/ 116 h 204"/>
              <a:gd name="T18" fmla="*/ 126 w 202"/>
              <a:gd name="T19" fmla="*/ 133 h 204"/>
              <a:gd name="T20" fmla="*/ 164 w 202"/>
              <a:gd name="T21" fmla="*/ 1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04">
                <a:moveTo>
                  <a:pt x="164" y="123"/>
                </a:moveTo>
                <a:cubicBezTo>
                  <a:pt x="202" y="156"/>
                  <a:pt x="202" y="156"/>
                  <a:pt x="202" y="156"/>
                </a:cubicBezTo>
                <a:cubicBezTo>
                  <a:pt x="195" y="180"/>
                  <a:pt x="181" y="192"/>
                  <a:pt x="154" y="204"/>
                </a:cubicBezTo>
                <a:cubicBezTo>
                  <a:pt x="95" y="178"/>
                  <a:pt x="23" y="109"/>
                  <a:pt x="0" y="47"/>
                </a:cubicBezTo>
                <a:cubicBezTo>
                  <a:pt x="9" y="19"/>
                  <a:pt x="21" y="7"/>
                  <a:pt x="45" y="0"/>
                </a:cubicBezTo>
                <a:cubicBezTo>
                  <a:pt x="78" y="38"/>
                  <a:pt x="78" y="38"/>
                  <a:pt x="78" y="38"/>
                </a:cubicBezTo>
                <a:cubicBezTo>
                  <a:pt x="69" y="71"/>
                  <a:pt x="69" y="71"/>
                  <a:pt x="69" y="71"/>
                </a:cubicBezTo>
                <a:cubicBezTo>
                  <a:pt x="69" y="81"/>
                  <a:pt x="73" y="90"/>
                  <a:pt x="78" y="97"/>
                </a:cubicBezTo>
                <a:cubicBezTo>
                  <a:pt x="81" y="100"/>
                  <a:pt x="85" y="107"/>
                  <a:pt x="95" y="116"/>
                </a:cubicBezTo>
                <a:cubicBezTo>
                  <a:pt x="107" y="128"/>
                  <a:pt x="116" y="133"/>
                  <a:pt x="126" y="133"/>
                </a:cubicBezTo>
                <a:cubicBezTo>
                  <a:pt x="131" y="133"/>
                  <a:pt x="142" y="130"/>
                  <a:pt x="164" y="123"/>
                </a:cubicBezTo>
                <a:close/>
              </a:path>
            </a:pathLst>
          </a:custGeom>
          <a:solidFill>
            <a:srgbClr val="FF8C00"/>
          </a:solidFill>
          <a:ln>
            <a:noFill/>
            <a:headEnd type="none" w="med" len="med"/>
            <a:tailEnd type="none" w="med" len="med"/>
          </a:ln>
          <a:effectLst/>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smtClean="0">
              <a:ln>
                <a:noFill/>
              </a:ln>
              <a:solidFill>
                <a:srgbClr val="505050"/>
              </a:solidFill>
              <a:effectLst/>
              <a:uLnTx/>
              <a:uFillTx/>
            </a:endParaRPr>
          </a:p>
        </p:txBody>
      </p:sp>
      <p:sp>
        <p:nvSpPr>
          <p:cNvPr id="769" name="Freeform 5"/>
          <p:cNvSpPr>
            <a:spLocks noChangeAspect="1" noEditPoints="1"/>
          </p:cNvSpPr>
          <p:nvPr/>
        </p:nvSpPr>
        <p:spPr bwMode="auto">
          <a:xfrm>
            <a:off x="8440333" y="2997386"/>
            <a:ext cx="458456" cy="459272"/>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88 w 236"/>
              <a:gd name="T11" fmla="*/ 169 h 236"/>
              <a:gd name="T12" fmla="*/ 88 w 236"/>
              <a:gd name="T13" fmla="*/ 76 h 236"/>
              <a:gd name="T14" fmla="*/ 172 w 236"/>
              <a:gd name="T15" fmla="*/ 122 h 236"/>
              <a:gd name="T16" fmla="*/ 88 w 236"/>
              <a:gd name="T17" fmla="*/ 16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236">
                <a:moveTo>
                  <a:pt x="118" y="0"/>
                </a:moveTo>
                <a:cubicBezTo>
                  <a:pt x="53" y="0"/>
                  <a:pt x="0" y="53"/>
                  <a:pt x="0" y="118"/>
                </a:cubicBezTo>
                <a:cubicBezTo>
                  <a:pt x="0" y="184"/>
                  <a:pt x="53" y="236"/>
                  <a:pt x="118" y="236"/>
                </a:cubicBezTo>
                <a:cubicBezTo>
                  <a:pt x="183" y="236"/>
                  <a:pt x="236" y="184"/>
                  <a:pt x="236" y="118"/>
                </a:cubicBezTo>
                <a:cubicBezTo>
                  <a:pt x="236" y="53"/>
                  <a:pt x="183" y="0"/>
                  <a:pt x="118" y="0"/>
                </a:cubicBezTo>
                <a:close/>
                <a:moveTo>
                  <a:pt x="88" y="169"/>
                </a:moveTo>
                <a:cubicBezTo>
                  <a:pt x="85" y="165"/>
                  <a:pt x="84" y="80"/>
                  <a:pt x="88" y="76"/>
                </a:cubicBezTo>
                <a:cubicBezTo>
                  <a:pt x="93" y="71"/>
                  <a:pt x="172" y="111"/>
                  <a:pt x="172" y="122"/>
                </a:cubicBezTo>
                <a:cubicBezTo>
                  <a:pt x="172" y="134"/>
                  <a:pt x="92" y="173"/>
                  <a:pt x="88" y="169"/>
                </a:cubicBezTo>
                <a:close/>
              </a:path>
            </a:pathLst>
          </a:custGeom>
          <a:solidFill>
            <a:srgbClr val="FF8C00"/>
          </a:solidFill>
          <a:ln>
            <a:noFill/>
            <a:headEnd type="none" w="med" len="med"/>
            <a:tailEnd type="none" w="med" len="med"/>
          </a:ln>
          <a:effectLst/>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smtClean="0">
              <a:ln>
                <a:noFill/>
              </a:ln>
              <a:solidFill>
                <a:srgbClr val="505050"/>
              </a:solidFill>
              <a:effectLst/>
              <a:uLnTx/>
              <a:uFillTx/>
            </a:endParaRPr>
          </a:p>
        </p:txBody>
      </p:sp>
      <p:sp>
        <p:nvSpPr>
          <p:cNvPr id="770" name="Freeform 55"/>
          <p:cNvSpPr>
            <a:spLocks noEditPoints="1"/>
          </p:cNvSpPr>
          <p:nvPr/>
        </p:nvSpPr>
        <p:spPr bwMode="auto">
          <a:xfrm>
            <a:off x="8420387" y="3521764"/>
            <a:ext cx="505036" cy="484418"/>
          </a:xfrm>
          <a:custGeom>
            <a:avLst/>
            <a:gdLst>
              <a:gd name="T0" fmla="*/ 275 w 579"/>
              <a:gd name="T1" fmla="*/ 343 h 665"/>
              <a:gd name="T2" fmla="*/ 263 w 579"/>
              <a:gd name="T3" fmla="*/ 336 h 665"/>
              <a:gd name="T4" fmla="*/ 263 w 579"/>
              <a:gd name="T5" fmla="*/ 336 h 665"/>
              <a:gd name="T6" fmla="*/ 0 w 579"/>
              <a:gd name="T7" fmla="*/ 184 h 665"/>
              <a:gd name="T8" fmla="*/ 0 w 579"/>
              <a:gd name="T9" fmla="*/ 184 h 665"/>
              <a:gd name="T10" fmla="*/ 0 w 579"/>
              <a:gd name="T11" fmla="*/ 248 h 665"/>
              <a:gd name="T12" fmla="*/ 0 w 579"/>
              <a:gd name="T13" fmla="*/ 297 h 665"/>
              <a:gd name="T14" fmla="*/ 0 w 579"/>
              <a:gd name="T15" fmla="*/ 489 h 665"/>
              <a:gd name="T16" fmla="*/ 0 w 579"/>
              <a:gd name="T17" fmla="*/ 503 h 665"/>
              <a:gd name="T18" fmla="*/ 0 w 579"/>
              <a:gd name="T19" fmla="*/ 503 h 665"/>
              <a:gd name="T20" fmla="*/ 11 w 579"/>
              <a:gd name="T21" fmla="*/ 510 h 665"/>
              <a:gd name="T22" fmla="*/ 277 w 579"/>
              <a:gd name="T23" fmla="*/ 663 h 665"/>
              <a:gd name="T24" fmla="*/ 277 w 579"/>
              <a:gd name="T25" fmla="*/ 663 h 665"/>
              <a:gd name="T26" fmla="*/ 277 w 579"/>
              <a:gd name="T27" fmla="*/ 663 h 665"/>
              <a:gd name="T28" fmla="*/ 277 w 579"/>
              <a:gd name="T29" fmla="*/ 504 h 665"/>
              <a:gd name="T30" fmla="*/ 277 w 579"/>
              <a:gd name="T31" fmla="*/ 354 h 665"/>
              <a:gd name="T32" fmla="*/ 277 w 579"/>
              <a:gd name="T33" fmla="*/ 354 h 665"/>
              <a:gd name="T34" fmla="*/ 277 w 579"/>
              <a:gd name="T35" fmla="*/ 354 h 665"/>
              <a:gd name="T36" fmla="*/ 278 w 579"/>
              <a:gd name="T37" fmla="*/ 344 h 665"/>
              <a:gd name="T38" fmla="*/ 278 w 579"/>
              <a:gd name="T39" fmla="*/ 344 h 665"/>
              <a:gd name="T40" fmla="*/ 278 w 579"/>
              <a:gd name="T41" fmla="*/ 344 h 665"/>
              <a:gd name="T42" fmla="*/ 275 w 579"/>
              <a:gd name="T43" fmla="*/ 343 h 665"/>
              <a:gd name="T44" fmla="*/ 578 w 579"/>
              <a:gd name="T45" fmla="*/ 183 h 665"/>
              <a:gd name="T46" fmla="*/ 486 w 579"/>
              <a:gd name="T47" fmla="*/ 237 h 665"/>
              <a:gd name="T48" fmla="*/ 314 w 579"/>
              <a:gd name="T49" fmla="*/ 337 h 665"/>
              <a:gd name="T50" fmla="*/ 303 w 579"/>
              <a:gd name="T51" fmla="*/ 344 h 665"/>
              <a:gd name="T52" fmla="*/ 303 w 579"/>
              <a:gd name="T53" fmla="*/ 344 h 665"/>
              <a:gd name="T54" fmla="*/ 303 w 579"/>
              <a:gd name="T55" fmla="*/ 352 h 665"/>
              <a:gd name="T56" fmla="*/ 303 w 579"/>
              <a:gd name="T57" fmla="*/ 357 h 665"/>
              <a:gd name="T58" fmla="*/ 302 w 579"/>
              <a:gd name="T59" fmla="*/ 662 h 665"/>
              <a:gd name="T60" fmla="*/ 302 w 579"/>
              <a:gd name="T61" fmla="*/ 662 h 665"/>
              <a:gd name="T62" fmla="*/ 302 w 579"/>
              <a:gd name="T63" fmla="*/ 665 h 665"/>
              <a:gd name="T64" fmla="*/ 302 w 579"/>
              <a:gd name="T65" fmla="*/ 665 h 665"/>
              <a:gd name="T66" fmla="*/ 579 w 579"/>
              <a:gd name="T67" fmla="*/ 504 h 665"/>
              <a:gd name="T68" fmla="*/ 579 w 579"/>
              <a:gd name="T69" fmla="*/ 503 h 665"/>
              <a:gd name="T70" fmla="*/ 579 w 579"/>
              <a:gd name="T71" fmla="*/ 489 h 665"/>
              <a:gd name="T72" fmla="*/ 579 w 579"/>
              <a:gd name="T73" fmla="*/ 183 h 665"/>
              <a:gd name="T74" fmla="*/ 578 w 579"/>
              <a:gd name="T75" fmla="*/ 183 h 665"/>
              <a:gd name="T76" fmla="*/ 568 w 579"/>
              <a:gd name="T77" fmla="*/ 162 h 665"/>
              <a:gd name="T78" fmla="*/ 568 w 579"/>
              <a:gd name="T79" fmla="*/ 162 h 665"/>
              <a:gd name="T80" fmla="*/ 301 w 579"/>
              <a:gd name="T81" fmla="*/ 8 h 665"/>
              <a:gd name="T82" fmla="*/ 289 w 579"/>
              <a:gd name="T83" fmla="*/ 1 h 665"/>
              <a:gd name="T84" fmla="*/ 288 w 579"/>
              <a:gd name="T85" fmla="*/ 0 h 665"/>
              <a:gd name="T86" fmla="*/ 11 w 579"/>
              <a:gd name="T87" fmla="*/ 161 h 665"/>
              <a:gd name="T88" fmla="*/ 13 w 579"/>
              <a:gd name="T89" fmla="*/ 163 h 665"/>
              <a:gd name="T90" fmla="*/ 13 w 579"/>
              <a:gd name="T91" fmla="*/ 163 h 665"/>
              <a:gd name="T92" fmla="*/ 276 w 579"/>
              <a:gd name="T93" fmla="*/ 315 h 665"/>
              <a:gd name="T94" fmla="*/ 288 w 579"/>
              <a:gd name="T95" fmla="*/ 321 h 665"/>
              <a:gd name="T96" fmla="*/ 288 w 579"/>
              <a:gd name="T97" fmla="*/ 321 h 665"/>
              <a:gd name="T98" fmla="*/ 291 w 579"/>
              <a:gd name="T99" fmla="*/ 323 h 665"/>
              <a:gd name="T100" fmla="*/ 291 w 579"/>
              <a:gd name="T101" fmla="*/ 323 h 665"/>
              <a:gd name="T102" fmla="*/ 291 w 579"/>
              <a:gd name="T103" fmla="*/ 323 h 665"/>
              <a:gd name="T104" fmla="*/ 291 w 579"/>
              <a:gd name="T105" fmla="*/ 323 h 665"/>
              <a:gd name="T106" fmla="*/ 291 w 579"/>
              <a:gd name="T107" fmla="*/ 323 h 665"/>
              <a:gd name="T108" fmla="*/ 300 w 579"/>
              <a:gd name="T109" fmla="*/ 318 h 665"/>
              <a:gd name="T110" fmla="*/ 534 w 579"/>
              <a:gd name="T111" fmla="*/ 182 h 665"/>
              <a:gd name="T112" fmla="*/ 568 w 579"/>
              <a:gd name="T113" fmla="*/ 162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9" h="665">
                <a:moveTo>
                  <a:pt x="275" y="343"/>
                </a:moveTo>
                <a:lnTo>
                  <a:pt x="263" y="336"/>
                </a:lnTo>
                <a:lnTo>
                  <a:pt x="263" y="336"/>
                </a:lnTo>
                <a:lnTo>
                  <a:pt x="0" y="184"/>
                </a:lnTo>
                <a:lnTo>
                  <a:pt x="0" y="184"/>
                </a:lnTo>
                <a:lnTo>
                  <a:pt x="0" y="248"/>
                </a:lnTo>
                <a:lnTo>
                  <a:pt x="0" y="297"/>
                </a:lnTo>
                <a:lnTo>
                  <a:pt x="0" y="489"/>
                </a:lnTo>
                <a:lnTo>
                  <a:pt x="0" y="503"/>
                </a:lnTo>
                <a:lnTo>
                  <a:pt x="0" y="503"/>
                </a:lnTo>
                <a:lnTo>
                  <a:pt x="11" y="510"/>
                </a:lnTo>
                <a:lnTo>
                  <a:pt x="277" y="663"/>
                </a:lnTo>
                <a:lnTo>
                  <a:pt x="277" y="663"/>
                </a:lnTo>
                <a:lnTo>
                  <a:pt x="277" y="663"/>
                </a:lnTo>
                <a:lnTo>
                  <a:pt x="277" y="504"/>
                </a:lnTo>
                <a:lnTo>
                  <a:pt x="277" y="354"/>
                </a:lnTo>
                <a:lnTo>
                  <a:pt x="277" y="354"/>
                </a:lnTo>
                <a:lnTo>
                  <a:pt x="277" y="354"/>
                </a:lnTo>
                <a:lnTo>
                  <a:pt x="278" y="344"/>
                </a:lnTo>
                <a:lnTo>
                  <a:pt x="278" y="344"/>
                </a:lnTo>
                <a:lnTo>
                  <a:pt x="278" y="344"/>
                </a:lnTo>
                <a:lnTo>
                  <a:pt x="275" y="343"/>
                </a:lnTo>
                <a:close/>
                <a:moveTo>
                  <a:pt x="578" y="183"/>
                </a:moveTo>
                <a:lnTo>
                  <a:pt x="486" y="237"/>
                </a:lnTo>
                <a:lnTo>
                  <a:pt x="314" y="337"/>
                </a:lnTo>
                <a:lnTo>
                  <a:pt x="303" y="344"/>
                </a:lnTo>
                <a:lnTo>
                  <a:pt x="303" y="344"/>
                </a:lnTo>
                <a:lnTo>
                  <a:pt x="303" y="352"/>
                </a:lnTo>
                <a:lnTo>
                  <a:pt x="303" y="357"/>
                </a:lnTo>
                <a:lnTo>
                  <a:pt x="302" y="662"/>
                </a:lnTo>
                <a:lnTo>
                  <a:pt x="302" y="662"/>
                </a:lnTo>
                <a:lnTo>
                  <a:pt x="302" y="665"/>
                </a:lnTo>
                <a:lnTo>
                  <a:pt x="302" y="665"/>
                </a:lnTo>
                <a:lnTo>
                  <a:pt x="579" y="504"/>
                </a:lnTo>
                <a:lnTo>
                  <a:pt x="579" y="503"/>
                </a:lnTo>
                <a:lnTo>
                  <a:pt x="579" y="489"/>
                </a:lnTo>
                <a:lnTo>
                  <a:pt x="579" y="183"/>
                </a:lnTo>
                <a:lnTo>
                  <a:pt x="578" y="183"/>
                </a:lnTo>
                <a:close/>
                <a:moveTo>
                  <a:pt x="568" y="162"/>
                </a:moveTo>
                <a:lnTo>
                  <a:pt x="568" y="162"/>
                </a:lnTo>
                <a:lnTo>
                  <a:pt x="301" y="8"/>
                </a:lnTo>
                <a:lnTo>
                  <a:pt x="289" y="1"/>
                </a:lnTo>
                <a:lnTo>
                  <a:pt x="288" y="0"/>
                </a:lnTo>
                <a:lnTo>
                  <a:pt x="11" y="161"/>
                </a:lnTo>
                <a:lnTo>
                  <a:pt x="13" y="163"/>
                </a:lnTo>
                <a:lnTo>
                  <a:pt x="13" y="163"/>
                </a:lnTo>
                <a:lnTo>
                  <a:pt x="276" y="315"/>
                </a:lnTo>
                <a:lnTo>
                  <a:pt x="288" y="321"/>
                </a:lnTo>
                <a:lnTo>
                  <a:pt x="288" y="321"/>
                </a:lnTo>
                <a:lnTo>
                  <a:pt x="291" y="323"/>
                </a:lnTo>
                <a:lnTo>
                  <a:pt x="291" y="323"/>
                </a:lnTo>
                <a:lnTo>
                  <a:pt x="291" y="323"/>
                </a:lnTo>
                <a:lnTo>
                  <a:pt x="291" y="323"/>
                </a:lnTo>
                <a:lnTo>
                  <a:pt x="291" y="323"/>
                </a:lnTo>
                <a:lnTo>
                  <a:pt x="300" y="318"/>
                </a:lnTo>
                <a:lnTo>
                  <a:pt x="534" y="182"/>
                </a:lnTo>
                <a:lnTo>
                  <a:pt x="568" y="162"/>
                </a:lnTo>
                <a:close/>
              </a:path>
            </a:pathLst>
          </a:custGeom>
          <a:solidFill>
            <a:srgbClr val="FF8C00"/>
          </a:solidFill>
          <a:ln>
            <a:noFill/>
          </a:ln>
        </p:spPr>
        <p:txBody>
          <a:bodyPr vert="horz" wrap="square" lIns="91403" tIns="45701" rIns="91403" bIns="45701" numCol="1" anchor="t" anchorCtr="0" compatLnSpc="1">
            <a:prstTxWarp prst="textNoShape">
              <a:avLst/>
            </a:prstTxWarp>
          </a:bodyPr>
          <a:lstStyle/>
          <a:p>
            <a:pPr marL="0" marR="0" lvl="0" indent="0" defTabSz="914038"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smtClean="0">
              <a:ln>
                <a:noFill/>
              </a:ln>
              <a:solidFill>
                <a:srgbClr val="505050"/>
              </a:solidFill>
              <a:effectLst/>
              <a:uLnTx/>
              <a:uFillTx/>
            </a:endParaRPr>
          </a:p>
        </p:txBody>
      </p:sp>
      <p:sp>
        <p:nvSpPr>
          <p:cNvPr id="779" name="Freeform 10"/>
          <p:cNvSpPr>
            <a:spLocks noChangeAspect="1" noEditPoints="1"/>
          </p:cNvSpPr>
          <p:nvPr/>
        </p:nvSpPr>
        <p:spPr bwMode="auto">
          <a:xfrm>
            <a:off x="4960055" y="2448546"/>
            <a:ext cx="1454901" cy="150574"/>
          </a:xfrm>
          <a:custGeom>
            <a:avLst/>
            <a:gdLst>
              <a:gd name="T0" fmla="*/ 215 w 954"/>
              <a:gd name="T1" fmla="*/ 82 h 96"/>
              <a:gd name="T2" fmla="*/ 165 w 954"/>
              <a:gd name="T3" fmla="*/ 73 h 96"/>
              <a:gd name="T4" fmla="*/ 131 w 954"/>
              <a:gd name="T5" fmla="*/ 5 h 96"/>
              <a:gd name="T6" fmla="*/ 189 w 954"/>
              <a:gd name="T7" fmla="*/ 20 h 96"/>
              <a:gd name="T8" fmla="*/ 266 w 954"/>
              <a:gd name="T9" fmla="*/ 7 h 96"/>
              <a:gd name="T10" fmla="*/ 254 w 954"/>
              <a:gd name="T11" fmla="*/ 12 h 96"/>
              <a:gd name="T12" fmla="*/ 264 w 954"/>
              <a:gd name="T13" fmla="*/ 94 h 96"/>
              <a:gd name="T14" fmla="*/ 332 w 954"/>
              <a:gd name="T15" fmla="*/ 94 h 96"/>
              <a:gd name="T16" fmla="*/ 289 w 954"/>
              <a:gd name="T17" fmla="*/ 41 h 96"/>
              <a:gd name="T18" fmla="*/ 289 w 954"/>
              <a:gd name="T19" fmla="*/ 94 h 96"/>
              <a:gd name="T20" fmla="*/ 322 w 954"/>
              <a:gd name="T21" fmla="*/ 94 h 96"/>
              <a:gd name="T22" fmla="*/ 390 w 954"/>
              <a:gd name="T23" fmla="*/ 0 h 96"/>
              <a:gd name="T24" fmla="*/ 341 w 954"/>
              <a:gd name="T25" fmla="*/ 63 h 96"/>
              <a:gd name="T26" fmla="*/ 390 w 954"/>
              <a:gd name="T27" fmla="*/ 94 h 96"/>
              <a:gd name="T28" fmla="*/ 357 w 954"/>
              <a:gd name="T29" fmla="*/ 81 h 96"/>
              <a:gd name="T30" fmla="*/ 390 w 954"/>
              <a:gd name="T31" fmla="*/ 56 h 96"/>
              <a:gd name="T32" fmla="*/ 420 w 954"/>
              <a:gd name="T33" fmla="*/ 37 h 96"/>
              <a:gd name="T34" fmla="*/ 474 w 954"/>
              <a:gd name="T35" fmla="*/ 62 h 96"/>
              <a:gd name="T36" fmla="*/ 421 w 954"/>
              <a:gd name="T37" fmla="*/ 63 h 96"/>
              <a:gd name="T38" fmla="*/ 565 w 954"/>
              <a:gd name="T39" fmla="*/ 30 h 96"/>
              <a:gd name="T40" fmla="*/ 540 w 954"/>
              <a:gd name="T41" fmla="*/ 84 h 96"/>
              <a:gd name="T42" fmla="*/ 500 w 954"/>
              <a:gd name="T43" fmla="*/ 84 h 96"/>
              <a:gd name="T44" fmla="*/ 495 w 954"/>
              <a:gd name="T45" fmla="*/ 94 h 96"/>
              <a:gd name="T46" fmla="*/ 522 w 954"/>
              <a:gd name="T47" fmla="*/ 49 h 96"/>
              <a:gd name="T48" fmla="*/ 602 w 954"/>
              <a:gd name="T49" fmla="*/ 65 h 96"/>
              <a:gd name="T50" fmla="*/ 589 w 954"/>
              <a:gd name="T51" fmla="*/ 37 h 96"/>
              <a:gd name="T52" fmla="*/ 567 w 954"/>
              <a:gd name="T53" fmla="*/ 47 h 96"/>
              <a:gd name="T54" fmla="*/ 584 w 954"/>
              <a:gd name="T55" fmla="*/ 87 h 96"/>
              <a:gd name="T56" fmla="*/ 606 w 954"/>
              <a:gd name="T57" fmla="*/ 77 h 96"/>
              <a:gd name="T58" fmla="*/ 636 w 954"/>
              <a:gd name="T59" fmla="*/ 5 h 96"/>
              <a:gd name="T60" fmla="*/ 695 w 954"/>
              <a:gd name="T61" fmla="*/ 29 h 96"/>
              <a:gd name="T62" fmla="*/ 664 w 954"/>
              <a:gd name="T63" fmla="*/ 94 h 96"/>
              <a:gd name="T64" fmla="*/ 706 w 954"/>
              <a:gd name="T65" fmla="*/ 58 h 96"/>
              <a:gd name="T66" fmla="*/ 760 w 954"/>
              <a:gd name="T67" fmla="*/ 85 h 96"/>
              <a:gd name="T68" fmla="*/ 760 w 954"/>
              <a:gd name="T69" fmla="*/ 39 h 96"/>
              <a:gd name="T70" fmla="*/ 734 w 954"/>
              <a:gd name="T71" fmla="*/ 30 h 96"/>
              <a:gd name="T72" fmla="*/ 751 w 954"/>
              <a:gd name="T73" fmla="*/ 95 h 96"/>
              <a:gd name="T74" fmla="*/ 810 w 954"/>
              <a:gd name="T75" fmla="*/ 30 h 96"/>
              <a:gd name="T76" fmla="*/ 778 w 954"/>
              <a:gd name="T77" fmla="*/ 30 h 96"/>
              <a:gd name="T78" fmla="*/ 810 w 954"/>
              <a:gd name="T79" fmla="*/ 84 h 96"/>
              <a:gd name="T80" fmla="*/ 889 w 954"/>
              <a:gd name="T81" fmla="*/ 55 h 96"/>
              <a:gd name="T82" fmla="*/ 846 w 954"/>
              <a:gd name="T83" fmla="*/ 30 h 96"/>
              <a:gd name="T84" fmla="*/ 851 w 954"/>
              <a:gd name="T85" fmla="*/ 43 h 96"/>
              <a:gd name="T86" fmla="*/ 954 w 954"/>
              <a:gd name="T87" fmla="*/ 65 h 96"/>
              <a:gd name="T88" fmla="*/ 907 w 954"/>
              <a:gd name="T89" fmla="*/ 37 h 96"/>
              <a:gd name="T90" fmla="*/ 949 w 954"/>
              <a:gd name="T91" fmla="*/ 80 h 96"/>
              <a:gd name="T92" fmla="*/ 943 w 954"/>
              <a:gd name="T93" fmla="*/ 56 h 96"/>
              <a:gd name="T94" fmla="*/ 939 w 954"/>
              <a:gd name="T95" fmla="*/ 42 h 96"/>
              <a:gd name="T96" fmla="*/ 95 w 954"/>
              <a:gd name="T97" fmla="*/ 46 h 96"/>
              <a:gd name="T98" fmla="*/ 0 w 954"/>
              <a:gd name="T99" fmla="*/ 46 h 96"/>
              <a:gd name="T100" fmla="*/ 0 w 954"/>
              <a:gd name="T101" fmla="*/ 82 h 96"/>
              <a:gd name="T102" fmla="*/ 43 w 954"/>
              <a:gd name="T103" fmla="*/ 88 h 96"/>
              <a:gd name="T104" fmla="*/ 43 w 954"/>
              <a:gd name="T105"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4" h="96">
                <a:moveTo>
                  <a:pt x="246" y="5"/>
                </a:moveTo>
                <a:cubicBezTo>
                  <a:pt x="246" y="5"/>
                  <a:pt x="246" y="5"/>
                  <a:pt x="246" y="5"/>
                </a:cubicBezTo>
                <a:cubicBezTo>
                  <a:pt x="235" y="5"/>
                  <a:pt x="235" y="5"/>
                  <a:pt x="235" y="5"/>
                </a:cubicBezTo>
                <a:cubicBezTo>
                  <a:pt x="235" y="5"/>
                  <a:pt x="235" y="5"/>
                  <a:pt x="217" y="73"/>
                </a:cubicBezTo>
                <a:cubicBezTo>
                  <a:pt x="216" y="77"/>
                  <a:pt x="215" y="80"/>
                  <a:pt x="215" y="82"/>
                </a:cubicBezTo>
                <a:cubicBezTo>
                  <a:pt x="215" y="82"/>
                  <a:pt x="215" y="82"/>
                  <a:pt x="215" y="82"/>
                </a:cubicBezTo>
                <a:cubicBezTo>
                  <a:pt x="215" y="79"/>
                  <a:pt x="214" y="76"/>
                  <a:pt x="214" y="74"/>
                </a:cubicBezTo>
                <a:cubicBezTo>
                  <a:pt x="214" y="74"/>
                  <a:pt x="214" y="74"/>
                  <a:pt x="195" y="5"/>
                </a:cubicBezTo>
                <a:cubicBezTo>
                  <a:pt x="195" y="5"/>
                  <a:pt x="195" y="5"/>
                  <a:pt x="185" y="5"/>
                </a:cubicBezTo>
                <a:cubicBezTo>
                  <a:pt x="185" y="5"/>
                  <a:pt x="185" y="5"/>
                  <a:pt x="165" y="73"/>
                </a:cubicBezTo>
                <a:cubicBezTo>
                  <a:pt x="164" y="77"/>
                  <a:pt x="163" y="80"/>
                  <a:pt x="163" y="82"/>
                </a:cubicBezTo>
                <a:cubicBezTo>
                  <a:pt x="163" y="82"/>
                  <a:pt x="163" y="82"/>
                  <a:pt x="163" y="82"/>
                </a:cubicBezTo>
                <a:cubicBezTo>
                  <a:pt x="162" y="79"/>
                  <a:pt x="162" y="76"/>
                  <a:pt x="161" y="73"/>
                </a:cubicBezTo>
                <a:cubicBezTo>
                  <a:pt x="161" y="73"/>
                  <a:pt x="161" y="73"/>
                  <a:pt x="142" y="5"/>
                </a:cubicBezTo>
                <a:cubicBezTo>
                  <a:pt x="142" y="5"/>
                  <a:pt x="142" y="5"/>
                  <a:pt x="131" y="5"/>
                </a:cubicBezTo>
                <a:cubicBezTo>
                  <a:pt x="131" y="5"/>
                  <a:pt x="131" y="5"/>
                  <a:pt x="157" y="94"/>
                </a:cubicBezTo>
                <a:cubicBezTo>
                  <a:pt x="157" y="94"/>
                  <a:pt x="157" y="94"/>
                  <a:pt x="169" y="94"/>
                </a:cubicBezTo>
                <a:cubicBezTo>
                  <a:pt x="169" y="94"/>
                  <a:pt x="169" y="94"/>
                  <a:pt x="188" y="29"/>
                </a:cubicBezTo>
                <a:cubicBezTo>
                  <a:pt x="188" y="26"/>
                  <a:pt x="189" y="23"/>
                  <a:pt x="189" y="20"/>
                </a:cubicBezTo>
                <a:cubicBezTo>
                  <a:pt x="189" y="20"/>
                  <a:pt x="189" y="20"/>
                  <a:pt x="189" y="20"/>
                </a:cubicBezTo>
                <a:cubicBezTo>
                  <a:pt x="189" y="23"/>
                  <a:pt x="190" y="26"/>
                  <a:pt x="191" y="29"/>
                </a:cubicBezTo>
                <a:cubicBezTo>
                  <a:pt x="191" y="29"/>
                  <a:pt x="191" y="29"/>
                  <a:pt x="209" y="94"/>
                </a:cubicBezTo>
                <a:cubicBezTo>
                  <a:pt x="209" y="94"/>
                  <a:pt x="209" y="94"/>
                  <a:pt x="221" y="94"/>
                </a:cubicBezTo>
                <a:cubicBezTo>
                  <a:pt x="221" y="94"/>
                  <a:pt x="221" y="94"/>
                  <a:pt x="246" y="5"/>
                </a:cubicBezTo>
                <a:close/>
                <a:moveTo>
                  <a:pt x="266" y="7"/>
                </a:moveTo>
                <a:cubicBezTo>
                  <a:pt x="266" y="6"/>
                  <a:pt x="265" y="4"/>
                  <a:pt x="263" y="3"/>
                </a:cubicBezTo>
                <a:cubicBezTo>
                  <a:pt x="262" y="2"/>
                  <a:pt x="261" y="1"/>
                  <a:pt x="258" y="1"/>
                </a:cubicBezTo>
                <a:cubicBezTo>
                  <a:pt x="257" y="1"/>
                  <a:pt x="255" y="2"/>
                  <a:pt x="254" y="3"/>
                </a:cubicBezTo>
                <a:cubicBezTo>
                  <a:pt x="253" y="4"/>
                  <a:pt x="252" y="6"/>
                  <a:pt x="252" y="7"/>
                </a:cubicBezTo>
                <a:cubicBezTo>
                  <a:pt x="252" y="10"/>
                  <a:pt x="253" y="11"/>
                  <a:pt x="254" y="12"/>
                </a:cubicBezTo>
                <a:cubicBezTo>
                  <a:pt x="255" y="14"/>
                  <a:pt x="257" y="14"/>
                  <a:pt x="258" y="14"/>
                </a:cubicBezTo>
                <a:cubicBezTo>
                  <a:pt x="261" y="14"/>
                  <a:pt x="262" y="14"/>
                  <a:pt x="263" y="12"/>
                </a:cubicBezTo>
                <a:cubicBezTo>
                  <a:pt x="265" y="11"/>
                  <a:pt x="266" y="9"/>
                  <a:pt x="266" y="7"/>
                </a:cubicBezTo>
                <a:close/>
                <a:moveTo>
                  <a:pt x="264" y="94"/>
                </a:moveTo>
                <a:cubicBezTo>
                  <a:pt x="264" y="94"/>
                  <a:pt x="264" y="94"/>
                  <a:pt x="264" y="94"/>
                </a:cubicBezTo>
                <a:cubicBezTo>
                  <a:pt x="264" y="30"/>
                  <a:pt x="264" y="30"/>
                  <a:pt x="264" y="30"/>
                </a:cubicBezTo>
                <a:cubicBezTo>
                  <a:pt x="264" y="30"/>
                  <a:pt x="264" y="30"/>
                  <a:pt x="253" y="30"/>
                </a:cubicBezTo>
                <a:cubicBezTo>
                  <a:pt x="253" y="30"/>
                  <a:pt x="253" y="30"/>
                  <a:pt x="253" y="94"/>
                </a:cubicBezTo>
                <a:cubicBezTo>
                  <a:pt x="253" y="94"/>
                  <a:pt x="253" y="94"/>
                  <a:pt x="264" y="94"/>
                </a:cubicBezTo>
                <a:close/>
                <a:moveTo>
                  <a:pt x="332" y="94"/>
                </a:moveTo>
                <a:cubicBezTo>
                  <a:pt x="332" y="94"/>
                  <a:pt x="332" y="94"/>
                  <a:pt x="332" y="94"/>
                </a:cubicBezTo>
                <a:cubicBezTo>
                  <a:pt x="332" y="55"/>
                  <a:pt x="332" y="55"/>
                  <a:pt x="332" y="55"/>
                </a:cubicBezTo>
                <a:cubicBezTo>
                  <a:pt x="332" y="47"/>
                  <a:pt x="330" y="40"/>
                  <a:pt x="327" y="36"/>
                </a:cubicBezTo>
                <a:cubicBezTo>
                  <a:pt x="323" y="31"/>
                  <a:pt x="318" y="29"/>
                  <a:pt x="311" y="29"/>
                </a:cubicBezTo>
                <a:cubicBezTo>
                  <a:pt x="301" y="29"/>
                  <a:pt x="294" y="33"/>
                  <a:pt x="289" y="41"/>
                </a:cubicBezTo>
                <a:cubicBezTo>
                  <a:pt x="289" y="41"/>
                  <a:pt x="289" y="41"/>
                  <a:pt x="289" y="41"/>
                </a:cubicBezTo>
                <a:cubicBezTo>
                  <a:pt x="289" y="41"/>
                  <a:pt x="289" y="41"/>
                  <a:pt x="289" y="30"/>
                </a:cubicBezTo>
                <a:cubicBezTo>
                  <a:pt x="289" y="30"/>
                  <a:pt x="289" y="30"/>
                  <a:pt x="279" y="30"/>
                </a:cubicBezTo>
                <a:cubicBezTo>
                  <a:pt x="279" y="30"/>
                  <a:pt x="279" y="30"/>
                  <a:pt x="279" y="94"/>
                </a:cubicBezTo>
                <a:cubicBezTo>
                  <a:pt x="279" y="94"/>
                  <a:pt x="279" y="94"/>
                  <a:pt x="289" y="94"/>
                </a:cubicBezTo>
                <a:cubicBezTo>
                  <a:pt x="289" y="94"/>
                  <a:pt x="289" y="94"/>
                  <a:pt x="289" y="58"/>
                </a:cubicBezTo>
                <a:cubicBezTo>
                  <a:pt x="289" y="52"/>
                  <a:pt x="291" y="47"/>
                  <a:pt x="294" y="43"/>
                </a:cubicBezTo>
                <a:cubicBezTo>
                  <a:pt x="298" y="39"/>
                  <a:pt x="302" y="37"/>
                  <a:pt x="307" y="37"/>
                </a:cubicBezTo>
                <a:cubicBezTo>
                  <a:pt x="317" y="37"/>
                  <a:pt x="322" y="44"/>
                  <a:pt x="322" y="58"/>
                </a:cubicBezTo>
                <a:cubicBezTo>
                  <a:pt x="322" y="58"/>
                  <a:pt x="322" y="58"/>
                  <a:pt x="322" y="94"/>
                </a:cubicBezTo>
                <a:cubicBezTo>
                  <a:pt x="322" y="94"/>
                  <a:pt x="322" y="94"/>
                  <a:pt x="332" y="94"/>
                </a:cubicBezTo>
                <a:close/>
                <a:moveTo>
                  <a:pt x="400" y="94"/>
                </a:moveTo>
                <a:cubicBezTo>
                  <a:pt x="400" y="94"/>
                  <a:pt x="400" y="94"/>
                  <a:pt x="400" y="94"/>
                </a:cubicBezTo>
                <a:cubicBezTo>
                  <a:pt x="400" y="0"/>
                  <a:pt x="400" y="0"/>
                  <a:pt x="400" y="0"/>
                </a:cubicBezTo>
                <a:cubicBezTo>
                  <a:pt x="400" y="0"/>
                  <a:pt x="400" y="0"/>
                  <a:pt x="390" y="0"/>
                </a:cubicBezTo>
                <a:cubicBezTo>
                  <a:pt x="390" y="0"/>
                  <a:pt x="390" y="0"/>
                  <a:pt x="390" y="39"/>
                </a:cubicBezTo>
                <a:cubicBezTo>
                  <a:pt x="390" y="39"/>
                  <a:pt x="390" y="39"/>
                  <a:pt x="389" y="39"/>
                </a:cubicBezTo>
                <a:cubicBezTo>
                  <a:pt x="385" y="32"/>
                  <a:pt x="379" y="29"/>
                  <a:pt x="370" y="29"/>
                </a:cubicBezTo>
                <a:cubicBezTo>
                  <a:pt x="361" y="29"/>
                  <a:pt x="354" y="32"/>
                  <a:pt x="349" y="38"/>
                </a:cubicBezTo>
                <a:cubicBezTo>
                  <a:pt x="344" y="44"/>
                  <a:pt x="341" y="53"/>
                  <a:pt x="341" y="63"/>
                </a:cubicBezTo>
                <a:cubicBezTo>
                  <a:pt x="341" y="74"/>
                  <a:pt x="344" y="82"/>
                  <a:pt x="349" y="87"/>
                </a:cubicBezTo>
                <a:cubicBezTo>
                  <a:pt x="353" y="93"/>
                  <a:pt x="360" y="95"/>
                  <a:pt x="368" y="95"/>
                </a:cubicBezTo>
                <a:cubicBezTo>
                  <a:pt x="377" y="95"/>
                  <a:pt x="385" y="91"/>
                  <a:pt x="389" y="83"/>
                </a:cubicBezTo>
                <a:cubicBezTo>
                  <a:pt x="389" y="83"/>
                  <a:pt x="389" y="83"/>
                  <a:pt x="390" y="83"/>
                </a:cubicBezTo>
                <a:cubicBezTo>
                  <a:pt x="390" y="83"/>
                  <a:pt x="390" y="83"/>
                  <a:pt x="390" y="94"/>
                </a:cubicBezTo>
                <a:cubicBezTo>
                  <a:pt x="390" y="94"/>
                  <a:pt x="390" y="94"/>
                  <a:pt x="400" y="94"/>
                </a:cubicBezTo>
                <a:close/>
                <a:moveTo>
                  <a:pt x="390" y="65"/>
                </a:moveTo>
                <a:cubicBezTo>
                  <a:pt x="390" y="71"/>
                  <a:pt x="388" y="76"/>
                  <a:pt x="385" y="80"/>
                </a:cubicBezTo>
                <a:cubicBezTo>
                  <a:pt x="381" y="85"/>
                  <a:pt x="377" y="87"/>
                  <a:pt x="371" y="87"/>
                </a:cubicBezTo>
                <a:cubicBezTo>
                  <a:pt x="365" y="87"/>
                  <a:pt x="361" y="85"/>
                  <a:pt x="357" y="81"/>
                </a:cubicBezTo>
                <a:cubicBezTo>
                  <a:pt x="353" y="77"/>
                  <a:pt x="352" y="70"/>
                  <a:pt x="352" y="63"/>
                </a:cubicBezTo>
                <a:cubicBezTo>
                  <a:pt x="352" y="55"/>
                  <a:pt x="353" y="49"/>
                  <a:pt x="357" y="44"/>
                </a:cubicBezTo>
                <a:cubicBezTo>
                  <a:pt x="361" y="40"/>
                  <a:pt x="365" y="37"/>
                  <a:pt x="372" y="37"/>
                </a:cubicBezTo>
                <a:cubicBezTo>
                  <a:pt x="377" y="37"/>
                  <a:pt x="381" y="39"/>
                  <a:pt x="385" y="43"/>
                </a:cubicBezTo>
                <a:cubicBezTo>
                  <a:pt x="388" y="46"/>
                  <a:pt x="390" y="51"/>
                  <a:pt x="390" y="56"/>
                </a:cubicBezTo>
                <a:cubicBezTo>
                  <a:pt x="390" y="56"/>
                  <a:pt x="390" y="56"/>
                  <a:pt x="390" y="65"/>
                </a:cubicBezTo>
                <a:close/>
                <a:moveTo>
                  <a:pt x="474" y="62"/>
                </a:moveTo>
                <a:cubicBezTo>
                  <a:pt x="474" y="52"/>
                  <a:pt x="471" y="44"/>
                  <a:pt x="466" y="37"/>
                </a:cubicBezTo>
                <a:cubicBezTo>
                  <a:pt x="460" y="32"/>
                  <a:pt x="453" y="29"/>
                  <a:pt x="443" y="29"/>
                </a:cubicBezTo>
                <a:cubicBezTo>
                  <a:pt x="434" y="29"/>
                  <a:pt x="426" y="32"/>
                  <a:pt x="420" y="37"/>
                </a:cubicBezTo>
                <a:cubicBezTo>
                  <a:pt x="414" y="43"/>
                  <a:pt x="411" y="52"/>
                  <a:pt x="411" y="63"/>
                </a:cubicBezTo>
                <a:cubicBezTo>
                  <a:pt x="411" y="72"/>
                  <a:pt x="413" y="80"/>
                  <a:pt x="419" y="86"/>
                </a:cubicBezTo>
                <a:cubicBezTo>
                  <a:pt x="424" y="92"/>
                  <a:pt x="432" y="95"/>
                  <a:pt x="442" y="95"/>
                </a:cubicBezTo>
                <a:cubicBezTo>
                  <a:pt x="452" y="95"/>
                  <a:pt x="459" y="92"/>
                  <a:pt x="465" y="86"/>
                </a:cubicBezTo>
                <a:cubicBezTo>
                  <a:pt x="471" y="80"/>
                  <a:pt x="474" y="72"/>
                  <a:pt x="474" y="62"/>
                </a:cubicBezTo>
                <a:close/>
                <a:moveTo>
                  <a:pt x="463" y="62"/>
                </a:moveTo>
                <a:cubicBezTo>
                  <a:pt x="463" y="70"/>
                  <a:pt x="461" y="76"/>
                  <a:pt x="458" y="80"/>
                </a:cubicBezTo>
                <a:cubicBezTo>
                  <a:pt x="455" y="85"/>
                  <a:pt x="449" y="87"/>
                  <a:pt x="443" y="87"/>
                </a:cubicBezTo>
                <a:cubicBezTo>
                  <a:pt x="436" y="87"/>
                  <a:pt x="431" y="85"/>
                  <a:pt x="427" y="80"/>
                </a:cubicBezTo>
                <a:cubicBezTo>
                  <a:pt x="423" y="76"/>
                  <a:pt x="421" y="70"/>
                  <a:pt x="421" y="63"/>
                </a:cubicBezTo>
                <a:cubicBezTo>
                  <a:pt x="421" y="54"/>
                  <a:pt x="423" y="48"/>
                  <a:pt x="427" y="44"/>
                </a:cubicBezTo>
                <a:cubicBezTo>
                  <a:pt x="431" y="40"/>
                  <a:pt x="436" y="37"/>
                  <a:pt x="443" y="37"/>
                </a:cubicBezTo>
                <a:cubicBezTo>
                  <a:pt x="449" y="37"/>
                  <a:pt x="454" y="40"/>
                  <a:pt x="458" y="44"/>
                </a:cubicBezTo>
                <a:cubicBezTo>
                  <a:pt x="461" y="48"/>
                  <a:pt x="463" y="54"/>
                  <a:pt x="463" y="62"/>
                </a:cubicBezTo>
                <a:close/>
                <a:moveTo>
                  <a:pt x="565" y="30"/>
                </a:moveTo>
                <a:cubicBezTo>
                  <a:pt x="565" y="30"/>
                  <a:pt x="565" y="30"/>
                  <a:pt x="565" y="30"/>
                </a:cubicBezTo>
                <a:cubicBezTo>
                  <a:pt x="554" y="30"/>
                  <a:pt x="554" y="30"/>
                  <a:pt x="554" y="30"/>
                </a:cubicBezTo>
                <a:cubicBezTo>
                  <a:pt x="554" y="30"/>
                  <a:pt x="554" y="30"/>
                  <a:pt x="541" y="78"/>
                </a:cubicBezTo>
                <a:cubicBezTo>
                  <a:pt x="541" y="80"/>
                  <a:pt x="540" y="83"/>
                  <a:pt x="540" y="84"/>
                </a:cubicBezTo>
                <a:cubicBezTo>
                  <a:pt x="540" y="84"/>
                  <a:pt x="540" y="84"/>
                  <a:pt x="540" y="84"/>
                </a:cubicBezTo>
                <a:cubicBezTo>
                  <a:pt x="540" y="82"/>
                  <a:pt x="539" y="80"/>
                  <a:pt x="539" y="78"/>
                </a:cubicBezTo>
                <a:cubicBezTo>
                  <a:pt x="539" y="78"/>
                  <a:pt x="539" y="78"/>
                  <a:pt x="526" y="30"/>
                </a:cubicBezTo>
                <a:cubicBezTo>
                  <a:pt x="526" y="30"/>
                  <a:pt x="526" y="30"/>
                  <a:pt x="516" y="30"/>
                </a:cubicBezTo>
                <a:cubicBezTo>
                  <a:pt x="516" y="30"/>
                  <a:pt x="516" y="30"/>
                  <a:pt x="502" y="78"/>
                </a:cubicBezTo>
                <a:cubicBezTo>
                  <a:pt x="501" y="80"/>
                  <a:pt x="501" y="82"/>
                  <a:pt x="500" y="84"/>
                </a:cubicBezTo>
                <a:cubicBezTo>
                  <a:pt x="500" y="84"/>
                  <a:pt x="500" y="84"/>
                  <a:pt x="500" y="84"/>
                </a:cubicBezTo>
                <a:cubicBezTo>
                  <a:pt x="500" y="82"/>
                  <a:pt x="500" y="80"/>
                  <a:pt x="499" y="78"/>
                </a:cubicBezTo>
                <a:cubicBezTo>
                  <a:pt x="499" y="78"/>
                  <a:pt x="499" y="78"/>
                  <a:pt x="486" y="30"/>
                </a:cubicBezTo>
                <a:cubicBezTo>
                  <a:pt x="486" y="30"/>
                  <a:pt x="486" y="30"/>
                  <a:pt x="475" y="30"/>
                </a:cubicBezTo>
                <a:cubicBezTo>
                  <a:pt x="475" y="30"/>
                  <a:pt x="475" y="30"/>
                  <a:pt x="495" y="94"/>
                </a:cubicBezTo>
                <a:cubicBezTo>
                  <a:pt x="495" y="94"/>
                  <a:pt x="495" y="94"/>
                  <a:pt x="505" y="94"/>
                </a:cubicBezTo>
                <a:cubicBezTo>
                  <a:pt x="505" y="94"/>
                  <a:pt x="505" y="94"/>
                  <a:pt x="519" y="48"/>
                </a:cubicBezTo>
                <a:cubicBezTo>
                  <a:pt x="520" y="46"/>
                  <a:pt x="520" y="44"/>
                  <a:pt x="520" y="43"/>
                </a:cubicBezTo>
                <a:cubicBezTo>
                  <a:pt x="520" y="43"/>
                  <a:pt x="520" y="43"/>
                  <a:pt x="521" y="43"/>
                </a:cubicBezTo>
                <a:cubicBezTo>
                  <a:pt x="521" y="45"/>
                  <a:pt x="521" y="47"/>
                  <a:pt x="522" y="49"/>
                </a:cubicBezTo>
                <a:cubicBezTo>
                  <a:pt x="522" y="49"/>
                  <a:pt x="522" y="49"/>
                  <a:pt x="535" y="94"/>
                </a:cubicBezTo>
                <a:cubicBezTo>
                  <a:pt x="535" y="94"/>
                  <a:pt x="535" y="94"/>
                  <a:pt x="545" y="94"/>
                </a:cubicBezTo>
                <a:cubicBezTo>
                  <a:pt x="545" y="94"/>
                  <a:pt x="545" y="94"/>
                  <a:pt x="565" y="30"/>
                </a:cubicBezTo>
                <a:close/>
                <a:moveTo>
                  <a:pt x="606" y="77"/>
                </a:moveTo>
                <a:cubicBezTo>
                  <a:pt x="606" y="72"/>
                  <a:pt x="605" y="68"/>
                  <a:pt x="602" y="65"/>
                </a:cubicBezTo>
                <a:cubicBezTo>
                  <a:pt x="599" y="63"/>
                  <a:pt x="595" y="60"/>
                  <a:pt x="590" y="58"/>
                </a:cubicBezTo>
                <a:cubicBezTo>
                  <a:pt x="585" y="56"/>
                  <a:pt x="582" y="54"/>
                  <a:pt x="580" y="53"/>
                </a:cubicBezTo>
                <a:cubicBezTo>
                  <a:pt x="579" y="51"/>
                  <a:pt x="578" y="49"/>
                  <a:pt x="578" y="46"/>
                </a:cubicBezTo>
                <a:cubicBezTo>
                  <a:pt x="578" y="44"/>
                  <a:pt x="579" y="41"/>
                  <a:pt x="581" y="40"/>
                </a:cubicBezTo>
                <a:cubicBezTo>
                  <a:pt x="583" y="38"/>
                  <a:pt x="586" y="37"/>
                  <a:pt x="589" y="37"/>
                </a:cubicBezTo>
                <a:cubicBezTo>
                  <a:pt x="594" y="37"/>
                  <a:pt x="599" y="39"/>
                  <a:pt x="603" y="42"/>
                </a:cubicBezTo>
                <a:cubicBezTo>
                  <a:pt x="603" y="42"/>
                  <a:pt x="603" y="42"/>
                  <a:pt x="603" y="32"/>
                </a:cubicBezTo>
                <a:cubicBezTo>
                  <a:pt x="599" y="30"/>
                  <a:pt x="595" y="29"/>
                  <a:pt x="590" y="29"/>
                </a:cubicBezTo>
                <a:cubicBezTo>
                  <a:pt x="583" y="29"/>
                  <a:pt x="578" y="30"/>
                  <a:pt x="574" y="34"/>
                </a:cubicBezTo>
                <a:cubicBezTo>
                  <a:pt x="569" y="37"/>
                  <a:pt x="567" y="42"/>
                  <a:pt x="567" y="47"/>
                </a:cubicBezTo>
                <a:cubicBezTo>
                  <a:pt x="567" y="52"/>
                  <a:pt x="568" y="56"/>
                  <a:pt x="572" y="59"/>
                </a:cubicBezTo>
                <a:cubicBezTo>
                  <a:pt x="574" y="61"/>
                  <a:pt x="577" y="63"/>
                  <a:pt x="583" y="66"/>
                </a:cubicBezTo>
                <a:cubicBezTo>
                  <a:pt x="588" y="68"/>
                  <a:pt x="591" y="70"/>
                  <a:pt x="593" y="72"/>
                </a:cubicBezTo>
                <a:cubicBezTo>
                  <a:pt x="595" y="73"/>
                  <a:pt x="596" y="75"/>
                  <a:pt x="596" y="78"/>
                </a:cubicBezTo>
                <a:cubicBezTo>
                  <a:pt x="596" y="84"/>
                  <a:pt x="592" y="87"/>
                  <a:pt x="584" y="87"/>
                </a:cubicBezTo>
                <a:cubicBezTo>
                  <a:pt x="578" y="87"/>
                  <a:pt x="572" y="85"/>
                  <a:pt x="567" y="81"/>
                </a:cubicBezTo>
                <a:cubicBezTo>
                  <a:pt x="567" y="81"/>
                  <a:pt x="567" y="81"/>
                  <a:pt x="567" y="92"/>
                </a:cubicBezTo>
                <a:cubicBezTo>
                  <a:pt x="572" y="94"/>
                  <a:pt x="577" y="95"/>
                  <a:pt x="583" y="95"/>
                </a:cubicBezTo>
                <a:cubicBezTo>
                  <a:pt x="590" y="95"/>
                  <a:pt x="596" y="94"/>
                  <a:pt x="600" y="90"/>
                </a:cubicBezTo>
                <a:cubicBezTo>
                  <a:pt x="604" y="86"/>
                  <a:pt x="606" y="82"/>
                  <a:pt x="606" y="77"/>
                </a:cubicBezTo>
                <a:close/>
                <a:moveTo>
                  <a:pt x="636" y="5"/>
                </a:moveTo>
                <a:cubicBezTo>
                  <a:pt x="636" y="94"/>
                  <a:pt x="636" y="94"/>
                  <a:pt x="636" y="94"/>
                </a:cubicBezTo>
                <a:cubicBezTo>
                  <a:pt x="647" y="94"/>
                  <a:pt x="647" y="94"/>
                  <a:pt x="647" y="94"/>
                </a:cubicBezTo>
                <a:cubicBezTo>
                  <a:pt x="647" y="5"/>
                  <a:pt x="647" y="5"/>
                  <a:pt x="647" y="5"/>
                </a:cubicBezTo>
                <a:cubicBezTo>
                  <a:pt x="636" y="5"/>
                  <a:pt x="636" y="5"/>
                  <a:pt x="636" y="5"/>
                </a:cubicBezTo>
                <a:close/>
                <a:moveTo>
                  <a:pt x="716" y="94"/>
                </a:moveTo>
                <a:cubicBezTo>
                  <a:pt x="716" y="94"/>
                  <a:pt x="716" y="94"/>
                  <a:pt x="716" y="94"/>
                </a:cubicBezTo>
                <a:cubicBezTo>
                  <a:pt x="716" y="55"/>
                  <a:pt x="716" y="55"/>
                  <a:pt x="716" y="55"/>
                </a:cubicBezTo>
                <a:cubicBezTo>
                  <a:pt x="716" y="47"/>
                  <a:pt x="715" y="40"/>
                  <a:pt x="711" y="36"/>
                </a:cubicBezTo>
                <a:cubicBezTo>
                  <a:pt x="708" y="31"/>
                  <a:pt x="702" y="29"/>
                  <a:pt x="695" y="29"/>
                </a:cubicBezTo>
                <a:cubicBezTo>
                  <a:pt x="686" y="29"/>
                  <a:pt x="679" y="33"/>
                  <a:pt x="674" y="41"/>
                </a:cubicBezTo>
                <a:cubicBezTo>
                  <a:pt x="674" y="41"/>
                  <a:pt x="674" y="41"/>
                  <a:pt x="674" y="41"/>
                </a:cubicBezTo>
                <a:cubicBezTo>
                  <a:pt x="674" y="41"/>
                  <a:pt x="674" y="41"/>
                  <a:pt x="674" y="30"/>
                </a:cubicBezTo>
                <a:cubicBezTo>
                  <a:pt x="674" y="30"/>
                  <a:pt x="674" y="30"/>
                  <a:pt x="664" y="30"/>
                </a:cubicBezTo>
                <a:cubicBezTo>
                  <a:pt x="664" y="30"/>
                  <a:pt x="664" y="30"/>
                  <a:pt x="664" y="94"/>
                </a:cubicBezTo>
                <a:cubicBezTo>
                  <a:pt x="664" y="94"/>
                  <a:pt x="664" y="94"/>
                  <a:pt x="674" y="94"/>
                </a:cubicBezTo>
                <a:cubicBezTo>
                  <a:pt x="674" y="94"/>
                  <a:pt x="674" y="94"/>
                  <a:pt x="674" y="58"/>
                </a:cubicBezTo>
                <a:cubicBezTo>
                  <a:pt x="674" y="52"/>
                  <a:pt x="676" y="47"/>
                  <a:pt x="679" y="43"/>
                </a:cubicBezTo>
                <a:cubicBezTo>
                  <a:pt x="682" y="39"/>
                  <a:pt x="686" y="37"/>
                  <a:pt x="692" y="37"/>
                </a:cubicBezTo>
                <a:cubicBezTo>
                  <a:pt x="701" y="37"/>
                  <a:pt x="706" y="44"/>
                  <a:pt x="706" y="58"/>
                </a:cubicBezTo>
                <a:cubicBezTo>
                  <a:pt x="706" y="58"/>
                  <a:pt x="706" y="58"/>
                  <a:pt x="706" y="94"/>
                </a:cubicBezTo>
                <a:cubicBezTo>
                  <a:pt x="706" y="94"/>
                  <a:pt x="706" y="94"/>
                  <a:pt x="716" y="94"/>
                </a:cubicBezTo>
                <a:close/>
                <a:moveTo>
                  <a:pt x="760" y="93"/>
                </a:moveTo>
                <a:cubicBezTo>
                  <a:pt x="760" y="93"/>
                  <a:pt x="760" y="93"/>
                  <a:pt x="760" y="93"/>
                </a:cubicBezTo>
                <a:cubicBezTo>
                  <a:pt x="760" y="85"/>
                  <a:pt x="760" y="85"/>
                  <a:pt x="760" y="85"/>
                </a:cubicBezTo>
                <a:cubicBezTo>
                  <a:pt x="759" y="86"/>
                  <a:pt x="756" y="86"/>
                  <a:pt x="754" y="86"/>
                </a:cubicBezTo>
                <a:cubicBezTo>
                  <a:pt x="750" y="86"/>
                  <a:pt x="748" y="86"/>
                  <a:pt x="747" y="84"/>
                </a:cubicBezTo>
                <a:cubicBezTo>
                  <a:pt x="745" y="82"/>
                  <a:pt x="745" y="79"/>
                  <a:pt x="745" y="75"/>
                </a:cubicBezTo>
                <a:cubicBezTo>
                  <a:pt x="745" y="75"/>
                  <a:pt x="745" y="75"/>
                  <a:pt x="745" y="39"/>
                </a:cubicBezTo>
                <a:cubicBezTo>
                  <a:pt x="745" y="39"/>
                  <a:pt x="745" y="39"/>
                  <a:pt x="760" y="39"/>
                </a:cubicBezTo>
                <a:cubicBezTo>
                  <a:pt x="760" y="39"/>
                  <a:pt x="760" y="39"/>
                  <a:pt x="760" y="30"/>
                </a:cubicBezTo>
                <a:cubicBezTo>
                  <a:pt x="760" y="30"/>
                  <a:pt x="760" y="30"/>
                  <a:pt x="745" y="30"/>
                </a:cubicBezTo>
                <a:cubicBezTo>
                  <a:pt x="745" y="30"/>
                  <a:pt x="745" y="30"/>
                  <a:pt x="745" y="11"/>
                </a:cubicBezTo>
                <a:cubicBezTo>
                  <a:pt x="741" y="12"/>
                  <a:pt x="737" y="13"/>
                  <a:pt x="734" y="15"/>
                </a:cubicBezTo>
                <a:cubicBezTo>
                  <a:pt x="734" y="15"/>
                  <a:pt x="734" y="15"/>
                  <a:pt x="734" y="30"/>
                </a:cubicBezTo>
                <a:cubicBezTo>
                  <a:pt x="734" y="30"/>
                  <a:pt x="734" y="30"/>
                  <a:pt x="723" y="30"/>
                </a:cubicBezTo>
                <a:cubicBezTo>
                  <a:pt x="723" y="30"/>
                  <a:pt x="723" y="30"/>
                  <a:pt x="723" y="39"/>
                </a:cubicBezTo>
                <a:cubicBezTo>
                  <a:pt x="723" y="39"/>
                  <a:pt x="723" y="39"/>
                  <a:pt x="734" y="39"/>
                </a:cubicBezTo>
                <a:cubicBezTo>
                  <a:pt x="734" y="39"/>
                  <a:pt x="734" y="39"/>
                  <a:pt x="734" y="77"/>
                </a:cubicBezTo>
                <a:cubicBezTo>
                  <a:pt x="734" y="89"/>
                  <a:pt x="740" y="95"/>
                  <a:pt x="751" y="95"/>
                </a:cubicBezTo>
                <a:cubicBezTo>
                  <a:pt x="755" y="95"/>
                  <a:pt x="758" y="95"/>
                  <a:pt x="760" y="93"/>
                </a:cubicBezTo>
                <a:close/>
                <a:moveTo>
                  <a:pt x="820" y="94"/>
                </a:moveTo>
                <a:cubicBezTo>
                  <a:pt x="820" y="94"/>
                  <a:pt x="820" y="94"/>
                  <a:pt x="820" y="94"/>
                </a:cubicBezTo>
                <a:cubicBezTo>
                  <a:pt x="820" y="30"/>
                  <a:pt x="820" y="30"/>
                  <a:pt x="820" y="30"/>
                </a:cubicBezTo>
                <a:cubicBezTo>
                  <a:pt x="820" y="30"/>
                  <a:pt x="820" y="30"/>
                  <a:pt x="810" y="30"/>
                </a:cubicBezTo>
                <a:cubicBezTo>
                  <a:pt x="810" y="30"/>
                  <a:pt x="810" y="30"/>
                  <a:pt x="810" y="67"/>
                </a:cubicBezTo>
                <a:cubicBezTo>
                  <a:pt x="810" y="73"/>
                  <a:pt x="809" y="78"/>
                  <a:pt x="805" y="81"/>
                </a:cubicBezTo>
                <a:cubicBezTo>
                  <a:pt x="802" y="85"/>
                  <a:pt x="798" y="87"/>
                  <a:pt x="793" y="87"/>
                </a:cubicBezTo>
                <a:cubicBezTo>
                  <a:pt x="783" y="87"/>
                  <a:pt x="778" y="80"/>
                  <a:pt x="778" y="67"/>
                </a:cubicBezTo>
                <a:cubicBezTo>
                  <a:pt x="778" y="67"/>
                  <a:pt x="778" y="67"/>
                  <a:pt x="778" y="30"/>
                </a:cubicBezTo>
                <a:cubicBezTo>
                  <a:pt x="778" y="30"/>
                  <a:pt x="778" y="30"/>
                  <a:pt x="768" y="30"/>
                </a:cubicBezTo>
                <a:cubicBezTo>
                  <a:pt x="768" y="30"/>
                  <a:pt x="768" y="30"/>
                  <a:pt x="768" y="68"/>
                </a:cubicBezTo>
                <a:cubicBezTo>
                  <a:pt x="768" y="86"/>
                  <a:pt x="775" y="95"/>
                  <a:pt x="790" y="95"/>
                </a:cubicBezTo>
                <a:cubicBezTo>
                  <a:pt x="799" y="95"/>
                  <a:pt x="805" y="92"/>
                  <a:pt x="810" y="84"/>
                </a:cubicBezTo>
                <a:cubicBezTo>
                  <a:pt x="810" y="84"/>
                  <a:pt x="810" y="84"/>
                  <a:pt x="810" y="84"/>
                </a:cubicBezTo>
                <a:cubicBezTo>
                  <a:pt x="810" y="84"/>
                  <a:pt x="810" y="84"/>
                  <a:pt x="810" y="94"/>
                </a:cubicBezTo>
                <a:cubicBezTo>
                  <a:pt x="810" y="94"/>
                  <a:pt x="810" y="94"/>
                  <a:pt x="820" y="94"/>
                </a:cubicBezTo>
                <a:close/>
                <a:moveTo>
                  <a:pt x="889" y="94"/>
                </a:moveTo>
                <a:cubicBezTo>
                  <a:pt x="889" y="94"/>
                  <a:pt x="889" y="94"/>
                  <a:pt x="889" y="94"/>
                </a:cubicBezTo>
                <a:cubicBezTo>
                  <a:pt x="889" y="55"/>
                  <a:pt x="889" y="55"/>
                  <a:pt x="889" y="55"/>
                </a:cubicBezTo>
                <a:cubicBezTo>
                  <a:pt x="889" y="47"/>
                  <a:pt x="887" y="40"/>
                  <a:pt x="883" y="36"/>
                </a:cubicBezTo>
                <a:cubicBezTo>
                  <a:pt x="880" y="31"/>
                  <a:pt x="875" y="29"/>
                  <a:pt x="868" y="29"/>
                </a:cubicBezTo>
                <a:cubicBezTo>
                  <a:pt x="858" y="29"/>
                  <a:pt x="851" y="33"/>
                  <a:pt x="846" y="41"/>
                </a:cubicBezTo>
                <a:cubicBezTo>
                  <a:pt x="846" y="41"/>
                  <a:pt x="846" y="41"/>
                  <a:pt x="846" y="41"/>
                </a:cubicBezTo>
                <a:cubicBezTo>
                  <a:pt x="846" y="41"/>
                  <a:pt x="846" y="41"/>
                  <a:pt x="846" y="30"/>
                </a:cubicBezTo>
                <a:cubicBezTo>
                  <a:pt x="846" y="30"/>
                  <a:pt x="846" y="30"/>
                  <a:pt x="836" y="30"/>
                </a:cubicBezTo>
                <a:cubicBezTo>
                  <a:pt x="836" y="30"/>
                  <a:pt x="836" y="30"/>
                  <a:pt x="836" y="94"/>
                </a:cubicBezTo>
                <a:cubicBezTo>
                  <a:pt x="836" y="94"/>
                  <a:pt x="836" y="94"/>
                  <a:pt x="846" y="94"/>
                </a:cubicBezTo>
                <a:cubicBezTo>
                  <a:pt x="846" y="94"/>
                  <a:pt x="846" y="94"/>
                  <a:pt x="846" y="58"/>
                </a:cubicBezTo>
                <a:cubicBezTo>
                  <a:pt x="846" y="52"/>
                  <a:pt x="848" y="47"/>
                  <a:pt x="851" y="43"/>
                </a:cubicBezTo>
                <a:cubicBezTo>
                  <a:pt x="855" y="39"/>
                  <a:pt x="859" y="37"/>
                  <a:pt x="864" y="37"/>
                </a:cubicBezTo>
                <a:cubicBezTo>
                  <a:pt x="874" y="37"/>
                  <a:pt x="879" y="44"/>
                  <a:pt x="879" y="58"/>
                </a:cubicBezTo>
                <a:cubicBezTo>
                  <a:pt x="879" y="58"/>
                  <a:pt x="879" y="58"/>
                  <a:pt x="879" y="94"/>
                </a:cubicBezTo>
                <a:cubicBezTo>
                  <a:pt x="879" y="94"/>
                  <a:pt x="879" y="94"/>
                  <a:pt x="889" y="94"/>
                </a:cubicBezTo>
                <a:close/>
                <a:moveTo>
                  <a:pt x="954" y="65"/>
                </a:moveTo>
                <a:cubicBezTo>
                  <a:pt x="954" y="65"/>
                  <a:pt x="954" y="65"/>
                  <a:pt x="954" y="65"/>
                </a:cubicBezTo>
                <a:cubicBezTo>
                  <a:pt x="954" y="59"/>
                  <a:pt x="954" y="59"/>
                  <a:pt x="954" y="59"/>
                </a:cubicBezTo>
                <a:cubicBezTo>
                  <a:pt x="954" y="50"/>
                  <a:pt x="951" y="43"/>
                  <a:pt x="947" y="37"/>
                </a:cubicBezTo>
                <a:cubicBezTo>
                  <a:pt x="943" y="32"/>
                  <a:pt x="936" y="29"/>
                  <a:pt x="928" y="29"/>
                </a:cubicBezTo>
                <a:cubicBezTo>
                  <a:pt x="919" y="29"/>
                  <a:pt x="913" y="32"/>
                  <a:pt x="907" y="37"/>
                </a:cubicBezTo>
                <a:cubicBezTo>
                  <a:pt x="901" y="44"/>
                  <a:pt x="898" y="52"/>
                  <a:pt x="898" y="62"/>
                </a:cubicBezTo>
                <a:cubicBezTo>
                  <a:pt x="898" y="73"/>
                  <a:pt x="901" y="82"/>
                  <a:pt x="906" y="87"/>
                </a:cubicBezTo>
                <a:cubicBezTo>
                  <a:pt x="911" y="93"/>
                  <a:pt x="918" y="95"/>
                  <a:pt x="927" y="95"/>
                </a:cubicBezTo>
                <a:cubicBezTo>
                  <a:pt x="936" y="95"/>
                  <a:pt x="944" y="94"/>
                  <a:pt x="949" y="89"/>
                </a:cubicBezTo>
                <a:cubicBezTo>
                  <a:pt x="949" y="89"/>
                  <a:pt x="949" y="89"/>
                  <a:pt x="949" y="80"/>
                </a:cubicBezTo>
                <a:cubicBezTo>
                  <a:pt x="943" y="84"/>
                  <a:pt x="936" y="87"/>
                  <a:pt x="929" y="87"/>
                </a:cubicBezTo>
                <a:cubicBezTo>
                  <a:pt x="923" y="87"/>
                  <a:pt x="918" y="85"/>
                  <a:pt x="914" y="81"/>
                </a:cubicBezTo>
                <a:cubicBezTo>
                  <a:pt x="911" y="77"/>
                  <a:pt x="909" y="72"/>
                  <a:pt x="909" y="65"/>
                </a:cubicBezTo>
                <a:cubicBezTo>
                  <a:pt x="909" y="65"/>
                  <a:pt x="909" y="65"/>
                  <a:pt x="954" y="65"/>
                </a:cubicBezTo>
                <a:close/>
                <a:moveTo>
                  <a:pt x="943" y="56"/>
                </a:moveTo>
                <a:cubicBezTo>
                  <a:pt x="943" y="56"/>
                  <a:pt x="943" y="56"/>
                  <a:pt x="943" y="56"/>
                </a:cubicBezTo>
                <a:cubicBezTo>
                  <a:pt x="909" y="56"/>
                  <a:pt x="909" y="56"/>
                  <a:pt x="909" y="56"/>
                </a:cubicBezTo>
                <a:cubicBezTo>
                  <a:pt x="910" y="50"/>
                  <a:pt x="912" y="46"/>
                  <a:pt x="915" y="43"/>
                </a:cubicBezTo>
                <a:cubicBezTo>
                  <a:pt x="918" y="39"/>
                  <a:pt x="922" y="37"/>
                  <a:pt x="927" y="37"/>
                </a:cubicBezTo>
                <a:cubicBezTo>
                  <a:pt x="933" y="37"/>
                  <a:pt x="936" y="39"/>
                  <a:pt x="939" y="42"/>
                </a:cubicBezTo>
                <a:cubicBezTo>
                  <a:pt x="942" y="46"/>
                  <a:pt x="943" y="50"/>
                  <a:pt x="943" y="56"/>
                </a:cubicBezTo>
                <a:close/>
                <a:moveTo>
                  <a:pt x="43" y="46"/>
                </a:moveTo>
                <a:cubicBezTo>
                  <a:pt x="43" y="7"/>
                  <a:pt x="43" y="7"/>
                  <a:pt x="43" y="7"/>
                </a:cubicBezTo>
                <a:cubicBezTo>
                  <a:pt x="95" y="0"/>
                  <a:pt x="95" y="0"/>
                  <a:pt x="95" y="0"/>
                </a:cubicBezTo>
                <a:cubicBezTo>
                  <a:pt x="95" y="46"/>
                  <a:pt x="95" y="46"/>
                  <a:pt x="95" y="46"/>
                </a:cubicBezTo>
                <a:cubicBezTo>
                  <a:pt x="43" y="46"/>
                  <a:pt x="43" y="46"/>
                  <a:pt x="43" y="46"/>
                </a:cubicBezTo>
                <a:cubicBezTo>
                  <a:pt x="43" y="46"/>
                  <a:pt x="43" y="46"/>
                  <a:pt x="43" y="46"/>
                </a:cubicBezTo>
                <a:close/>
                <a:moveTo>
                  <a:pt x="39" y="8"/>
                </a:moveTo>
                <a:cubicBezTo>
                  <a:pt x="0" y="14"/>
                  <a:pt x="0" y="14"/>
                  <a:pt x="0" y="14"/>
                </a:cubicBezTo>
                <a:cubicBezTo>
                  <a:pt x="0" y="46"/>
                  <a:pt x="0" y="46"/>
                  <a:pt x="0" y="46"/>
                </a:cubicBezTo>
                <a:cubicBezTo>
                  <a:pt x="39" y="46"/>
                  <a:pt x="39" y="46"/>
                  <a:pt x="39" y="46"/>
                </a:cubicBezTo>
                <a:cubicBezTo>
                  <a:pt x="39" y="8"/>
                  <a:pt x="39" y="8"/>
                  <a:pt x="39" y="8"/>
                </a:cubicBezTo>
                <a:cubicBezTo>
                  <a:pt x="39" y="8"/>
                  <a:pt x="39" y="8"/>
                  <a:pt x="39" y="8"/>
                </a:cubicBezTo>
                <a:close/>
                <a:moveTo>
                  <a:pt x="0" y="49"/>
                </a:moveTo>
                <a:cubicBezTo>
                  <a:pt x="0" y="82"/>
                  <a:pt x="0" y="82"/>
                  <a:pt x="0" y="82"/>
                </a:cubicBezTo>
                <a:cubicBezTo>
                  <a:pt x="39" y="88"/>
                  <a:pt x="39" y="88"/>
                  <a:pt x="39" y="88"/>
                </a:cubicBezTo>
                <a:cubicBezTo>
                  <a:pt x="39" y="49"/>
                  <a:pt x="39" y="49"/>
                  <a:pt x="39" y="49"/>
                </a:cubicBezTo>
                <a:cubicBezTo>
                  <a:pt x="0" y="49"/>
                  <a:pt x="0" y="49"/>
                  <a:pt x="0" y="49"/>
                </a:cubicBezTo>
                <a:cubicBezTo>
                  <a:pt x="0" y="49"/>
                  <a:pt x="0" y="49"/>
                  <a:pt x="0" y="49"/>
                </a:cubicBezTo>
                <a:close/>
                <a:moveTo>
                  <a:pt x="43" y="88"/>
                </a:moveTo>
                <a:cubicBezTo>
                  <a:pt x="95" y="96"/>
                  <a:pt x="95" y="96"/>
                  <a:pt x="95" y="96"/>
                </a:cubicBezTo>
                <a:cubicBezTo>
                  <a:pt x="95" y="49"/>
                  <a:pt x="95" y="49"/>
                  <a:pt x="95" y="49"/>
                </a:cubicBezTo>
                <a:cubicBezTo>
                  <a:pt x="43" y="49"/>
                  <a:pt x="43" y="49"/>
                  <a:pt x="43" y="49"/>
                </a:cubicBezTo>
                <a:cubicBezTo>
                  <a:pt x="43" y="88"/>
                  <a:pt x="43" y="88"/>
                  <a:pt x="43" y="88"/>
                </a:cubicBezTo>
                <a:cubicBezTo>
                  <a:pt x="43" y="88"/>
                  <a:pt x="43" y="88"/>
                  <a:pt x="43" y="88"/>
                </a:cubicBezTo>
                <a:close/>
              </a:path>
            </a:pathLst>
          </a:custGeom>
          <a:solidFill>
            <a:srgbClr val="EFEFEF"/>
          </a:solidFill>
          <a:ln>
            <a:noFill/>
          </a:ln>
        </p:spPr>
        <p:txBody>
          <a:bodyPr vert="horz" wrap="square" lIns="89619" tIns="44810" rIns="89619" bIns="44810"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smtClean="0">
              <a:ln>
                <a:noFill/>
              </a:ln>
              <a:solidFill>
                <a:srgbClr val="FFFFFF"/>
              </a:solidFill>
              <a:effectLst/>
              <a:uLnTx/>
              <a:uFillTx/>
            </a:endParaRPr>
          </a:p>
        </p:txBody>
      </p:sp>
      <p:grpSp>
        <p:nvGrpSpPr>
          <p:cNvPr id="94" name="Group 29"/>
          <p:cNvGrpSpPr>
            <a:grpSpLocks noChangeAspect="1"/>
          </p:cNvGrpSpPr>
          <p:nvPr/>
        </p:nvGrpSpPr>
        <p:grpSpPr bwMode="auto">
          <a:xfrm>
            <a:off x="7581834" y="3386070"/>
            <a:ext cx="618728" cy="619995"/>
            <a:chOff x="5541" y="601"/>
            <a:chExt cx="488" cy="489"/>
          </a:xfrm>
          <a:solidFill>
            <a:srgbClr val="FF8C00"/>
          </a:solidFill>
        </p:grpSpPr>
        <p:sp>
          <p:nvSpPr>
            <p:cNvPr id="95" name="Freeform 31"/>
            <p:cNvSpPr>
              <a:spLocks noEditPoints="1"/>
            </p:cNvSpPr>
            <p:nvPr/>
          </p:nvSpPr>
          <p:spPr bwMode="auto">
            <a:xfrm>
              <a:off x="5659" y="870"/>
              <a:ext cx="325" cy="195"/>
            </a:xfrm>
            <a:custGeom>
              <a:avLst/>
              <a:gdLst>
                <a:gd name="T0" fmla="*/ 1001 w 2278"/>
                <a:gd name="T1" fmla="*/ 1347 h 1363"/>
                <a:gd name="T2" fmla="*/ 824 w 2278"/>
                <a:gd name="T3" fmla="*/ 1335 h 1363"/>
                <a:gd name="T4" fmla="*/ 806 w 2278"/>
                <a:gd name="T5" fmla="*/ 1323 h 1363"/>
                <a:gd name="T6" fmla="*/ 819 w 2278"/>
                <a:gd name="T7" fmla="*/ 1303 h 1363"/>
                <a:gd name="T8" fmla="*/ 488 w 2278"/>
                <a:gd name="T9" fmla="*/ 922 h 1363"/>
                <a:gd name="T10" fmla="*/ 510 w 2278"/>
                <a:gd name="T11" fmla="*/ 923 h 1363"/>
                <a:gd name="T12" fmla="*/ 627 w 2278"/>
                <a:gd name="T13" fmla="*/ 906 h 1363"/>
                <a:gd name="T14" fmla="*/ 1347 w 2278"/>
                <a:gd name="T15" fmla="*/ 881 h 1363"/>
                <a:gd name="T16" fmla="*/ 1423 w 2278"/>
                <a:gd name="T17" fmla="*/ 820 h 1363"/>
                <a:gd name="T18" fmla="*/ 899 w 2278"/>
                <a:gd name="T19" fmla="*/ 785 h 1363"/>
                <a:gd name="T20" fmla="*/ 998 w 2278"/>
                <a:gd name="T21" fmla="*/ 771 h 1363"/>
                <a:gd name="T22" fmla="*/ 1000 w 2278"/>
                <a:gd name="T23" fmla="*/ 749 h 1363"/>
                <a:gd name="T24" fmla="*/ 1955 w 2278"/>
                <a:gd name="T25" fmla="*/ 743 h 1363"/>
                <a:gd name="T26" fmla="*/ 993 w 2278"/>
                <a:gd name="T27" fmla="*/ 723 h 1363"/>
                <a:gd name="T28" fmla="*/ 974 w 2278"/>
                <a:gd name="T29" fmla="*/ 702 h 1363"/>
                <a:gd name="T30" fmla="*/ 2026 w 2278"/>
                <a:gd name="T31" fmla="*/ 756 h 1363"/>
                <a:gd name="T32" fmla="*/ 1981 w 2278"/>
                <a:gd name="T33" fmla="*/ 801 h 1363"/>
                <a:gd name="T34" fmla="*/ 2030 w 2278"/>
                <a:gd name="T35" fmla="*/ 715 h 1363"/>
                <a:gd name="T36" fmla="*/ 717 w 2278"/>
                <a:gd name="T37" fmla="*/ 687 h 1363"/>
                <a:gd name="T38" fmla="*/ 1944 w 2278"/>
                <a:gd name="T39" fmla="*/ 679 h 1363"/>
                <a:gd name="T40" fmla="*/ 1016 w 2278"/>
                <a:gd name="T41" fmla="*/ 667 h 1363"/>
                <a:gd name="T42" fmla="*/ 55 w 2278"/>
                <a:gd name="T43" fmla="*/ 649 h 1363"/>
                <a:gd name="T44" fmla="*/ 995 w 2278"/>
                <a:gd name="T45" fmla="*/ 640 h 1363"/>
                <a:gd name="T46" fmla="*/ 851 w 2278"/>
                <a:gd name="T47" fmla="*/ 662 h 1363"/>
                <a:gd name="T48" fmla="*/ 807 w 2278"/>
                <a:gd name="T49" fmla="*/ 670 h 1363"/>
                <a:gd name="T50" fmla="*/ 1535 w 2278"/>
                <a:gd name="T51" fmla="*/ 630 h 1363"/>
                <a:gd name="T52" fmla="*/ 951 w 2278"/>
                <a:gd name="T53" fmla="*/ 630 h 1363"/>
                <a:gd name="T54" fmla="*/ 1970 w 2278"/>
                <a:gd name="T55" fmla="*/ 646 h 1363"/>
                <a:gd name="T56" fmla="*/ 700 w 2278"/>
                <a:gd name="T57" fmla="*/ 623 h 1363"/>
                <a:gd name="T58" fmla="*/ 728 w 2278"/>
                <a:gd name="T59" fmla="*/ 659 h 1363"/>
                <a:gd name="T60" fmla="*/ 657 w 2278"/>
                <a:gd name="T61" fmla="*/ 637 h 1363"/>
                <a:gd name="T62" fmla="*/ 592 w 2278"/>
                <a:gd name="T63" fmla="*/ 641 h 1363"/>
                <a:gd name="T64" fmla="*/ 828 w 2278"/>
                <a:gd name="T65" fmla="*/ 605 h 1363"/>
                <a:gd name="T66" fmla="*/ 760 w 2278"/>
                <a:gd name="T67" fmla="*/ 595 h 1363"/>
                <a:gd name="T68" fmla="*/ 1549 w 2278"/>
                <a:gd name="T69" fmla="*/ 610 h 1363"/>
                <a:gd name="T70" fmla="*/ 654 w 2278"/>
                <a:gd name="T71" fmla="*/ 605 h 1363"/>
                <a:gd name="T72" fmla="*/ 756 w 2278"/>
                <a:gd name="T73" fmla="*/ 579 h 1363"/>
                <a:gd name="T74" fmla="*/ 723 w 2278"/>
                <a:gd name="T75" fmla="*/ 571 h 1363"/>
                <a:gd name="T76" fmla="*/ 1888 w 2278"/>
                <a:gd name="T77" fmla="*/ 526 h 1363"/>
                <a:gd name="T78" fmla="*/ 2 w 2278"/>
                <a:gd name="T79" fmla="*/ 488 h 1363"/>
                <a:gd name="T80" fmla="*/ 967 w 2278"/>
                <a:gd name="T81" fmla="*/ 444 h 1363"/>
                <a:gd name="T82" fmla="*/ 2260 w 2278"/>
                <a:gd name="T83" fmla="*/ 452 h 1363"/>
                <a:gd name="T84" fmla="*/ 1686 w 2278"/>
                <a:gd name="T85" fmla="*/ 345 h 1363"/>
                <a:gd name="T86" fmla="*/ 1548 w 2278"/>
                <a:gd name="T87" fmla="*/ 272 h 1363"/>
                <a:gd name="T88" fmla="*/ 1582 w 2278"/>
                <a:gd name="T89" fmla="*/ 251 h 1363"/>
                <a:gd name="T90" fmla="*/ 1551 w 2278"/>
                <a:gd name="T91" fmla="*/ 246 h 1363"/>
                <a:gd name="T92" fmla="*/ 2024 w 2278"/>
                <a:gd name="T93" fmla="*/ 212 h 1363"/>
                <a:gd name="T94" fmla="*/ 1804 w 2278"/>
                <a:gd name="T95" fmla="*/ 247 h 1363"/>
                <a:gd name="T96" fmla="*/ 1770 w 2278"/>
                <a:gd name="T97" fmla="*/ 228 h 1363"/>
                <a:gd name="T98" fmla="*/ 1936 w 2278"/>
                <a:gd name="T99" fmla="*/ 195 h 1363"/>
                <a:gd name="T100" fmla="*/ 1865 w 2278"/>
                <a:gd name="T101" fmla="*/ 184 h 1363"/>
                <a:gd name="T102" fmla="*/ 1873 w 2278"/>
                <a:gd name="T103" fmla="*/ 171 h 1363"/>
                <a:gd name="T104" fmla="*/ 1914 w 2278"/>
                <a:gd name="T105" fmla="*/ 180 h 1363"/>
                <a:gd name="T106" fmla="*/ 1910 w 2278"/>
                <a:gd name="T107" fmla="*/ 145 h 1363"/>
                <a:gd name="T108" fmla="*/ 1970 w 2278"/>
                <a:gd name="T109" fmla="*/ 154 h 1363"/>
                <a:gd name="T110" fmla="*/ 1953 w 2278"/>
                <a:gd name="T111" fmla="*/ 126 h 1363"/>
                <a:gd name="T112" fmla="*/ 508 w 2278"/>
                <a:gd name="T113" fmla="*/ 93 h 1363"/>
                <a:gd name="T114" fmla="*/ 2032 w 2278"/>
                <a:gd name="T115" fmla="*/ 119 h 1363"/>
                <a:gd name="T116" fmla="*/ 2016 w 2278"/>
                <a:gd name="T117" fmla="*/ 178 h 1363"/>
                <a:gd name="T118" fmla="*/ 1988 w 2278"/>
                <a:gd name="T119" fmla="*/ 139 h 1363"/>
                <a:gd name="T120" fmla="*/ 2090 w 2278"/>
                <a:gd name="T121" fmla="*/ 44 h 1363"/>
                <a:gd name="T122" fmla="*/ 498 w 2278"/>
                <a:gd name="T123" fmla="*/ 2 h 1363"/>
                <a:gd name="T124" fmla="*/ 2219 w 2278"/>
                <a:gd name="T125" fmla="*/ 41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78" h="1363">
                  <a:moveTo>
                    <a:pt x="837" y="1356"/>
                  </a:moveTo>
                  <a:lnTo>
                    <a:pt x="839" y="1357"/>
                  </a:lnTo>
                  <a:lnTo>
                    <a:pt x="840" y="1358"/>
                  </a:lnTo>
                  <a:lnTo>
                    <a:pt x="841" y="1361"/>
                  </a:lnTo>
                  <a:lnTo>
                    <a:pt x="840" y="1363"/>
                  </a:lnTo>
                  <a:lnTo>
                    <a:pt x="839" y="1363"/>
                  </a:lnTo>
                  <a:lnTo>
                    <a:pt x="836" y="1361"/>
                  </a:lnTo>
                  <a:lnTo>
                    <a:pt x="835" y="1360"/>
                  </a:lnTo>
                  <a:lnTo>
                    <a:pt x="834" y="1360"/>
                  </a:lnTo>
                  <a:lnTo>
                    <a:pt x="833" y="1360"/>
                  </a:lnTo>
                  <a:lnTo>
                    <a:pt x="833" y="1359"/>
                  </a:lnTo>
                  <a:lnTo>
                    <a:pt x="833" y="1359"/>
                  </a:lnTo>
                  <a:lnTo>
                    <a:pt x="834" y="1358"/>
                  </a:lnTo>
                  <a:lnTo>
                    <a:pt x="835" y="1357"/>
                  </a:lnTo>
                  <a:lnTo>
                    <a:pt x="837" y="1356"/>
                  </a:lnTo>
                  <a:close/>
                  <a:moveTo>
                    <a:pt x="1014" y="1341"/>
                  </a:moveTo>
                  <a:lnTo>
                    <a:pt x="1015" y="1341"/>
                  </a:lnTo>
                  <a:lnTo>
                    <a:pt x="1016" y="1343"/>
                  </a:lnTo>
                  <a:lnTo>
                    <a:pt x="1015" y="1345"/>
                  </a:lnTo>
                  <a:lnTo>
                    <a:pt x="1015" y="1346"/>
                  </a:lnTo>
                  <a:lnTo>
                    <a:pt x="1012" y="1346"/>
                  </a:lnTo>
                  <a:lnTo>
                    <a:pt x="1012" y="1346"/>
                  </a:lnTo>
                  <a:lnTo>
                    <a:pt x="1011" y="1346"/>
                  </a:lnTo>
                  <a:lnTo>
                    <a:pt x="1010" y="1348"/>
                  </a:lnTo>
                  <a:lnTo>
                    <a:pt x="1008" y="1349"/>
                  </a:lnTo>
                  <a:lnTo>
                    <a:pt x="1007" y="1350"/>
                  </a:lnTo>
                  <a:lnTo>
                    <a:pt x="1006" y="1350"/>
                  </a:lnTo>
                  <a:lnTo>
                    <a:pt x="1006" y="1350"/>
                  </a:lnTo>
                  <a:lnTo>
                    <a:pt x="1006" y="1349"/>
                  </a:lnTo>
                  <a:lnTo>
                    <a:pt x="1005" y="1348"/>
                  </a:lnTo>
                  <a:lnTo>
                    <a:pt x="1004" y="1346"/>
                  </a:lnTo>
                  <a:lnTo>
                    <a:pt x="1001" y="1347"/>
                  </a:lnTo>
                  <a:lnTo>
                    <a:pt x="1000" y="1348"/>
                  </a:lnTo>
                  <a:lnTo>
                    <a:pt x="998" y="1350"/>
                  </a:lnTo>
                  <a:lnTo>
                    <a:pt x="997" y="1352"/>
                  </a:lnTo>
                  <a:lnTo>
                    <a:pt x="996" y="1354"/>
                  </a:lnTo>
                  <a:lnTo>
                    <a:pt x="994" y="1354"/>
                  </a:lnTo>
                  <a:lnTo>
                    <a:pt x="992" y="1354"/>
                  </a:lnTo>
                  <a:lnTo>
                    <a:pt x="990" y="1353"/>
                  </a:lnTo>
                  <a:lnTo>
                    <a:pt x="990" y="1352"/>
                  </a:lnTo>
                  <a:lnTo>
                    <a:pt x="992" y="1350"/>
                  </a:lnTo>
                  <a:lnTo>
                    <a:pt x="994" y="1350"/>
                  </a:lnTo>
                  <a:lnTo>
                    <a:pt x="995" y="1348"/>
                  </a:lnTo>
                  <a:lnTo>
                    <a:pt x="995" y="1347"/>
                  </a:lnTo>
                  <a:lnTo>
                    <a:pt x="995" y="1347"/>
                  </a:lnTo>
                  <a:lnTo>
                    <a:pt x="994" y="1346"/>
                  </a:lnTo>
                  <a:lnTo>
                    <a:pt x="994" y="1345"/>
                  </a:lnTo>
                  <a:lnTo>
                    <a:pt x="994" y="1344"/>
                  </a:lnTo>
                  <a:lnTo>
                    <a:pt x="994" y="1343"/>
                  </a:lnTo>
                  <a:lnTo>
                    <a:pt x="995" y="1343"/>
                  </a:lnTo>
                  <a:lnTo>
                    <a:pt x="996" y="1342"/>
                  </a:lnTo>
                  <a:lnTo>
                    <a:pt x="998" y="1342"/>
                  </a:lnTo>
                  <a:lnTo>
                    <a:pt x="999" y="1342"/>
                  </a:lnTo>
                  <a:lnTo>
                    <a:pt x="1000" y="1341"/>
                  </a:lnTo>
                  <a:lnTo>
                    <a:pt x="1001" y="1342"/>
                  </a:lnTo>
                  <a:lnTo>
                    <a:pt x="1001" y="1343"/>
                  </a:lnTo>
                  <a:lnTo>
                    <a:pt x="1003" y="1344"/>
                  </a:lnTo>
                  <a:lnTo>
                    <a:pt x="1004" y="1343"/>
                  </a:lnTo>
                  <a:lnTo>
                    <a:pt x="1006" y="1343"/>
                  </a:lnTo>
                  <a:lnTo>
                    <a:pt x="1008" y="1342"/>
                  </a:lnTo>
                  <a:lnTo>
                    <a:pt x="1009" y="1341"/>
                  </a:lnTo>
                  <a:lnTo>
                    <a:pt x="1011" y="1341"/>
                  </a:lnTo>
                  <a:lnTo>
                    <a:pt x="1014" y="1341"/>
                  </a:lnTo>
                  <a:close/>
                  <a:moveTo>
                    <a:pt x="824" y="1335"/>
                  </a:moveTo>
                  <a:lnTo>
                    <a:pt x="826" y="1335"/>
                  </a:lnTo>
                  <a:lnTo>
                    <a:pt x="826" y="1336"/>
                  </a:lnTo>
                  <a:lnTo>
                    <a:pt x="828" y="1337"/>
                  </a:lnTo>
                  <a:lnTo>
                    <a:pt x="829" y="1337"/>
                  </a:lnTo>
                  <a:lnTo>
                    <a:pt x="830" y="1337"/>
                  </a:lnTo>
                  <a:lnTo>
                    <a:pt x="831" y="1338"/>
                  </a:lnTo>
                  <a:lnTo>
                    <a:pt x="831" y="1338"/>
                  </a:lnTo>
                  <a:lnTo>
                    <a:pt x="831" y="1339"/>
                  </a:lnTo>
                  <a:lnTo>
                    <a:pt x="831" y="1341"/>
                  </a:lnTo>
                  <a:lnTo>
                    <a:pt x="831" y="1341"/>
                  </a:lnTo>
                  <a:lnTo>
                    <a:pt x="831" y="1342"/>
                  </a:lnTo>
                  <a:lnTo>
                    <a:pt x="830" y="1342"/>
                  </a:lnTo>
                  <a:lnTo>
                    <a:pt x="829" y="1342"/>
                  </a:lnTo>
                  <a:lnTo>
                    <a:pt x="826" y="1343"/>
                  </a:lnTo>
                  <a:lnTo>
                    <a:pt x="825" y="1343"/>
                  </a:lnTo>
                  <a:lnTo>
                    <a:pt x="824" y="1343"/>
                  </a:lnTo>
                  <a:lnTo>
                    <a:pt x="824" y="1342"/>
                  </a:lnTo>
                  <a:lnTo>
                    <a:pt x="823" y="1339"/>
                  </a:lnTo>
                  <a:lnTo>
                    <a:pt x="823" y="1338"/>
                  </a:lnTo>
                  <a:lnTo>
                    <a:pt x="823" y="1337"/>
                  </a:lnTo>
                  <a:lnTo>
                    <a:pt x="824" y="1335"/>
                  </a:lnTo>
                  <a:close/>
                  <a:moveTo>
                    <a:pt x="812" y="1320"/>
                  </a:moveTo>
                  <a:lnTo>
                    <a:pt x="813" y="1320"/>
                  </a:lnTo>
                  <a:lnTo>
                    <a:pt x="813" y="1322"/>
                  </a:lnTo>
                  <a:lnTo>
                    <a:pt x="813" y="1323"/>
                  </a:lnTo>
                  <a:lnTo>
                    <a:pt x="812" y="1325"/>
                  </a:lnTo>
                  <a:lnTo>
                    <a:pt x="810" y="1325"/>
                  </a:lnTo>
                  <a:lnTo>
                    <a:pt x="808" y="1326"/>
                  </a:lnTo>
                  <a:lnTo>
                    <a:pt x="806" y="1326"/>
                  </a:lnTo>
                  <a:lnTo>
                    <a:pt x="804" y="1326"/>
                  </a:lnTo>
                  <a:lnTo>
                    <a:pt x="804" y="1324"/>
                  </a:lnTo>
                  <a:lnTo>
                    <a:pt x="806" y="1323"/>
                  </a:lnTo>
                  <a:lnTo>
                    <a:pt x="808" y="1321"/>
                  </a:lnTo>
                  <a:lnTo>
                    <a:pt x="809" y="1321"/>
                  </a:lnTo>
                  <a:lnTo>
                    <a:pt x="811" y="1320"/>
                  </a:lnTo>
                  <a:lnTo>
                    <a:pt x="812" y="1320"/>
                  </a:lnTo>
                  <a:close/>
                  <a:moveTo>
                    <a:pt x="825" y="1319"/>
                  </a:moveTo>
                  <a:lnTo>
                    <a:pt x="825" y="1319"/>
                  </a:lnTo>
                  <a:lnTo>
                    <a:pt x="826" y="1319"/>
                  </a:lnTo>
                  <a:lnTo>
                    <a:pt x="828" y="1320"/>
                  </a:lnTo>
                  <a:lnTo>
                    <a:pt x="829" y="1321"/>
                  </a:lnTo>
                  <a:lnTo>
                    <a:pt x="829" y="1321"/>
                  </a:lnTo>
                  <a:lnTo>
                    <a:pt x="830" y="1321"/>
                  </a:lnTo>
                  <a:lnTo>
                    <a:pt x="831" y="1322"/>
                  </a:lnTo>
                  <a:lnTo>
                    <a:pt x="831" y="1323"/>
                  </a:lnTo>
                  <a:lnTo>
                    <a:pt x="831" y="1324"/>
                  </a:lnTo>
                  <a:lnTo>
                    <a:pt x="830" y="1325"/>
                  </a:lnTo>
                  <a:lnTo>
                    <a:pt x="829" y="1325"/>
                  </a:lnTo>
                  <a:lnTo>
                    <a:pt x="829" y="1324"/>
                  </a:lnTo>
                  <a:lnTo>
                    <a:pt x="828" y="1324"/>
                  </a:lnTo>
                  <a:lnTo>
                    <a:pt x="826" y="1324"/>
                  </a:lnTo>
                  <a:lnTo>
                    <a:pt x="825" y="1324"/>
                  </a:lnTo>
                  <a:lnTo>
                    <a:pt x="824" y="1324"/>
                  </a:lnTo>
                  <a:lnTo>
                    <a:pt x="824" y="1323"/>
                  </a:lnTo>
                  <a:lnTo>
                    <a:pt x="824" y="1322"/>
                  </a:lnTo>
                  <a:lnTo>
                    <a:pt x="824" y="1320"/>
                  </a:lnTo>
                  <a:lnTo>
                    <a:pt x="824" y="1319"/>
                  </a:lnTo>
                  <a:lnTo>
                    <a:pt x="825" y="1319"/>
                  </a:lnTo>
                  <a:close/>
                  <a:moveTo>
                    <a:pt x="813" y="1301"/>
                  </a:moveTo>
                  <a:lnTo>
                    <a:pt x="815" y="1301"/>
                  </a:lnTo>
                  <a:lnTo>
                    <a:pt x="818" y="1302"/>
                  </a:lnTo>
                  <a:lnTo>
                    <a:pt x="819" y="1302"/>
                  </a:lnTo>
                  <a:lnTo>
                    <a:pt x="819" y="1302"/>
                  </a:lnTo>
                  <a:lnTo>
                    <a:pt x="819" y="1303"/>
                  </a:lnTo>
                  <a:lnTo>
                    <a:pt x="818" y="1304"/>
                  </a:lnTo>
                  <a:lnTo>
                    <a:pt x="818" y="1305"/>
                  </a:lnTo>
                  <a:lnTo>
                    <a:pt x="818" y="1305"/>
                  </a:lnTo>
                  <a:lnTo>
                    <a:pt x="818" y="1305"/>
                  </a:lnTo>
                  <a:lnTo>
                    <a:pt x="818" y="1306"/>
                  </a:lnTo>
                  <a:lnTo>
                    <a:pt x="819" y="1308"/>
                  </a:lnTo>
                  <a:lnTo>
                    <a:pt x="820" y="1310"/>
                  </a:lnTo>
                  <a:lnTo>
                    <a:pt x="821" y="1310"/>
                  </a:lnTo>
                  <a:lnTo>
                    <a:pt x="821" y="1311"/>
                  </a:lnTo>
                  <a:lnTo>
                    <a:pt x="821" y="1312"/>
                  </a:lnTo>
                  <a:lnTo>
                    <a:pt x="821" y="1314"/>
                  </a:lnTo>
                  <a:lnTo>
                    <a:pt x="820" y="1316"/>
                  </a:lnTo>
                  <a:lnTo>
                    <a:pt x="820" y="1316"/>
                  </a:lnTo>
                  <a:lnTo>
                    <a:pt x="818" y="1316"/>
                  </a:lnTo>
                  <a:lnTo>
                    <a:pt x="817" y="1316"/>
                  </a:lnTo>
                  <a:lnTo>
                    <a:pt x="814" y="1316"/>
                  </a:lnTo>
                  <a:lnTo>
                    <a:pt x="812" y="1315"/>
                  </a:lnTo>
                  <a:lnTo>
                    <a:pt x="810" y="1314"/>
                  </a:lnTo>
                  <a:lnTo>
                    <a:pt x="810" y="1313"/>
                  </a:lnTo>
                  <a:lnTo>
                    <a:pt x="810" y="1313"/>
                  </a:lnTo>
                  <a:lnTo>
                    <a:pt x="811" y="1312"/>
                  </a:lnTo>
                  <a:lnTo>
                    <a:pt x="812" y="1310"/>
                  </a:lnTo>
                  <a:lnTo>
                    <a:pt x="813" y="1308"/>
                  </a:lnTo>
                  <a:lnTo>
                    <a:pt x="812" y="1305"/>
                  </a:lnTo>
                  <a:lnTo>
                    <a:pt x="810" y="1305"/>
                  </a:lnTo>
                  <a:lnTo>
                    <a:pt x="809" y="1304"/>
                  </a:lnTo>
                  <a:lnTo>
                    <a:pt x="809" y="1303"/>
                  </a:lnTo>
                  <a:lnTo>
                    <a:pt x="810" y="1302"/>
                  </a:lnTo>
                  <a:lnTo>
                    <a:pt x="811" y="1301"/>
                  </a:lnTo>
                  <a:lnTo>
                    <a:pt x="813" y="1301"/>
                  </a:lnTo>
                  <a:close/>
                  <a:moveTo>
                    <a:pt x="481" y="918"/>
                  </a:moveTo>
                  <a:lnTo>
                    <a:pt x="488" y="922"/>
                  </a:lnTo>
                  <a:lnTo>
                    <a:pt x="493" y="927"/>
                  </a:lnTo>
                  <a:lnTo>
                    <a:pt x="497" y="932"/>
                  </a:lnTo>
                  <a:lnTo>
                    <a:pt x="504" y="933"/>
                  </a:lnTo>
                  <a:lnTo>
                    <a:pt x="509" y="935"/>
                  </a:lnTo>
                  <a:lnTo>
                    <a:pt x="516" y="935"/>
                  </a:lnTo>
                  <a:lnTo>
                    <a:pt x="520" y="937"/>
                  </a:lnTo>
                  <a:lnTo>
                    <a:pt x="524" y="940"/>
                  </a:lnTo>
                  <a:lnTo>
                    <a:pt x="524" y="942"/>
                  </a:lnTo>
                  <a:lnTo>
                    <a:pt x="524" y="943"/>
                  </a:lnTo>
                  <a:lnTo>
                    <a:pt x="523" y="944"/>
                  </a:lnTo>
                  <a:lnTo>
                    <a:pt x="520" y="945"/>
                  </a:lnTo>
                  <a:lnTo>
                    <a:pt x="518" y="945"/>
                  </a:lnTo>
                  <a:lnTo>
                    <a:pt x="517" y="945"/>
                  </a:lnTo>
                  <a:lnTo>
                    <a:pt x="515" y="946"/>
                  </a:lnTo>
                  <a:lnTo>
                    <a:pt x="514" y="946"/>
                  </a:lnTo>
                  <a:lnTo>
                    <a:pt x="504" y="944"/>
                  </a:lnTo>
                  <a:lnTo>
                    <a:pt x="494" y="940"/>
                  </a:lnTo>
                  <a:lnTo>
                    <a:pt x="491" y="940"/>
                  </a:lnTo>
                  <a:lnTo>
                    <a:pt x="486" y="940"/>
                  </a:lnTo>
                  <a:lnTo>
                    <a:pt x="483" y="939"/>
                  </a:lnTo>
                  <a:lnTo>
                    <a:pt x="481" y="939"/>
                  </a:lnTo>
                  <a:lnTo>
                    <a:pt x="479" y="937"/>
                  </a:lnTo>
                  <a:lnTo>
                    <a:pt x="474" y="931"/>
                  </a:lnTo>
                  <a:lnTo>
                    <a:pt x="473" y="926"/>
                  </a:lnTo>
                  <a:lnTo>
                    <a:pt x="475" y="920"/>
                  </a:lnTo>
                  <a:lnTo>
                    <a:pt x="481" y="918"/>
                  </a:lnTo>
                  <a:close/>
                  <a:moveTo>
                    <a:pt x="497" y="911"/>
                  </a:moveTo>
                  <a:lnTo>
                    <a:pt x="503" y="912"/>
                  </a:lnTo>
                  <a:lnTo>
                    <a:pt x="509" y="913"/>
                  </a:lnTo>
                  <a:lnTo>
                    <a:pt x="514" y="917"/>
                  </a:lnTo>
                  <a:lnTo>
                    <a:pt x="515" y="921"/>
                  </a:lnTo>
                  <a:lnTo>
                    <a:pt x="510" y="923"/>
                  </a:lnTo>
                  <a:lnTo>
                    <a:pt x="505" y="923"/>
                  </a:lnTo>
                  <a:lnTo>
                    <a:pt x="498" y="922"/>
                  </a:lnTo>
                  <a:lnTo>
                    <a:pt x="494" y="919"/>
                  </a:lnTo>
                  <a:lnTo>
                    <a:pt x="492" y="916"/>
                  </a:lnTo>
                  <a:lnTo>
                    <a:pt x="493" y="912"/>
                  </a:lnTo>
                  <a:lnTo>
                    <a:pt x="497" y="911"/>
                  </a:lnTo>
                  <a:close/>
                  <a:moveTo>
                    <a:pt x="466" y="909"/>
                  </a:moveTo>
                  <a:lnTo>
                    <a:pt x="469" y="909"/>
                  </a:lnTo>
                  <a:lnTo>
                    <a:pt x="471" y="910"/>
                  </a:lnTo>
                  <a:lnTo>
                    <a:pt x="473" y="911"/>
                  </a:lnTo>
                  <a:lnTo>
                    <a:pt x="475" y="912"/>
                  </a:lnTo>
                  <a:lnTo>
                    <a:pt x="477" y="912"/>
                  </a:lnTo>
                  <a:lnTo>
                    <a:pt x="477" y="913"/>
                  </a:lnTo>
                  <a:lnTo>
                    <a:pt x="479" y="915"/>
                  </a:lnTo>
                  <a:lnTo>
                    <a:pt x="479" y="916"/>
                  </a:lnTo>
                  <a:lnTo>
                    <a:pt x="477" y="917"/>
                  </a:lnTo>
                  <a:lnTo>
                    <a:pt x="477" y="918"/>
                  </a:lnTo>
                  <a:lnTo>
                    <a:pt x="475" y="918"/>
                  </a:lnTo>
                  <a:lnTo>
                    <a:pt x="471" y="918"/>
                  </a:lnTo>
                  <a:lnTo>
                    <a:pt x="466" y="917"/>
                  </a:lnTo>
                  <a:lnTo>
                    <a:pt x="464" y="915"/>
                  </a:lnTo>
                  <a:lnTo>
                    <a:pt x="463" y="913"/>
                  </a:lnTo>
                  <a:lnTo>
                    <a:pt x="462" y="911"/>
                  </a:lnTo>
                  <a:lnTo>
                    <a:pt x="462" y="910"/>
                  </a:lnTo>
                  <a:lnTo>
                    <a:pt x="464" y="909"/>
                  </a:lnTo>
                  <a:lnTo>
                    <a:pt x="466" y="909"/>
                  </a:lnTo>
                  <a:close/>
                  <a:moveTo>
                    <a:pt x="623" y="892"/>
                  </a:moveTo>
                  <a:lnTo>
                    <a:pt x="624" y="894"/>
                  </a:lnTo>
                  <a:lnTo>
                    <a:pt x="626" y="896"/>
                  </a:lnTo>
                  <a:lnTo>
                    <a:pt x="627" y="898"/>
                  </a:lnTo>
                  <a:lnTo>
                    <a:pt x="627" y="901"/>
                  </a:lnTo>
                  <a:lnTo>
                    <a:pt x="627" y="906"/>
                  </a:lnTo>
                  <a:lnTo>
                    <a:pt x="626" y="908"/>
                  </a:lnTo>
                  <a:lnTo>
                    <a:pt x="625" y="908"/>
                  </a:lnTo>
                  <a:lnTo>
                    <a:pt x="624" y="908"/>
                  </a:lnTo>
                  <a:lnTo>
                    <a:pt x="622" y="906"/>
                  </a:lnTo>
                  <a:lnTo>
                    <a:pt x="621" y="905"/>
                  </a:lnTo>
                  <a:lnTo>
                    <a:pt x="621" y="902"/>
                  </a:lnTo>
                  <a:lnTo>
                    <a:pt x="619" y="900"/>
                  </a:lnTo>
                  <a:lnTo>
                    <a:pt x="619" y="897"/>
                  </a:lnTo>
                  <a:lnTo>
                    <a:pt x="621" y="895"/>
                  </a:lnTo>
                  <a:lnTo>
                    <a:pt x="622" y="894"/>
                  </a:lnTo>
                  <a:lnTo>
                    <a:pt x="623" y="892"/>
                  </a:lnTo>
                  <a:close/>
                  <a:moveTo>
                    <a:pt x="487" y="883"/>
                  </a:moveTo>
                  <a:lnTo>
                    <a:pt x="491" y="883"/>
                  </a:lnTo>
                  <a:lnTo>
                    <a:pt x="492" y="883"/>
                  </a:lnTo>
                  <a:lnTo>
                    <a:pt x="494" y="883"/>
                  </a:lnTo>
                  <a:lnTo>
                    <a:pt x="496" y="884"/>
                  </a:lnTo>
                  <a:lnTo>
                    <a:pt x="496" y="884"/>
                  </a:lnTo>
                  <a:lnTo>
                    <a:pt x="496" y="885"/>
                  </a:lnTo>
                  <a:lnTo>
                    <a:pt x="497" y="886"/>
                  </a:lnTo>
                  <a:lnTo>
                    <a:pt x="496" y="887"/>
                  </a:lnTo>
                  <a:lnTo>
                    <a:pt x="496" y="888"/>
                  </a:lnTo>
                  <a:lnTo>
                    <a:pt x="495" y="888"/>
                  </a:lnTo>
                  <a:lnTo>
                    <a:pt x="492" y="889"/>
                  </a:lnTo>
                  <a:lnTo>
                    <a:pt x="490" y="889"/>
                  </a:lnTo>
                  <a:lnTo>
                    <a:pt x="487" y="888"/>
                  </a:lnTo>
                  <a:lnTo>
                    <a:pt x="486" y="888"/>
                  </a:lnTo>
                  <a:lnTo>
                    <a:pt x="485" y="886"/>
                  </a:lnTo>
                  <a:lnTo>
                    <a:pt x="484" y="885"/>
                  </a:lnTo>
                  <a:lnTo>
                    <a:pt x="484" y="884"/>
                  </a:lnTo>
                  <a:lnTo>
                    <a:pt x="485" y="883"/>
                  </a:lnTo>
                  <a:lnTo>
                    <a:pt x="487" y="883"/>
                  </a:lnTo>
                  <a:close/>
                  <a:moveTo>
                    <a:pt x="1347" y="881"/>
                  </a:moveTo>
                  <a:lnTo>
                    <a:pt x="1348" y="883"/>
                  </a:lnTo>
                  <a:lnTo>
                    <a:pt x="1349" y="883"/>
                  </a:lnTo>
                  <a:lnTo>
                    <a:pt x="1350" y="884"/>
                  </a:lnTo>
                  <a:lnTo>
                    <a:pt x="1349" y="885"/>
                  </a:lnTo>
                  <a:lnTo>
                    <a:pt x="1348" y="887"/>
                  </a:lnTo>
                  <a:lnTo>
                    <a:pt x="1347" y="888"/>
                  </a:lnTo>
                  <a:lnTo>
                    <a:pt x="1346" y="887"/>
                  </a:lnTo>
                  <a:lnTo>
                    <a:pt x="1345" y="886"/>
                  </a:lnTo>
                  <a:lnTo>
                    <a:pt x="1345" y="884"/>
                  </a:lnTo>
                  <a:lnTo>
                    <a:pt x="1347" y="881"/>
                  </a:lnTo>
                  <a:close/>
                  <a:moveTo>
                    <a:pt x="515" y="874"/>
                  </a:moveTo>
                  <a:lnTo>
                    <a:pt x="517" y="874"/>
                  </a:lnTo>
                  <a:lnTo>
                    <a:pt x="520" y="875"/>
                  </a:lnTo>
                  <a:lnTo>
                    <a:pt x="524" y="876"/>
                  </a:lnTo>
                  <a:lnTo>
                    <a:pt x="526" y="877"/>
                  </a:lnTo>
                  <a:lnTo>
                    <a:pt x="526" y="885"/>
                  </a:lnTo>
                  <a:lnTo>
                    <a:pt x="525" y="887"/>
                  </a:lnTo>
                  <a:lnTo>
                    <a:pt x="524" y="887"/>
                  </a:lnTo>
                  <a:lnTo>
                    <a:pt x="521" y="887"/>
                  </a:lnTo>
                  <a:lnTo>
                    <a:pt x="519" y="886"/>
                  </a:lnTo>
                  <a:lnTo>
                    <a:pt x="517" y="885"/>
                  </a:lnTo>
                  <a:lnTo>
                    <a:pt x="516" y="884"/>
                  </a:lnTo>
                  <a:lnTo>
                    <a:pt x="515" y="883"/>
                  </a:lnTo>
                  <a:lnTo>
                    <a:pt x="513" y="879"/>
                  </a:lnTo>
                  <a:lnTo>
                    <a:pt x="513" y="877"/>
                  </a:lnTo>
                  <a:lnTo>
                    <a:pt x="513" y="875"/>
                  </a:lnTo>
                  <a:lnTo>
                    <a:pt x="514" y="874"/>
                  </a:lnTo>
                  <a:lnTo>
                    <a:pt x="515" y="874"/>
                  </a:lnTo>
                  <a:close/>
                  <a:moveTo>
                    <a:pt x="1421" y="818"/>
                  </a:moveTo>
                  <a:lnTo>
                    <a:pt x="1422" y="818"/>
                  </a:lnTo>
                  <a:lnTo>
                    <a:pt x="1423" y="819"/>
                  </a:lnTo>
                  <a:lnTo>
                    <a:pt x="1423" y="820"/>
                  </a:lnTo>
                  <a:lnTo>
                    <a:pt x="1422" y="822"/>
                  </a:lnTo>
                  <a:lnTo>
                    <a:pt x="1421" y="823"/>
                  </a:lnTo>
                  <a:lnTo>
                    <a:pt x="1420" y="824"/>
                  </a:lnTo>
                  <a:lnTo>
                    <a:pt x="1418" y="824"/>
                  </a:lnTo>
                  <a:lnTo>
                    <a:pt x="1418" y="823"/>
                  </a:lnTo>
                  <a:lnTo>
                    <a:pt x="1418" y="821"/>
                  </a:lnTo>
                  <a:lnTo>
                    <a:pt x="1419" y="820"/>
                  </a:lnTo>
                  <a:lnTo>
                    <a:pt x="1420" y="819"/>
                  </a:lnTo>
                  <a:lnTo>
                    <a:pt x="1421" y="818"/>
                  </a:lnTo>
                  <a:close/>
                  <a:moveTo>
                    <a:pt x="924" y="789"/>
                  </a:moveTo>
                  <a:lnTo>
                    <a:pt x="927" y="790"/>
                  </a:lnTo>
                  <a:lnTo>
                    <a:pt x="929" y="790"/>
                  </a:lnTo>
                  <a:lnTo>
                    <a:pt x="929" y="791"/>
                  </a:lnTo>
                  <a:lnTo>
                    <a:pt x="928" y="792"/>
                  </a:lnTo>
                  <a:lnTo>
                    <a:pt x="927" y="793"/>
                  </a:lnTo>
                  <a:lnTo>
                    <a:pt x="924" y="793"/>
                  </a:lnTo>
                  <a:lnTo>
                    <a:pt x="922" y="795"/>
                  </a:lnTo>
                  <a:lnTo>
                    <a:pt x="920" y="795"/>
                  </a:lnTo>
                  <a:lnTo>
                    <a:pt x="919" y="793"/>
                  </a:lnTo>
                  <a:lnTo>
                    <a:pt x="918" y="792"/>
                  </a:lnTo>
                  <a:lnTo>
                    <a:pt x="917" y="791"/>
                  </a:lnTo>
                  <a:lnTo>
                    <a:pt x="916" y="791"/>
                  </a:lnTo>
                  <a:lnTo>
                    <a:pt x="917" y="790"/>
                  </a:lnTo>
                  <a:lnTo>
                    <a:pt x="918" y="790"/>
                  </a:lnTo>
                  <a:lnTo>
                    <a:pt x="921" y="789"/>
                  </a:lnTo>
                  <a:lnTo>
                    <a:pt x="924" y="789"/>
                  </a:lnTo>
                  <a:close/>
                  <a:moveTo>
                    <a:pt x="886" y="780"/>
                  </a:moveTo>
                  <a:lnTo>
                    <a:pt x="889" y="780"/>
                  </a:lnTo>
                  <a:lnTo>
                    <a:pt x="891" y="781"/>
                  </a:lnTo>
                  <a:lnTo>
                    <a:pt x="894" y="782"/>
                  </a:lnTo>
                  <a:lnTo>
                    <a:pt x="896" y="784"/>
                  </a:lnTo>
                  <a:lnTo>
                    <a:pt x="899" y="785"/>
                  </a:lnTo>
                  <a:lnTo>
                    <a:pt x="902" y="784"/>
                  </a:lnTo>
                  <a:lnTo>
                    <a:pt x="905" y="785"/>
                  </a:lnTo>
                  <a:lnTo>
                    <a:pt x="905" y="785"/>
                  </a:lnTo>
                  <a:lnTo>
                    <a:pt x="905" y="786"/>
                  </a:lnTo>
                  <a:lnTo>
                    <a:pt x="905" y="787"/>
                  </a:lnTo>
                  <a:lnTo>
                    <a:pt x="902" y="787"/>
                  </a:lnTo>
                  <a:lnTo>
                    <a:pt x="900" y="787"/>
                  </a:lnTo>
                  <a:lnTo>
                    <a:pt x="898" y="788"/>
                  </a:lnTo>
                  <a:lnTo>
                    <a:pt x="896" y="788"/>
                  </a:lnTo>
                  <a:lnTo>
                    <a:pt x="892" y="788"/>
                  </a:lnTo>
                  <a:lnTo>
                    <a:pt x="889" y="787"/>
                  </a:lnTo>
                  <a:lnTo>
                    <a:pt x="887" y="786"/>
                  </a:lnTo>
                  <a:lnTo>
                    <a:pt x="885" y="785"/>
                  </a:lnTo>
                  <a:lnTo>
                    <a:pt x="883" y="784"/>
                  </a:lnTo>
                  <a:lnTo>
                    <a:pt x="881" y="782"/>
                  </a:lnTo>
                  <a:lnTo>
                    <a:pt x="881" y="782"/>
                  </a:lnTo>
                  <a:lnTo>
                    <a:pt x="881" y="781"/>
                  </a:lnTo>
                  <a:lnTo>
                    <a:pt x="884" y="780"/>
                  </a:lnTo>
                  <a:lnTo>
                    <a:pt x="886" y="780"/>
                  </a:lnTo>
                  <a:close/>
                  <a:moveTo>
                    <a:pt x="1000" y="771"/>
                  </a:moveTo>
                  <a:lnTo>
                    <a:pt x="1004" y="771"/>
                  </a:lnTo>
                  <a:lnTo>
                    <a:pt x="1005" y="772"/>
                  </a:lnTo>
                  <a:lnTo>
                    <a:pt x="1006" y="774"/>
                  </a:lnTo>
                  <a:lnTo>
                    <a:pt x="1006" y="776"/>
                  </a:lnTo>
                  <a:lnTo>
                    <a:pt x="1003" y="777"/>
                  </a:lnTo>
                  <a:lnTo>
                    <a:pt x="1000" y="777"/>
                  </a:lnTo>
                  <a:lnTo>
                    <a:pt x="997" y="777"/>
                  </a:lnTo>
                  <a:lnTo>
                    <a:pt x="995" y="776"/>
                  </a:lnTo>
                  <a:lnTo>
                    <a:pt x="994" y="775"/>
                  </a:lnTo>
                  <a:lnTo>
                    <a:pt x="994" y="774"/>
                  </a:lnTo>
                  <a:lnTo>
                    <a:pt x="995" y="771"/>
                  </a:lnTo>
                  <a:lnTo>
                    <a:pt x="998" y="771"/>
                  </a:lnTo>
                  <a:lnTo>
                    <a:pt x="1000" y="771"/>
                  </a:lnTo>
                  <a:close/>
                  <a:moveTo>
                    <a:pt x="1003" y="752"/>
                  </a:moveTo>
                  <a:lnTo>
                    <a:pt x="1004" y="753"/>
                  </a:lnTo>
                  <a:lnTo>
                    <a:pt x="1005" y="754"/>
                  </a:lnTo>
                  <a:lnTo>
                    <a:pt x="1006" y="755"/>
                  </a:lnTo>
                  <a:lnTo>
                    <a:pt x="1006" y="755"/>
                  </a:lnTo>
                  <a:lnTo>
                    <a:pt x="1006" y="756"/>
                  </a:lnTo>
                  <a:lnTo>
                    <a:pt x="1005" y="757"/>
                  </a:lnTo>
                  <a:lnTo>
                    <a:pt x="1004" y="759"/>
                  </a:lnTo>
                  <a:lnTo>
                    <a:pt x="1001" y="759"/>
                  </a:lnTo>
                  <a:lnTo>
                    <a:pt x="1000" y="759"/>
                  </a:lnTo>
                  <a:lnTo>
                    <a:pt x="999" y="759"/>
                  </a:lnTo>
                  <a:lnTo>
                    <a:pt x="999" y="757"/>
                  </a:lnTo>
                  <a:lnTo>
                    <a:pt x="999" y="757"/>
                  </a:lnTo>
                  <a:lnTo>
                    <a:pt x="1000" y="756"/>
                  </a:lnTo>
                  <a:lnTo>
                    <a:pt x="1001" y="755"/>
                  </a:lnTo>
                  <a:lnTo>
                    <a:pt x="1001" y="753"/>
                  </a:lnTo>
                  <a:lnTo>
                    <a:pt x="1003" y="752"/>
                  </a:lnTo>
                  <a:close/>
                  <a:moveTo>
                    <a:pt x="1000" y="735"/>
                  </a:moveTo>
                  <a:lnTo>
                    <a:pt x="1003" y="735"/>
                  </a:lnTo>
                  <a:lnTo>
                    <a:pt x="1003" y="736"/>
                  </a:lnTo>
                  <a:lnTo>
                    <a:pt x="1004" y="737"/>
                  </a:lnTo>
                  <a:lnTo>
                    <a:pt x="1006" y="738"/>
                  </a:lnTo>
                  <a:lnTo>
                    <a:pt x="1007" y="739"/>
                  </a:lnTo>
                  <a:lnTo>
                    <a:pt x="1007" y="742"/>
                  </a:lnTo>
                  <a:lnTo>
                    <a:pt x="1007" y="744"/>
                  </a:lnTo>
                  <a:lnTo>
                    <a:pt x="1006" y="747"/>
                  </a:lnTo>
                  <a:lnTo>
                    <a:pt x="1004" y="749"/>
                  </a:lnTo>
                  <a:lnTo>
                    <a:pt x="1003" y="750"/>
                  </a:lnTo>
                  <a:lnTo>
                    <a:pt x="1001" y="750"/>
                  </a:lnTo>
                  <a:lnTo>
                    <a:pt x="1000" y="750"/>
                  </a:lnTo>
                  <a:lnTo>
                    <a:pt x="1000" y="749"/>
                  </a:lnTo>
                  <a:lnTo>
                    <a:pt x="1000" y="748"/>
                  </a:lnTo>
                  <a:lnTo>
                    <a:pt x="1000" y="747"/>
                  </a:lnTo>
                  <a:lnTo>
                    <a:pt x="1001" y="745"/>
                  </a:lnTo>
                  <a:lnTo>
                    <a:pt x="1003" y="744"/>
                  </a:lnTo>
                  <a:lnTo>
                    <a:pt x="1003" y="743"/>
                  </a:lnTo>
                  <a:lnTo>
                    <a:pt x="1001" y="742"/>
                  </a:lnTo>
                  <a:lnTo>
                    <a:pt x="1001" y="741"/>
                  </a:lnTo>
                  <a:lnTo>
                    <a:pt x="1000" y="739"/>
                  </a:lnTo>
                  <a:lnTo>
                    <a:pt x="1000" y="738"/>
                  </a:lnTo>
                  <a:lnTo>
                    <a:pt x="999" y="737"/>
                  </a:lnTo>
                  <a:lnTo>
                    <a:pt x="999" y="736"/>
                  </a:lnTo>
                  <a:lnTo>
                    <a:pt x="1000" y="735"/>
                  </a:lnTo>
                  <a:lnTo>
                    <a:pt x="1000" y="735"/>
                  </a:lnTo>
                  <a:close/>
                  <a:moveTo>
                    <a:pt x="1964" y="712"/>
                  </a:moveTo>
                  <a:lnTo>
                    <a:pt x="1963" y="713"/>
                  </a:lnTo>
                  <a:lnTo>
                    <a:pt x="1961" y="714"/>
                  </a:lnTo>
                  <a:lnTo>
                    <a:pt x="1960" y="716"/>
                  </a:lnTo>
                  <a:lnTo>
                    <a:pt x="1959" y="719"/>
                  </a:lnTo>
                  <a:lnTo>
                    <a:pt x="1959" y="719"/>
                  </a:lnTo>
                  <a:lnTo>
                    <a:pt x="1959" y="721"/>
                  </a:lnTo>
                  <a:lnTo>
                    <a:pt x="1958" y="723"/>
                  </a:lnTo>
                  <a:lnTo>
                    <a:pt x="1957" y="725"/>
                  </a:lnTo>
                  <a:lnTo>
                    <a:pt x="1956" y="727"/>
                  </a:lnTo>
                  <a:lnTo>
                    <a:pt x="1955" y="730"/>
                  </a:lnTo>
                  <a:lnTo>
                    <a:pt x="1955" y="732"/>
                  </a:lnTo>
                  <a:lnTo>
                    <a:pt x="1954" y="737"/>
                  </a:lnTo>
                  <a:lnTo>
                    <a:pt x="1952" y="744"/>
                  </a:lnTo>
                  <a:lnTo>
                    <a:pt x="1952" y="748"/>
                  </a:lnTo>
                  <a:lnTo>
                    <a:pt x="1953" y="752"/>
                  </a:lnTo>
                  <a:lnTo>
                    <a:pt x="1953" y="747"/>
                  </a:lnTo>
                  <a:lnTo>
                    <a:pt x="1954" y="745"/>
                  </a:lnTo>
                  <a:lnTo>
                    <a:pt x="1955" y="743"/>
                  </a:lnTo>
                  <a:lnTo>
                    <a:pt x="1955" y="741"/>
                  </a:lnTo>
                  <a:lnTo>
                    <a:pt x="1961" y="727"/>
                  </a:lnTo>
                  <a:lnTo>
                    <a:pt x="1961" y="726"/>
                  </a:lnTo>
                  <a:lnTo>
                    <a:pt x="1963" y="724"/>
                  </a:lnTo>
                  <a:lnTo>
                    <a:pt x="1963" y="722"/>
                  </a:lnTo>
                  <a:lnTo>
                    <a:pt x="1964" y="719"/>
                  </a:lnTo>
                  <a:lnTo>
                    <a:pt x="1965" y="716"/>
                  </a:lnTo>
                  <a:lnTo>
                    <a:pt x="1965" y="714"/>
                  </a:lnTo>
                  <a:lnTo>
                    <a:pt x="1965" y="713"/>
                  </a:lnTo>
                  <a:lnTo>
                    <a:pt x="1964" y="712"/>
                  </a:lnTo>
                  <a:close/>
                  <a:moveTo>
                    <a:pt x="986" y="708"/>
                  </a:moveTo>
                  <a:lnTo>
                    <a:pt x="989" y="708"/>
                  </a:lnTo>
                  <a:lnTo>
                    <a:pt x="994" y="710"/>
                  </a:lnTo>
                  <a:lnTo>
                    <a:pt x="996" y="713"/>
                  </a:lnTo>
                  <a:lnTo>
                    <a:pt x="997" y="715"/>
                  </a:lnTo>
                  <a:lnTo>
                    <a:pt x="998" y="717"/>
                  </a:lnTo>
                  <a:lnTo>
                    <a:pt x="997" y="720"/>
                  </a:lnTo>
                  <a:lnTo>
                    <a:pt x="997" y="721"/>
                  </a:lnTo>
                  <a:lnTo>
                    <a:pt x="998" y="721"/>
                  </a:lnTo>
                  <a:lnTo>
                    <a:pt x="999" y="721"/>
                  </a:lnTo>
                  <a:lnTo>
                    <a:pt x="1000" y="722"/>
                  </a:lnTo>
                  <a:lnTo>
                    <a:pt x="1001" y="722"/>
                  </a:lnTo>
                  <a:lnTo>
                    <a:pt x="1003" y="723"/>
                  </a:lnTo>
                  <a:lnTo>
                    <a:pt x="1005" y="724"/>
                  </a:lnTo>
                  <a:lnTo>
                    <a:pt x="1005" y="725"/>
                  </a:lnTo>
                  <a:lnTo>
                    <a:pt x="1004" y="726"/>
                  </a:lnTo>
                  <a:lnTo>
                    <a:pt x="1001" y="728"/>
                  </a:lnTo>
                  <a:lnTo>
                    <a:pt x="999" y="730"/>
                  </a:lnTo>
                  <a:lnTo>
                    <a:pt x="997" y="730"/>
                  </a:lnTo>
                  <a:lnTo>
                    <a:pt x="995" y="730"/>
                  </a:lnTo>
                  <a:lnTo>
                    <a:pt x="993" y="727"/>
                  </a:lnTo>
                  <a:lnTo>
                    <a:pt x="993" y="723"/>
                  </a:lnTo>
                  <a:lnTo>
                    <a:pt x="990" y="722"/>
                  </a:lnTo>
                  <a:lnTo>
                    <a:pt x="989" y="722"/>
                  </a:lnTo>
                  <a:lnTo>
                    <a:pt x="988" y="722"/>
                  </a:lnTo>
                  <a:lnTo>
                    <a:pt x="987" y="721"/>
                  </a:lnTo>
                  <a:lnTo>
                    <a:pt x="987" y="720"/>
                  </a:lnTo>
                  <a:lnTo>
                    <a:pt x="988" y="719"/>
                  </a:lnTo>
                  <a:lnTo>
                    <a:pt x="987" y="717"/>
                  </a:lnTo>
                  <a:lnTo>
                    <a:pt x="987" y="716"/>
                  </a:lnTo>
                  <a:lnTo>
                    <a:pt x="985" y="716"/>
                  </a:lnTo>
                  <a:lnTo>
                    <a:pt x="984" y="716"/>
                  </a:lnTo>
                  <a:lnTo>
                    <a:pt x="982" y="716"/>
                  </a:lnTo>
                  <a:lnTo>
                    <a:pt x="978" y="715"/>
                  </a:lnTo>
                  <a:lnTo>
                    <a:pt x="977" y="715"/>
                  </a:lnTo>
                  <a:lnTo>
                    <a:pt x="976" y="714"/>
                  </a:lnTo>
                  <a:lnTo>
                    <a:pt x="976" y="713"/>
                  </a:lnTo>
                  <a:lnTo>
                    <a:pt x="977" y="711"/>
                  </a:lnTo>
                  <a:lnTo>
                    <a:pt x="978" y="710"/>
                  </a:lnTo>
                  <a:lnTo>
                    <a:pt x="981" y="709"/>
                  </a:lnTo>
                  <a:lnTo>
                    <a:pt x="983" y="708"/>
                  </a:lnTo>
                  <a:lnTo>
                    <a:pt x="986" y="708"/>
                  </a:lnTo>
                  <a:close/>
                  <a:moveTo>
                    <a:pt x="977" y="695"/>
                  </a:moveTo>
                  <a:lnTo>
                    <a:pt x="981" y="697"/>
                  </a:lnTo>
                  <a:lnTo>
                    <a:pt x="983" y="698"/>
                  </a:lnTo>
                  <a:lnTo>
                    <a:pt x="985" y="699"/>
                  </a:lnTo>
                  <a:lnTo>
                    <a:pt x="986" y="700"/>
                  </a:lnTo>
                  <a:lnTo>
                    <a:pt x="986" y="702"/>
                  </a:lnTo>
                  <a:lnTo>
                    <a:pt x="985" y="703"/>
                  </a:lnTo>
                  <a:lnTo>
                    <a:pt x="984" y="704"/>
                  </a:lnTo>
                  <a:lnTo>
                    <a:pt x="981" y="705"/>
                  </a:lnTo>
                  <a:lnTo>
                    <a:pt x="977" y="704"/>
                  </a:lnTo>
                  <a:lnTo>
                    <a:pt x="975" y="703"/>
                  </a:lnTo>
                  <a:lnTo>
                    <a:pt x="974" y="702"/>
                  </a:lnTo>
                  <a:lnTo>
                    <a:pt x="974" y="700"/>
                  </a:lnTo>
                  <a:lnTo>
                    <a:pt x="975" y="698"/>
                  </a:lnTo>
                  <a:lnTo>
                    <a:pt x="977" y="695"/>
                  </a:lnTo>
                  <a:close/>
                  <a:moveTo>
                    <a:pt x="2044" y="693"/>
                  </a:moveTo>
                  <a:lnTo>
                    <a:pt x="2044" y="693"/>
                  </a:lnTo>
                  <a:lnTo>
                    <a:pt x="2045" y="695"/>
                  </a:lnTo>
                  <a:lnTo>
                    <a:pt x="2045" y="697"/>
                  </a:lnTo>
                  <a:lnTo>
                    <a:pt x="2045" y="699"/>
                  </a:lnTo>
                  <a:lnTo>
                    <a:pt x="2044" y="702"/>
                  </a:lnTo>
                  <a:lnTo>
                    <a:pt x="2044" y="704"/>
                  </a:lnTo>
                  <a:lnTo>
                    <a:pt x="2044" y="705"/>
                  </a:lnTo>
                  <a:lnTo>
                    <a:pt x="2044" y="706"/>
                  </a:lnTo>
                  <a:lnTo>
                    <a:pt x="2045" y="708"/>
                  </a:lnTo>
                  <a:lnTo>
                    <a:pt x="2046" y="709"/>
                  </a:lnTo>
                  <a:lnTo>
                    <a:pt x="2046" y="711"/>
                  </a:lnTo>
                  <a:lnTo>
                    <a:pt x="2045" y="713"/>
                  </a:lnTo>
                  <a:lnTo>
                    <a:pt x="2044" y="715"/>
                  </a:lnTo>
                  <a:lnTo>
                    <a:pt x="2044" y="719"/>
                  </a:lnTo>
                  <a:lnTo>
                    <a:pt x="2044" y="721"/>
                  </a:lnTo>
                  <a:lnTo>
                    <a:pt x="2042" y="723"/>
                  </a:lnTo>
                  <a:lnTo>
                    <a:pt x="2040" y="725"/>
                  </a:lnTo>
                  <a:lnTo>
                    <a:pt x="2038" y="727"/>
                  </a:lnTo>
                  <a:lnTo>
                    <a:pt x="2036" y="731"/>
                  </a:lnTo>
                  <a:lnTo>
                    <a:pt x="2036" y="734"/>
                  </a:lnTo>
                  <a:lnTo>
                    <a:pt x="2035" y="738"/>
                  </a:lnTo>
                  <a:lnTo>
                    <a:pt x="2033" y="741"/>
                  </a:lnTo>
                  <a:lnTo>
                    <a:pt x="2032" y="743"/>
                  </a:lnTo>
                  <a:lnTo>
                    <a:pt x="2031" y="745"/>
                  </a:lnTo>
                  <a:lnTo>
                    <a:pt x="2030" y="748"/>
                  </a:lnTo>
                  <a:lnTo>
                    <a:pt x="2029" y="750"/>
                  </a:lnTo>
                  <a:lnTo>
                    <a:pt x="2027" y="753"/>
                  </a:lnTo>
                  <a:lnTo>
                    <a:pt x="2026" y="756"/>
                  </a:lnTo>
                  <a:lnTo>
                    <a:pt x="2013" y="784"/>
                  </a:lnTo>
                  <a:lnTo>
                    <a:pt x="2009" y="795"/>
                  </a:lnTo>
                  <a:lnTo>
                    <a:pt x="2003" y="806"/>
                  </a:lnTo>
                  <a:lnTo>
                    <a:pt x="1997" y="819"/>
                  </a:lnTo>
                  <a:lnTo>
                    <a:pt x="1996" y="821"/>
                  </a:lnTo>
                  <a:lnTo>
                    <a:pt x="1994" y="822"/>
                  </a:lnTo>
                  <a:lnTo>
                    <a:pt x="1992" y="824"/>
                  </a:lnTo>
                  <a:lnTo>
                    <a:pt x="1992" y="825"/>
                  </a:lnTo>
                  <a:lnTo>
                    <a:pt x="1989" y="828"/>
                  </a:lnTo>
                  <a:lnTo>
                    <a:pt x="1987" y="830"/>
                  </a:lnTo>
                  <a:lnTo>
                    <a:pt x="1985" y="832"/>
                  </a:lnTo>
                  <a:lnTo>
                    <a:pt x="1982" y="833"/>
                  </a:lnTo>
                  <a:lnTo>
                    <a:pt x="1980" y="833"/>
                  </a:lnTo>
                  <a:lnTo>
                    <a:pt x="1979" y="833"/>
                  </a:lnTo>
                  <a:lnTo>
                    <a:pt x="1978" y="831"/>
                  </a:lnTo>
                  <a:lnTo>
                    <a:pt x="1976" y="830"/>
                  </a:lnTo>
                  <a:lnTo>
                    <a:pt x="1975" y="829"/>
                  </a:lnTo>
                  <a:lnTo>
                    <a:pt x="1974" y="826"/>
                  </a:lnTo>
                  <a:lnTo>
                    <a:pt x="1974" y="824"/>
                  </a:lnTo>
                  <a:lnTo>
                    <a:pt x="1975" y="821"/>
                  </a:lnTo>
                  <a:lnTo>
                    <a:pt x="1976" y="819"/>
                  </a:lnTo>
                  <a:lnTo>
                    <a:pt x="1977" y="817"/>
                  </a:lnTo>
                  <a:lnTo>
                    <a:pt x="1977" y="815"/>
                  </a:lnTo>
                  <a:lnTo>
                    <a:pt x="1977" y="814"/>
                  </a:lnTo>
                  <a:lnTo>
                    <a:pt x="1977" y="813"/>
                  </a:lnTo>
                  <a:lnTo>
                    <a:pt x="1977" y="812"/>
                  </a:lnTo>
                  <a:lnTo>
                    <a:pt x="1977" y="810"/>
                  </a:lnTo>
                  <a:lnTo>
                    <a:pt x="1977" y="808"/>
                  </a:lnTo>
                  <a:lnTo>
                    <a:pt x="1978" y="806"/>
                  </a:lnTo>
                  <a:lnTo>
                    <a:pt x="1978" y="803"/>
                  </a:lnTo>
                  <a:lnTo>
                    <a:pt x="1980" y="802"/>
                  </a:lnTo>
                  <a:lnTo>
                    <a:pt x="1981" y="801"/>
                  </a:lnTo>
                  <a:lnTo>
                    <a:pt x="1982" y="799"/>
                  </a:lnTo>
                  <a:lnTo>
                    <a:pt x="1983" y="797"/>
                  </a:lnTo>
                  <a:lnTo>
                    <a:pt x="1985" y="795"/>
                  </a:lnTo>
                  <a:lnTo>
                    <a:pt x="1986" y="792"/>
                  </a:lnTo>
                  <a:lnTo>
                    <a:pt x="1991" y="782"/>
                  </a:lnTo>
                  <a:lnTo>
                    <a:pt x="1994" y="771"/>
                  </a:lnTo>
                  <a:lnTo>
                    <a:pt x="1996" y="767"/>
                  </a:lnTo>
                  <a:lnTo>
                    <a:pt x="1997" y="763"/>
                  </a:lnTo>
                  <a:lnTo>
                    <a:pt x="1999" y="758"/>
                  </a:lnTo>
                  <a:lnTo>
                    <a:pt x="1999" y="756"/>
                  </a:lnTo>
                  <a:lnTo>
                    <a:pt x="2000" y="754"/>
                  </a:lnTo>
                  <a:lnTo>
                    <a:pt x="2000" y="752"/>
                  </a:lnTo>
                  <a:lnTo>
                    <a:pt x="2001" y="749"/>
                  </a:lnTo>
                  <a:lnTo>
                    <a:pt x="2002" y="747"/>
                  </a:lnTo>
                  <a:lnTo>
                    <a:pt x="2004" y="745"/>
                  </a:lnTo>
                  <a:lnTo>
                    <a:pt x="2007" y="743"/>
                  </a:lnTo>
                  <a:lnTo>
                    <a:pt x="2009" y="741"/>
                  </a:lnTo>
                  <a:lnTo>
                    <a:pt x="2009" y="738"/>
                  </a:lnTo>
                  <a:lnTo>
                    <a:pt x="2011" y="736"/>
                  </a:lnTo>
                  <a:lnTo>
                    <a:pt x="2013" y="735"/>
                  </a:lnTo>
                  <a:lnTo>
                    <a:pt x="2015" y="734"/>
                  </a:lnTo>
                  <a:lnTo>
                    <a:pt x="2022" y="727"/>
                  </a:lnTo>
                  <a:lnTo>
                    <a:pt x="2023" y="726"/>
                  </a:lnTo>
                  <a:lnTo>
                    <a:pt x="2024" y="724"/>
                  </a:lnTo>
                  <a:lnTo>
                    <a:pt x="2026" y="722"/>
                  </a:lnTo>
                  <a:lnTo>
                    <a:pt x="2029" y="721"/>
                  </a:lnTo>
                  <a:lnTo>
                    <a:pt x="2031" y="719"/>
                  </a:lnTo>
                  <a:lnTo>
                    <a:pt x="2031" y="716"/>
                  </a:lnTo>
                  <a:lnTo>
                    <a:pt x="2031" y="715"/>
                  </a:lnTo>
                  <a:lnTo>
                    <a:pt x="2031" y="715"/>
                  </a:lnTo>
                  <a:lnTo>
                    <a:pt x="2030" y="715"/>
                  </a:lnTo>
                  <a:lnTo>
                    <a:pt x="2030" y="715"/>
                  </a:lnTo>
                  <a:lnTo>
                    <a:pt x="2029" y="713"/>
                  </a:lnTo>
                  <a:lnTo>
                    <a:pt x="2030" y="711"/>
                  </a:lnTo>
                  <a:lnTo>
                    <a:pt x="2031" y="709"/>
                  </a:lnTo>
                  <a:lnTo>
                    <a:pt x="2031" y="706"/>
                  </a:lnTo>
                  <a:lnTo>
                    <a:pt x="2033" y="705"/>
                  </a:lnTo>
                  <a:lnTo>
                    <a:pt x="2035" y="704"/>
                  </a:lnTo>
                  <a:lnTo>
                    <a:pt x="2037" y="702"/>
                  </a:lnTo>
                  <a:lnTo>
                    <a:pt x="2038" y="701"/>
                  </a:lnTo>
                  <a:lnTo>
                    <a:pt x="2040" y="699"/>
                  </a:lnTo>
                  <a:lnTo>
                    <a:pt x="2042" y="698"/>
                  </a:lnTo>
                  <a:lnTo>
                    <a:pt x="2042" y="695"/>
                  </a:lnTo>
                  <a:lnTo>
                    <a:pt x="2043" y="693"/>
                  </a:lnTo>
                  <a:lnTo>
                    <a:pt x="2044" y="693"/>
                  </a:lnTo>
                  <a:close/>
                  <a:moveTo>
                    <a:pt x="975" y="687"/>
                  </a:moveTo>
                  <a:lnTo>
                    <a:pt x="975" y="688"/>
                  </a:lnTo>
                  <a:lnTo>
                    <a:pt x="976" y="688"/>
                  </a:lnTo>
                  <a:lnTo>
                    <a:pt x="976" y="689"/>
                  </a:lnTo>
                  <a:lnTo>
                    <a:pt x="977" y="690"/>
                  </a:lnTo>
                  <a:lnTo>
                    <a:pt x="977" y="691"/>
                  </a:lnTo>
                  <a:lnTo>
                    <a:pt x="977" y="692"/>
                  </a:lnTo>
                  <a:lnTo>
                    <a:pt x="976" y="693"/>
                  </a:lnTo>
                  <a:lnTo>
                    <a:pt x="974" y="693"/>
                  </a:lnTo>
                  <a:lnTo>
                    <a:pt x="973" y="693"/>
                  </a:lnTo>
                  <a:lnTo>
                    <a:pt x="973" y="692"/>
                  </a:lnTo>
                  <a:lnTo>
                    <a:pt x="972" y="691"/>
                  </a:lnTo>
                  <a:lnTo>
                    <a:pt x="972" y="690"/>
                  </a:lnTo>
                  <a:lnTo>
                    <a:pt x="973" y="689"/>
                  </a:lnTo>
                  <a:lnTo>
                    <a:pt x="973" y="688"/>
                  </a:lnTo>
                  <a:lnTo>
                    <a:pt x="974" y="688"/>
                  </a:lnTo>
                  <a:lnTo>
                    <a:pt x="974" y="687"/>
                  </a:lnTo>
                  <a:lnTo>
                    <a:pt x="975" y="687"/>
                  </a:lnTo>
                  <a:close/>
                  <a:moveTo>
                    <a:pt x="717" y="687"/>
                  </a:moveTo>
                  <a:lnTo>
                    <a:pt x="722" y="688"/>
                  </a:lnTo>
                  <a:lnTo>
                    <a:pt x="725" y="689"/>
                  </a:lnTo>
                  <a:lnTo>
                    <a:pt x="728" y="689"/>
                  </a:lnTo>
                  <a:lnTo>
                    <a:pt x="732" y="690"/>
                  </a:lnTo>
                  <a:lnTo>
                    <a:pt x="736" y="690"/>
                  </a:lnTo>
                  <a:lnTo>
                    <a:pt x="739" y="689"/>
                  </a:lnTo>
                  <a:lnTo>
                    <a:pt x="743" y="689"/>
                  </a:lnTo>
                  <a:lnTo>
                    <a:pt x="746" y="690"/>
                  </a:lnTo>
                  <a:lnTo>
                    <a:pt x="748" y="691"/>
                  </a:lnTo>
                  <a:lnTo>
                    <a:pt x="748" y="693"/>
                  </a:lnTo>
                  <a:lnTo>
                    <a:pt x="747" y="693"/>
                  </a:lnTo>
                  <a:lnTo>
                    <a:pt x="745" y="694"/>
                  </a:lnTo>
                  <a:lnTo>
                    <a:pt x="743" y="694"/>
                  </a:lnTo>
                  <a:lnTo>
                    <a:pt x="741" y="694"/>
                  </a:lnTo>
                  <a:lnTo>
                    <a:pt x="738" y="694"/>
                  </a:lnTo>
                  <a:lnTo>
                    <a:pt x="736" y="694"/>
                  </a:lnTo>
                  <a:lnTo>
                    <a:pt x="726" y="694"/>
                  </a:lnTo>
                  <a:lnTo>
                    <a:pt x="724" y="694"/>
                  </a:lnTo>
                  <a:lnTo>
                    <a:pt x="722" y="693"/>
                  </a:lnTo>
                  <a:lnTo>
                    <a:pt x="721" y="693"/>
                  </a:lnTo>
                  <a:lnTo>
                    <a:pt x="717" y="692"/>
                  </a:lnTo>
                  <a:lnTo>
                    <a:pt x="715" y="692"/>
                  </a:lnTo>
                  <a:lnTo>
                    <a:pt x="714" y="691"/>
                  </a:lnTo>
                  <a:lnTo>
                    <a:pt x="714" y="690"/>
                  </a:lnTo>
                  <a:lnTo>
                    <a:pt x="714" y="689"/>
                  </a:lnTo>
                  <a:lnTo>
                    <a:pt x="715" y="688"/>
                  </a:lnTo>
                  <a:lnTo>
                    <a:pt x="716" y="687"/>
                  </a:lnTo>
                  <a:lnTo>
                    <a:pt x="717" y="687"/>
                  </a:lnTo>
                  <a:close/>
                  <a:moveTo>
                    <a:pt x="1946" y="676"/>
                  </a:moveTo>
                  <a:lnTo>
                    <a:pt x="1946" y="676"/>
                  </a:lnTo>
                  <a:lnTo>
                    <a:pt x="1945" y="677"/>
                  </a:lnTo>
                  <a:lnTo>
                    <a:pt x="1944" y="679"/>
                  </a:lnTo>
                  <a:lnTo>
                    <a:pt x="1943" y="681"/>
                  </a:lnTo>
                  <a:lnTo>
                    <a:pt x="1942" y="684"/>
                  </a:lnTo>
                  <a:lnTo>
                    <a:pt x="1941" y="687"/>
                  </a:lnTo>
                  <a:lnTo>
                    <a:pt x="1939" y="690"/>
                  </a:lnTo>
                  <a:lnTo>
                    <a:pt x="1938" y="693"/>
                  </a:lnTo>
                  <a:lnTo>
                    <a:pt x="1938" y="697"/>
                  </a:lnTo>
                  <a:lnTo>
                    <a:pt x="1938" y="699"/>
                  </a:lnTo>
                  <a:lnTo>
                    <a:pt x="1939" y="700"/>
                  </a:lnTo>
                  <a:lnTo>
                    <a:pt x="1941" y="701"/>
                  </a:lnTo>
                  <a:lnTo>
                    <a:pt x="1943" y="702"/>
                  </a:lnTo>
                  <a:lnTo>
                    <a:pt x="1944" y="703"/>
                  </a:lnTo>
                  <a:lnTo>
                    <a:pt x="1944" y="704"/>
                  </a:lnTo>
                  <a:lnTo>
                    <a:pt x="1944" y="704"/>
                  </a:lnTo>
                  <a:lnTo>
                    <a:pt x="1944" y="703"/>
                  </a:lnTo>
                  <a:lnTo>
                    <a:pt x="1944" y="703"/>
                  </a:lnTo>
                  <a:lnTo>
                    <a:pt x="1944" y="703"/>
                  </a:lnTo>
                  <a:lnTo>
                    <a:pt x="1945" y="702"/>
                  </a:lnTo>
                  <a:lnTo>
                    <a:pt x="1945" y="701"/>
                  </a:lnTo>
                  <a:lnTo>
                    <a:pt x="1944" y="701"/>
                  </a:lnTo>
                  <a:lnTo>
                    <a:pt x="1944" y="683"/>
                  </a:lnTo>
                  <a:lnTo>
                    <a:pt x="1946" y="681"/>
                  </a:lnTo>
                  <a:lnTo>
                    <a:pt x="1946" y="679"/>
                  </a:lnTo>
                  <a:lnTo>
                    <a:pt x="1946" y="677"/>
                  </a:lnTo>
                  <a:lnTo>
                    <a:pt x="1946" y="676"/>
                  </a:lnTo>
                  <a:lnTo>
                    <a:pt x="1946" y="676"/>
                  </a:lnTo>
                  <a:close/>
                  <a:moveTo>
                    <a:pt x="1012" y="661"/>
                  </a:moveTo>
                  <a:lnTo>
                    <a:pt x="1015" y="661"/>
                  </a:lnTo>
                  <a:lnTo>
                    <a:pt x="1016" y="662"/>
                  </a:lnTo>
                  <a:lnTo>
                    <a:pt x="1017" y="665"/>
                  </a:lnTo>
                  <a:lnTo>
                    <a:pt x="1018" y="666"/>
                  </a:lnTo>
                  <a:lnTo>
                    <a:pt x="1017" y="667"/>
                  </a:lnTo>
                  <a:lnTo>
                    <a:pt x="1016" y="667"/>
                  </a:lnTo>
                  <a:lnTo>
                    <a:pt x="1014" y="667"/>
                  </a:lnTo>
                  <a:lnTo>
                    <a:pt x="1011" y="666"/>
                  </a:lnTo>
                  <a:lnTo>
                    <a:pt x="1010" y="666"/>
                  </a:lnTo>
                  <a:lnTo>
                    <a:pt x="1009" y="665"/>
                  </a:lnTo>
                  <a:lnTo>
                    <a:pt x="1008" y="664"/>
                  </a:lnTo>
                  <a:lnTo>
                    <a:pt x="1010" y="661"/>
                  </a:lnTo>
                  <a:lnTo>
                    <a:pt x="1012" y="661"/>
                  </a:lnTo>
                  <a:close/>
                  <a:moveTo>
                    <a:pt x="75" y="659"/>
                  </a:moveTo>
                  <a:lnTo>
                    <a:pt x="77" y="659"/>
                  </a:lnTo>
                  <a:lnTo>
                    <a:pt x="80" y="660"/>
                  </a:lnTo>
                  <a:lnTo>
                    <a:pt x="83" y="661"/>
                  </a:lnTo>
                  <a:lnTo>
                    <a:pt x="86" y="661"/>
                  </a:lnTo>
                  <a:lnTo>
                    <a:pt x="86" y="665"/>
                  </a:lnTo>
                  <a:lnTo>
                    <a:pt x="88" y="667"/>
                  </a:lnTo>
                  <a:lnTo>
                    <a:pt x="89" y="669"/>
                  </a:lnTo>
                  <a:lnTo>
                    <a:pt x="90" y="670"/>
                  </a:lnTo>
                  <a:lnTo>
                    <a:pt x="91" y="672"/>
                  </a:lnTo>
                  <a:lnTo>
                    <a:pt x="89" y="673"/>
                  </a:lnTo>
                  <a:lnTo>
                    <a:pt x="88" y="675"/>
                  </a:lnTo>
                  <a:lnTo>
                    <a:pt x="86" y="673"/>
                  </a:lnTo>
                  <a:lnTo>
                    <a:pt x="83" y="673"/>
                  </a:lnTo>
                  <a:lnTo>
                    <a:pt x="81" y="672"/>
                  </a:lnTo>
                  <a:lnTo>
                    <a:pt x="79" y="670"/>
                  </a:lnTo>
                  <a:lnTo>
                    <a:pt x="78" y="669"/>
                  </a:lnTo>
                  <a:lnTo>
                    <a:pt x="76" y="667"/>
                  </a:lnTo>
                  <a:lnTo>
                    <a:pt x="75" y="665"/>
                  </a:lnTo>
                  <a:lnTo>
                    <a:pt x="73" y="662"/>
                  </a:lnTo>
                  <a:lnTo>
                    <a:pt x="73" y="660"/>
                  </a:lnTo>
                  <a:lnTo>
                    <a:pt x="75" y="659"/>
                  </a:lnTo>
                  <a:close/>
                  <a:moveTo>
                    <a:pt x="50" y="647"/>
                  </a:moveTo>
                  <a:lnTo>
                    <a:pt x="51" y="648"/>
                  </a:lnTo>
                  <a:lnTo>
                    <a:pt x="55" y="649"/>
                  </a:lnTo>
                  <a:lnTo>
                    <a:pt x="57" y="652"/>
                  </a:lnTo>
                  <a:lnTo>
                    <a:pt x="58" y="655"/>
                  </a:lnTo>
                  <a:lnTo>
                    <a:pt x="59" y="657"/>
                  </a:lnTo>
                  <a:lnTo>
                    <a:pt x="60" y="658"/>
                  </a:lnTo>
                  <a:lnTo>
                    <a:pt x="61" y="659"/>
                  </a:lnTo>
                  <a:lnTo>
                    <a:pt x="61" y="660"/>
                  </a:lnTo>
                  <a:lnTo>
                    <a:pt x="61" y="662"/>
                  </a:lnTo>
                  <a:lnTo>
                    <a:pt x="60" y="665"/>
                  </a:lnTo>
                  <a:lnTo>
                    <a:pt x="59" y="666"/>
                  </a:lnTo>
                  <a:lnTo>
                    <a:pt x="58" y="666"/>
                  </a:lnTo>
                  <a:lnTo>
                    <a:pt x="56" y="665"/>
                  </a:lnTo>
                  <a:lnTo>
                    <a:pt x="54" y="665"/>
                  </a:lnTo>
                  <a:lnTo>
                    <a:pt x="51" y="662"/>
                  </a:lnTo>
                  <a:lnTo>
                    <a:pt x="50" y="660"/>
                  </a:lnTo>
                  <a:lnTo>
                    <a:pt x="48" y="657"/>
                  </a:lnTo>
                  <a:lnTo>
                    <a:pt x="48" y="654"/>
                  </a:lnTo>
                  <a:lnTo>
                    <a:pt x="47" y="651"/>
                  </a:lnTo>
                  <a:lnTo>
                    <a:pt x="48" y="649"/>
                  </a:lnTo>
                  <a:lnTo>
                    <a:pt x="48" y="648"/>
                  </a:lnTo>
                  <a:lnTo>
                    <a:pt x="50" y="647"/>
                  </a:lnTo>
                  <a:close/>
                  <a:moveTo>
                    <a:pt x="997" y="640"/>
                  </a:moveTo>
                  <a:lnTo>
                    <a:pt x="997" y="640"/>
                  </a:lnTo>
                  <a:lnTo>
                    <a:pt x="997" y="641"/>
                  </a:lnTo>
                  <a:lnTo>
                    <a:pt x="997" y="644"/>
                  </a:lnTo>
                  <a:lnTo>
                    <a:pt x="996" y="645"/>
                  </a:lnTo>
                  <a:lnTo>
                    <a:pt x="995" y="646"/>
                  </a:lnTo>
                  <a:lnTo>
                    <a:pt x="993" y="647"/>
                  </a:lnTo>
                  <a:lnTo>
                    <a:pt x="992" y="646"/>
                  </a:lnTo>
                  <a:lnTo>
                    <a:pt x="992" y="645"/>
                  </a:lnTo>
                  <a:lnTo>
                    <a:pt x="992" y="643"/>
                  </a:lnTo>
                  <a:lnTo>
                    <a:pt x="994" y="641"/>
                  </a:lnTo>
                  <a:lnTo>
                    <a:pt x="995" y="640"/>
                  </a:lnTo>
                  <a:lnTo>
                    <a:pt x="997" y="640"/>
                  </a:lnTo>
                  <a:close/>
                  <a:moveTo>
                    <a:pt x="866" y="633"/>
                  </a:moveTo>
                  <a:lnTo>
                    <a:pt x="867" y="633"/>
                  </a:lnTo>
                  <a:lnTo>
                    <a:pt x="868" y="634"/>
                  </a:lnTo>
                  <a:lnTo>
                    <a:pt x="869" y="635"/>
                  </a:lnTo>
                  <a:lnTo>
                    <a:pt x="870" y="636"/>
                  </a:lnTo>
                  <a:lnTo>
                    <a:pt x="872" y="637"/>
                  </a:lnTo>
                  <a:lnTo>
                    <a:pt x="874" y="637"/>
                  </a:lnTo>
                  <a:lnTo>
                    <a:pt x="875" y="639"/>
                  </a:lnTo>
                  <a:lnTo>
                    <a:pt x="875" y="640"/>
                  </a:lnTo>
                  <a:lnTo>
                    <a:pt x="876" y="643"/>
                  </a:lnTo>
                  <a:lnTo>
                    <a:pt x="878" y="644"/>
                  </a:lnTo>
                  <a:lnTo>
                    <a:pt x="880" y="644"/>
                  </a:lnTo>
                  <a:lnTo>
                    <a:pt x="888" y="644"/>
                  </a:lnTo>
                  <a:lnTo>
                    <a:pt x="890" y="645"/>
                  </a:lnTo>
                  <a:lnTo>
                    <a:pt x="891" y="646"/>
                  </a:lnTo>
                  <a:lnTo>
                    <a:pt x="890" y="647"/>
                  </a:lnTo>
                  <a:lnTo>
                    <a:pt x="889" y="648"/>
                  </a:lnTo>
                  <a:lnTo>
                    <a:pt x="887" y="649"/>
                  </a:lnTo>
                  <a:lnTo>
                    <a:pt x="885" y="650"/>
                  </a:lnTo>
                  <a:lnTo>
                    <a:pt x="883" y="651"/>
                  </a:lnTo>
                  <a:lnTo>
                    <a:pt x="881" y="652"/>
                  </a:lnTo>
                  <a:lnTo>
                    <a:pt x="880" y="654"/>
                  </a:lnTo>
                  <a:lnTo>
                    <a:pt x="874" y="655"/>
                  </a:lnTo>
                  <a:lnTo>
                    <a:pt x="867" y="657"/>
                  </a:lnTo>
                  <a:lnTo>
                    <a:pt x="861" y="658"/>
                  </a:lnTo>
                  <a:lnTo>
                    <a:pt x="858" y="658"/>
                  </a:lnTo>
                  <a:lnTo>
                    <a:pt x="856" y="658"/>
                  </a:lnTo>
                  <a:lnTo>
                    <a:pt x="854" y="658"/>
                  </a:lnTo>
                  <a:lnTo>
                    <a:pt x="852" y="660"/>
                  </a:lnTo>
                  <a:lnTo>
                    <a:pt x="851" y="661"/>
                  </a:lnTo>
                  <a:lnTo>
                    <a:pt x="851" y="662"/>
                  </a:lnTo>
                  <a:lnTo>
                    <a:pt x="851" y="664"/>
                  </a:lnTo>
                  <a:lnTo>
                    <a:pt x="850" y="664"/>
                  </a:lnTo>
                  <a:lnTo>
                    <a:pt x="847" y="665"/>
                  </a:lnTo>
                  <a:lnTo>
                    <a:pt x="845" y="667"/>
                  </a:lnTo>
                  <a:lnTo>
                    <a:pt x="844" y="668"/>
                  </a:lnTo>
                  <a:lnTo>
                    <a:pt x="843" y="670"/>
                  </a:lnTo>
                  <a:lnTo>
                    <a:pt x="842" y="672"/>
                  </a:lnTo>
                  <a:lnTo>
                    <a:pt x="841" y="673"/>
                  </a:lnTo>
                  <a:lnTo>
                    <a:pt x="839" y="675"/>
                  </a:lnTo>
                  <a:lnTo>
                    <a:pt x="836" y="676"/>
                  </a:lnTo>
                  <a:lnTo>
                    <a:pt x="831" y="676"/>
                  </a:lnTo>
                  <a:lnTo>
                    <a:pt x="824" y="676"/>
                  </a:lnTo>
                  <a:lnTo>
                    <a:pt x="818" y="678"/>
                  </a:lnTo>
                  <a:lnTo>
                    <a:pt x="807" y="683"/>
                  </a:lnTo>
                  <a:lnTo>
                    <a:pt x="796" y="684"/>
                  </a:lnTo>
                  <a:lnTo>
                    <a:pt x="783" y="684"/>
                  </a:lnTo>
                  <a:lnTo>
                    <a:pt x="781" y="684"/>
                  </a:lnTo>
                  <a:lnTo>
                    <a:pt x="780" y="683"/>
                  </a:lnTo>
                  <a:lnTo>
                    <a:pt x="780" y="682"/>
                  </a:lnTo>
                  <a:lnTo>
                    <a:pt x="781" y="681"/>
                  </a:lnTo>
                  <a:lnTo>
                    <a:pt x="782" y="680"/>
                  </a:lnTo>
                  <a:lnTo>
                    <a:pt x="785" y="679"/>
                  </a:lnTo>
                  <a:lnTo>
                    <a:pt x="787" y="678"/>
                  </a:lnTo>
                  <a:lnTo>
                    <a:pt x="789" y="678"/>
                  </a:lnTo>
                  <a:lnTo>
                    <a:pt x="792" y="678"/>
                  </a:lnTo>
                  <a:lnTo>
                    <a:pt x="795" y="678"/>
                  </a:lnTo>
                  <a:lnTo>
                    <a:pt x="797" y="678"/>
                  </a:lnTo>
                  <a:lnTo>
                    <a:pt x="798" y="676"/>
                  </a:lnTo>
                  <a:lnTo>
                    <a:pt x="799" y="675"/>
                  </a:lnTo>
                  <a:lnTo>
                    <a:pt x="801" y="672"/>
                  </a:lnTo>
                  <a:lnTo>
                    <a:pt x="804" y="671"/>
                  </a:lnTo>
                  <a:lnTo>
                    <a:pt x="807" y="670"/>
                  </a:lnTo>
                  <a:lnTo>
                    <a:pt x="809" y="670"/>
                  </a:lnTo>
                  <a:lnTo>
                    <a:pt x="811" y="669"/>
                  </a:lnTo>
                  <a:lnTo>
                    <a:pt x="813" y="669"/>
                  </a:lnTo>
                  <a:lnTo>
                    <a:pt x="814" y="668"/>
                  </a:lnTo>
                  <a:lnTo>
                    <a:pt x="815" y="667"/>
                  </a:lnTo>
                  <a:lnTo>
                    <a:pt x="813" y="662"/>
                  </a:lnTo>
                  <a:lnTo>
                    <a:pt x="811" y="659"/>
                  </a:lnTo>
                  <a:lnTo>
                    <a:pt x="809" y="656"/>
                  </a:lnTo>
                  <a:lnTo>
                    <a:pt x="808" y="654"/>
                  </a:lnTo>
                  <a:lnTo>
                    <a:pt x="808" y="651"/>
                  </a:lnTo>
                  <a:lnTo>
                    <a:pt x="808" y="649"/>
                  </a:lnTo>
                  <a:lnTo>
                    <a:pt x="809" y="646"/>
                  </a:lnTo>
                  <a:lnTo>
                    <a:pt x="809" y="644"/>
                  </a:lnTo>
                  <a:lnTo>
                    <a:pt x="809" y="641"/>
                  </a:lnTo>
                  <a:lnTo>
                    <a:pt x="812" y="641"/>
                  </a:lnTo>
                  <a:lnTo>
                    <a:pt x="815" y="641"/>
                  </a:lnTo>
                  <a:lnTo>
                    <a:pt x="818" y="640"/>
                  </a:lnTo>
                  <a:lnTo>
                    <a:pt x="820" y="640"/>
                  </a:lnTo>
                  <a:lnTo>
                    <a:pt x="822" y="639"/>
                  </a:lnTo>
                  <a:lnTo>
                    <a:pt x="825" y="640"/>
                  </a:lnTo>
                  <a:lnTo>
                    <a:pt x="829" y="640"/>
                  </a:lnTo>
                  <a:lnTo>
                    <a:pt x="832" y="640"/>
                  </a:lnTo>
                  <a:lnTo>
                    <a:pt x="834" y="639"/>
                  </a:lnTo>
                  <a:lnTo>
                    <a:pt x="845" y="638"/>
                  </a:lnTo>
                  <a:lnTo>
                    <a:pt x="855" y="636"/>
                  </a:lnTo>
                  <a:lnTo>
                    <a:pt x="865" y="633"/>
                  </a:lnTo>
                  <a:lnTo>
                    <a:pt x="866" y="633"/>
                  </a:lnTo>
                  <a:close/>
                  <a:moveTo>
                    <a:pt x="1533" y="625"/>
                  </a:moveTo>
                  <a:lnTo>
                    <a:pt x="1534" y="626"/>
                  </a:lnTo>
                  <a:lnTo>
                    <a:pt x="1535" y="627"/>
                  </a:lnTo>
                  <a:lnTo>
                    <a:pt x="1535" y="628"/>
                  </a:lnTo>
                  <a:lnTo>
                    <a:pt x="1535" y="630"/>
                  </a:lnTo>
                  <a:lnTo>
                    <a:pt x="1535" y="633"/>
                  </a:lnTo>
                  <a:lnTo>
                    <a:pt x="1534" y="635"/>
                  </a:lnTo>
                  <a:lnTo>
                    <a:pt x="1533" y="637"/>
                  </a:lnTo>
                  <a:lnTo>
                    <a:pt x="1532" y="638"/>
                  </a:lnTo>
                  <a:lnTo>
                    <a:pt x="1531" y="638"/>
                  </a:lnTo>
                  <a:lnTo>
                    <a:pt x="1530" y="636"/>
                  </a:lnTo>
                  <a:lnTo>
                    <a:pt x="1530" y="635"/>
                  </a:lnTo>
                  <a:lnTo>
                    <a:pt x="1530" y="632"/>
                  </a:lnTo>
                  <a:lnTo>
                    <a:pt x="1530" y="629"/>
                  </a:lnTo>
                  <a:lnTo>
                    <a:pt x="1531" y="627"/>
                  </a:lnTo>
                  <a:lnTo>
                    <a:pt x="1532" y="626"/>
                  </a:lnTo>
                  <a:lnTo>
                    <a:pt x="1533" y="625"/>
                  </a:lnTo>
                  <a:close/>
                  <a:moveTo>
                    <a:pt x="790" y="624"/>
                  </a:moveTo>
                  <a:lnTo>
                    <a:pt x="792" y="624"/>
                  </a:lnTo>
                  <a:lnTo>
                    <a:pt x="793" y="625"/>
                  </a:lnTo>
                  <a:lnTo>
                    <a:pt x="793" y="625"/>
                  </a:lnTo>
                  <a:lnTo>
                    <a:pt x="793" y="626"/>
                  </a:lnTo>
                  <a:lnTo>
                    <a:pt x="793" y="628"/>
                  </a:lnTo>
                  <a:lnTo>
                    <a:pt x="792" y="629"/>
                  </a:lnTo>
                  <a:lnTo>
                    <a:pt x="791" y="630"/>
                  </a:lnTo>
                  <a:lnTo>
                    <a:pt x="790" y="629"/>
                  </a:lnTo>
                  <a:lnTo>
                    <a:pt x="789" y="628"/>
                  </a:lnTo>
                  <a:lnTo>
                    <a:pt x="788" y="626"/>
                  </a:lnTo>
                  <a:lnTo>
                    <a:pt x="789" y="625"/>
                  </a:lnTo>
                  <a:lnTo>
                    <a:pt x="789" y="624"/>
                  </a:lnTo>
                  <a:lnTo>
                    <a:pt x="790" y="624"/>
                  </a:lnTo>
                  <a:close/>
                  <a:moveTo>
                    <a:pt x="945" y="623"/>
                  </a:moveTo>
                  <a:lnTo>
                    <a:pt x="949" y="623"/>
                  </a:lnTo>
                  <a:lnTo>
                    <a:pt x="951" y="624"/>
                  </a:lnTo>
                  <a:lnTo>
                    <a:pt x="952" y="626"/>
                  </a:lnTo>
                  <a:lnTo>
                    <a:pt x="953" y="628"/>
                  </a:lnTo>
                  <a:lnTo>
                    <a:pt x="951" y="630"/>
                  </a:lnTo>
                  <a:lnTo>
                    <a:pt x="945" y="633"/>
                  </a:lnTo>
                  <a:lnTo>
                    <a:pt x="939" y="635"/>
                  </a:lnTo>
                  <a:lnTo>
                    <a:pt x="932" y="635"/>
                  </a:lnTo>
                  <a:lnTo>
                    <a:pt x="927" y="633"/>
                  </a:lnTo>
                  <a:lnTo>
                    <a:pt x="924" y="628"/>
                  </a:lnTo>
                  <a:lnTo>
                    <a:pt x="926" y="627"/>
                  </a:lnTo>
                  <a:lnTo>
                    <a:pt x="926" y="626"/>
                  </a:lnTo>
                  <a:lnTo>
                    <a:pt x="927" y="626"/>
                  </a:lnTo>
                  <a:lnTo>
                    <a:pt x="928" y="626"/>
                  </a:lnTo>
                  <a:lnTo>
                    <a:pt x="929" y="627"/>
                  </a:lnTo>
                  <a:lnTo>
                    <a:pt x="930" y="628"/>
                  </a:lnTo>
                  <a:lnTo>
                    <a:pt x="932" y="628"/>
                  </a:lnTo>
                  <a:lnTo>
                    <a:pt x="935" y="626"/>
                  </a:lnTo>
                  <a:lnTo>
                    <a:pt x="938" y="624"/>
                  </a:lnTo>
                  <a:lnTo>
                    <a:pt x="940" y="623"/>
                  </a:lnTo>
                  <a:lnTo>
                    <a:pt x="943" y="623"/>
                  </a:lnTo>
                  <a:lnTo>
                    <a:pt x="945" y="623"/>
                  </a:lnTo>
                  <a:close/>
                  <a:moveTo>
                    <a:pt x="1991" y="617"/>
                  </a:moveTo>
                  <a:lnTo>
                    <a:pt x="1990" y="618"/>
                  </a:lnTo>
                  <a:lnTo>
                    <a:pt x="1987" y="618"/>
                  </a:lnTo>
                  <a:lnTo>
                    <a:pt x="1983" y="618"/>
                  </a:lnTo>
                  <a:lnTo>
                    <a:pt x="1981" y="621"/>
                  </a:lnTo>
                  <a:lnTo>
                    <a:pt x="1979" y="621"/>
                  </a:lnTo>
                  <a:lnTo>
                    <a:pt x="1978" y="622"/>
                  </a:lnTo>
                  <a:lnTo>
                    <a:pt x="1977" y="623"/>
                  </a:lnTo>
                  <a:lnTo>
                    <a:pt x="1976" y="624"/>
                  </a:lnTo>
                  <a:lnTo>
                    <a:pt x="1975" y="627"/>
                  </a:lnTo>
                  <a:lnTo>
                    <a:pt x="1972" y="632"/>
                  </a:lnTo>
                  <a:lnTo>
                    <a:pt x="1970" y="637"/>
                  </a:lnTo>
                  <a:lnTo>
                    <a:pt x="1968" y="643"/>
                  </a:lnTo>
                  <a:lnTo>
                    <a:pt x="1968" y="646"/>
                  </a:lnTo>
                  <a:lnTo>
                    <a:pt x="1970" y="646"/>
                  </a:lnTo>
                  <a:lnTo>
                    <a:pt x="1972" y="646"/>
                  </a:lnTo>
                  <a:lnTo>
                    <a:pt x="1975" y="644"/>
                  </a:lnTo>
                  <a:lnTo>
                    <a:pt x="1977" y="643"/>
                  </a:lnTo>
                  <a:lnTo>
                    <a:pt x="1978" y="641"/>
                  </a:lnTo>
                  <a:lnTo>
                    <a:pt x="1979" y="641"/>
                  </a:lnTo>
                  <a:lnTo>
                    <a:pt x="1979" y="639"/>
                  </a:lnTo>
                  <a:lnTo>
                    <a:pt x="1981" y="638"/>
                  </a:lnTo>
                  <a:lnTo>
                    <a:pt x="1981" y="637"/>
                  </a:lnTo>
                  <a:lnTo>
                    <a:pt x="1982" y="636"/>
                  </a:lnTo>
                  <a:lnTo>
                    <a:pt x="1983" y="636"/>
                  </a:lnTo>
                  <a:lnTo>
                    <a:pt x="1986" y="633"/>
                  </a:lnTo>
                  <a:lnTo>
                    <a:pt x="1988" y="628"/>
                  </a:lnTo>
                  <a:lnTo>
                    <a:pt x="1990" y="625"/>
                  </a:lnTo>
                  <a:lnTo>
                    <a:pt x="1990" y="623"/>
                  </a:lnTo>
                  <a:lnTo>
                    <a:pt x="1991" y="622"/>
                  </a:lnTo>
                  <a:lnTo>
                    <a:pt x="1991" y="621"/>
                  </a:lnTo>
                  <a:lnTo>
                    <a:pt x="1991" y="618"/>
                  </a:lnTo>
                  <a:lnTo>
                    <a:pt x="1991" y="618"/>
                  </a:lnTo>
                  <a:lnTo>
                    <a:pt x="1991" y="617"/>
                  </a:lnTo>
                  <a:close/>
                  <a:moveTo>
                    <a:pt x="659" y="613"/>
                  </a:moveTo>
                  <a:lnTo>
                    <a:pt x="661" y="613"/>
                  </a:lnTo>
                  <a:lnTo>
                    <a:pt x="663" y="613"/>
                  </a:lnTo>
                  <a:lnTo>
                    <a:pt x="667" y="613"/>
                  </a:lnTo>
                  <a:lnTo>
                    <a:pt x="668" y="615"/>
                  </a:lnTo>
                  <a:lnTo>
                    <a:pt x="670" y="615"/>
                  </a:lnTo>
                  <a:lnTo>
                    <a:pt x="672" y="616"/>
                  </a:lnTo>
                  <a:lnTo>
                    <a:pt x="675" y="616"/>
                  </a:lnTo>
                  <a:lnTo>
                    <a:pt x="677" y="616"/>
                  </a:lnTo>
                  <a:lnTo>
                    <a:pt x="679" y="617"/>
                  </a:lnTo>
                  <a:lnTo>
                    <a:pt x="689" y="618"/>
                  </a:lnTo>
                  <a:lnTo>
                    <a:pt x="698" y="622"/>
                  </a:lnTo>
                  <a:lnTo>
                    <a:pt x="700" y="623"/>
                  </a:lnTo>
                  <a:lnTo>
                    <a:pt x="703" y="623"/>
                  </a:lnTo>
                  <a:lnTo>
                    <a:pt x="705" y="623"/>
                  </a:lnTo>
                  <a:lnTo>
                    <a:pt x="709" y="623"/>
                  </a:lnTo>
                  <a:lnTo>
                    <a:pt x="713" y="624"/>
                  </a:lnTo>
                  <a:lnTo>
                    <a:pt x="715" y="625"/>
                  </a:lnTo>
                  <a:lnTo>
                    <a:pt x="717" y="627"/>
                  </a:lnTo>
                  <a:lnTo>
                    <a:pt x="720" y="629"/>
                  </a:lnTo>
                  <a:lnTo>
                    <a:pt x="723" y="630"/>
                  </a:lnTo>
                  <a:lnTo>
                    <a:pt x="726" y="630"/>
                  </a:lnTo>
                  <a:lnTo>
                    <a:pt x="731" y="633"/>
                  </a:lnTo>
                  <a:lnTo>
                    <a:pt x="735" y="633"/>
                  </a:lnTo>
                  <a:lnTo>
                    <a:pt x="739" y="633"/>
                  </a:lnTo>
                  <a:lnTo>
                    <a:pt x="747" y="636"/>
                  </a:lnTo>
                  <a:lnTo>
                    <a:pt x="755" y="637"/>
                  </a:lnTo>
                  <a:lnTo>
                    <a:pt x="761" y="638"/>
                  </a:lnTo>
                  <a:lnTo>
                    <a:pt x="767" y="641"/>
                  </a:lnTo>
                  <a:lnTo>
                    <a:pt x="774" y="643"/>
                  </a:lnTo>
                  <a:lnTo>
                    <a:pt x="779" y="643"/>
                  </a:lnTo>
                  <a:lnTo>
                    <a:pt x="782" y="644"/>
                  </a:lnTo>
                  <a:lnTo>
                    <a:pt x="783" y="646"/>
                  </a:lnTo>
                  <a:lnTo>
                    <a:pt x="783" y="647"/>
                  </a:lnTo>
                  <a:lnTo>
                    <a:pt x="782" y="649"/>
                  </a:lnTo>
                  <a:lnTo>
                    <a:pt x="779" y="651"/>
                  </a:lnTo>
                  <a:lnTo>
                    <a:pt x="770" y="656"/>
                  </a:lnTo>
                  <a:lnTo>
                    <a:pt x="760" y="659"/>
                  </a:lnTo>
                  <a:lnTo>
                    <a:pt x="749" y="661"/>
                  </a:lnTo>
                  <a:lnTo>
                    <a:pt x="739" y="661"/>
                  </a:lnTo>
                  <a:lnTo>
                    <a:pt x="736" y="660"/>
                  </a:lnTo>
                  <a:lnTo>
                    <a:pt x="734" y="659"/>
                  </a:lnTo>
                  <a:lnTo>
                    <a:pt x="732" y="658"/>
                  </a:lnTo>
                  <a:lnTo>
                    <a:pt x="730" y="658"/>
                  </a:lnTo>
                  <a:lnTo>
                    <a:pt x="728" y="659"/>
                  </a:lnTo>
                  <a:lnTo>
                    <a:pt x="726" y="661"/>
                  </a:lnTo>
                  <a:lnTo>
                    <a:pt x="725" y="664"/>
                  </a:lnTo>
                  <a:lnTo>
                    <a:pt x="723" y="666"/>
                  </a:lnTo>
                  <a:lnTo>
                    <a:pt x="721" y="667"/>
                  </a:lnTo>
                  <a:lnTo>
                    <a:pt x="719" y="668"/>
                  </a:lnTo>
                  <a:lnTo>
                    <a:pt x="715" y="668"/>
                  </a:lnTo>
                  <a:lnTo>
                    <a:pt x="715" y="666"/>
                  </a:lnTo>
                  <a:lnTo>
                    <a:pt x="715" y="662"/>
                  </a:lnTo>
                  <a:lnTo>
                    <a:pt x="714" y="659"/>
                  </a:lnTo>
                  <a:lnTo>
                    <a:pt x="713" y="656"/>
                  </a:lnTo>
                  <a:lnTo>
                    <a:pt x="712" y="654"/>
                  </a:lnTo>
                  <a:lnTo>
                    <a:pt x="711" y="651"/>
                  </a:lnTo>
                  <a:lnTo>
                    <a:pt x="709" y="650"/>
                  </a:lnTo>
                  <a:lnTo>
                    <a:pt x="706" y="650"/>
                  </a:lnTo>
                  <a:lnTo>
                    <a:pt x="703" y="649"/>
                  </a:lnTo>
                  <a:lnTo>
                    <a:pt x="701" y="649"/>
                  </a:lnTo>
                  <a:lnTo>
                    <a:pt x="700" y="649"/>
                  </a:lnTo>
                  <a:lnTo>
                    <a:pt x="693" y="644"/>
                  </a:lnTo>
                  <a:lnTo>
                    <a:pt x="687" y="639"/>
                  </a:lnTo>
                  <a:lnTo>
                    <a:pt x="679" y="636"/>
                  </a:lnTo>
                  <a:lnTo>
                    <a:pt x="678" y="635"/>
                  </a:lnTo>
                  <a:lnTo>
                    <a:pt x="677" y="636"/>
                  </a:lnTo>
                  <a:lnTo>
                    <a:pt x="675" y="637"/>
                  </a:lnTo>
                  <a:lnTo>
                    <a:pt x="673" y="638"/>
                  </a:lnTo>
                  <a:lnTo>
                    <a:pt x="672" y="639"/>
                  </a:lnTo>
                  <a:lnTo>
                    <a:pt x="670" y="640"/>
                  </a:lnTo>
                  <a:lnTo>
                    <a:pt x="668" y="641"/>
                  </a:lnTo>
                  <a:lnTo>
                    <a:pt x="666" y="641"/>
                  </a:lnTo>
                  <a:lnTo>
                    <a:pt x="663" y="640"/>
                  </a:lnTo>
                  <a:lnTo>
                    <a:pt x="662" y="639"/>
                  </a:lnTo>
                  <a:lnTo>
                    <a:pt x="659" y="638"/>
                  </a:lnTo>
                  <a:lnTo>
                    <a:pt x="657" y="637"/>
                  </a:lnTo>
                  <a:lnTo>
                    <a:pt x="655" y="638"/>
                  </a:lnTo>
                  <a:lnTo>
                    <a:pt x="652" y="639"/>
                  </a:lnTo>
                  <a:lnTo>
                    <a:pt x="650" y="640"/>
                  </a:lnTo>
                  <a:lnTo>
                    <a:pt x="647" y="640"/>
                  </a:lnTo>
                  <a:lnTo>
                    <a:pt x="644" y="640"/>
                  </a:lnTo>
                  <a:lnTo>
                    <a:pt x="643" y="638"/>
                  </a:lnTo>
                  <a:lnTo>
                    <a:pt x="640" y="637"/>
                  </a:lnTo>
                  <a:lnTo>
                    <a:pt x="638" y="636"/>
                  </a:lnTo>
                  <a:lnTo>
                    <a:pt x="635" y="636"/>
                  </a:lnTo>
                  <a:lnTo>
                    <a:pt x="632" y="636"/>
                  </a:lnTo>
                  <a:lnTo>
                    <a:pt x="629" y="636"/>
                  </a:lnTo>
                  <a:lnTo>
                    <a:pt x="626" y="636"/>
                  </a:lnTo>
                  <a:lnTo>
                    <a:pt x="624" y="638"/>
                  </a:lnTo>
                  <a:lnTo>
                    <a:pt x="622" y="640"/>
                  </a:lnTo>
                  <a:lnTo>
                    <a:pt x="621" y="641"/>
                  </a:lnTo>
                  <a:lnTo>
                    <a:pt x="619" y="643"/>
                  </a:lnTo>
                  <a:lnTo>
                    <a:pt x="617" y="644"/>
                  </a:lnTo>
                  <a:lnTo>
                    <a:pt x="615" y="644"/>
                  </a:lnTo>
                  <a:lnTo>
                    <a:pt x="613" y="644"/>
                  </a:lnTo>
                  <a:lnTo>
                    <a:pt x="611" y="645"/>
                  </a:lnTo>
                  <a:lnTo>
                    <a:pt x="603" y="650"/>
                  </a:lnTo>
                  <a:lnTo>
                    <a:pt x="591" y="651"/>
                  </a:lnTo>
                  <a:lnTo>
                    <a:pt x="589" y="651"/>
                  </a:lnTo>
                  <a:lnTo>
                    <a:pt x="586" y="650"/>
                  </a:lnTo>
                  <a:lnTo>
                    <a:pt x="585" y="649"/>
                  </a:lnTo>
                  <a:lnTo>
                    <a:pt x="584" y="648"/>
                  </a:lnTo>
                  <a:lnTo>
                    <a:pt x="584" y="647"/>
                  </a:lnTo>
                  <a:lnTo>
                    <a:pt x="584" y="645"/>
                  </a:lnTo>
                  <a:lnTo>
                    <a:pt x="586" y="644"/>
                  </a:lnTo>
                  <a:lnTo>
                    <a:pt x="588" y="643"/>
                  </a:lnTo>
                  <a:lnTo>
                    <a:pt x="590" y="643"/>
                  </a:lnTo>
                  <a:lnTo>
                    <a:pt x="592" y="641"/>
                  </a:lnTo>
                  <a:lnTo>
                    <a:pt x="594" y="641"/>
                  </a:lnTo>
                  <a:lnTo>
                    <a:pt x="595" y="640"/>
                  </a:lnTo>
                  <a:lnTo>
                    <a:pt x="600" y="637"/>
                  </a:lnTo>
                  <a:lnTo>
                    <a:pt x="603" y="633"/>
                  </a:lnTo>
                  <a:lnTo>
                    <a:pt x="606" y="628"/>
                  </a:lnTo>
                  <a:lnTo>
                    <a:pt x="610" y="626"/>
                  </a:lnTo>
                  <a:lnTo>
                    <a:pt x="615" y="626"/>
                  </a:lnTo>
                  <a:lnTo>
                    <a:pt x="622" y="627"/>
                  </a:lnTo>
                  <a:lnTo>
                    <a:pt x="628" y="628"/>
                  </a:lnTo>
                  <a:lnTo>
                    <a:pt x="635" y="629"/>
                  </a:lnTo>
                  <a:lnTo>
                    <a:pt x="640" y="629"/>
                  </a:lnTo>
                  <a:lnTo>
                    <a:pt x="644" y="626"/>
                  </a:lnTo>
                  <a:lnTo>
                    <a:pt x="648" y="623"/>
                  </a:lnTo>
                  <a:lnTo>
                    <a:pt x="651" y="619"/>
                  </a:lnTo>
                  <a:lnTo>
                    <a:pt x="655" y="616"/>
                  </a:lnTo>
                  <a:lnTo>
                    <a:pt x="659" y="613"/>
                  </a:lnTo>
                  <a:close/>
                  <a:moveTo>
                    <a:pt x="626" y="606"/>
                  </a:moveTo>
                  <a:lnTo>
                    <a:pt x="627" y="606"/>
                  </a:lnTo>
                  <a:lnTo>
                    <a:pt x="628" y="607"/>
                  </a:lnTo>
                  <a:lnTo>
                    <a:pt x="628" y="610"/>
                  </a:lnTo>
                  <a:lnTo>
                    <a:pt x="628" y="611"/>
                  </a:lnTo>
                  <a:lnTo>
                    <a:pt x="627" y="611"/>
                  </a:lnTo>
                  <a:lnTo>
                    <a:pt x="626" y="611"/>
                  </a:lnTo>
                  <a:lnTo>
                    <a:pt x="625" y="610"/>
                  </a:lnTo>
                  <a:lnTo>
                    <a:pt x="624" y="610"/>
                  </a:lnTo>
                  <a:lnTo>
                    <a:pt x="623" y="610"/>
                  </a:lnTo>
                  <a:lnTo>
                    <a:pt x="622" y="608"/>
                  </a:lnTo>
                  <a:lnTo>
                    <a:pt x="622" y="608"/>
                  </a:lnTo>
                  <a:lnTo>
                    <a:pt x="623" y="607"/>
                  </a:lnTo>
                  <a:lnTo>
                    <a:pt x="624" y="607"/>
                  </a:lnTo>
                  <a:lnTo>
                    <a:pt x="626" y="606"/>
                  </a:lnTo>
                  <a:close/>
                  <a:moveTo>
                    <a:pt x="828" y="605"/>
                  </a:moveTo>
                  <a:lnTo>
                    <a:pt x="829" y="605"/>
                  </a:lnTo>
                  <a:lnTo>
                    <a:pt x="830" y="606"/>
                  </a:lnTo>
                  <a:lnTo>
                    <a:pt x="831" y="607"/>
                  </a:lnTo>
                  <a:lnTo>
                    <a:pt x="830" y="610"/>
                  </a:lnTo>
                  <a:lnTo>
                    <a:pt x="830" y="611"/>
                  </a:lnTo>
                  <a:lnTo>
                    <a:pt x="829" y="612"/>
                  </a:lnTo>
                  <a:lnTo>
                    <a:pt x="828" y="612"/>
                  </a:lnTo>
                  <a:lnTo>
                    <a:pt x="826" y="612"/>
                  </a:lnTo>
                  <a:lnTo>
                    <a:pt x="825" y="611"/>
                  </a:lnTo>
                  <a:lnTo>
                    <a:pt x="824" y="610"/>
                  </a:lnTo>
                  <a:lnTo>
                    <a:pt x="825" y="607"/>
                  </a:lnTo>
                  <a:lnTo>
                    <a:pt x="826" y="606"/>
                  </a:lnTo>
                  <a:lnTo>
                    <a:pt x="828" y="605"/>
                  </a:lnTo>
                  <a:close/>
                  <a:moveTo>
                    <a:pt x="801" y="601"/>
                  </a:moveTo>
                  <a:lnTo>
                    <a:pt x="802" y="602"/>
                  </a:lnTo>
                  <a:lnTo>
                    <a:pt x="803" y="604"/>
                  </a:lnTo>
                  <a:lnTo>
                    <a:pt x="803" y="605"/>
                  </a:lnTo>
                  <a:lnTo>
                    <a:pt x="803" y="606"/>
                  </a:lnTo>
                  <a:lnTo>
                    <a:pt x="803" y="606"/>
                  </a:lnTo>
                  <a:lnTo>
                    <a:pt x="802" y="607"/>
                  </a:lnTo>
                  <a:lnTo>
                    <a:pt x="801" y="608"/>
                  </a:lnTo>
                  <a:lnTo>
                    <a:pt x="800" y="608"/>
                  </a:lnTo>
                  <a:lnTo>
                    <a:pt x="799" y="608"/>
                  </a:lnTo>
                  <a:lnTo>
                    <a:pt x="798" y="607"/>
                  </a:lnTo>
                  <a:lnTo>
                    <a:pt x="798" y="605"/>
                  </a:lnTo>
                  <a:lnTo>
                    <a:pt x="799" y="604"/>
                  </a:lnTo>
                  <a:lnTo>
                    <a:pt x="799" y="602"/>
                  </a:lnTo>
                  <a:lnTo>
                    <a:pt x="800" y="601"/>
                  </a:lnTo>
                  <a:lnTo>
                    <a:pt x="801" y="601"/>
                  </a:lnTo>
                  <a:close/>
                  <a:moveTo>
                    <a:pt x="757" y="595"/>
                  </a:moveTo>
                  <a:lnTo>
                    <a:pt x="759" y="595"/>
                  </a:lnTo>
                  <a:lnTo>
                    <a:pt x="760" y="595"/>
                  </a:lnTo>
                  <a:lnTo>
                    <a:pt x="763" y="596"/>
                  </a:lnTo>
                  <a:lnTo>
                    <a:pt x="764" y="597"/>
                  </a:lnTo>
                  <a:lnTo>
                    <a:pt x="766" y="600"/>
                  </a:lnTo>
                  <a:lnTo>
                    <a:pt x="767" y="603"/>
                  </a:lnTo>
                  <a:lnTo>
                    <a:pt x="767" y="605"/>
                  </a:lnTo>
                  <a:lnTo>
                    <a:pt x="767" y="607"/>
                  </a:lnTo>
                  <a:lnTo>
                    <a:pt x="767" y="611"/>
                  </a:lnTo>
                  <a:lnTo>
                    <a:pt x="766" y="612"/>
                  </a:lnTo>
                  <a:lnTo>
                    <a:pt x="766" y="612"/>
                  </a:lnTo>
                  <a:lnTo>
                    <a:pt x="764" y="612"/>
                  </a:lnTo>
                  <a:lnTo>
                    <a:pt x="763" y="611"/>
                  </a:lnTo>
                  <a:lnTo>
                    <a:pt x="761" y="608"/>
                  </a:lnTo>
                  <a:lnTo>
                    <a:pt x="759" y="606"/>
                  </a:lnTo>
                  <a:lnTo>
                    <a:pt x="758" y="604"/>
                  </a:lnTo>
                  <a:lnTo>
                    <a:pt x="757" y="602"/>
                  </a:lnTo>
                  <a:lnTo>
                    <a:pt x="755" y="600"/>
                  </a:lnTo>
                  <a:lnTo>
                    <a:pt x="754" y="599"/>
                  </a:lnTo>
                  <a:lnTo>
                    <a:pt x="754" y="597"/>
                  </a:lnTo>
                  <a:lnTo>
                    <a:pt x="753" y="596"/>
                  </a:lnTo>
                  <a:lnTo>
                    <a:pt x="753" y="596"/>
                  </a:lnTo>
                  <a:lnTo>
                    <a:pt x="754" y="595"/>
                  </a:lnTo>
                  <a:lnTo>
                    <a:pt x="755" y="595"/>
                  </a:lnTo>
                  <a:lnTo>
                    <a:pt x="757" y="595"/>
                  </a:lnTo>
                  <a:close/>
                  <a:moveTo>
                    <a:pt x="1551" y="594"/>
                  </a:moveTo>
                  <a:lnTo>
                    <a:pt x="1555" y="594"/>
                  </a:lnTo>
                  <a:lnTo>
                    <a:pt x="1555" y="596"/>
                  </a:lnTo>
                  <a:lnTo>
                    <a:pt x="1554" y="600"/>
                  </a:lnTo>
                  <a:lnTo>
                    <a:pt x="1554" y="603"/>
                  </a:lnTo>
                  <a:lnTo>
                    <a:pt x="1553" y="606"/>
                  </a:lnTo>
                  <a:lnTo>
                    <a:pt x="1552" y="608"/>
                  </a:lnTo>
                  <a:lnTo>
                    <a:pt x="1550" y="610"/>
                  </a:lnTo>
                  <a:lnTo>
                    <a:pt x="1549" y="610"/>
                  </a:lnTo>
                  <a:lnTo>
                    <a:pt x="1549" y="607"/>
                  </a:lnTo>
                  <a:lnTo>
                    <a:pt x="1548" y="604"/>
                  </a:lnTo>
                  <a:lnTo>
                    <a:pt x="1548" y="602"/>
                  </a:lnTo>
                  <a:lnTo>
                    <a:pt x="1548" y="599"/>
                  </a:lnTo>
                  <a:lnTo>
                    <a:pt x="1549" y="595"/>
                  </a:lnTo>
                  <a:lnTo>
                    <a:pt x="1551" y="594"/>
                  </a:lnTo>
                  <a:close/>
                  <a:moveTo>
                    <a:pt x="1536" y="594"/>
                  </a:moveTo>
                  <a:lnTo>
                    <a:pt x="1541" y="599"/>
                  </a:lnTo>
                  <a:lnTo>
                    <a:pt x="1542" y="606"/>
                  </a:lnTo>
                  <a:lnTo>
                    <a:pt x="1539" y="616"/>
                  </a:lnTo>
                  <a:lnTo>
                    <a:pt x="1538" y="618"/>
                  </a:lnTo>
                  <a:lnTo>
                    <a:pt x="1535" y="618"/>
                  </a:lnTo>
                  <a:lnTo>
                    <a:pt x="1533" y="618"/>
                  </a:lnTo>
                  <a:lnTo>
                    <a:pt x="1531" y="617"/>
                  </a:lnTo>
                  <a:lnTo>
                    <a:pt x="1529" y="616"/>
                  </a:lnTo>
                  <a:lnTo>
                    <a:pt x="1527" y="615"/>
                  </a:lnTo>
                  <a:lnTo>
                    <a:pt x="1525" y="614"/>
                  </a:lnTo>
                  <a:lnTo>
                    <a:pt x="1525" y="614"/>
                  </a:lnTo>
                  <a:lnTo>
                    <a:pt x="1523" y="611"/>
                  </a:lnTo>
                  <a:lnTo>
                    <a:pt x="1524" y="606"/>
                  </a:lnTo>
                  <a:lnTo>
                    <a:pt x="1529" y="602"/>
                  </a:lnTo>
                  <a:lnTo>
                    <a:pt x="1533" y="597"/>
                  </a:lnTo>
                  <a:lnTo>
                    <a:pt x="1536" y="594"/>
                  </a:lnTo>
                  <a:close/>
                  <a:moveTo>
                    <a:pt x="661" y="594"/>
                  </a:moveTo>
                  <a:lnTo>
                    <a:pt x="662" y="595"/>
                  </a:lnTo>
                  <a:lnTo>
                    <a:pt x="662" y="596"/>
                  </a:lnTo>
                  <a:lnTo>
                    <a:pt x="662" y="597"/>
                  </a:lnTo>
                  <a:lnTo>
                    <a:pt x="661" y="600"/>
                  </a:lnTo>
                  <a:lnTo>
                    <a:pt x="659" y="601"/>
                  </a:lnTo>
                  <a:lnTo>
                    <a:pt x="658" y="602"/>
                  </a:lnTo>
                  <a:lnTo>
                    <a:pt x="657" y="603"/>
                  </a:lnTo>
                  <a:lnTo>
                    <a:pt x="654" y="605"/>
                  </a:lnTo>
                  <a:lnTo>
                    <a:pt x="648" y="607"/>
                  </a:lnTo>
                  <a:lnTo>
                    <a:pt x="640" y="608"/>
                  </a:lnTo>
                  <a:lnTo>
                    <a:pt x="635" y="610"/>
                  </a:lnTo>
                  <a:lnTo>
                    <a:pt x="630" y="608"/>
                  </a:lnTo>
                  <a:lnTo>
                    <a:pt x="630" y="607"/>
                  </a:lnTo>
                  <a:lnTo>
                    <a:pt x="632" y="606"/>
                  </a:lnTo>
                  <a:lnTo>
                    <a:pt x="634" y="606"/>
                  </a:lnTo>
                  <a:lnTo>
                    <a:pt x="636" y="605"/>
                  </a:lnTo>
                  <a:lnTo>
                    <a:pt x="638" y="605"/>
                  </a:lnTo>
                  <a:lnTo>
                    <a:pt x="640" y="605"/>
                  </a:lnTo>
                  <a:lnTo>
                    <a:pt x="643" y="605"/>
                  </a:lnTo>
                  <a:lnTo>
                    <a:pt x="643" y="605"/>
                  </a:lnTo>
                  <a:lnTo>
                    <a:pt x="646" y="604"/>
                  </a:lnTo>
                  <a:lnTo>
                    <a:pt x="649" y="604"/>
                  </a:lnTo>
                  <a:lnTo>
                    <a:pt x="652" y="603"/>
                  </a:lnTo>
                  <a:lnTo>
                    <a:pt x="655" y="601"/>
                  </a:lnTo>
                  <a:lnTo>
                    <a:pt x="657" y="600"/>
                  </a:lnTo>
                  <a:lnTo>
                    <a:pt x="658" y="596"/>
                  </a:lnTo>
                  <a:lnTo>
                    <a:pt x="660" y="594"/>
                  </a:lnTo>
                  <a:lnTo>
                    <a:pt x="661" y="594"/>
                  </a:lnTo>
                  <a:close/>
                  <a:moveTo>
                    <a:pt x="737" y="569"/>
                  </a:moveTo>
                  <a:lnTo>
                    <a:pt x="743" y="569"/>
                  </a:lnTo>
                  <a:lnTo>
                    <a:pt x="746" y="571"/>
                  </a:lnTo>
                  <a:lnTo>
                    <a:pt x="748" y="575"/>
                  </a:lnTo>
                  <a:lnTo>
                    <a:pt x="747" y="577"/>
                  </a:lnTo>
                  <a:lnTo>
                    <a:pt x="748" y="578"/>
                  </a:lnTo>
                  <a:lnTo>
                    <a:pt x="748" y="578"/>
                  </a:lnTo>
                  <a:lnTo>
                    <a:pt x="750" y="578"/>
                  </a:lnTo>
                  <a:lnTo>
                    <a:pt x="752" y="578"/>
                  </a:lnTo>
                  <a:lnTo>
                    <a:pt x="753" y="578"/>
                  </a:lnTo>
                  <a:lnTo>
                    <a:pt x="755" y="578"/>
                  </a:lnTo>
                  <a:lnTo>
                    <a:pt x="756" y="579"/>
                  </a:lnTo>
                  <a:lnTo>
                    <a:pt x="756" y="581"/>
                  </a:lnTo>
                  <a:lnTo>
                    <a:pt x="756" y="583"/>
                  </a:lnTo>
                  <a:lnTo>
                    <a:pt x="756" y="585"/>
                  </a:lnTo>
                  <a:lnTo>
                    <a:pt x="755" y="589"/>
                  </a:lnTo>
                  <a:lnTo>
                    <a:pt x="753" y="591"/>
                  </a:lnTo>
                  <a:lnTo>
                    <a:pt x="750" y="591"/>
                  </a:lnTo>
                  <a:lnTo>
                    <a:pt x="749" y="591"/>
                  </a:lnTo>
                  <a:lnTo>
                    <a:pt x="747" y="589"/>
                  </a:lnTo>
                  <a:lnTo>
                    <a:pt x="746" y="586"/>
                  </a:lnTo>
                  <a:lnTo>
                    <a:pt x="745" y="584"/>
                  </a:lnTo>
                  <a:lnTo>
                    <a:pt x="745" y="582"/>
                  </a:lnTo>
                  <a:lnTo>
                    <a:pt x="744" y="580"/>
                  </a:lnTo>
                  <a:lnTo>
                    <a:pt x="742" y="579"/>
                  </a:lnTo>
                  <a:lnTo>
                    <a:pt x="741" y="579"/>
                  </a:lnTo>
                  <a:lnTo>
                    <a:pt x="726" y="579"/>
                  </a:lnTo>
                  <a:lnTo>
                    <a:pt x="724" y="577"/>
                  </a:lnTo>
                  <a:lnTo>
                    <a:pt x="723" y="574"/>
                  </a:lnTo>
                  <a:lnTo>
                    <a:pt x="724" y="573"/>
                  </a:lnTo>
                  <a:lnTo>
                    <a:pt x="726" y="572"/>
                  </a:lnTo>
                  <a:lnTo>
                    <a:pt x="728" y="572"/>
                  </a:lnTo>
                  <a:lnTo>
                    <a:pt x="733" y="570"/>
                  </a:lnTo>
                  <a:lnTo>
                    <a:pt x="737" y="569"/>
                  </a:lnTo>
                  <a:close/>
                  <a:moveTo>
                    <a:pt x="714" y="557"/>
                  </a:moveTo>
                  <a:lnTo>
                    <a:pt x="715" y="557"/>
                  </a:lnTo>
                  <a:lnTo>
                    <a:pt x="717" y="558"/>
                  </a:lnTo>
                  <a:lnTo>
                    <a:pt x="720" y="559"/>
                  </a:lnTo>
                  <a:lnTo>
                    <a:pt x="722" y="560"/>
                  </a:lnTo>
                  <a:lnTo>
                    <a:pt x="724" y="562"/>
                  </a:lnTo>
                  <a:lnTo>
                    <a:pt x="726" y="564"/>
                  </a:lnTo>
                  <a:lnTo>
                    <a:pt x="726" y="567"/>
                  </a:lnTo>
                  <a:lnTo>
                    <a:pt x="725" y="569"/>
                  </a:lnTo>
                  <a:lnTo>
                    <a:pt x="723" y="571"/>
                  </a:lnTo>
                  <a:lnTo>
                    <a:pt x="721" y="571"/>
                  </a:lnTo>
                  <a:lnTo>
                    <a:pt x="719" y="570"/>
                  </a:lnTo>
                  <a:lnTo>
                    <a:pt x="716" y="568"/>
                  </a:lnTo>
                  <a:lnTo>
                    <a:pt x="715" y="564"/>
                  </a:lnTo>
                  <a:lnTo>
                    <a:pt x="714" y="562"/>
                  </a:lnTo>
                  <a:lnTo>
                    <a:pt x="713" y="559"/>
                  </a:lnTo>
                  <a:lnTo>
                    <a:pt x="714" y="557"/>
                  </a:lnTo>
                  <a:close/>
                  <a:moveTo>
                    <a:pt x="1885" y="525"/>
                  </a:moveTo>
                  <a:lnTo>
                    <a:pt x="1885" y="525"/>
                  </a:lnTo>
                  <a:lnTo>
                    <a:pt x="1883" y="526"/>
                  </a:lnTo>
                  <a:lnTo>
                    <a:pt x="1882" y="528"/>
                  </a:lnTo>
                  <a:lnTo>
                    <a:pt x="1881" y="530"/>
                  </a:lnTo>
                  <a:lnTo>
                    <a:pt x="1881" y="531"/>
                  </a:lnTo>
                  <a:lnTo>
                    <a:pt x="1882" y="534"/>
                  </a:lnTo>
                  <a:lnTo>
                    <a:pt x="1883" y="535"/>
                  </a:lnTo>
                  <a:lnTo>
                    <a:pt x="1885" y="536"/>
                  </a:lnTo>
                  <a:lnTo>
                    <a:pt x="1887" y="537"/>
                  </a:lnTo>
                  <a:lnTo>
                    <a:pt x="1888" y="538"/>
                  </a:lnTo>
                  <a:lnTo>
                    <a:pt x="1889" y="538"/>
                  </a:lnTo>
                  <a:lnTo>
                    <a:pt x="1890" y="538"/>
                  </a:lnTo>
                  <a:lnTo>
                    <a:pt x="1892" y="536"/>
                  </a:lnTo>
                  <a:lnTo>
                    <a:pt x="1893" y="534"/>
                  </a:lnTo>
                  <a:lnTo>
                    <a:pt x="1895" y="530"/>
                  </a:lnTo>
                  <a:lnTo>
                    <a:pt x="1895" y="529"/>
                  </a:lnTo>
                  <a:lnTo>
                    <a:pt x="1895" y="528"/>
                  </a:lnTo>
                  <a:lnTo>
                    <a:pt x="1894" y="528"/>
                  </a:lnTo>
                  <a:lnTo>
                    <a:pt x="1893" y="528"/>
                  </a:lnTo>
                  <a:lnTo>
                    <a:pt x="1891" y="528"/>
                  </a:lnTo>
                  <a:lnTo>
                    <a:pt x="1890" y="528"/>
                  </a:lnTo>
                  <a:lnTo>
                    <a:pt x="1889" y="528"/>
                  </a:lnTo>
                  <a:lnTo>
                    <a:pt x="1888" y="527"/>
                  </a:lnTo>
                  <a:lnTo>
                    <a:pt x="1888" y="526"/>
                  </a:lnTo>
                  <a:lnTo>
                    <a:pt x="1887" y="525"/>
                  </a:lnTo>
                  <a:lnTo>
                    <a:pt x="1885" y="525"/>
                  </a:lnTo>
                  <a:close/>
                  <a:moveTo>
                    <a:pt x="32" y="496"/>
                  </a:moveTo>
                  <a:lnTo>
                    <a:pt x="36" y="497"/>
                  </a:lnTo>
                  <a:lnTo>
                    <a:pt x="40" y="498"/>
                  </a:lnTo>
                  <a:lnTo>
                    <a:pt x="45" y="499"/>
                  </a:lnTo>
                  <a:lnTo>
                    <a:pt x="48" y="501"/>
                  </a:lnTo>
                  <a:lnTo>
                    <a:pt x="50" y="504"/>
                  </a:lnTo>
                  <a:lnTo>
                    <a:pt x="50" y="505"/>
                  </a:lnTo>
                  <a:lnTo>
                    <a:pt x="50" y="507"/>
                  </a:lnTo>
                  <a:lnTo>
                    <a:pt x="48" y="509"/>
                  </a:lnTo>
                  <a:lnTo>
                    <a:pt x="46" y="510"/>
                  </a:lnTo>
                  <a:lnTo>
                    <a:pt x="44" y="510"/>
                  </a:lnTo>
                  <a:lnTo>
                    <a:pt x="39" y="508"/>
                  </a:lnTo>
                  <a:lnTo>
                    <a:pt x="36" y="506"/>
                  </a:lnTo>
                  <a:lnTo>
                    <a:pt x="33" y="504"/>
                  </a:lnTo>
                  <a:lnTo>
                    <a:pt x="30" y="501"/>
                  </a:lnTo>
                  <a:lnTo>
                    <a:pt x="30" y="497"/>
                  </a:lnTo>
                  <a:lnTo>
                    <a:pt x="32" y="496"/>
                  </a:lnTo>
                  <a:close/>
                  <a:moveTo>
                    <a:pt x="1" y="479"/>
                  </a:moveTo>
                  <a:lnTo>
                    <a:pt x="2" y="480"/>
                  </a:lnTo>
                  <a:lnTo>
                    <a:pt x="3" y="481"/>
                  </a:lnTo>
                  <a:lnTo>
                    <a:pt x="3" y="481"/>
                  </a:lnTo>
                  <a:lnTo>
                    <a:pt x="3" y="482"/>
                  </a:lnTo>
                  <a:lnTo>
                    <a:pt x="4" y="482"/>
                  </a:lnTo>
                  <a:lnTo>
                    <a:pt x="5" y="483"/>
                  </a:lnTo>
                  <a:lnTo>
                    <a:pt x="7" y="484"/>
                  </a:lnTo>
                  <a:lnTo>
                    <a:pt x="7" y="486"/>
                  </a:lnTo>
                  <a:lnTo>
                    <a:pt x="6" y="488"/>
                  </a:lnTo>
                  <a:lnTo>
                    <a:pt x="5" y="490"/>
                  </a:lnTo>
                  <a:lnTo>
                    <a:pt x="3" y="490"/>
                  </a:lnTo>
                  <a:lnTo>
                    <a:pt x="2" y="488"/>
                  </a:lnTo>
                  <a:lnTo>
                    <a:pt x="1" y="486"/>
                  </a:lnTo>
                  <a:lnTo>
                    <a:pt x="1" y="485"/>
                  </a:lnTo>
                  <a:lnTo>
                    <a:pt x="0" y="484"/>
                  </a:lnTo>
                  <a:lnTo>
                    <a:pt x="0" y="482"/>
                  </a:lnTo>
                  <a:lnTo>
                    <a:pt x="0" y="481"/>
                  </a:lnTo>
                  <a:lnTo>
                    <a:pt x="0" y="480"/>
                  </a:lnTo>
                  <a:lnTo>
                    <a:pt x="0" y="479"/>
                  </a:lnTo>
                  <a:lnTo>
                    <a:pt x="1" y="479"/>
                  </a:lnTo>
                  <a:close/>
                  <a:moveTo>
                    <a:pt x="1028" y="447"/>
                  </a:moveTo>
                  <a:lnTo>
                    <a:pt x="1030" y="448"/>
                  </a:lnTo>
                  <a:lnTo>
                    <a:pt x="1033" y="448"/>
                  </a:lnTo>
                  <a:lnTo>
                    <a:pt x="1036" y="449"/>
                  </a:lnTo>
                  <a:lnTo>
                    <a:pt x="1038" y="450"/>
                  </a:lnTo>
                  <a:lnTo>
                    <a:pt x="1038" y="451"/>
                  </a:lnTo>
                  <a:lnTo>
                    <a:pt x="1038" y="453"/>
                  </a:lnTo>
                  <a:lnTo>
                    <a:pt x="1037" y="454"/>
                  </a:lnTo>
                  <a:lnTo>
                    <a:pt x="1034" y="455"/>
                  </a:lnTo>
                  <a:lnTo>
                    <a:pt x="1032" y="457"/>
                  </a:lnTo>
                  <a:lnTo>
                    <a:pt x="1029" y="458"/>
                  </a:lnTo>
                  <a:lnTo>
                    <a:pt x="1027" y="458"/>
                  </a:lnTo>
                  <a:lnTo>
                    <a:pt x="1025" y="458"/>
                  </a:lnTo>
                  <a:lnTo>
                    <a:pt x="1021" y="457"/>
                  </a:lnTo>
                  <a:lnTo>
                    <a:pt x="1020" y="454"/>
                  </a:lnTo>
                  <a:lnTo>
                    <a:pt x="1020" y="452"/>
                  </a:lnTo>
                  <a:lnTo>
                    <a:pt x="1020" y="450"/>
                  </a:lnTo>
                  <a:lnTo>
                    <a:pt x="1022" y="449"/>
                  </a:lnTo>
                  <a:lnTo>
                    <a:pt x="1025" y="448"/>
                  </a:lnTo>
                  <a:lnTo>
                    <a:pt x="1028" y="447"/>
                  </a:lnTo>
                  <a:close/>
                  <a:moveTo>
                    <a:pt x="962" y="441"/>
                  </a:moveTo>
                  <a:lnTo>
                    <a:pt x="963" y="441"/>
                  </a:lnTo>
                  <a:lnTo>
                    <a:pt x="965" y="442"/>
                  </a:lnTo>
                  <a:lnTo>
                    <a:pt x="967" y="444"/>
                  </a:lnTo>
                  <a:lnTo>
                    <a:pt x="967" y="447"/>
                  </a:lnTo>
                  <a:lnTo>
                    <a:pt x="967" y="450"/>
                  </a:lnTo>
                  <a:lnTo>
                    <a:pt x="966" y="452"/>
                  </a:lnTo>
                  <a:lnTo>
                    <a:pt x="964" y="455"/>
                  </a:lnTo>
                  <a:lnTo>
                    <a:pt x="962" y="457"/>
                  </a:lnTo>
                  <a:lnTo>
                    <a:pt x="961" y="458"/>
                  </a:lnTo>
                  <a:lnTo>
                    <a:pt x="959" y="457"/>
                  </a:lnTo>
                  <a:lnTo>
                    <a:pt x="957" y="454"/>
                  </a:lnTo>
                  <a:lnTo>
                    <a:pt x="956" y="452"/>
                  </a:lnTo>
                  <a:lnTo>
                    <a:pt x="956" y="450"/>
                  </a:lnTo>
                  <a:lnTo>
                    <a:pt x="956" y="447"/>
                  </a:lnTo>
                  <a:lnTo>
                    <a:pt x="957" y="443"/>
                  </a:lnTo>
                  <a:lnTo>
                    <a:pt x="960" y="441"/>
                  </a:lnTo>
                  <a:lnTo>
                    <a:pt x="962" y="441"/>
                  </a:lnTo>
                  <a:close/>
                  <a:moveTo>
                    <a:pt x="2269" y="427"/>
                  </a:moveTo>
                  <a:lnTo>
                    <a:pt x="2271" y="428"/>
                  </a:lnTo>
                  <a:lnTo>
                    <a:pt x="2273" y="429"/>
                  </a:lnTo>
                  <a:lnTo>
                    <a:pt x="2274" y="431"/>
                  </a:lnTo>
                  <a:lnTo>
                    <a:pt x="2275" y="433"/>
                  </a:lnTo>
                  <a:lnTo>
                    <a:pt x="2276" y="436"/>
                  </a:lnTo>
                  <a:lnTo>
                    <a:pt x="2277" y="439"/>
                  </a:lnTo>
                  <a:lnTo>
                    <a:pt x="2278" y="442"/>
                  </a:lnTo>
                  <a:lnTo>
                    <a:pt x="2278" y="446"/>
                  </a:lnTo>
                  <a:lnTo>
                    <a:pt x="2275" y="450"/>
                  </a:lnTo>
                  <a:lnTo>
                    <a:pt x="2272" y="453"/>
                  </a:lnTo>
                  <a:lnTo>
                    <a:pt x="2269" y="457"/>
                  </a:lnTo>
                  <a:lnTo>
                    <a:pt x="2266" y="459"/>
                  </a:lnTo>
                  <a:lnTo>
                    <a:pt x="2265" y="460"/>
                  </a:lnTo>
                  <a:lnTo>
                    <a:pt x="2263" y="462"/>
                  </a:lnTo>
                  <a:lnTo>
                    <a:pt x="2261" y="462"/>
                  </a:lnTo>
                  <a:lnTo>
                    <a:pt x="2260" y="462"/>
                  </a:lnTo>
                  <a:lnTo>
                    <a:pt x="2260" y="452"/>
                  </a:lnTo>
                  <a:lnTo>
                    <a:pt x="2260" y="449"/>
                  </a:lnTo>
                  <a:lnTo>
                    <a:pt x="2260" y="447"/>
                  </a:lnTo>
                  <a:lnTo>
                    <a:pt x="2261" y="444"/>
                  </a:lnTo>
                  <a:lnTo>
                    <a:pt x="2263" y="441"/>
                  </a:lnTo>
                  <a:lnTo>
                    <a:pt x="2263" y="439"/>
                  </a:lnTo>
                  <a:lnTo>
                    <a:pt x="2263" y="437"/>
                  </a:lnTo>
                  <a:lnTo>
                    <a:pt x="2264" y="433"/>
                  </a:lnTo>
                  <a:lnTo>
                    <a:pt x="2265" y="431"/>
                  </a:lnTo>
                  <a:lnTo>
                    <a:pt x="2267" y="429"/>
                  </a:lnTo>
                  <a:lnTo>
                    <a:pt x="2269" y="427"/>
                  </a:lnTo>
                  <a:close/>
                  <a:moveTo>
                    <a:pt x="1691" y="390"/>
                  </a:moveTo>
                  <a:lnTo>
                    <a:pt x="1693" y="390"/>
                  </a:lnTo>
                  <a:lnTo>
                    <a:pt x="1694" y="393"/>
                  </a:lnTo>
                  <a:lnTo>
                    <a:pt x="1692" y="399"/>
                  </a:lnTo>
                  <a:lnTo>
                    <a:pt x="1690" y="407"/>
                  </a:lnTo>
                  <a:lnTo>
                    <a:pt x="1686" y="414"/>
                  </a:lnTo>
                  <a:lnTo>
                    <a:pt x="1682" y="418"/>
                  </a:lnTo>
                  <a:lnTo>
                    <a:pt x="1681" y="416"/>
                  </a:lnTo>
                  <a:lnTo>
                    <a:pt x="1681" y="412"/>
                  </a:lnTo>
                  <a:lnTo>
                    <a:pt x="1683" y="407"/>
                  </a:lnTo>
                  <a:lnTo>
                    <a:pt x="1685" y="400"/>
                  </a:lnTo>
                  <a:lnTo>
                    <a:pt x="1687" y="396"/>
                  </a:lnTo>
                  <a:lnTo>
                    <a:pt x="1690" y="393"/>
                  </a:lnTo>
                  <a:lnTo>
                    <a:pt x="1691" y="390"/>
                  </a:lnTo>
                  <a:close/>
                  <a:moveTo>
                    <a:pt x="1691" y="324"/>
                  </a:moveTo>
                  <a:lnTo>
                    <a:pt x="1692" y="328"/>
                  </a:lnTo>
                  <a:lnTo>
                    <a:pt x="1692" y="330"/>
                  </a:lnTo>
                  <a:lnTo>
                    <a:pt x="1692" y="333"/>
                  </a:lnTo>
                  <a:lnTo>
                    <a:pt x="1691" y="335"/>
                  </a:lnTo>
                  <a:lnTo>
                    <a:pt x="1688" y="339"/>
                  </a:lnTo>
                  <a:lnTo>
                    <a:pt x="1686" y="342"/>
                  </a:lnTo>
                  <a:lnTo>
                    <a:pt x="1686" y="345"/>
                  </a:lnTo>
                  <a:lnTo>
                    <a:pt x="1685" y="348"/>
                  </a:lnTo>
                  <a:lnTo>
                    <a:pt x="1684" y="350"/>
                  </a:lnTo>
                  <a:lnTo>
                    <a:pt x="1683" y="350"/>
                  </a:lnTo>
                  <a:lnTo>
                    <a:pt x="1681" y="350"/>
                  </a:lnTo>
                  <a:lnTo>
                    <a:pt x="1680" y="349"/>
                  </a:lnTo>
                  <a:lnTo>
                    <a:pt x="1679" y="346"/>
                  </a:lnTo>
                  <a:lnTo>
                    <a:pt x="1677" y="345"/>
                  </a:lnTo>
                  <a:lnTo>
                    <a:pt x="1677" y="342"/>
                  </a:lnTo>
                  <a:lnTo>
                    <a:pt x="1677" y="339"/>
                  </a:lnTo>
                  <a:lnTo>
                    <a:pt x="1680" y="335"/>
                  </a:lnTo>
                  <a:lnTo>
                    <a:pt x="1682" y="333"/>
                  </a:lnTo>
                  <a:lnTo>
                    <a:pt x="1684" y="331"/>
                  </a:lnTo>
                  <a:lnTo>
                    <a:pt x="1686" y="329"/>
                  </a:lnTo>
                  <a:lnTo>
                    <a:pt x="1688" y="328"/>
                  </a:lnTo>
                  <a:lnTo>
                    <a:pt x="1690" y="327"/>
                  </a:lnTo>
                  <a:lnTo>
                    <a:pt x="1691" y="327"/>
                  </a:lnTo>
                  <a:lnTo>
                    <a:pt x="1691" y="324"/>
                  </a:lnTo>
                  <a:close/>
                  <a:moveTo>
                    <a:pt x="1555" y="269"/>
                  </a:moveTo>
                  <a:lnTo>
                    <a:pt x="1555" y="270"/>
                  </a:lnTo>
                  <a:lnTo>
                    <a:pt x="1555" y="272"/>
                  </a:lnTo>
                  <a:lnTo>
                    <a:pt x="1555" y="274"/>
                  </a:lnTo>
                  <a:lnTo>
                    <a:pt x="1554" y="277"/>
                  </a:lnTo>
                  <a:lnTo>
                    <a:pt x="1554" y="279"/>
                  </a:lnTo>
                  <a:lnTo>
                    <a:pt x="1553" y="283"/>
                  </a:lnTo>
                  <a:lnTo>
                    <a:pt x="1553" y="285"/>
                  </a:lnTo>
                  <a:lnTo>
                    <a:pt x="1551" y="286"/>
                  </a:lnTo>
                  <a:lnTo>
                    <a:pt x="1550" y="285"/>
                  </a:lnTo>
                  <a:lnTo>
                    <a:pt x="1548" y="284"/>
                  </a:lnTo>
                  <a:lnTo>
                    <a:pt x="1546" y="280"/>
                  </a:lnTo>
                  <a:lnTo>
                    <a:pt x="1546" y="278"/>
                  </a:lnTo>
                  <a:lnTo>
                    <a:pt x="1545" y="275"/>
                  </a:lnTo>
                  <a:lnTo>
                    <a:pt x="1548" y="272"/>
                  </a:lnTo>
                  <a:lnTo>
                    <a:pt x="1549" y="270"/>
                  </a:lnTo>
                  <a:lnTo>
                    <a:pt x="1551" y="269"/>
                  </a:lnTo>
                  <a:lnTo>
                    <a:pt x="1553" y="269"/>
                  </a:lnTo>
                  <a:lnTo>
                    <a:pt x="1555" y="269"/>
                  </a:lnTo>
                  <a:close/>
                  <a:moveTo>
                    <a:pt x="1582" y="251"/>
                  </a:moveTo>
                  <a:lnTo>
                    <a:pt x="1582" y="253"/>
                  </a:lnTo>
                  <a:lnTo>
                    <a:pt x="1582" y="255"/>
                  </a:lnTo>
                  <a:lnTo>
                    <a:pt x="1584" y="256"/>
                  </a:lnTo>
                  <a:lnTo>
                    <a:pt x="1586" y="258"/>
                  </a:lnTo>
                  <a:lnTo>
                    <a:pt x="1587" y="259"/>
                  </a:lnTo>
                  <a:lnTo>
                    <a:pt x="1589" y="261"/>
                  </a:lnTo>
                  <a:lnTo>
                    <a:pt x="1589" y="262"/>
                  </a:lnTo>
                  <a:lnTo>
                    <a:pt x="1590" y="265"/>
                  </a:lnTo>
                  <a:lnTo>
                    <a:pt x="1592" y="268"/>
                  </a:lnTo>
                  <a:lnTo>
                    <a:pt x="1592" y="272"/>
                  </a:lnTo>
                  <a:lnTo>
                    <a:pt x="1590" y="274"/>
                  </a:lnTo>
                  <a:lnTo>
                    <a:pt x="1589" y="277"/>
                  </a:lnTo>
                  <a:lnTo>
                    <a:pt x="1587" y="278"/>
                  </a:lnTo>
                  <a:lnTo>
                    <a:pt x="1585" y="278"/>
                  </a:lnTo>
                  <a:lnTo>
                    <a:pt x="1582" y="278"/>
                  </a:lnTo>
                  <a:lnTo>
                    <a:pt x="1579" y="277"/>
                  </a:lnTo>
                  <a:lnTo>
                    <a:pt x="1577" y="275"/>
                  </a:lnTo>
                  <a:lnTo>
                    <a:pt x="1575" y="274"/>
                  </a:lnTo>
                  <a:lnTo>
                    <a:pt x="1574" y="270"/>
                  </a:lnTo>
                  <a:lnTo>
                    <a:pt x="1574" y="267"/>
                  </a:lnTo>
                  <a:lnTo>
                    <a:pt x="1574" y="265"/>
                  </a:lnTo>
                  <a:lnTo>
                    <a:pt x="1574" y="262"/>
                  </a:lnTo>
                  <a:lnTo>
                    <a:pt x="1575" y="258"/>
                  </a:lnTo>
                  <a:lnTo>
                    <a:pt x="1576" y="256"/>
                  </a:lnTo>
                  <a:lnTo>
                    <a:pt x="1577" y="253"/>
                  </a:lnTo>
                  <a:lnTo>
                    <a:pt x="1579" y="252"/>
                  </a:lnTo>
                  <a:lnTo>
                    <a:pt x="1582" y="251"/>
                  </a:lnTo>
                  <a:close/>
                  <a:moveTo>
                    <a:pt x="1560" y="235"/>
                  </a:moveTo>
                  <a:lnTo>
                    <a:pt x="1563" y="235"/>
                  </a:lnTo>
                  <a:lnTo>
                    <a:pt x="1566" y="236"/>
                  </a:lnTo>
                  <a:lnTo>
                    <a:pt x="1568" y="239"/>
                  </a:lnTo>
                  <a:lnTo>
                    <a:pt x="1571" y="241"/>
                  </a:lnTo>
                  <a:lnTo>
                    <a:pt x="1572" y="243"/>
                  </a:lnTo>
                  <a:lnTo>
                    <a:pt x="1572" y="247"/>
                  </a:lnTo>
                  <a:lnTo>
                    <a:pt x="1572" y="250"/>
                  </a:lnTo>
                  <a:lnTo>
                    <a:pt x="1571" y="252"/>
                  </a:lnTo>
                  <a:lnTo>
                    <a:pt x="1568" y="253"/>
                  </a:lnTo>
                  <a:lnTo>
                    <a:pt x="1567" y="254"/>
                  </a:lnTo>
                  <a:lnTo>
                    <a:pt x="1565" y="255"/>
                  </a:lnTo>
                  <a:lnTo>
                    <a:pt x="1563" y="255"/>
                  </a:lnTo>
                  <a:lnTo>
                    <a:pt x="1561" y="256"/>
                  </a:lnTo>
                  <a:lnTo>
                    <a:pt x="1559" y="257"/>
                  </a:lnTo>
                  <a:lnTo>
                    <a:pt x="1557" y="258"/>
                  </a:lnTo>
                  <a:lnTo>
                    <a:pt x="1556" y="261"/>
                  </a:lnTo>
                  <a:lnTo>
                    <a:pt x="1554" y="263"/>
                  </a:lnTo>
                  <a:lnTo>
                    <a:pt x="1552" y="265"/>
                  </a:lnTo>
                  <a:lnTo>
                    <a:pt x="1550" y="265"/>
                  </a:lnTo>
                  <a:lnTo>
                    <a:pt x="1546" y="265"/>
                  </a:lnTo>
                  <a:lnTo>
                    <a:pt x="1544" y="265"/>
                  </a:lnTo>
                  <a:lnTo>
                    <a:pt x="1542" y="263"/>
                  </a:lnTo>
                  <a:lnTo>
                    <a:pt x="1541" y="262"/>
                  </a:lnTo>
                  <a:lnTo>
                    <a:pt x="1540" y="259"/>
                  </a:lnTo>
                  <a:lnTo>
                    <a:pt x="1541" y="256"/>
                  </a:lnTo>
                  <a:lnTo>
                    <a:pt x="1542" y="255"/>
                  </a:lnTo>
                  <a:lnTo>
                    <a:pt x="1544" y="254"/>
                  </a:lnTo>
                  <a:lnTo>
                    <a:pt x="1546" y="253"/>
                  </a:lnTo>
                  <a:lnTo>
                    <a:pt x="1549" y="252"/>
                  </a:lnTo>
                  <a:lnTo>
                    <a:pt x="1550" y="250"/>
                  </a:lnTo>
                  <a:lnTo>
                    <a:pt x="1551" y="246"/>
                  </a:lnTo>
                  <a:lnTo>
                    <a:pt x="1553" y="242"/>
                  </a:lnTo>
                  <a:lnTo>
                    <a:pt x="1554" y="239"/>
                  </a:lnTo>
                  <a:lnTo>
                    <a:pt x="1556" y="236"/>
                  </a:lnTo>
                  <a:lnTo>
                    <a:pt x="1560" y="235"/>
                  </a:lnTo>
                  <a:close/>
                  <a:moveTo>
                    <a:pt x="864" y="234"/>
                  </a:moveTo>
                  <a:lnTo>
                    <a:pt x="862" y="235"/>
                  </a:lnTo>
                  <a:lnTo>
                    <a:pt x="859" y="237"/>
                  </a:lnTo>
                  <a:lnTo>
                    <a:pt x="862" y="237"/>
                  </a:lnTo>
                  <a:lnTo>
                    <a:pt x="864" y="239"/>
                  </a:lnTo>
                  <a:lnTo>
                    <a:pt x="866" y="240"/>
                  </a:lnTo>
                  <a:lnTo>
                    <a:pt x="868" y="241"/>
                  </a:lnTo>
                  <a:lnTo>
                    <a:pt x="869" y="242"/>
                  </a:lnTo>
                  <a:lnTo>
                    <a:pt x="868" y="237"/>
                  </a:lnTo>
                  <a:lnTo>
                    <a:pt x="867" y="235"/>
                  </a:lnTo>
                  <a:lnTo>
                    <a:pt x="865" y="234"/>
                  </a:lnTo>
                  <a:lnTo>
                    <a:pt x="864" y="234"/>
                  </a:lnTo>
                  <a:close/>
                  <a:moveTo>
                    <a:pt x="2014" y="207"/>
                  </a:moveTo>
                  <a:lnTo>
                    <a:pt x="2015" y="207"/>
                  </a:lnTo>
                  <a:lnTo>
                    <a:pt x="2016" y="208"/>
                  </a:lnTo>
                  <a:lnTo>
                    <a:pt x="2019" y="208"/>
                  </a:lnTo>
                  <a:lnTo>
                    <a:pt x="2020" y="208"/>
                  </a:lnTo>
                  <a:lnTo>
                    <a:pt x="2020" y="208"/>
                  </a:lnTo>
                  <a:lnTo>
                    <a:pt x="2021" y="208"/>
                  </a:lnTo>
                  <a:lnTo>
                    <a:pt x="2023" y="207"/>
                  </a:lnTo>
                  <a:lnTo>
                    <a:pt x="2024" y="207"/>
                  </a:lnTo>
                  <a:lnTo>
                    <a:pt x="2026" y="208"/>
                  </a:lnTo>
                  <a:lnTo>
                    <a:pt x="2027" y="208"/>
                  </a:lnTo>
                  <a:lnTo>
                    <a:pt x="2027" y="210"/>
                  </a:lnTo>
                  <a:lnTo>
                    <a:pt x="2026" y="210"/>
                  </a:lnTo>
                  <a:lnTo>
                    <a:pt x="2025" y="211"/>
                  </a:lnTo>
                  <a:lnTo>
                    <a:pt x="2025" y="212"/>
                  </a:lnTo>
                  <a:lnTo>
                    <a:pt x="2024" y="212"/>
                  </a:lnTo>
                  <a:lnTo>
                    <a:pt x="2023" y="213"/>
                  </a:lnTo>
                  <a:lnTo>
                    <a:pt x="2023" y="213"/>
                  </a:lnTo>
                  <a:lnTo>
                    <a:pt x="2022" y="213"/>
                  </a:lnTo>
                  <a:lnTo>
                    <a:pt x="2022" y="213"/>
                  </a:lnTo>
                  <a:lnTo>
                    <a:pt x="2020" y="213"/>
                  </a:lnTo>
                  <a:lnTo>
                    <a:pt x="2018" y="212"/>
                  </a:lnTo>
                  <a:lnTo>
                    <a:pt x="2015" y="212"/>
                  </a:lnTo>
                  <a:lnTo>
                    <a:pt x="2015" y="212"/>
                  </a:lnTo>
                  <a:lnTo>
                    <a:pt x="2014" y="212"/>
                  </a:lnTo>
                  <a:lnTo>
                    <a:pt x="2012" y="211"/>
                  </a:lnTo>
                  <a:lnTo>
                    <a:pt x="2011" y="211"/>
                  </a:lnTo>
                  <a:lnTo>
                    <a:pt x="2011" y="210"/>
                  </a:lnTo>
                  <a:lnTo>
                    <a:pt x="2011" y="208"/>
                  </a:lnTo>
                  <a:lnTo>
                    <a:pt x="2012" y="207"/>
                  </a:lnTo>
                  <a:lnTo>
                    <a:pt x="2014" y="207"/>
                  </a:lnTo>
                  <a:close/>
                  <a:moveTo>
                    <a:pt x="1841" y="189"/>
                  </a:moveTo>
                  <a:lnTo>
                    <a:pt x="1840" y="196"/>
                  </a:lnTo>
                  <a:lnTo>
                    <a:pt x="1838" y="203"/>
                  </a:lnTo>
                  <a:lnTo>
                    <a:pt x="1835" y="220"/>
                  </a:lnTo>
                  <a:lnTo>
                    <a:pt x="1827" y="233"/>
                  </a:lnTo>
                  <a:lnTo>
                    <a:pt x="1825" y="236"/>
                  </a:lnTo>
                  <a:lnTo>
                    <a:pt x="1822" y="240"/>
                  </a:lnTo>
                  <a:lnTo>
                    <a:pt x="1819" y="244"/>
                  </a:lnTo>
                  <a:lnTo>
                    <a:pt x="1816" y="246"/>
                  </a:lnTo>
                  <a:lnTo>
                    <a:pt x="1814" y="248"/>
                  </a:lnTo>
                  <a:lnTo>
                    <a:pt x="1812" y="250"/>
                  </a:lnTo>
                  <a:lnTo>
                    <a:pt x="1811" y="250"/>
                  </a:lnTo>
                  <a:lnTo>
                    <a:pt x="1810" y="250"/>
                  </a:lnTo>
                  <a:lnTo>
                    <a:pt x="1808" y="248"/>
                  </a:lnTo>
                  <a:lnTo>
                    <a:pt x="1806" y="248"/>
                  </a:lnTo>
                  <a:lnTo>
                    <a:pt x="1805" y="247"/>
                  </a:lnTo>
                  <a:lnTo>
                    <a:pt x="1804" y="247"/>
                  </a:lnTo>
                  <a:lnTo>
                    <a:pt x="1803" y="248"/>
                  </a:lnTo>
                  <a:lnTo>
                    <a:pt x="1801" y="251"/>
                  </a:lnTo>
                  <a:lnTo>
                    <a:pt x="1800" y="253"/>
                  </a:lnTo>
                  <a:lnTo>
                    <a:pt x="1797" y="255"/>
                  </a:lnTo>
                  <a:lnTo>
                    <a:pt x="1796" y="257"/>
                  </a:lnTo>
                  <a:lnTo>
                    <a:pt x="1794" y="259"/>
                  </a:lnTo>
                  <a:lnTo>
                    <a:pt x="1793" y="261"/>
                  </a:lnTo>
                  <a:lnTo>
                    <a:pt x="1792" y="257"/>
                  </a:lnTo>
                  <a:lnTo>
                    <a:pt x="1791" y="255"/>
                  </a:lnTo>
                  <a:lnTo>
                    <a:pt x="1790" y="253"/>
                  </a:lnTo>
                  <a:lnTo>
                    <a:pt x="1789" y="251"/>
                  </a:lnTo>
                  <a:lnTo>
                    <a:pt x="1787" y="248"/>
                  </a:lnTo>
                  <a:lnTo>
                    <a:pt x="1786" y="246"/>
                  </a:lnTo>
                  <a:lnTo>
                    <a:pt x="1785" y="245"/>
                  </a:lnTo>
                  <a:lnTo>
                    <a:pt x="1783" y="245"/>
                  </a:lnTo>
                  <a:lnTo>
                    <a:pt x="1781" y="246"/>
                  </a:lnTo>
                  <a:lnTo>
                    <a:pt x="1778" y="248"/>
                  </a:lnTo>
                  <a:lnTo>
                    <a:pt x="1776" y="250"/>
                  </a:lnTo>
                  <a:lnTo>
                    <a:pt x="1775" y="250"/>
                  </a:lnTo>
                  <a:lnTo>
                    <a:pt x="1773" y="251"/>
                  </a:lnTo>
                  <a:lnTo>
                    <a:pt x="1771" y="251"/>
                  </a:lnTo>
                  <a:lnTo>
                    <a:pt x="1770" y="251"/>
                  </a:lnTo>
                  <a:lnTo>
                    <a:pt x="1769" y="248"/>
                  </a:lnTo>
                  <a:lnTo>
                    <a:pt x="1769" y="247"/>
                  </a:lnTo>
                  <a:lnTo>
                    <a:pt x="1769" y="244"/>
                  </a:lnTo>
                  <a:lnTo>
                    <a:pt x="1770" y="242"/>
                  </a:lnTo>
                  <a:lnTo>
                    <a:pt x="1771" y="240"/>
                  </a:lnTo>
                  <a:lnTo>
                    <a:pt x="1772" y="237"/>
                  </a:lnTo>
                  <a:lnTo>
                    <a:pt x="1772" y="234"/>
                  </a:lnTo>
                  <a:lnTo>
                    <a:pt x="1771" y="232"/>
                  </a:lnTo>
                  <a:lnTo>
                    <a:pt x="1771" y="230"/>
                  </a:lnTo>
                  <a:lnTo>
                    <a:pt x="1770" y="228"/>
                  </a:lnTo>
                  <a:lnTo>
                    <a:pt x="1770" y="226"/>
                  </a:lnTo>
                  <a:lnTo>
                    <a:pt x="1806" y="207"/>
                  </a:lnTo>
                  <a:lnTo>
                    <a:pt x="1807" y="206"/>
                  </a:lnTo>
                  <a:lnTo>
                    <a:pt x="1812" y="203"/>
                  </a:lnTo>
                  <a:lnTo>
                    <a:pt x="1841" y="189"/>
                  </a:lnTo>
                  <a:close/>
                  <a:moveTo>
                    <a:pt x="1942" y="186"/>
                  </a:moveTo>
                  <a:lnTo>
                    <a:pt x="1944" y="187"/>
                  </a:lnTo>
                  <a:lnTo>
                    <a:pt x="1945" y="188"/>
                  </a:lnTo>
                  <a:lnTo>
                    <a:pt x="1947" y="190"/>
                  </a:lnTo>
                  <a:lnTo>
                    <a:pt x="1949" y="191"/>
                  </a:lnTo>
                  <a:lnTo>
                    <a:pt x="1950" y="193"/>
                  </a:lnTo>
                  <a:lnTo>
                    <a:pt x="1952" y="195"/>
                  </a:lnTo>
                  <a:lnTo>
                    <a:pt x="1953" y="196"/>
                  </a:lnTo>
                  <a:lnTo>
                    <a:pt x="1954" y="197"/>
                  </a:lnTo>
                  <a:lnTo>
                    <a:pt x="1954" y="199"/>
                  </a:lnTo>
                  <a:lnTo>
                    <a:pt x="1954" y="200"/>
                  </a:lnTo>
                  <a:lnTo>
                    <a:pt x="1954" y="202"/>
                  </a:lnTo>
                  <a:lnTo>
                    <a:pt x="1953" y="203"/>
                  </a:lnTo>
                  <a:lnTo>
                    <a:pt x="1952" y="204"/>
                  </a:lnTo>
                  <a:lnTo>
                    <a:pt x="1949" y="204"/>
                  </a:lnTo>
                  <a:lnTo>
                    <a:pt x="1948" y="204"/>
                  </a:lnTo>
                  <a:lnTo>
                    <a:pt x="1947" y="203"/>
                  </a:lnTo>
                  <a:lnTo>
                    <a:pt x="1947" y="203"/>
                  </a:lnTo>
                  <a:lnTo>
                    <a:pt x="1945" y="203"/>
                  </a:lnTo>
                  <a:lnTo>
                    <a:pt x="1944" y="202"/>
                  </a:lnTo>
                  <a:lnTo>
                    <a:pt x="1943" y="202"/>
                  </a:lnTo>
                  <a:lnTo>
                    <a:pt x="1942" y="201"/>
                  </a:lnTo>
                  <a:lnTo>
                    <a:pt x="1941" y="200"/>
                  </a:lnTo>
                  <a:lnTo>
                    <a:pt x="1941" y="198"/>
                  </a:lnTo>
                  <a:lnTo>
                    <a:pt x="1939" y="197"/>
                  </a:lnTo>
                  <a:lnTo>
                    <a:pt x="1937" y="196"/>
                  </a:lnTo>
                  <a:lnTo>
                    <a:pt x="1936" y="195"/>
                  </a:lnTo>
                  <a:lnTo>
                    <a:pt x="1935" y="192"/>
                  </a:lnTo>
                  <a:lnTo>
                    <a:pt x="1935" y="190"/>
                  </a:lnTo>
                  <a:lnTo>
                    <a:pt x="1936" y="188"/>
                  </a:lnTo>
                  <a:lnTo>
                    <a:pt x="1938" y="187"/>
                  </a:lnTo>
                  <a:lnTo>
                    <a:pt x="1939" y="186"/>
                  </a:lnTo>
                  <a:lnTo>
                    <a:pt x="1942" y="186"/>
                  </a:lnTo>
                  <a:close/>
                  <a:moveTo>
                    <a:pt x="1857" y="186"/>
                  </a:moveTo>
                  <a:lnTo>
                    <a:pt x="1858" y="187"/>
                  </a:lnTo>
                  <a:lnTo>
                    <a:pt x="1858" y="187"/>
                  </a:lnTo>
                  <a:lnTo>
                    <a:pt x="1858" y="188"/>
                  </a:lnTo>
                  <a:lnTo>
                    <a:pt x="1858" y="190"/>
                  </a:lnTo>
                  <a:lnTo>
                    <a:pt x="1857" y="191"/>
                  </a:lnTo>
                  <a:lnTo>
                    <a:pt x="1857" y="191"/>
                  </a:lnTo>
                  <a:lnTo>
                    <a:pt x="1857" y="192"/>
                  </a:lnTo>
                  <a:lnTo>
                    <a:pt x="1855" y="192"/>
                  </a:lnTo>
                  <a:lnTo>
                    <a:pt x="1854" y="192"/>
                  </a:lnTo>
                  <a:lnTo>
                    <a:pt x="1852" y="191"/>
                  </a:lnTo>
                  <a:lnTo>
                    <a:pt x="1852" y="189"/>
                  </a:lnTo>
                  <a:lnTo>
                    <a:pt x="1854" y="188"/>
                  </a:lnTo>
                  <a:lnTo>
                    <a:pt x="1855" y="187"/>
                  </a:lnTo>
                  <a:lnTo>
                    <a:pt x="1857" y="186"/>
                  </a:lnTo>
                  <a:close/>
                  <a:moveTo>
                    <a:pt x="1862" y="177"/>
                  </a:moveTo>
                  <a:lnTo>
                    <a:pt x="1862" y="177"/>
                  </a:lnTo>
                  <a:lnTo>
                    <a:pt x="1861" y="177"/>
                  </a:lnTo>
                  <a:lnTo>
                    <a:pt x="1862" y="177"/>
                  </a:lnTo>
                  <a:close/>
                  <a:moveTo>
                    <a:pt x="1869" y="175"/>
                  </a:moveTo>
                  <a:lnTo>
                    <a:pt x="1869" y="175"/>
                  </a:lnTo>
                  <a:lnTo>
                    <a:pt x="1869" y="178"/>
                  </a:lnTo>
                  <a:lnTo>
                    <a:pt x="1868" y="181"/>
                  </a:lnTo>
                  <a:lnTo>
                    <a:pt x="1867" y="182"/>
                  </a:lnTo>
                  <a:lnTo>
                    <a:pt x="1866" y="184"/>
                  </a:lnTo>
                  <a:lnTo>
                    <a:pt x="1865" y="184"/>
                  </a:lnTo>
                  <a:lnTo>
                    <a:pt x="1863" y="184"/>
                  </a:lnTo>
                  <a:lnTo>
                    <a:pt x="1863" y="181"/>
                  </a:lnTo>
                  <a:lnTo>
                    <a:pt x="1862" y="180"/>
                  </a:lnTo>
                  <a:lnTo>
                    <a:pt x="1862" y="177"/>
                  </a:lnTo>
                  <a:lnTo>
                    <a:pt x="1862" y="177"/>
                  </a:lnTo>
                  <a:lnTo>
                    <a:pt x="1863" y="177"/>
                  </a:lnTo>
                  <a:lnTo>
                    <a:pt x="1865" y="177"/>
                  </a:lnTo>
                  <a:lnTo>
                    <a:pt x="1867" y="176"/>
                  </a:lnTo>
                  <a:lnTo>
                    <a:pt x="1868" y="175"/>
                  </a:lnTo>
                  <a:lnTo>
                    <a:pt x="1869" y="175"/>
                  </a:lnTo>
                  <a:close/>
                  <a:moveTo>
                    <a:pt x="1866" y="170"/>
                  </a:moveTo>
                  <a:lnTo>
                    <a:pt x="1866" y="171"/>
                  </a:lnTo>
                  <a:lnTo>
                    <a:pt x="1866" y="174"/>
                  </a:lnTo>
                  <a:lnTo>
                    <a:pt x="1865" y="176"/>
                  </a:lnTo>
                  <a:lnTo>
                    <a:pt x="1865" y="176"/>
                  </a:lnTo>
                  <a:lnTo>
                    <a:pt x="1863" y="177"/>
                  </a:lnTo>
                  <a:lnTo>
                    <a:pt x="1862" y="177"/>
                  </a:lnTo>
                  <a:lnTo>
                    <a:pt x="1862" y="175"/>
                  </a:lnTo>
                  <a:lnTo>
                    <a:pt x="1862" y="172"/>
                  </a:lnTo>
                  <a:lnTo>
                    <a:pt x="1862" y="170"/>
                  </a:lnTo>
                  <a:lnTo>
                    <a:pt x="1865" y="170"/>
                  </a:lnTo>
                  <a:lnTo>
                    <a:pt x="1866" y="170"/>
                  </a:lnTo>
                  <a:lnTo>
                    <a:pt x="1866" y="170"/>
                  </a:lnTo>
                  <a:close/>
                  <a:moveTo>
                    <a:pt x="1880" y="167"/>
                  </a:moveTo>
                  <a:lnTo>
                    <a:pt x="1879" y="169"/>
                  </a:lnTo>
                  <a:lnTo>
                    <a:pt x="1878" y="170"/>
                  </a:lnTo>
                  <a:lnTo>
                    <a:pt x="1877" y="172"/>
                  </a:lnTo>
                  <a:lnTo>
                    <a:pt x="1876" y="174"/>
                  </a:lnTo>
                  <a:lnTo>
                    <a:pt x="1874" y="174"/>
                  </a:lnTo>
                  <a:lnTo>
                    <a:pt x="1873" y="174"/>
                  </a:lnTo>
                  <a:lnTo>
                    <a:pt x="1873" y="172"/>
                  </a:lnTo>
                  <a:lnTo>
                    <a:pt x="1873" y="171"/>
                  </a:lnTo>
                  <a:lnTo>
                    <a:pt x="1872" y="171"/>
                  </a:lnTo>
                  <a:lnTo>
                    <a:pt x="1872" y="170"/>
                  </a:lnTo>
                  <a:lnTo>
                    <a:pt x="1872" y="169"/>
                  </a:lnTo>
                  <a:lnTo>
                    <a:pt x="1873" y="169"/>
                  </a:lnTo>
                  <a:lnTo>
                    <a:pt x="1873" y="168"/>
                  </a:lnTo>
                  <a:lnTo>
                    <a:pt x="1876" y="168"/>
                  </a:lnTo>
                  <a:lnTo>
                    <a:pt x="1877" y="167"/>
                  </a:lnTo>
                  <a:lnTo>
                    <a:pt x="1880" y="167"/>
                  </a:lnTo>
                  <a:close/>
                  <a:moveTo>
                    <a:pt x="1867" y="167"/>
                  </a:moveTo>
                  <a:lnTo>
                    <a:pt x="1870" y="167"/>
                  </a:lnTo>
                  <a:lnTo>
                    <a:pt x="1870" y="170"/>
                  </a:lnTo>
                  <a:lnTo>
                    <a:pt x="1869" y="174"/>
                  </a:lnTo>
                  <a:lnTo>
                    <a:pt x="1869" y="175"/>
                  </a:lnTo>
                  <a:lnTo>
                    <a:pt x="1868" y="172"/>
                  </a:lnTo>
                  <a:lnTo>
                    <a:pt x="1868" y="169"/>
                  </a:lnTo>
                  <a:lnTo>
                    <a:pt x="1867" y="167"/>
                  </a:lnTo>
                  <a:close/>
                  <a:moveTo>
                    <a:pt x="1866" y="167"/>
                  </a:moveTo>
                  <a:lnTo>
                    <a:pt x="1867" y="167"/>
                  </a:lnTo>
                  <a:lnTo>
                    <a:pt x="1867" y="169"/>
                  </a:lnTo>
                  <a:lnTo>
                    <a:pt x="1866" y="170"/>
                  </a:lnTo>
                  <a:lnTo>
                    <a:pt x="1866" y="167"/>
                  </a:lnTo>
                  <a:close/>
                  <a:moveTo>
                    <a:pt x="1921" y="139"/>
                  </a:moveTo>
                  <a:lnTo>
                    <a:pt x="1923" y="142"/>
                  </a:lnTo>
                  <a:lnTo>
                    <a:pt x="1923" y="144"/>
                  </a:lnTo>
                  <a:lnTo>
                    <a:pt x="1923" y="146"/>
                  </a:lnTo>
                  <a:lnTo>
                    <a:pt x="1924" y="148"/>
                  </a:lnTo>
                  <a:lnTo>
                    <a:pt x="1924" y="149"/>
                  </a:lnTo>
                  <a:lnTo>
                    <a:pt x="1924" y="152"/>
                  </a:lnTo>
                  <a:lnTo>
                    <a:pt x="1923" y="155"/>
                  </a:lnTo>
                  <a:lnTo>
                    <a:pt x="1923" y="164"/>
                  </a:lnTo>
                  <a:lnTo>
                    <a:pt x="1915" y="177"/>
                  </a:lnTo>
                  <a:lnTo>
                    <a:pt x="1914" y="180"/>
                  </a:lnTo>
                  <a:lnTo>
                    <a:pt x="1912" y="181"/>
                  </a:lnTo>
                  <a:lnTo>
                    <a:pt x="1911" y="184"/>
                  </a:lnTo>
                  <a:lnTo>
                    <a:pt x="1909" y="184"/>
                  </a:lnTo>
                  <a:lnTo>
                    <a:pt x="1907" y="181"/>
                  </a:lnTo>
                  <a:lnTo>
                    <a:pt x="1907" y="178"/>
                  </a:lnTo>
                  <a:lnTo>
                    <a:pt x="1909" y="174"/>
                  </a:lnTo>
                  <a:lnTo>
                    <a:pt x="1910" y="169"/>
                  </a:lnTo>
                  <a:lnTo>
                    <a:pt x="1910" y="166"/>
                  </a:lnTo>
                  <a:lnTo>
                    <a:pt x="1911" y="163"/>
                  </a:lnTo>
                  <a:lnTo>
                    <a:pt x="1912" y="160"/>
                  </a:lnTo>
                  <a:lnTo>
                    <a:pt x="1912" y="157"/>
                  </a:lnTo>
                  <a:lnTo>
                    <a:pt x="1911" y="155"/>
                  </a:lnTo>
                  <a:lnTo>
                    <a:pt x="1910" y="153"/>
                  </a:lnTo>
                  <a:lnTo>
                    <a:pt x="1910" y="147"/>
                  </a:lnTo>
                  <a:lnTo>
                    <a:pt x="1910" y="146"/>
                  </a:lnTo>
                  <a:lnTo>
                    <a:pt x="1914" y="144"/>
                  </a:lnTo>
                  <a:lnTo>
                    <a:pt x="1915" y="143"/>
                  </a:lnTo>
                  <a:lnTo>
                    <a:pt x="1917" y="142"/>
                  </a:lnTo>
                  <a:lnTo>
                    <a:pt x="1921" y="139"/>
                  </a:lnTo>
                  <a:close/>
                  <a:moveTo>
                    <a:pt x="1914" y="139"/>
                  </a:moveTo>
                  <a:lnTo>
                    <a:pt x="1916" y="139"/>
                  </a:lnTo>
                  <a:lnTo>
                    <a:pt x="1916" y="141"/>
                  </a:lnTo>
                  <a:lnTo>
                    <a:pt x="1916" y="142"/>
                  </a:lnTo>
                  <a:lnTo>
                    <a:pt x="1915" y="143"/>
                  </a:lnTo>
                  <a:lnTo>
                    <a:pt x="1913" y="144"/>
                  </a:lnTo>
                  <a:lnTo>
                    <a:pt x="1910" y="146"/>
                  </a:lnTo>
                  <a:lnTo>
                    <a:pt x="1910" y="147"/>
                  </a:lnTo>
                  <a:lnTo>
                    <a:pt x="1907" y="149"/>
                  </a:lnTo>
                  <a:lnTo>
                    <a:pt x="1907" y="146"/>
                  </a:lnTo>
                  <a:lnTo>
                    <a:pt x="1909" y="146"/>
                  </a:lnTo>
                  <a:lnTo>
                    <a:pt x="1910" y="145"/>
                  </a:lnTo>
                  <a:lnTo>
                    <a:pt x="1910" y="145"/>
                  </a:lnTo>
                  <a:lnTo>
                    <a:pt x="1911" y="145"/>
                  </a:lnTo>
                  <a:lnTo>
                    <a:pt x="1912" y="144"/>
                  </a:lnTo>
                  <a:lnTo>
                    <a:pt x="1912" y="143"/>
                  </a:lnTo>
                  <a:lnTo>
                    <a:pt x="1912" y="141"/>
                  </a:lnTo>
                  <a:lnTo>
                    <a:pt x="1913" y="141"/>
                  </a:lnTo>
                  <a:lnTo>
                    <a:pt x="1914" y="139"/>
                  </a:lnTo>
                  <a:close/>
                  <a:moveTo>
                    <a:pt x="1970" y="116"/>
                  </a:moveTo>
                  <a:lnTo>
                    <a:pt x="1970" y="116"/>
                  </a:lnTo>
                  <a:lnTo>
                    <a:pt x="1971" y="119"/>
                  </a:lnTo>
                  <a:lnTo>
                    <a:pt x="1974" y="122"/>
                  </a:lnTo>
                  <a:lnTo>
                    <a:pt x="1976" y="125"/>
                  </a:lnTo>
                  <a:lnTo>
                    <a:pt x="1977" y="127"/>
                  </a:lnTo>
                  <a:lnTo>
                    <a:pt x="1980" y="130"/>
                  </a:lnTo>
                  <a:lnTo>
                    <a:pt x="1981" y="134"/>
                  </a:lnTo>
                  <a:lnTo>
                    <a:pt x="1981" y="141"/>
                  </a:lnTo>
                  <a:lnTo>
                    <a:pt x="1981" y="148"/>
                  </a:lnTo>
                  <a:lnTo>
                    <a:pt x="1980" y="148"/>
                  </a:lnTo>
                  <a:lnTo>
                    <a:pt x="1980" y="147"/>
                  </a:lnTo>
                  <a:lnTo>
                    <a:pt x="1979" y="145"/>
                  </a:lnTo>
                  <a:lnTo>
                    <a:pt x="1978" y="143"/>
                  </a:lnTo>
                  <a:lnTo>
                    <a:pt x="1977" y="141"/>
                  </a:lnTo>
                  <a:lnTo>
                    <a:pt x="1976" y="138"/>
                  </a:lnTo>
                  <a:lnTo>
                    <a:pt x="1976" y="136"/>
                  </a:lnTo>
                  <a:lnTo>
                    <a:pt x="1974" y="136"/>
                  </a:lnTo>
                  <a:lnTo>
                    <a:pt x="1972" y="137"/>
                  </a:lnTo>
                  <a:lnTo>
                    <a:pt x="1972" y="139"/>
                  </a:lnTo>
                  <a:lnTo>
                    <a:pt x="1971" y="142"/>
                  </a:lnTo>
                  <a:lnTo>
                    <a:pt x="1971" y="143"/>
                  </a:lnTo>
                  <a:lnTo>
                    <a:pt x="1970" y="147"/>
                  </a:lnTo>
                  <a:lnTo>
                    <a:pt x="1969" y="149"/>
                  </a:lnTo>
                  <a:lnTo>
                    <a:pt x="1969" y="152"/>
                  </a:lnTo>
                  <a:lnTo>
                    <a:pt x="1970" y="154"/>
                  </a:lnTo>
                  <a:lnTo>
                    <a:pt x="1971" y="157"/>
                  </a:lnTo>
                  <a:lnTo>
                    <a:pt x="1971" y="163"/>
                  </a:lnTo>
                  <a:lnTo>
                    <a:pt x="1969" y="169"/>
                  </a:lnTo>
                  <a:lnTo>
                    <a:pt x="1967" y="177"/>
                  </a:lnTo>
                  <a:lnTo>
                    <a:pt x="1966" y="178"/>
                  </a:lnTo>
                  <a:lnTo>
                    <a:pt x="1965" y="179"/>
                  </a:lnTo>
                  <a:lnTo>
                    <a:pt x="1964" y="180"/>
                  </a:lnTo>
                  <a:lnTo>
                    <a:pt x="1963" y="181"/>
                  </a:lnTo>
                  <a:lnTo>
                    <a:pt x="1960" y="181"/>
                  </a:lnTo>
                  <a:lnTo>
                    <a:pt x="1959" y="181"/>
                  </a:lnTo>
                  <a:lnTo>
                    <a:pt x="1959" y="179"/>
                  </a:lnTo>
                  <a:lnTo>
                    <a:pt x="1959" y="177"/>
                  </a:lnTo>
                  <a:lnTo>
                    <a:pt x="1960" y="174"/>
                  </a:lnTo>
                  <a:lnTo>
                    <a:pt x="1963" y="170"/>
                  </a:lnTo>
                  <a:lnTo>
                    <a:pt x="1963" y="166"/>
                  </a:lnTo>
                  <a:lnTo>
                    <a:pt x="1963" y="155"/>
                  </a:lnTo>
                  <a:lnTo>
                    <a:pt x="1961" y="147"/>
                  </a:lnTo>
                  <a:lnTo>
                    <a:pt x="1959" y="142"/>
                  </a:lnTo>
                  <a:lnTo>
                    <a:pt x="1957" y="136"/>
                  </a:lnTo>
                  <a:lnTo>
                    <a:pt x="1956" y="134"/>
                  </a:lnTo>
                  <a:lnTo>
                    <a:pt x="1955" y="132"/>
                  </a:lnTo>
                  <a:lnTo>
                    <a:pt x="1954" y="130"/>
                  </a:lnTo>
                  <a:lnTo>
                    <a:pt x="1953" y="127"/>
                  </a:lnTo>
                  <a:lnTo>
                    <a:pt x="1950" y="126"/>
                  </a:lnTo>
                  <a:lnTo>
                    <a:pt x="1948" y="125"/>
                  </a:lnTo>
                  <a:lnTo>
                    <a:pt x="1946" y="125"/>
                  </a:lnTo>
                  <a:lnTo>
                    <a:pt x="1944" y="125"/>
                  </a:lnTo>
                  <a:lnTo>
                    <a:pt x="1944" y="123"/>
                  </a:lnTo>
                  <a:lnTo>
                    <a:pt x="1947" y="121"/>
                  </a:lnTo>
                  <a:lnTo>
                    <a:pt x="1948" y="122"/>
                  </a:lnTo>
                  <a:lnTo>
                    <a:pt x="1950" y="125"/>
                  </a:lnTo>
                  <a:lnTo>
                    <a:pt x="1953" y="126"/>
                  </a:lnTo>
                  <a:lnTo>
                    <a:pt x="1963" y="121"/>
                  </a:lnTo>
                  <a:lnTo>
                    <a:pt x="1970" y="116"/>
                  </a:lnTo>
                  <a:close/>
                  <a:moveTo>
                    <a:pt x="1923" y="104"/>
                  </a:moveTo>
                  <a:lnTo>
                    <a:pt x="1924" y="105"/>
                  </a:lnTo>
                  <a:lnTo>
                    <a:pt x="1924" y="108"/>
                  </a:lnTo>
                  <a:lnTo>
                    <a:pt x="1924" y="110"/>
                  </a:lnTo>
                  <a:lnTo>
                    <a:pt x="1923" y="113"/>
                  </a:lnTo>
                  <a:lnTo>
                    <a:pt x="1923" y="116"/>
                  </a:lnTo>
                  <a:lnTo>
                    <a:pt x="1922" y="119"/>
                  </a:lnTo>
                  <a:lnTo>
                    <a:pt x="1922" y="121"/>
                  </a:lnTo>
                  <a:lnTo>
                    <a:pt x="1922" y="122"/>
                  </a:lnTo>
                  <a:lnTo>
                    <a:pt x="1922" y="124"/>
                  </a:lnTo>
                  <a:lnTo>
                    <a:pt x="1922" y="126"/>
                  </a:lnTo>
                  <a:lnTo>
                    <a:pt x="1922" y="127"/>
                  </a:lnTo>
                  <a:lnTo>
                    <a:pt x="1921" y="128"/>
                  </a:lnTo>
                  <a:lnTo>
                    <a:pt x="1921" y="128"/>
                  </a:lnTo>
                  <a:lnTo>
                    <a:pt x="1919" y="126"/>
                  </a:lnTo>
                  <a:lnTo>
                    <a:pt x="1919" y="124"/>
                  </a:lnTo>
                  <a:lnTo>
                    <a:pt x="1919" y="121"/>
                  </a:lnTo>
                  <a:lnTo>
                    <a:pt x="1917" y="119"/>
                  </a:lnTo>
                  <a:lnTo>
                    <a:pt x="1917" y="116"/>
                  </a:lnTo>
                  <a:lnTo>
                    <a:pt x="1916" y="114"/>
                  </a:lnTo>
                  <a:lnTo>
                    <a:pt x="1917" y="113"/>
                  </a:lnTo>
                  <a:lnTo>
                    <a:pt x="1919" y="111"/>
                  </a:lnTo>
                  <a:lnTo>
                    <a:pt x="1920" y="110"/>
                  </a:lnTo>
                  <a:lnTo>
                    <a:pt x="1921" y="109"/>
                  </a:lnTo>
                  <a:lnTo>
                    <a:pt x="1922" y="106"/>
                  </a:lnTo>
                  <a:lnTo>
                    <a:pt x="1922" y="104"/>
                  </a:lnTo>
                  <a:lnTo>
                    <a:pt x="1923" y="104"/>
                  </a:lnTo>
                  <a:close/>
                  <a:moveTo>
                    <a:pt x="503" y="89"/>
                  </a:moveTo>
                  <a:lnTo>
                    <a:pt x="506" y="90"/>
                  </a:lnTo>
                  <a:lnTo>
                    <a:pt x="508" y="93"/>
                  </a:lnTo>
                  <a:lnTo>
                    <a:pt x="507" y="97"/>
                  </a:lnTo>
                  <a:lnTo>
                    <a:pt x="507" y="100"/>
                  </a:lnTo>
                  <a:lnTo>
                    <a:pt x="507" y="100"/>
                  </a:lnTo>
                  <a:lnTo>
                    <a:pt x="502" y="98"/>
                  </a:lnTo>
                  <a:lnTo>
                    <a:pt x="493" y="94"/>
                  </a:lnTo>
                  <a:lnTo>
                    <a:pt x="491" y="97"/>
                  </a:lnTo>
                  <a:lnTo>
                    <a:pt x="490" y="95"/>
                  </a:lnTo>
                  <a:lnTo>
                    <a:pt x="494" y="93"/>
                  </a:lnTo>
                  <a:lnTo>
                    <a:pt x="498" y="90"/>
                  </a:lnTo>
                  <a:lnTo>
                    <a:pt x="503" y="89"/>
                  </a:lnTo>
                  <a:close/>
                  <a:moveTo>
                    <a:pt x="2053" y="57"/>
                  </a:moveTo>
                  <a:lnTo>
                    <a:pt x="2052" y="62"/>
                  </a:lnTo>
                  <a:lnTo>
                    <a:pt x="2050" y="70"/>
                  </a:lnTo>
                  <a:lnTo>
                    <a:pt x="2047" y="77"/>
                  </a:lnTo>
                  <a:lnTo>
                    <a:pt x="2046" y="80"/>
                  </a:lnTo>
                  <a:lnTo>
                    <a:pt x="2046" y="82"/>
                  </a:lnTo>
                  <a:lnTo>
                    <a:pt x="2045" y="84"/>
                  </a:lnTo>
                  <a:lnTo>
                    <a:pt x="2045" y="88"/>
                  </a:lnTo>
                  <a:lnTo>
                    <a:pt x="2045" y="90"/>
                  </a:lnTo>
                  <a:lnTo>
                    <a:pt x="2045" y="92"/>
                  </a:lnTo>
                  <a:lnTo>
                    <a:pt x="2046" y="94"/>
                  </a:lnTo>
                  <a:lnTo>
                    <a:pt x="2046" y="98"/>
                  </a:lnTo>
                  <a:lnTo>
                    <a:pt x="2047" y="101"/>
                  </a:lnTo>
                  <a:lnTo>
                    <a:pt x="2046" y="104"/>
                  </a:lnTo>
                  <a:lnTo>
                    <a:pt x="2045" y="108"/>
                  </a:lnTo>
                  <a:lnTo>
                    <a:pt x="2044" y="110"/>
                  </a:lnTo>
                  <a:lnTo>
                    <a:pt x="2043" y="111"/>
                  </a:lnTo>
                  <a:lnTo>
                    <a:pt x="2041" y="111"/>
                  </a:lnTo>
                  <a:lnTo>
                    <a:pt x="2038" y="113"/>
                  </a:lnTo>
                  <a:lnTo>
                    <a:pt x="2036" y="114"/>
                  </a:lnTo>
                  <a:lnTo>
                    <a:pt x="2034" y="115"/>
                  </a:lnTo>
                  <a:lnTo>
                    <a:pt x="2032" y="119"/>
                  </a:lnTo>
                  <a:lnTo>
                    <a:pt x="2031" y="120"/>
                  </a:lnTo>
                  <a:lnTo>
                    <a:pt x="2029" y="120"/>
                  </a:lnTo>
                  <a:lnTo>
                    <a:pt x="2027" y="120"/>
                  </a:lnTo>
                  <a:lnTo>
                    <a:pt x="2025" y="120"/>
                  </a:lnTo>
                  <a:lnTo>
                    <a:pt x="2023" y="121"/>
                  </a:lnTo>
                  <a:lnTo>
                    <a:pt x="2021" y="122"/>
                  </a:lnTo>
                  <a:lnTo>
                    <a:pt x="2020" y="125"/>
                  </a:lnTo>
                  <a:lnTo>
                    <a:pt x="2019" y="128"/>
                  </a:lnTo>
                  <a:lnTo>
                    <a:pt x="2018" y="132"/>
                  </a:lnTo>
                  <a:lnTo>
                    <a:pt x="2016" y="135"/>
                  </a:lnTo>
                  <a:lnTo>
                    <a:pt x="2015" y="137"/>
                  </a:lnTo>
                  <a:lnTo>
                    <a:pt x="2014" y="139"/>
                  </a:lnTo>
                  <a:lnTo>
                    <a:pt x="2012" y="139"/>
                  </a:lnTo>
                  <a:lnTo>
                    <a:pt x="2011" y="142"/>
                  </a:lnTo>
                  <a:lnTo>
                    <a:pt x="2010" y="144"/>
                  </a:lnTo>
                  <a:lnTo>
                    <a:pt x="2010" y="146"/>
                  </a:lnTo>
                  <a:lnTo>
                    <a:pt x="2011" y="147"/>
                  </a:lnTo>
                  <a:lnTo>
                    <a:pt x="2011" y="148"/>
                  </a:lnTo>
                  <a:lnTo>
                    <a:pt x="2012" y="149"/>
                  </a:lnTo>
                  <a:lnTo>
                    <a:pt x="2012" y="150"/>
                  </a:lnTo>
                  <a:lnTo>
                    <a:pt x="2012" y="153"/>
                  </a:lnTo>
                  <a:lnTo>
                    <a:pt x="2012" y="156"/>
                  </a:lnTo>
                  <a:lnTo>
                    <a:pt x="2012" y="158"/>
                  </a:lnTo>
                  <a:lnTo>
                    <a:pt x="2012" y="160"/>
                  </a:lnTo>
                  <a:lnTo>
                    <a:pt x="2012" y="163"/>
                  </a:lnTo>
                  <a:lnTo>
                    <a:pt x="2014" y="165"/>
                  </a:lnTo>
                  <a:lnTo>
                    <a:pt x="2016" y="165"/>
                  </a:lnTo>
                  <a:lnTo>
                    <a:pt x="2018" y="167"/>
                  </a:lnTo>
                  <a:lnTo>
                    <a:pt x="2018" y="170"/>
                  </a:lnTo>
                  <a:lnTo>
                    <a:pt x="2018" y="174"/>
                  </a:lnTo>
                  <a:lnTo>
                    <a:pt x="2018" y="176"/>
                  </a:lnTo>
                  <a:lnTo>
                    <a:pt x="2016" y="178"/>
                  </a:lnTo>
                  <a:lnTo>
                    <a:pt x="2014" y="178"/>
                  </a:lnTo>
                  <a:lnTo>
                    <a:pt x="2013" y="177"/>
                  </a:lnTo>
                  <a:lnTo>
                    <a:pt x="2011" y="177"/>
                  </a:lnTo>
                  <a:lnTo>
                    <a:pt x="2010" y="178"/>
                  </a:lnTo>
                  <a:lnTo>
                    <a:pt x="2009" y="180"/>
                  </a:lnTo>
                  <a:lnTo>
                    <a:pt x="2008" y="182"/>
                  </a:lnTo>
                  <a:lnTo>
                    <a:pt x="2007" y="186"/>
                  </a:lnTo>
                  <a:lnTo>
                    <a:pt x="2005" y="189"/>
                  </a:lnTo>
                  <a:lnTo>
                    <a:pt x="2004" y="191"/>
                  </a:lnTo>
                  <a:lnTo>
                    <a:pt x="2002" y="192"/>
                  </a:lnTo>
                  <a:lnTo>
                    <a:pt x="2000" y="193"/>
                  </a:lnTo>
                  <a:lnTo>
                    <a:pt x="1998" y="192"/>
                  </a:lnTo>
                  <a:lnTo>
                    <a:pt x="1996" y="192"/>
                  </a:lnTo>
                  <a:lnTo>
                    <a:pt x="1994" y="191"/>
                  </a:lnTo>
                  <a:lnTo>
                    <a:pt x="1994" y="189"/>
                  </a:lnTo>
                  <a:lnTo>
                    <a:pt x="1994" y="186"/>
                  </a:lnTo>
                  <a:lnTo>
                    <a:pt x="1994" y="182"/>
                  </a:lnTo>
                  <a:lnTo>
                    <a:pt x="1994" y="179"/>
                  </a:lnTo>
                  <a:lnTo>
                    <a:pt x="1994" y="176"/>
                  </a:lnTo>
                  <a:lnTo>
                    <a:pt x="1994" y="175"/>
                  </a:lnTo>
                  <a:lnTo>
                    <a:pt x="1994" y="172"/>
                  </a:lnTo>
                  <a:lnTo>
                    <a:pt x="1993" y="171"/>
                  </a:lnTo>
                  <a:lnTo>
                    <a:pt x="1992" y="171"/>
                  </a:lnTo>
                  <a:lnTo>
                    <a:pt x="1991" y="171"/>
                  </a:lnTo>
                  <a:lnTo>
                    <a:pt x="1989" y="171"/>
                  </a:lnTo>
                  <a:lnTo>
                    <a:pt x="1988" y="170"/>
                  </a:lnTo>
                  <a:lnTo>
                    <a:pt x="1987" y="169"/>
                  </a:lnTo>
                  <a:lnTo>
                    <a:pt x="1986" y="167"/>
                  </a:lnTo>
                  <a:lnTo>
                    <a:pt x="1985" y="161"/>
                  </a:lnTo>
                  <a:lnTo>
                    <a:pt x="1986" y="154"/>
                  </a:lnTo>
                  <a:lnTo>
                    <a:pt x="1987" y="146"/>
                  </a:lnTo>
                  <a:lnTo>
                    <a:pt x="1988" y="139"/>
                  </a:lnTo>
                  <a:lnTo>
                    <a:pt x="1989" y="136"/>
                  </a:lnTo>
                  <a:lnTo>
                    <a:pt x="1989" y="133"/>
                  </a:lnTo>
                  <a:lnTo>
                    <a:pt x="1989" y="130"/>
                  </a:lnTo>
                  <a:lnTo>
                    <a:pt x="1989" y="127"/>
                  </a:lnTo>
                  <a:lnTo>
                    <a:pt x="1990" y="124"/>
                  </a:lnTo>
                  <a:lnTo>
                    <a:pt x="1990" y="122"/>
                  </a:lnTo>
                  <a:lnTo>
                    <a:pt x="1991" y="120"/>
                  </a:lnTo>
                  <a:lnTo>
                    <a:pt x="1991" y="117"/>
                  </a:lnTo>
                  <a:lnTo>
                    <a:pt x="1991" y="116"/>
                  </a:lnTo>
                  <a:lnTo>
                    <a:pt x="1990" y="113"/>
                  </a:lnTo>
                  <a:lnTo>
                    <a:pt x="1990" y="110"/>
                  </a:lnTo>
                  <a:lnTo>
                    <a:pt x="1989" y="106"/>
                  </a:lnTo>
                  <a:lnTo>
                    <a:pt x="1988" y="104"/>
                  </a:lnTo>
                  <a:lnTo>
                    <a:pt x="1987" y="102"/>
                  </a:lnTo>
                  <a:lnTo>
                    <a:pt x="1985" y="101"/>
                  </a:lnTo>
                  <a:lnTo>
                    <a:pt x="1983" y="99"/>
                  </a:lnTo>
                  <a:lnTo>
                    <a:pt x="1990" y="94"/>
                  </a:lnTo>
                  <a:lnTo>
                    <a:pt x="1991" y="95"/>
                  </a:lnTo>
                  <a:lnTo>
                    <a:pt x="1992" y="98"/>
                  </a:lnTo>
                  <a:lnTo>
                    <a:pt x="1994" y="100"/>
                  </a:lnTo>
                  <a:lnTo>
                    <a:pt x="2053" y="57"/>
                  </a:lnTo>
                  <a:close/>
                  <a:moveTo>
                    <a:pt x="2090" y="28"/>
                  </a:moveTo>
                  <a:lnTo>
                    <a:pt x="2090" y="29"/>
                  </a:lnTo>
                  <a:lnTo>
                    <a:pt x="2090" y="30"/>
                  </a:lnTo>
                  <a:lnTo>
                    <a:pt x="2089" y="32"/>
                  </a:lnTo>
                  <a:lnTo>
                    <a:pt x="2089" y="32"/>
                  </a:lnTo>
                  <a:lnTo>
                    <a:pt x="2089" y="30"/>
                  </a:lnTo>
                  <a:lnTo>
                    <a:pt x="2089" y="33"/>
                  </a:lnTo>
                  <a:lnTo>
                    <a:pt x="2089" y="36"/>
                  </a:lnTo>
                  <a:lnTo>
                    <a:pt x="2090" y="38"/>
                  </a:lnTo>
                  <a:lnTo>
                    <a:pt x="2090" y="40"/>
                  </a:lnTo>
                  <a:lnTo>
                    <a:pt x="2090" y="44"/>
                  </a:lnTo>
                  <a:lnTo>
                    <a:pt x="2089" y="46"/>
                  </a:lnTo>
                  <a:lnTo>
                    <a:pt x="2087" y="48"/>
                  </a:lnTo>
                  <a:lnTo>
                    <a:pt x="2085" y="50"/>
                  </a:lnTo>
                  <a:lnTo>
                    <a:pt x="2085" y="52"/>
                  </a:lnTo>
                  <a:lnTo>
                    <a:pt x="2085" y="55"/>
                  </a:lnTo>
                  <a:lnTo>
                    <a:pt x="2084" y="55"/>
                  </a:lnTo>
                  <a:lnTo>
                    <a:pt x="2084" y="56"/>
                  </a:lnTo>
                  <a:lnTo>
                    <a:pt x="2083" y="55"/>
                  </a:lnTo>
                  <a:lnTo>
                    <a:pt x="2083" y="55"/>
                  </a:lnTo>
                  <a:lnTo>
                    <a:pt x="2081" y="52"/>
                  </a:lnTo>
                  <a:lnTo>
                    <a:pt x="2080" y="50"/>
                  </a:lnTo>
                  <a:lnTo>
                    <a:pt x="2080" y="48"/>
                  </a:lnTo>
                  <a:lnTo>
                    <a:pt x="2080" y="46"/>
                  </a:lnTo>
                  <a:lnTo>
                    <a:pt x="2080" y="45"/>
                  </a:lnTo>
                  <a:lnTo>
                    <a:pt x="2078" y="43"/>
                  </a:lnTo>
                  <a:lnTo>
                    <a:pt x="2077" y="43"/>
                  </a:lnTo>
                  <a:lnTo>
                    <a:pt x="2076" y="43"/>
                  </a:lnTo>
                  <a:lnTo>
                    <a:pt x="2076" y="41"/>
                  </a:lnTo>
                  <a:lnTo>
                    <a:pt x="2075" y="40"/>
                  </a:lnTo>
                  <a:lnTo>
                    <a:pt x="2076" y="40"/>
                  </a:lnTo>
                  <a:lnTo>
                    <a:pt x="2076" y="39"/>
                  </a:lnTo>
                  <a:lnTo>
                    <a:pt x="2076" y="38"/>
                  </a:lnTo>
                  <a:lnTo>
                    <a:pt x="2079" y="35"/>
                  </a:lnTo>
                  <a:lnTo>
                    <a:pt x="2084" y="33"/>
                  </a:lnTo>
                  <a:lnTo>
                    <a:pt x="2086" y="30"/>
                  </a:lnTo>
                  <a:lnTo>
                    <a:pt x="2086" y="32"/>
                  </a:lnTo>
                  <a:lnTo>
                    <a:pt x="2086" y="33"/>
                  </a:lnTo>
                  <a:lnTo>
                    <a:pt x="2086" y="33"/>
                  </a:lnTo>
                  <a:lnTo>
                    <a:pt x="2090" y="29"/>
                  </a:lnTo>
                  <a:lnTo>
                    <a:pt x="2090" y="28"/>
                  </a:lnTo>
                  <a:close/>
                  <a:moveTo>
                    <a:pt x="501" y="1"/>
                  </a:moveTo>
                  <a:lnTo>
                    <a:pt x="498" y="2"/>
                  </a:lnTo>
                  <a:lnTo>
                    <a:pt x="496" y="4"/>
                  </a:lnTo>
                  <a:lnTo>
                    <a:pt x="493" y="6"/>
                  </a:lnTo>
                  <a:lnTo>
                    <a:pt x="491" y="8"/>
                  </a:lnTo>
                  <a:lnTo>
                    <a:pt x="488" y="12"/>
                  </a:lnTo>
                  <a:lnTo>
                    <a:pt x="487" y="14"/>
                  </a:lnTo>
                  <a:lnTo>
                    <a:pt x="487" y="16"/>
                  </a:lnTo>
                  <a:lnTo>
                    <a:pt x="488" y="21"/>
                  </a:lnTo>
                  <a:lnTo>
                    <a:pt x="495" y="24"/>
                  </a:lnTo>
                  <a:lnTo>
                    <a:pt x="502" y="25"/>
                  </a:lnTo>
                  <a:lnTo>
                    <a:pt x="507" y="23"/>
                  </a:lnTo>
                  <a:lnTo>
                    <a:pt x="509" y="15"/>
                  </a:lnTo>
                  <a:lnTo>
                    <a:pt x="507" y="7"/>
                  </a:lnTo>
                  <a:lnTo>
                    <a:pt x="503" y="1"/>
                  </a:lnTo>
                  <a:lnTo>
                    <a:pt x="501" y="1"/>
                  </a:lnTo>
                  <a:close/>
                  <a:moveTo>
                    <a:pt x="2232" y="0"/>
                  </a:moveTo>
                  <a:lnTo>
                    <a:pt x="2232" y="0"/>
                  </a:lnTo>
                  <a:lnTo>
                    <a:pt x="2230" y="1"/>
                  </a:lnTo>
                  <a:lnTo>
                    <a:pt x="2229" y="2"/>
                  </a:lnTo>
                  <a:lnTo>
                    <a:pt x="2228" y="3"/>
                  </a:lnTo>
                  <a:lnTo>
                    <a:pt x="2227" y="4"/>
                  </a:lnTo>
                  <a:lnTo>
                    <a:pt x="2226" y="5"/>
                  </a:lnTo>
                  <a:lnTo>
                    <a:pt x="2223" y="7"/>
                  </a:lnTo>
                  <a:lnTo>
                    <a:pt x="2222" y="11"/>
                  </a:lnTo>
                  <a:lnTo>
                    <a:pt x="2220" y="15"/>
                  </a:lnTo>
                  <a:lnTo>
                    <a:pt x="2220" y="19"/>
                  </a:lnTo>
                  <a:lnTo>
                    <a:pt x="2219" y="24"/>
                  </a:lnTo>
                  <a:lnTo>
                    <a:pt x="2218" y="28"/>
                  </a:lnTo>
                  <a:lnTo>
                    <a:pt x="2218" y="29"/>
                  </a:lnTo>
                  <a:lnTo>
                    <a:pt x="2218" y="33"/>
                  </a:lnTo>
                  <a:lnTo>
                    <a:pt x="2218" y="36"/>
                  </a:lnTo>
                  <a:lnTo>
                    <a:pt x="2219" y="39"/>
                  </a:lnTo>
                  <a:lnTo>
                    <a:pt x="2219" y="41"/>
                  </a:lnTo>
                  <a:lnTo>
                    <a:pt x="2220" y="44"/>
                  </a:lnTo>
                  <a:lnTo>
                    <a:pt x="2222" y="44"/>
                  </a:lnTo>
                  <a:lnTo>
                    <a:pt x="2223" y="43"/>
                  </a:lnTo>
                  <a:lnTo>
                    <a:pt x="2225" y="43"/>
                  </a:lnTo>
                  <a:lnTo>
                    <a:pt x="2226" y="43"/>
                  </a:lnTo>
                  <a:lnTo>
                    <a:pt x="2226" y="43"/>
                  </a:lnTo>
                  <a:lnTo>
                    <a:pt x="2227" y="41"/>
                  </a:lnTo>
                  <a:lnTo>
                    <a:pt x="2228" y="40"/>
                  </a:lnTo>
                  <a:lnTo>
                    <a:pt x="2230" y="38"/>
                  </a:lnTo>
                  <a:lnTo>
                    <a:pt x="2230" y="36"/>
                  </a:lnTo>
                  <a:lnTo>
                    <a:pt x="2231" y="33"/>
                  </a:lnTo>
                  <a:lnTo>
                    <a:pt x="2231" y="30"/>
                  </a:lnTo>
                  <a:lnTo>
                    <a:pt x="2232" y="28"/>
                  </a:lnTo>
                  <a:lnTo>
                    <a:pt x="2233" y="26"/>
                  </a:lnTo>
                  <a:lnTo>
                    <a:pt x="2234" y="23"/>
                  </a:lnTo>
                  <a:lnTo>
                    <a:pt x="2236" y="21"/>
                  </a:lnTo>
                  <a:lnTo>
                    <a:pt x="2236" y="17"/>
                  </a:lnTo>
                  <a:lnTo>
                    <a:pt x="2236" y="15"/>
                  </a:lnTo>
                  <a:lnTo>
                    <a:pt x="2234" y="13"/>
                  </a:lnTo>
                  <a:lnTo>
                    <a:pt x="2234" y="11"/>
                  </a:lnTo>
                  <a:lnTo>
                    <a:pt x="2233" y="8"/>
                  </a:lnTo>
                  <a:lnTo>
                    <a:pt x="2234" y="6"/>
                  </a:lnTo>
                  <a:lnTo>
                    <a:pt x="2236" y="5"/>
                  </a:lnTo>
                  <a:lnTo>
                    <a:pt x="2236" y="3"/>
                  </a:lnTo>
                  <a:lnTo>
                    <a:pt x="2234" y="2"/>
                  </a:lnTo>
                  <a:lnTo>
                    <a:pt x="2233" y="2"/>
                  </a:lnTo>
                  <a:lnTo>
                    <a:pt x="2233" y="1"/>
                  </a:lnTo>
                  <a:lnTo>
                    <a:pt x="2232"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96" name="Freeform 32"/>
            <p:cNvSpPr>
              <a:spLocks noEditPoints="1"/>
            </p:cNvSpPr>
            <p:nvPr/>
          </p:nvSpPr>
          <p:spPr bwMode="auto">
            <a:xfrm>
              <a:off x="5566" y="833"/>
              <a:ext cx="438" cy="180"/>
            </a:xfrm>
            <a:custGeom>
              <a:avLst/>
              <a:gdLst>
                <a:gd name="T0" fmla="*/ 2823 w 3068"/>
                <a:gd name="T1" fmla="*/ 354 h 1258"/>
                <a:gd name="T2" fmla="*/ 2836 w 3068"/>
                <a:gd name="T3" fmla="*/ 404 h 1258"/>
                <a:gd name="T4" fmla="*/ 2846 w 3068"/>
                <a:gd name="T5" fmla="*/ 338 h 1258"/>
                <a:gd name="T6" fmla="*/ 2848 w 3068"/>
                <a:gd name="T7" fmla="*/ 278 h 1258"/>
                <a:gd name="T8" fmla="*/ 2949 w 3068"/>
                <a:gd name="T9" fmla="*/ 250 h 1258"/>
                <a:gd name="T10" fmla="*/ 22 w 3068"/>
                <a:gd name="T11" fmla="*/ 166 h 1258"/>
                <a:gd name="T12" fmla="*/ 924 w 3068"/>
                <a:gd name="T13" fmla="*/ 209 h 1258"/>
                <a:gd name="T14" fmla="*/ 406 w 3068"/>
                <a:gd name="T15" fmla="*/ 176 h 1258"/>
                <a:gd name="T16" fmla="*/ 932 w 3068"/>
                <a:gd name="T17" fmla="*/ 142 h 1258"/>
                <a:gd name="T18" fmla="*/ 948 w 3068"/>
                <a:gd name="T19" fmla="*/ 138 h 1258"/>
                <a:gd name="T20" fmla="*/ 56 w 3068"/>
                <a:gd name="T21" fmla="*/ 136 h 1258"/>
                <a:gd name="T22" fmla="*/ 65 w 3068"/>
                <a:gd name="T23" fmla="*/ 111 h 1258"/>
                <a:gd name="T24" fmla="*/ 108 w 3068"/>
                <a:gd name="T25" fmla="*/ 111 h 1258"/>
                <a:gd name="T26" fmla="*/ 2448 w 3068"/>
                <a:gd name="T27" fmla="*/ 187 h 1258"/>
                <a:gd name="T28" fmla="*/ 2423 w 3068"/>
                <a:gd name="T29" fmla="*/ 126 h 1258"/>
                <a:gd name="T30" fmla="*/ 2442 w 3068"/>
                <a:gd name="T31" fmla="*/ 96 h 1258"/>
                <a:gd name="T32" fmla="*/ 86 w 3068"/>
                <a:gd name="T33" fmla="*/ 104 h 1258"/>
                <a:gd name="T34" fmla="*/ 400 w 3068"/>
                <a:gd name="T35" fmla="*/ 78 h 1258"/>
                <a:gd name="T36" fmla="*/ 369 w 3068"/>
                <a:gd name="T37" fmla="*/ 47 h 1258"/>
                <a:gd name="T38" fmla="*/ 3046 w 3068"/>
                <a:gd name="T39" fmla="*/ 349 h 1258"/>
                <a:gd name="T40" fmla="*/ 2949 w 3068"/>
                <a:gd name="T41" fmla="*/ 602 h 1258"/>
                <a:gd name="T42" fmla="*/ 2915 w 3068"/>
                <a:gd name="T43" fmla="*/ 684 h 1258"/>
                <a:gd name="T44" fmla="*/ 2906 w 3068"/>
                <a:gd name="T45" fmla="*/ 572 h 1258"/>
                <a:gd name="T46" fmla="*/ 2882 w 3068"/>
                <a:gd name="T47" fmla="*/ 538 h 1258"/>
                <a:gd name="T48" fmla="*/ 2834 w 3068"/>
                <a:gd name="T49" fmla="*/ 530 h 1258"/>
                <a:gd name="T50" fmla="*/ 2798 w 3068"/>
                <a:gd name="T51" fmla="*/ 505 h 1258"/>
                <a:gd name="T52" fmla="*/ 2830 w 3068"/>
                <a:gd name="T53" fmla="*/ 546 h 1258"/>
                <a:gd name="T54" fmla="*/ 2830 w 3068"/>
                <a:gd name="T55" fmla="*/ 610 h 1258"/>
                <a:gd name="T56" fmla="*/ 2778 w 3068"/>
                <a:gd name="T57" fmla="*/ 681 h 1258"/>
                <a:gd name="T58" fmla="*/ 2737 w 3068"/>
                <a:gd name="T59" fmla="*/ 689 h 1258"/>
                <a:gd name="T60" fmla="*/ 2719 w 3068"/>
                <a:gd name="T61" fmla="*/ 562 h 1258"/>
                <a:gd name="T62" fmla="*/ 2710 w 3068"/>
                <a:gd name="T63" fmla="*/ 660 h 1258"/>
                <a:gd name="T64" fmla="*/ 2730 w 3068"/>
                <a:gd name="T65" fmla="*/ 732 h 1258"/>
                <a:gd name="T66" fmla="*/ 2761 w 3068"/>
                <a:gd name="T67" fmla="*/ 751 h 1258"/>
                <a:gd name="T68" fmla="*/ 2658 w 3068"/>
                <a:gd name="T69" fmla="*/ 919 h 1258"/>
                <a:gd name="T70" fmla="*/ 2604 w 3068"/>
                <a:gd name="T71" fmla="*/ 1045 h 1258"/>
                <a:gd name="T72" fmla="*/ 2510 w 3068"/>
                <a:gd name="T73" fmla="*/ 1191 h 1258"/>
                <a:gd name="T74" fmla="*/ 2414 w 3068"/>
                <a:gd name="T75" fmla="*/ 1258 h 1258"/>
                <a:gd name="T76" fmla="*/ 2413 w 3068"/>
                <a:gd name="T77" fmla="*/ 1217 h 1258"/>
                <a:gd name="T78" fmla="*/ 2420 w 3068"/>
                <a:gd name="T79" fmla="*/ 1110 h 1258"/>
                <a:gd name="T80" fmla="*/ 2461 w 3068"/>
                <a:gd name="T81" fmla="*/ 1024 h 1258"/>
                <a:gd name="T82" fmla="*/ 2475 w 3068"/>
                <a:gd name="T83" fmla="*/ 912 h 1258"/>
                <a:gd name="T84" fmla="*/ 2430 w 3068"/>
                <a:gd name="T85" fmla="*/ 907 h 1258"/>
                <a:gd name="T86" fmla="*/ 2311 w 3068"/>
                <a:gd name="T87" fmla="*/ 961 h 1258"/>
                <a:gd name="T88" fmla="*/ 2274 w 3068"/>
                <a:gd name="T89" fmla="*/ 914 h 1258"/>
                <a:gd name="T90" fmla="*/ 2294 w 3068"/>
                <a:gd name="T91" fmla="*/ 759 h 1258"/>
                <a:gd name="T92" fmla="*/ 2425 w 3068"/>
                <a:gd name="T93" fmla="*/ 555 h 1258"/>
                <a:gd name="T94" fmla="*/ 2500 w 3068"/>
                <a:gd name="T95" fmla="*/ 500 h 1258"/>
                <a:gd name="T96" fmla="*/ 2563 w 3068"/>
                <a:gd name="T97" fmla="*/ 474 h 1258"/>
                <a:gd name="T98" fmla="*/ 2574 w 3068"/>
                <a:gd name="T99" fmla="*/ 526 h 1258"/>
                <a:gd name="T100" fmla="*/ 2616 w 3068"/>
                <a:gd name="T101" fmla="*/ 556 h 1258"/>
                <a:gd name="T102" fmla="*/ 2667 w 3068"/>
                <a:gd name="T103" fmla="*/ 526 h 1258"/>
                <a:gd name="T104" fmla="*/ 2708 w 3068"/>
                <a:gd name="T105" fmla="*/ 505 h 1258"/>
                <a:gd name="T106" fmla="*/ 2741 w 3068"/>
                <a:gd name="T107" fmla="*/ 436 h 1258"/>
                <a:gd name="T108" fmla="*/ 2695 w 3068"/>
                <a:gd name="T109" fmla="*/ 445 h 1258"/>
                <a:gd name="T110" fmla="*/ 2719 w 3068"/>
                <a:gd name="T111" fmla="*/ 372 h 1258"/>
                <a:gd name="T112" fmla="*/ 2779 w 3068"/>
                <a:gd name="T113" fmla="*/ 338 h 1258"/>
                <a:gd name="T114" fmla="*/ 2768 w 3068"/>
                <a:gd name="T115" fmla="*/ 272 h 1258"/>
                <a:gd name="T116" fmla="*/ 2655 w 3068"/>
                <a:gd name="T117" fmla="*/ 29 h 1258"/>
                <a:gd name="T118" fmla="*/ 2768 w 3068"/>
                <a:gd name="T119" fmla="*/ 13 h 1258"/>
                <a:gd name="T120" fmla="*/ 368 w 3068"/>
                <a:gd name="T121" fmla="*/ 18 h 1258"/>
                <a:gd name="T122" fmla="*/ 182 w 3068"/>
                <a:gd name="T123" fmla="*/ 9 h 1258"/>
                <a:gd name="T124" fmla="*/ 178 w 3068"/>
                <a:gd name="T125" fmla="*/ 1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8" h="1258">
                  <a:moveTo>
                    <a:pt x="2843" y="243"/>
                  </a:moveTo>
                  <a:lnTo>
                    <a:pt x="2840" y="245"/>
                  </a:lnTo>
                  <a:lnTo>
                    <a:pt x="2838" y="246"/>
                  </a:lnTo>
                  <a:lnTo>
                    <a:pt x="2836" y="248"/>
                  </a:lnTo>
                  <a:lnTo>
                    <a:pt x="2836" y="250"/>
                  </a:lnTo>
                  <a:lnTo>
                    <a:pt x="2835" y="252"/>
                  </a:lnTo>
                  <a:lnTo>
                    <a:pt x="2834" y="254"/>
                  </a:lnTo>
                  <a:lnTo>
                    <a:pt x="2832" y="256"/>
                  </a:lnTo>
                  <a:lnTo>
                    <a:pt x="2830" y="257"/>
                  </a:lnTo>
                  <a:lnTo>
                    <a:pt x="2828" y="257"/>
                  </a:lnTo>
                  <a:lnTo>
                    <a:pt x="2827" y="257"/>
                  </a:lnTo>
                  <a:lnTo>
                    <a:pt x="2825" y="257"/>
                  </a:lnTo>
                  <a:lnTo>
                    <a:pt x="2823" y="259"/>
                  </a:lnTo>
                  <a:lnTo>
                    <a:pt x="2822" y="261"/>
                  </a:lnTo>
                  <a:lnTo>
                    <a:pt x="2821" y="264"/>
                  </a:lnTo>
                  <a:lnTo>
                    <a:pt x="2821" y="268"/>
                  </a:lnTo>
                  <a:lnTo>
                    <a:pt x="2819" y="271"/>
                  </a:lnTo>
                  <a:lnTo>
                    <a:pt x="2818" y="274"/>
                  </a:lnTo>
                  <a:lnTo>
                    <a:pt x="2816" y="281"/>
                  </a:lnTo>
                  <a:lnTo>
                    <a:pt x="2815" y="287"/>
                  </a:lnTo>
                  <a:lnTo>
                    <a:pt x="2814" y="296"/>
                  </a:lnTo>
                  <a:lnTo>
                    <a:pt x="2814" y="318"/>
                  </a:lnTo>
                  <a:lnTo>
                    <a:pt x="2815" y="323"/>
                  </a:lnTo>
                  <a:lnTo>
                    <a:pt x="2816" y="327"/>
                  </a:lnTo>
                  <a:lnTo>
                    <a:pt x="2816" y="332"/>
                  </a:lnTo>
                  <a:lnTo>
                    <a:pt x="2817" y="334"/>
                  </a:lnTo>
                  <a:lnTo>
                    <a:pt x="2818" y="336"/>
                  </a:lnTo>
                  <a:lnTo>
                    <a:pt x="2819" y="338"/>
                  </a:lnTo>
                  <a:lnTo>
                    <a:pt x="2821" y="340"/>
                  </a:lnTo>
                  <a:lnTo>
                    <a:pt x="2821" y="349"/>
                  </a:lnTo>
                  <a:lnTo>
                    <a:pt x="2822" y="350"/>
                  </a:lnTo>
                  <a:lnTo>
                    <a:pt x="2823" y="354"/>
                  </a:lnTo>
                  <a:lnTo>
                    <a:pt x="2823" y="357"/>
                  </a:lnTo>
                  <a:lnTo>
                    <a:pt x="2823" y="360"/>
                  </a:lnTo>
                  <a:lnTo>
                    <a:pt x="2822" y="363"/>
                  </a:lnTo>
                  <a:lnTo>
                    <a:pt x="2819" y="367"/>
                  </a:lnTo>
                  <a:lnTo>
                    <a:pt x="2818" y="370"/>
                  </a:lnTo>
                  <a:lnTo>
                    <a:pt x="2818" y="372"/>
                  </a:lnTo>
                  <a:lnTo>
                    <a:pt x="2817" y="377"/>
                  </a:lnTo>
                  <a:lnTo>
                    <a:pt x="2816" y="381"/>
                  </a:lnTo>
                  <a:lnTo>
                    <a:pt x="2816" y="385"/>
                  </a:lnTo>
                  <a:lnTo>
                    <a:pt x="2816" y="388"/>
                  </a:lnTo>
                  <a:lnTo>
                    <a:pt x="2815" y="391"/>
                  </a:lnTo>
                  <a:lnTo>
                    <a:pt x="2815" y="393"/>
                  </a:lnTo>
                  <a:lnTo>
                    <a:pt x="2816" y="396"/>
                  </a:lnTo>
                  <a:lnTo>
                    <a:pt x="2816" y="398"/>
                  </a:lnTo>
                  <a:lnTo>
                    <a:pt x="2817" y="398"/>
                  </a:lnTo>
                  <a:lnTo>
                    <a:pt x="2817" y="398"/>
                  </a:lnTo>
                  <a:lnTo>
                    <a:pt x="2818" y="399"/>
                  </a:lnTo>
                  <a:lnTo>
                    <a:pt x="2818" y="399"/>
                  </a:lnTo>
                  <a:lnTo>
                    <a:pt x="2821" y="401"/>
                  </a:lnTo>
                  <a:lnTo>
                    <a:pt x="2822" y="403"/>
                  </a:lnTo>
                  <a:lnTo>
                    <a:pt x="2823" y="405"/>
                  </a:lnTo>
                  <a:lnTo>
                    <a:pt x="2823" y="409"/>
                  </a:lnTo>
                  <a:lnTo>
                    <a:pt x="2823" y="410"/>
                  </a:lnTo>
                  <a:lnTo>
                    <a:pt x="2824" y="411"/>
                  </a:lnTo>
                  <a:lnTo>
                    <a:pt x="2825" y="412"/>
                  </a:lnTo>
                  <a:lnTo>
                    <a:pt x="2826" y="413"/>
                  </a:lnTo>
                  <a:lnTo>
                    <a:pt x="2828" y="412"/>
                  </a:lnTo>
                  <a:lnTo>
                    <a:pt x="2829" y="410"/>
                  </a:lnTo>
                  <a:lnTo>
                    <a:pt x="2832" y="407"/>
                  </a:lnTo>
                  <a:lnTo>
                    <a:pt x="2834" y="405"/>
                  </a:lnTo>
                  <a:lnTo>
                    <a:pt x="2835" y="405"/>
                  </a:lnTo>
                  <a:lnTo>
                    <a:pt x="2836" y="404"/>
                  </a:lnTo>
                  <a:lnTo>
                    <a:pt x="2837" y="404"/>
                  </a:lnTo>
                  <a:lnTo>
                    <a:pt x="2838" y="403"/>
                  </a:lnTo>
                  <a:lnTo>
                    <a:pt x="2839" y="402"/>
                  </a:lnTo>
                  <a:lnTo>
                    <a:pt x="2840" y="401"/>
                  </a:lnTo>
                  <a:lnTo>
                    <a:pt x="2840" y="400"/>
                  </a:lnTo>
                  <a:lnTo>
                    <a:pt x="2840" y="396"/>
                  </a:lnTo>
                  <a:lnTo>
                    <a:pt x="2841" y="382"/>
                  </a:lnTo>
                  <a:lnTo>
                    <a:pt x="2843" y="368"/>
                  </a:lnTo>
                  <a:lnTo>
                    <a:pt x="2843" y="366"/>
                  </a:lnTo>
                  <a:lnTo>
                    <a:pt x="2843" y="363"/>
                  </a:lnTo>
                  <a:lnTo>
                    <a:pt x="2843" y="361"/>
                  </a:lnTo>
                  <a:lnTo>
                    <a:pt x="2841" y="360"/>
                  </a:lnTo>
                  <a:lnTo>
                    <a:pt x="2840" y="360"/>
                  </a:lnTo>
                  <a:lnTo>
                    <a:pt x="2839" y="359"/>
                  </a:lnTo>
                  <a:lnTo>
                    <a:pt x="2838" y="358"/>
                  </a:lnTo>
                  <a:lnTo>
                    <a:pt x="2838" y="356"/>
                  </a:lnTo>
                  <a:lnTo>
                    <a:pt x="2838" y="354"/>
                  </a:lnTo>
                  <a:lnTo>
                    <a:pt x="2838" y="351"/>
                  </a:lnTo>
                  <a:lnTo>
                    <a:pt x="2839" y="350"/>
                  </a:lnTo>
                  <a:lnTo>
                    <a:pt x="2839" y="350"/>
                  </a:lnTo>
                  <a:lnTo>
                    <a:pt x="2840" y="350"/>
                  </a:lnTo>
                  <a:lnTo>
                    <a:pt x="2840" y="351"/>
                  </a:lnTo>
                  <a:lnTo>
                    <a:pt x="2843" y="351"/>
                  </a:lnTo>
                  <a:lnTo>
                    <a:pt x="2844" y="351"/>
                  </a:lnTo>
                  <a:lnTo>
                    <a:pt x="2846" y="351"/>
                  </a:lnTo>
                  <a:lnTo>
                    <a:pt x="2847" y="351"/>
                  </a:lnTo>
                  <a:lnTo>
                    <a:pt x="2848" y="349"/>
                  </a:lnTo>
                  <a:lnTo>
                    <a:pt x="2848" y="347"/>
                  </a:lnTo>
                  <a:lnTo>
                    <a:pt x="2848" y="344"/>
                  </a:lnTo>
                  <a:lnTo>
                    <a:pt x="2847" y="341"/>
                  </a:lnTo>
                  <a:lnTo>
                    <a:pt x="2847" y="340"/>
                  </a:lnTo>
                  <a:lnTo>
                    <a:pt x="2846" y="338"/>
                  </a:lnTo>
                  <a:lnTo>
                    <a:pt x="2846" y="336"/>
                  </a:lnTo>
                  <a:lnTo>
                    <a:pt x="2845" y="334"/>
                  </a:lnTo>
                  <a:lnTo>
                    <a:pt x="2844" y="333"/>
                  </a:lnTo>
                  <a:lnTo>
                    <a:pt x="2843" y="333"/>
                  </a:lnTo>
                  <a:lnTo>
                    <a:pt x="2840" y="334"/>
                  </a:lnTo>
                  <a:lnTo>
                    <a:pt x="2839" y="333"/>
                  </a:lnTo>
                  <a:lnTo>
                    <a:pt x="2839" y="332"/>
                  </a:lnTo>
                  <a:lnTo>
                    <a:pt x="2839" y="329"/>
                  </a:lnTo>
                  <a:lnTo>
                    <a:pt x="2839" y="327"/>
                  </a:lnTo>
                  <a:lnTo>
                    <a:pt x="2840" y="325"/>
                  </a:lnTo>
                  <a:lnTo>
                    <a:pt x="2840" y="323"/>
                  </a:lnTo>
                  <a:lnTo>
                    <a:pt x="2840" y="321"/>
                  </a:lnTo>
                  <a:lnTo>
                    <a:pt x="2840" y="318"/>
                  </a:lnTo>
                  <a:lnTo>
                    <a:pt x="2839" y="316"/>
                  </a:lnTo>
                  <a:lnTo>
                    <a:pt x="2837" y="315"/>
                  </a:lnTo>
                  <a:lnTo>
                    <a:pt x="2836" y="314"/>
                  </a:lnTo>
                  <a:lnTo>
                    <a:pt x="2836" y="312"/>
                  </a:lnTo>
                  <a:lnTo>
                    <a:pt x="2836" y="301"/>
                  </a:lnTo>
                  <a:lnTo>
                    <a:pt x="2836" y="298"/>
                  </a:lnTo>
                  <a:lnTo>
                    <a:pt x="2835" y="296"/>
                  </a:lnTo>
                  <a:lnTo>
                    <a:pt x="2834" y="294"/>
                  </a:lnTo>
                  <a:lnTo>
                    <a:pt x="2834" y="290"/>
                  </a:lnTo>
                  <a:lnTo>
                    <a:pt x="2835" y="285"/>
                  </a:lnTo>
                  <a:lnTo>
                    <a:pt x="2837" y="282"/>
                  </a:lnTo>
                  <a:lnTo>
                    <a:pt x="2838" y="279"/>
                  </a:lnTo>
                  <a:lnTo>
                    <a:pt x="2839" y="276"/>
                  </a:lnTo>
                  <a:lnTo>
                    <a:pt x="2841" y="274"/>
                  </a:lnTo>
                  <a:lnTo>
                    <a:pt x="2843" y="274"/>
                  </a:lnTo>
                  <a:lnTo>
                    <a:pt x="2845" y="274"/>
                  </a:lnTo>
                  <a:lnTo>
                    <a:pt x="2847" y="276"/>
                  </a:lnTo>
                  <a:lnTo>
                    <a:pt x="2847" y="276"/>
                  </a:lnTo>
                  <a:lnTo>
                    <a:pt x="2848" y="278"/>
                  </a:lnTo>
                  <a:lnTo>
                    <a:pt x="2849" y="278"/>
                  </a:lnTo>
                  <a:lnTo>
                    <a:pt x="2850" y="279"/>
                  </a:lnTo>
                  <a:lnTo>
                    <a:pt x="2851" y="278"/>
                  </a:lnTo>
                  <a:lnTo>
                    <a:pt x="2851" y="276"/>
                  </a:lnTo>
                  <a:lnTo>
                    <a:pt x="2851" y="272"/>
                  </a:lnTo>
                  <a:lnTo>
                    <a:pt x="2850" y="268"/>
                  </a:lnTo>
                  <a:lnTo>
                    <a:pt x="2849" y="263"/>
                  </a:lnTo>
                  <a:lnTo>
                    <a:pt x="2847" y="256"/>
                  </a:lnTo>
                  <a:lnTo>
                    <a:pt x="2845" y="248"/>
                  </a:lnTo>
                  <a:lnTo>
                    <a:pt x="2843" y="243"/>
                  </a:lnTo>
                  <a:close/>
                  <a:moveTo>
                    <a:pt x="2956" y="241"/>
                  </a:moveTo>
                  <a:lnTo>
                    <a:pt x="2953" y="241"/>
                  </a:lnTo>
                  <a:lnTo>
                    <a:pt x="2950" y="242"/>
                  </a:lnTo>
                  <a:lnTo>
                    <a:pt x="2948" y="243"/>
                  </a:lnTo>
                  <a:lnTo>
                    <a:pt x="2947" y="247"/>
                  </a:lnTo>
                  <a:lnTo>
                    <a:pt x="2946" y="250"/>
                  </a:lnTo>
                  <a:lnTo>
                    <a:pt x="2945" y="252"/>
                  </a:lnTo>
                  <a:lnTo>
                    <a:pt x="2944" y="254"/>
                  </a:lnTo>
                  <a:lnTo>
                    <a:pt x="2944" y="258"/>
                  </a:lnTo>
                  <a:lnTo>
                    <a:pt x="2944" y="261"/>
                  </a:lnTo>
                  <a:lnTo>
                    <a:pt x="2944" y="264"/>
                  </a:lnTo>
                  <a:lnTo>
                    <a:pt x="2944" y="268"/>
                  </a:lnTo>
                  <a:lnTo>
                    <a:pt x="2945" y="267"/>
                  </a:lnTo>
                  <a:lnTo>
                    <a:pt x="2945" y="265"/>
                  </a:lnTo>
                  <a:lnTo>
                    <a:pt x="2945" y="263"/>
                  </a:lnTo>
                  <a:lnTo>
                    <a:pt x="2946" y="260"/>
                  </a:lnTo>
                  <a:lnTo>
                    <a:pt x="2946" y="258"/>
                  </a:lnTo>
                  <a:lnTo>
                    <a:pt x="2946" y="257"/>
                  </a:lnTo>
                  <a:lnTo>
                    <a:pt x="2947" y="256"/>
                  </a:lnTo>
                  <a:lnTo>
                    <a:pt x="2948" y="253"/>
                  </a:lnTo>
                  <a:lnTo>
                    <a:pt x="2949" y="251"/>
                  </a:lnTo>
                  <a:lnTo>
                    <a:pt x="2949" y="250"/>
                  </a:lnTo>
                  <a:lnTo>
                    <a:pt x="2950" y="250"/>
                  </a:lnTo>
                  <a:lnTo>
                    <a:pt x="2953" y="249"/>
                  </a:lnTo>
                  <a:lnTo>
                    <a:pt x="2955" y="248"/>
                  </a:lnTo>
                  <a:lnTo>
                    <a:pt x="2958" y="247"/>
                  </a:lnTo>
                  <a:lnTo>
                    <a:pt x="2959" y="246"/>
                  </a:lnTo>
                  <a:lnTo>
                    <a:pt x="2960" y="246"/>
                  </a:lnTo>
                  <a:lnTo>
                    <a:pt x="2960" y="246"/>
                  </a:lnTo>
                  <a:lnTo>
                    <a:pt x="2961" y="245"/>
                  </a:lnTo>
                  <a:lnTo>
                    <a:pt x="2963" y="243"/>
                  </a:lnTo>
                  <a:lnTo>
                    <a:pt x="2960" y="245"/>
                  </a:lnTo>
                  <a:lnTo>
                    <a:pt x="2959" y="243"/>
                  </a:lnTo>
                  <a:lnTo>
                    <a:pt x="2958" y="242"/>
                  </a:lnTo>
                  <a:lnTo>
                    <a:pt x="2957" y="241"/>
                  </a:lnTo>
                  <a:lnTo>
                    <a:pt x="2956" y="241"/>
                  </a:lnTo>
                  <a:close/>
                  <a:moveTo>
                    <a:pt x="0" y="174"/>
                  </a:moveTo>
                  <a:lnTo>
                    <a:pt x="2" y="174"/>
                  </a:lnTo>
                  <a:lnTo>
                    <a:pt x="4" y="175"/>
                  </a:lnTo>
                  <a:lnTo>
                    <a:pt x="4" y="176"/>
                  </a:lnTo>
                  <a:lnTo>
                    <a:pt x="4" y="178"/>
                  </a:lnTo>
                  <a:lnTo>
                    <a:pt x="3" y="180"/>
                  </a:lnTo>
                  <a:lnTo>
                    <a:pt x="2" y="181"/>
                  </a:lnTo>
                  <a:lnTo>
                    <a:pt x="1" y="182"/>
                  </a:lnTo>
                  <a:lnTo>
                    <a:pt x="0" y="183"/>
                  </a:lnTo>
                  <a:lnTo>
                    <a:pt x="0" y="183"/>
                  </a:lnTo>
                  <a:lnTo>
                    <a:pt x="0" y="174"/>
                  </a:lnTo>
                  <a:close/>
                  <a:moveTo>
                    <a:pt x="17" y="165"/>
                  </a:moveTo>
                  <a:lnTo>
                    <a:pt x="28" y="165"/>
                  </a:lnTo>
                  <a:lnTo>
                    <a:pt x="28" y="166"/>
                  </a:lnTo>
                  <a:lnTo>
                    <a:pt x="26" y="167"/>
                  </a:lnTo>
                  <a:lnTo>
                    <a:pt x="25" y="167"/>
                  </a:lnTo>
                  <a:lnTo>
                    <a:pt x="24" y="167"/>
                  </a:lnTo>
                  <a:lnTo>
                    <a:pt x="22" y="166"/>
                  </a:lnTo>
                  <a:lnTo>
                    <a:pt x="21" y="166"/>
                  </a:lnTo>
                  <a:lnTo>
                    <a:pt x="19" y="167"/>
                  </a:lnTo>
                  <a:lnTo>
                    <a:pt x="18" y="169"/>
                  </a:lnTo>
                  <a:lnTo>
                    <a:pt x="17" y="170"/>
                  </a:lnTo>
                  <a:lnTo>
                    <a:pt x="15" y="172"/>
                  </a:lnTo>
                  <a:lnTo>
                    <a:pt x="14" y="173"/>
                  </a:lnTo>
                  <a:lnTo>
                    <a:pt x="13" y="172"/>
                  </a:lnTo>
                  <a:lnTo>
                    <a:pt x="12" y="171"/>
                  </a:lnTo>
                  <a:lnTo>
                    <a:pt x="12" y="170"/>
                  </a:lnTo>
                  <a:lnTo>
                    <a:pt x="13" y="169"/>
                  </a:lnTo>
                  <a:lnTo>
                    <a:pt x="15" y="167"/>
                  </a:lnTo>
                  <a:lnTo>
                    <a:pt x="17" y="166"/>
                  </a:lnTo>
                  <a:lnTo>
                    <a:pt x="17" y="165"/>
                  </a:lnTo>
                  <a:close/>
                  <a:moveTo>
                    <a:pt x="908" y="161"/>
                  </a:moveTo>
                  <a:lnTo>
                    <a:pt x="904" y="161"/>
                  </a:lnTo>
                  <a:lnTo>
                    <a:pt x="901" y="163"/>
                  </a:lnTo>
                  <a:lnTo>
                    <a:pt x="901" y="167"/>
                  </a:lnTo>
                  <a:lnTo>
                    <a:pt x="902" y="171"/>
                  </a:lnTo>
                  <a:lnTo>
                    <a:pt x="903" y="172"/>
                  </a:lnTo>
                  <a:lnTo>
                    <a:pt x="905" y="174"/>
                  </a:lnTo>
                  <a:lnTo>
                    <a:pt x="908" y="175"/>
                  </a:lnTo>
                  <a:lnTo>
                    <a:pt x="910" y="176"/>
                  </a:lnTo>
                  <a:lnTo>
                    <a:pt x="914" y="178"/>
                  </a:lnTo>
                  <a:lnTo>
                    <a:pt x="915" y="181"/>
                  </a:lnTo>
                  <a:lnTo>
                    <a:pt x="916" y="183"/>
                  </a:lnTo>
                  <a:lnTo>
                    <a:pt x="917" y="186"/>
                  </a:lnTo>
                  <a:lnTo>
                    <a:pt x="917" y="188"/>
                  </a:lnTo>
                  <a:lnTo>
                    <a:pt x="918" y="192"/>
                  </a:lnTo>
                  <a:lnTo>
                    <a:pt x="919" y="195"/>
                  </a:lnTo>
                  <a:lnTo>
                    <a:pt x="920" y="201"/>
                  </a:lnTo>
                  <a:lnTo>
                    <a:pt x="921" y="206"/>
                  </a:lnTo>
                  <a:lnTo>
                    <a:pt x="924" y="209"/>
                  </a:lnTo>
                  <a:lnTo>
                    <a:pt x="925" y="209"/>
                  </a:lnTo>
                  <a:lnTo>
                    <a:pt x="926" y="204"/>
                  </a:lnTo>
                  <a:lnTo>
                    <a:pt x="926" y="197"/>
                  </a:lnTo>
                  <a:lnTo>
                    <a:pt x="925" y="192"/>
                  </a:lnTo>
                  <a:lnTo>
                    <a:pt x="926" y="182"/>
                  </a:lnTo>
                  <a:lnTo>
                    <a:pt x="925" y="172"/>
                  </a:lnTo>
                  <a:lnTo>
                    <a:pt x="923" y="169"/>
                  </a:lnTo>
                  <a:lnTo>
                    <a:pt x="918" y="165"/>
                  </a:lnTo>
                  <a:lnTo>
                    <a:pt x="914" y="162"/>
                  </a:lnTo>
                  <a:lnTo>
                    <a:pt x="908" y="161"/>
                  </a:lnTo>
                  <a:close/>
                  <a:moveTo>
                    <a:pt x="401" y="148"/>
                  </a:moveTo>
                  <a:lnTo>
                    <a:pt x="402" y="149"/>
                  </a:lnTo>
                  <a:lnTo>
                    <a:pt x="403" y="149"/>
                  </a:lnTo>
                  <a:lnTo>
                    <a:pt x="405" y="150"/>
                  </a:lnTo>
                  <a:lnTo>
                    <a:pt x="406" y="151"/>
                  </a:lnTo>
                  <a:lnTo>
                    <a:pt x="407" y="152"/>
                  </a:lnTo>
                  <a:lnTo>
                    <a:pt x="408" y="152"/>
                  </a:lnTo>
                  <a:lnTo>
                    <a:pt x="408" y="155"/>
                  </a:lnTo>
                  <a:lnTo>
                    <a:pt x="408" y="156"/>
                  </a:lnTo>
                  <a:lnTo>
                    <a:pt x="407" y="158"/>
                  </a:lnTo>
                  <a:lnTo>
                    <a:pt x="406" y="159"/>
                  </a:lnTo>
                  <a:lnTo>
                    <a:pt x="406" y="160"/>
                  </a:lnTo>
                  <a:lnTo>
                    <a:pt x="406" y="161"/>
                  </a:lnTo>
                  <a:lnTo>
                    <a:pt x="406" y="163"/>
                  </a:lnTo>
                  <a:lnTo>
                    <a:pt x="407" y="165"/>
                  </a:lnTo>
                  <a:lnTo>
                    <a:pt x="410" y="169"/>
                  </a:lnTo>
                  <a:lnTo>
                    <a:pt x="412" y="174"/>
                  </a:lnTo>
                  <a:lnTo>
                    <a:pt x="413" y="177"/>
                  </a:lnTo>
                  <a:lnTo>
                    <a:pt x="412" y="181"/>
                  </a:lnTo>
                  <a:lnTo>
                    <a:pt x="410" y="182"/>
                  </a:lnTo>
                  <a:lnTo>
                    <a:pt x="407" y="180"/>
                  </a:lnTo>
                  <a:lnTo>
                    <a:pt x="406" y="176"/>
                  </a:lnTo>
                  <a:lnTo>
                    <a:pt x="405" y="173"/>
                  </a:lnTo>
                  <a:lnTo>
                    <a:pt x="404" y="169"/>
                  </a:lnTo>
                  <a:lnTo>
                    <a:pt x="403" y="165"/>
                  </a:lnTo>
                  <a:lnTo>
                    <a:pt x="402" y="163"/>
                  </a:lnTo>
                  <a:lnTo>
                    <a:pt x="401" y="160"/>
                  </a:lnTo>
                  <a:lnTo>
                    <a:pt x="399" y="156"/>
                  </a:lnTo>
                  <a:lnTo>
                    <a:pt x="399" y="154"/>
                  </a:lnTo>
                  <a:lnTo>
                    <a:pt x="400" y="153"/>
                  </a:lnTo>
                  <a:lnTo>
                    <a:pt x="400" y="152"/>
                  </a:lnTo>
                  <a:lnTo>
                    <a:pt x="401" y="151"/>
                  </a:lnTo>
                  <a:lnTo>
                    <a:pt x="401" y="149"/>
                  </a:lnTo>
                  <a:lnTo>
                    <a:pt x="401" y="148"/>
                  </a:lnTo>
                  <a:close/>
                  <a:moveTo>
                    <a:pt x="40" y="141"/>
                  </a:moveTo>
                  <a:lnTo>
                    <a:pt x="41" y="142"/>
                  </a:lnTo>
                  <a:lnTo>
                    <a:pt x="42" y="143"/>
                  </a:lnTo>
                  <a:lnTo>
                    <a:pt x="43" y="144"/>
                  </a:lnTo>
                  <a:lnTo>
                    <a:pt x="43" y="147"/>
                  </a:lnTo>
                  <a:lnTo>
                    <a:pt x="43" y="148"/>
                  </a:lnTo>
                  <a:lnTo>
                    <a:pt x="44" y="149"/>
                  </a:lnTo>
                  <a:lnTo>
                    <a:pt x="44" y="150"/>
                  </a:lnTo>
                  <a:lnTo>
                    <a:pt x="43" y="151"/>
                  </a:lnTo>
                  <a:lnTo>
                    <a:pt x="42" y="151"/>
                  </a:lnTo>
                  <a:lnTo>
                    <a:pt x="41" y="151"/>
                  </a:lnTo>
                  <a:lnTo>
                    <a:pt x="40" y="151"/>
                  </a:lnTo>
                  <a:lnTo>
                    <a:pt x="39" y="150"/>
                  </a:lnTo>
                  <a:lnTo>
                    <a:pt x="37" y="148"/>
                  </a:lnTo>
                  <a:lnTo>
                    <a:pt x="37" y="145"/>
                  </a:lnTo>
                  <a:lnTo>
                    <a:pt x="39" y="142"/>
                  </a:lnTo>
                  <a:lnTo>
                    <a:pt x="40" y="141"/>
                  </a:lnTo>
                  <a:close/>
                  <a:moveTo>
                    <a:pt x="941" y="138"/>
                  </a:moveTo>
                  <a:lnTo>
                    <a:pt x="936" y="139"/>
                  </a:lnTo>
                  <a:lnTo>
                    <a:pt x="932" y="142"/>
                  </a:lnTo>
                  <a:lnTo>
                    <a:pt x="931" y="148"/>
                  </a:lnTo>
                  <a:lnTo>
                    <a:pt x="932" y="151"/>
                  </a:lnTo>
                  <a:lnTo>
                    <a:pt x="934" y="154"/>
                  </a:lnTo>
                  <a:lnTo>
                    <a:pt x="936" y="156"/>
                  </a:lnTo>
                  <a:lnTo>
                    <a:pt x="938" y="159"/>
                  </a:lnTo>
                  <a:lnTo>
                    <a:pt x="941" y="161"/>
                  </a:lnTo>
                  <a:lnTo>
                    <a:pt x="943" y="162"/>
                  </a:lnTo>
                  <a:lnTo>
                    <a:pt x="945" y="163"/>
                  </a:lnTo>
                  <a:lnTo>
                    <a:pt x="945" y="164"/>
                  </a:lnTo>
                  <a:lnTo>
                    <a:pt x="945" y="166"/>
                  </a:lnTo>
                  <a:lnTo>
                    <a:pt x="945" y="170"/>
                  </a:lnTo>
                  <a:lnTo>
                    <a:pt x="947" y="178"/>
                  </a:lnTo>
                  <a:lnTo>
                    <a:pt x="952" y="187"/>
                  </a:lnTo>
                  <a:lnTo>
                    <a:pt x="958" y="194"/>
                  </a:lnTo>
                  <a:lnTo>
                    <a:pt x="961" y="197"/>
                  </a:lnTo>
                  <a:lnTo>
                    <a:pt x="967" y="202"/>
                  </a:lnTo>
                  <a:lnTo>
                    <a:pt x="972" y="207"/>
                  </a:lnTo>
                  <a:lnTo>
                    <a:pt x="978" y="210"/>
                  </a:lnTo>
                  <a:lnTo>
                    <a:pt x="980" y="212"/>
                  </a:lnTo>
                  <a:lnTo>
                    <a:pt x="981" y="208"/>
                  </a:lnTo>
                  <a:lnTo>
                    <a:pt x="980" y="203"/>
                  </a:lnTo>
                  <a:lnTo>
                    <a:pt x="978" y="196"/>
                  </a:lnTo>
                  <a:lnTo>
                    <a:pt x="975" y="192"/>
                  </a:lnTo>
                  <a:lnTo>
                    <a:pt x="973" y="187"/>
                  </a:lnTo>
                  <a:lnTo>
                    <a:pt x="972" y="180"/>
                  </a:lnTo>
                  <a:lnTo>
                    <a:pt x="971" y="170"/>
                  </a:lnTo>
                  <a:lnTo>
                    <a:pt x="971" y="160"/>
                  </a:lnTo>
                  <a:lnTo>
                    <a:pt x="969" y="151"/>
                  </a:lnTo>
                  <a:lnTo>
                    <a:pt x="966" y="143"/>
                  </a:lnTo>
                  <a:lnTo>
                    <a:pt x="958" y="139"/>
                  </a:lnTo>
                  <a:lnTo>
                    <a:pt x="953" y="139"/>
                  </a:lnTo>
                  <a:lnTo>
                    <a:pt x="948" y="138"/>
                  </a:lnTo>
                  <a:lnTo>
                    <a:pt x="941" y="138"/>
                  </a:lnTo>
                  <a:close/>
                  <a:moveTo>
                    <a:pt x="58" y="128"/>
                  </a:moveTo>
                  <a:lnTo>
                    <a:pt x="61" y="128"/>
                  </a:lnTo>
                  <a:lnTo>
                    <a:pt x="63" y="130"/>
                  </a:lnTo>
                  <a:lnTo>
                    <a:pt x="65" y="133"/>
                  </a:lnTo>
                  <a:lnTo>
                    <a:pt x="65" y="133"/>
                  </a:lnTo>
                  <a:lnTo>
                    <a:pt x="64" y="134"/>
                  </a:lnTo>
                  <a:lnTo>
                    <a:pt x="62" y="137"/>
                  </a:lnTo>
                  <a:lnTo>
                    <a:pt x="59" y="138"/>
                  </a:lnTo>
                  <a:lnTo>
                    <a:pt x="58" y="139"/>
                  </a:lnTo>
                  <a:lnTo>
                    <a:pt x="56" y="140"/>
                  </a:lnTo>
                  <a:lnTo>
                    <a:pt x="55" y="140"/>
                  </a:lnTo>
                  <a:lnTo>
                    <a:pt x="55" y="140"/>
                  </a:lnTo>
                  <a:lnTo>
                    <a:pt x="54" y="140"/>
                  </a:lnTo>
                  <a:lnTo>
                    <a:pt x="53" y="141"/>
                  </a:lnTo>
                  <a:lnTo>
                    <a:pt x="53" y="143"/>
                  </a:lnTo>
                  <a:lnTo>
                    <a:pt x="52" y="144"/>
                  </a:lnTo>
                  <a:lnTo>
                    <a:pt x="51" y="144"/>
                  </a:lnTo>
                  <a:lnTo>
                    <a:pt x="50" y="144"/>
                  </a:lnTo>
                  <a:lnTo>
                    <a:pt x="48" y="143"/>
                  </a:lnTo>
                  <a:lnTo>
                    <a:pt x="47" y="141"/>
                  </a:lnTo>
                  <a:lnTo>
                    <a:pt x="47" y="140"/>
                  </a:lnTo>
                  <a:lnTo>
                    <a:pt x="48" y="138"/>
                  </a:lnTo>
                  <a:lnTo>
                    <a:pt x="48" y="137"/>
                  </a:lnTo>
                  <a:lnTo>
                    <a:pt x="50" y="136"/>
                  </a:lnTo>
                  <a:lnTo>
                    <a:pt x="51" y="136"/>
                  </a:lnTo>
                  <a:lnTo>
                    <a:pt x="52" y="136"/>
                  </a:lnTo>
                  <a:lnTo>
                    <a:pt x="53" y="137"/>
                  </a:lnTo>
                  <a:lnTo>
                    <a:pt x="53" y="137"/>
                  </a:lnTo>
                  <a:lnTo>
                    <a:pt x="54" y="137"/>
                  </a:lnTo>
                  <a:lnTo>
                    <a:pt x="55" y="136"/>
                  </a:lnTo>
                  <a:lnTo>
                    <a:pt x="56" y="136"/>
                  </a:lnTo>
                  <a:lnTo>
                    <a:pt x="57" y="136"/>
                  </a:lnTo>
                  <a:lnTo>
                    <a:pt x="57" y="134"/>
                  </a:lnTo>
                  <a:lnTo>
                    <a:pt x="56" y="133"/>
                  </a:lnTo>
                  <a:lnTo>
                    <a:pt x="55" y="131"/>
                  </a:lnTo>
                  <a:lnTo>
                    <a:pt x="56" y="130"/>
                  </a:lnTo>
                  <a:lnTo>
                    <a:pt x="57" y="128"/>
                  </a:lnTo>
                  <a:lnTo>
                    <a:pt x="58" y="128"/>
                  </a:lnTo>
                  <a:close/>
                  <a:moveTo>
                    <a:pt x="73" y="110"/>
                  </a:moveTo>
                  <a:lnTo>
                    <a:pt x="75" y="110"/>
                  </a:lnTo>
                  <a:lnTo>
                    <a:pt x="77" y="110"/>
                  </a:lnTo>
                  <a:lnTo>
                    <a:pt x="77" y="111"/>
                  </a:lnTo>
                  <a:lnTo>
                    <a:pt x="79" y="112"/>
                  </a:lnTo>
                  <a:lnTo>
                    <a:pt x="82" y="114"/>
                  </a:lnTo>
                  <a:lnTo>
                    <a:pt x="82" y="116"/>
                  </a:lnTo>
                  <a:lnTo>
                    <a:pt x="82" y="119"/>
                  </a:lnTo>
                  <a:lnTo>
                    <a:pt x="82" y="121"/>
                  </a:lnTo>
                  <a:lnTo>
                    <a:pt x="79" y="122"/>
                  </a:lnTo>
                  <a:lnTo>
                    <a:pt x="77" y="123"/>
                  </a:lnTo>
                  <a:lnTo>
                    <a:pt x="75" y="123"/>
                  </a:lnTo>
                  <a:lnTo>
                    <a:pt x="72" y="123"/>
                  </a:lnTo>
                  <a:lnTo>
                    <a:pt x="68" y="126"/>
                  </a:lnTo>
                  <a:lnTo>
                    <a:pt x="66" y="127"/>
                  </a:lnTo>
                  <a:lnTo>
                    <a:pt x="65" y="127"/>
                  </a:lnTo>
                  <a:lnTo>
                    <a:pt x="64" y="127"/>
                  </a:lnTo>
                  <a:lnTo>
                    <a:pt x="62" y="126"/>
                  </a:lnTo>
                  <a:lnTo>
                    <a:pt x="61" y="123"/>
                  </a:lnTo>
                  <a:lnTo>
                    <a:pt x="59" y="121"/>
                  </a:lnTo>
                  <a:lnTo>
                    <a:pt x="61" y="119"/>
                  </a:lnTo>
                  <a:lnTo>
                    <a:pt x="62" y="118"/>
                  </a:lnTo>
                  <a:lnTo>
                    <a:pt x="64" y="116"/>
                  </a:lnTo>
                  <a:lnTo>
                    <a:pt x="65" y="114"/>
                  </a:lnTo>
                  <a:lnTo>
                    <a:pt x="65" y="111"/>
                  </a:lnTo>
                  <a:lnTo>
                    <a:pt x="67" y="110"/>
                  </a:lnTo>
                  <a:lnTo>
                    <a:pt x="69" y="110"/>
                  </a:lnTo>
                  <a:lnTo>
                    <a:pt x="73" y="110"/>
                  </a:lnTo>
                  <a:close/>
                  <a:moveTo>
                    <a:pt x="399" y="109"/>
                  </a:moveTo>
                  <a:lnTo>
                    <a:pt x="402" y="110"/>
                  </a:lnTo>
                  <a:lnTo>
                    <a:pt x="404" y="111"/>
                  </a:lnTo>
                  <a:lnTo>
                    <a:pt x="406" y="115"/>
                  </a:lnTo>
                  <a:lnTo>
                    <a:pt x="407" y="118"/>
                  </a:lnTo>
                  <a:lnTo>
                    <a:pt x="408" y="122"/>
                  </a:lnTo>
                  <a:lnTo>
                    <a:pt x="406" y="125"/>
                  </a:lnTo>
                  <a:lnTo>
                    <a:pt x="404" y="126"/>
                  </a:lnTo>
                  <a:lnTo>
                    <a:pt x="402" y="128"/>
                  </a:lnTo>
                  <a:lnTo>
                    <a:pt x="401" y="130"/>
                  </a:lnTo>
                  <a:lnTo>
                    <a:pt x="399" y="132"/>
                  </a:lnTo>
                  <a:lnTo>
                    <a:pt x="399" y="134"/>
                  </a:lnTo>
                  <a:lnTo>
                    <a:pt x="396" y="137"/>
                  </a:lnTo>
                  <a:lnTo>
                    <a:pt x="394" y="137"/>
                  </a:lnTo>
                  <a:lnTo>
                    <a:pt x="393" y="134"/>
                  </a:lnTo>
                  <a:lnTo>
                    <a:pt x="392" y="132"/>
                  </a:lnTo>
                  <a:lnTo>
                    <a:pt x="392" y="129"/>
                  </a:lnTo>
                  <a:lnTo>
                    <a:pt x="392" y="127"/>
                  </a:lnTo>
                  <a:lnTo>
                    <a:pt x="392" y="125"/>
                  </a:lnTo>
                  <a:lnTo>
                    <a:pt x="391" y="121"/>
                  </a:lnTo>
                  <a:lnTo>
                    <a:pt x="391" y="119"/>
                  </a:lnTo>
                  <a:lnTo>
                    <a:pt x="391" y="117"/>
                  </a:lnTo>
                  <a:lnTo>
                    <a:pt x="392" y="115"/>
                  </a:lnTo>
                  <a:lnTo>
                    <a:pt x="394" y="111"/>
                  </a:lnTo>
                  <a:lnTo>
                    <a:pt x="396" y="110"/>
                  </a:lnTo>
                  <a:lnTo>
                    <a:pt x="399" y="109"/>
                  </a:lnTo>
                  <a:close/>
                  <a:moveTo>
                    <a:pt x="105" y="109"/>
                  </a:moveTo>
                  <a:lnTo>
                    <a:pt x="106" y="110"/>
                  </a:lnTo>
                  <a:lnTo>
                    <a:pt x="108" y="111"/>
                  </a:lnTo>
                  <a:lnTo>
                    <a:pt x="109" y="112"/>
                  </a:lnTo>
                  <a:lnTo>
                    <a:pt x="109" y="115"/>
                  </a:lnTo>
                  <a:lnTo>
                    <a:pt x="109" y="117"/>
                  </a:lnTo>
                  <a:lnTo>
                    <a:pt x="108" y="118"/>
                  </a:lnTo>
                  <a:lnTo>
                    <a:pt x="107" y="119"/>
                  </a:lnTo>
                  <a:lnTo>
                    <a:pt x="107" y="118"/>
                  </a:lnTo>
                  <a:lnTo>
                    <a:pt x="105" y="118"/>
                  </a:lnTo>
                  <a:lnTo>
                    <a:pt x="104" y="118"/>
                  </a:lnTo>
                  <a:lnTo>
                    <a:pt x="102" y="117"/>
                  </a:lnTo>
                  <a:lnTo>
                    <a:pt x="102" y="115"/>
                  </a:lnTo>
                  <a:lnTo>
                    <a:pt x="102" y="114"/>
                  </a:lnTo>
                  <a:lnTo>
                    <a:pt x="102" y="112"/>
                  </a:lnTo>
                  <a:lnTo>
                    <a:pt x="102" y="110"/>
                  </a:lnTo>
                  <a:lnTo>
                    <a:pt x="104" y="109"/>
                  </a:lnTo>
                  <a:lnTo>
                    <a:pt x="105" y="109"/>
                  </a:lnTo>
                  <a:close/>
                  <a:moveTo>
                    <a:pt x="2451" y="90"/>
                  </a:moveTo>
                  <a:lnTo>
                    <a:pt x="2455" y="97"/>
                  </a:lnTo>
                  <a:lnTo>
                    <a:pt x="2458" y="105"/>
                  </a:lnTo>
                  <a:lnTo>
                    <a:pt x="2459" y="111"/>
                  </a:lnTo>
                  <a:lnTo>
                    <a:pt x="2462" y="118"/>
                  </a:lnTo>
                  <a:lnTo>
                    <a:pt x="2461" y="125"/>
                  </a:lnTo>
                  <a:lnTo>
                    <a:pt x="2458" y="130"/>
                  </a:lnTo>
                  <a:lnTo>
                    <a:pt x="2456" y="134"/>
                  </a:lnTo>
                  <a:lnTo>
                    <a:pt x="2456" y="155"/>
                  </a:lnTo>
                  <a:lnTo>
                    <a:pt x="2456" y="159"/>
                  </a:lnTo>
                  <a:lnTo>
                    <a:pt x="2456" y="162"/>
                  </a:lnTo>
                  <a:lnTo>
                    <a:pt x="2455" y="164"/>
                  </a:lnTo>
                  <a:lnTo>
                    <a:pt x="2455" y="166"/>
                  </a:lnTo>
                  <a:lnTo>
                    <a:pt x="2454" y="169"/>
                  </a:lnTo>
                  <a:lnTo>
                    <a:pt x="2452" y="174"/>
                  </a:lnTo>
                  <a:lnTo>
                    <a:pt x="2451" y="181"/>
                  </a:lnTo>
                  <a:lnTo>
                    <a:pt x="2448" y="187"/>
                  </a:lnTo>
                  <a:lnTo>
                    <a:pt x="2447" y="192"/>
                  </a:lnTo>
                  <a:lnTo>
                    <a:pt x="2444" y="194"/>
                  </a:lnTo>
                  <a:lnTo>
                    <a:pt x="2441" y="192"/>
                  </a:lnTo>
                  <a:lnTo>
                    <a:pt x="2440" y="191"/>
                  </a:lnTo>
                  <a:lnTo>
                    <a:pt x="2440" y="188"/>
                  </a:lnTo>
                  <a:lnTo>
                    <a:pt x="2438" y="186"/>
                  </a:lnTo>
                  <a:lnTo>
                    <a:pt x="2438" y="185"/>
                  </a:lnTo>
                  <a:lnTo>
                    <a:pt x="2437" y="185"/>
                  </a:lnTo>
                  <a:lnTo>
                    <a:pt x="2436" y="185"/>
                  </a:lnTo>
                  <a:lnTo>
                    <a:pt x="2434" y="188"/>
                  </a:lnTo>
                  <a:lnTo>
                    <a:pt x="2432" y="190"/>
                  </a:lnTo>
                  <a:lnTo>
                    <a:pt x="2431" y="191"/>
                  </a:lnTo>
                  <a:lnTo>
                    <a:pt x="2429" y="188"/>
                  </a:lnTo>
                  <a:lnTo>
                    <a:pt x="2425" y="185"/>
                  </a:lnTo>
                  <a:lnTo>
                    <a:pt x="2423" y="178"/>
                  </a:lnTo>
                  <a:lnTo>
                    <a:pt x="2422" y="171"/>
                  </a:lnTo>
                  <a:lnTo>
                    <a:pt x="2425" y="164"/>
                  </a:lnTo>
                  <a:lnTo>
                    <a:pt x="2426" y="162"/>
                  </a:lnTo>
                  <a:lnTo>
                    <a:pt x="2426" y="160"/>
                  </a:lnTo>
                  <a:lnTo>
                    <a:pt x="2427" y="156"/>
                  </a:lnTo>
                  <a:lnTo>
                    <a:pt x="2427" y="153"/>
                  </a:lnTo>
                  <a:lnTo>
                    <a:pt x="2429" y="151"/>
                  </a:lnTo>
                  <a:lnTo>
                    <a:pt x="2429" y="149"/>
                  </a:lnTo>
                  <a:lnTo>
                    <a:pt x="2430" y="147"/>
                  </a:lnTo>
                  <a:lnTo>
                    <a:pt x="2431" y="145"/>
                  </a:lnTo>
                  <a:lnTo>
                    <a:pt x="2431" y="142"/>
                  </a:lnTo>
                  <a:lnTo>
                    <a:pt x="2429" y="140"/>
                  </a:lnTo>
                  <a:lnTo>
                    <a:pt x="2426" y="137"/>
                  </a:lnTo>
                  <a:lnTo>
                    <a:pt x="2424" y="133"/>
                  </a:lnTo>
                  <a:lnTo>
                    <a:pt x="2423" y="130"/>
                  </a:lnTo>
                  <a:lnTo>
                    <a:pt x="2423" y="128"/>
                  </a:lnTo>
                  <a:lnTo>
                    <a:pt x="2423" y="126"/>
                  </a:lnTo>
                  <a:lnTo>
                    <a:pt x="2424" y="122"/>
                  </a:lnTo>
                  <a:lnTo>
                    <a:pt x="2424" y="120"/>
                  </a:lnTo>
                  <a:lnTo>
                    <a:pt x="2426" y="118"/>
                  </a:lnTo>
                  <a:lnTo>
                    <a:pt x="2427" y="116"/>
                  </a:lnTo>
                  <a:lnTo>
                    <a:pt x="2429" y="116"/>
                  </a:lnTo>
                  <a:lnTo>
                    <a:pt x="2431" y="115"/>
                  </a:lnTo>
                  <a:lnTo>
                    <a:pt x="2433" y="114"/>
                  </a:lnTo>
                  <a:lnTo>
                    <a:pt x="2434" y="112"/>
                  </a:lnTo>
                  <a:lnTo>
                    <a:pt x="2435" y="112"/>
                  </a:lnTo>
                  <a:lnTo>
                    <a:pt x="2436" y="114"/>
                  </a:lnTo>
                  <a:lnTo>
                    <a:pt x="2437" y="116"/>
                  </a:lnTo>
                  <a:lnTo>
                    <a:pt x="2438" y="118"/>
                  </a:lnTo>
                  <a:lnTo>
                    <a:pt x="2441" y="121"/>
                  </a:lnTo>
                  <a:lnTo>
                    <a:pt x="2442" y="123"/>
                  </a:lnTo>
                  <a:lnTo>
                    <a:pt x="2443" y="125"/>
                  </a:lnTo>
                  <a:lnTo>
                    <a:pt x="2443" y="125"/>
                  </a:lnTo>
                  <a:lnTo>
                    <a:pt x="2443" y="123"/>
                  </a:lnTo>
                  <a:lnTo>
                    <a:pt x="2443" y="122"/>
                  </a:lnTo>
                  <a:lnTo>
                    <a:pt x="2443" y="121"/>
                  </a:lnTo>
                  <a:lnTo>
                    <a:pt x="2443" y="120"/>
                  </a:lnTo>
                  <a:lnTo>
                    <a:pt x="2443" y="118"/>
                  </a:lnTo>
                  <a:lnTo>
                    <a:pt x="2443" y="118"/>
                  </a:lnTo>
                  <a:lnTo>
                    <a:pt x="2443" y="109"/>
                  </a:lnTo>
                  <a:lnTo>
                    <a:pt x="2443" y="107"/>
                  </a:lnTo>
                  <a:lnTo>
                    <a:pt x="2443" y="106"/>
                  </a:lnTo>
                  <a:lnTo>
                    <a:pt x="2442" y="105"/>
                  </a:lnTo>
                  <a:lnTo>
                    <a:pt x="2440" y="104"/>
                  </a:lnTo>
                  <a:lnTo>
                    <a:pt x="2438" y="104"/>
                  </a:lnTo>
                  <a:lnTo>
                    <a:pt x="2440" y="100"/>
                  </a:lnTo>
                  <a:lnTo>
                    <a:pt x="2440" y="98"/>
                  </a:lnTo>
                  <a:lnTo>
                    <a:pt x="2441" y="97"/>
                  </a:lnTo>
                  <a:lnTo>
                    <a:pt x="2442" y="96"/>
                  </a:lnTo>
                  <a:lnTo>
                    <a:pt x="2443" y="95"/>
                  </a:lnTo>
                  <a:lnTo>
                    <a:pt x="2444" y="95"/>
                  </a:lnTo>
                  <a:lnTo>
                    <a:pt x="2446" y="95"/>
                  </a:lnTo>
                  <a:lnTo>
                    <a:pt x="2448" y="93"/>
                  </a:lnTo>
                  <a:lnTo>
                    <a:pt x="2451" y="90"/>
                  </a:lnTo>
                  <a:close/>
                  <a:moveTo>
                    <a:pt x="87" y="85"/>
                  </a:moveTo>
                  <a:lnTo>
                    <a:pt x="88" y="85"/>
                  </a:lnTo>
                  <a:lnTo>
                    <a:pt x="90" y="86"/>
                  </a:lnTo>
                  <a:lnTo>
                    <a:pt x="91" y="87"/>
                  </a:lnTo>
                  <a:lnTo>
                    <a:pt x="93" y="88"/>
                  </a:lnTo>
                  <a:lnTo>
                    <a:pt x="94" y="89"/>
                  </a:lnTo>
                  <a:lnTo>
                    <a:pt x="94" y="92"/>
                  </a:lnTo>
                  <a:lnTo>
                    <a:pt x="95" y="94"/>
                  </a:lnTo>
                  <a:lnTo>
                    <a:pt x="96" y="95"/>
                  </a:lnTo>
                  <a:lnTo>
                    <a:pt x="97" y="97"/>
                  </a:lnTo>
                  <a:lnTo>
                    <a:pt x="99" y="97"/>
                  </a:lnTo>
                  <a:lnTo>
                    <a:pt x="99" y="98"/>
                  </a:lnTo>
                  <a:lnTo>
                    <a:pt x="100" y="99"/>
                  </a:lnTo>
                  <a:lnTo>
                    <a:pt x="100" y="101"/>
                  </a:lnTo>
                  <a:lnTo>
                    <a:pt x="100" y="104"/>
                  </a:lnTo>
                  <a:lnTo>
                    <a:pt x="99" y="104"/>
                  </a:lnTo>
                  <a:lnTo>
                    <a:pt x="97" y="104"/>
                  </a:lnTo>
                  <a:lnTo>
                    <a:pt x="96" y="104"/>
                  </a:lnTo>
                  <a:lnTo>
                    <a:pt x="94" y="103"/>
                  </a:lnTo>
                  <a:lnTo>
                    <a:pt x="93" y="103"/>
                  </a:lnTo>
                  <a:lnTo>
                    <a:pt x="90" y="101"/>
                  </a:lnTo>
                  <a:lnTo>
                    <a:pt x="89" y="100"/>
                  </a:lnTo>
                  <a:lnTo>
                    <a:pt x="89" y="99"/>
                  </a:lnTo>
                  <a:lnTo>
                    <a:pt x="88" y="99"/>
                  </a:lnTo>
                  <a:lnTo>
                    <a:pt x="87" y="100"/>
                  </a:lnTo>
                  <a:lnTo>
                    <a:pt x="87" y="101"/>
                  </a:lnTo>
                  <a:lnTo>
                    <a:pt x="86" y="104"/>
                  </a:lnTo>
                  <a:lnTo>
                    <a:pt x="86" y="106"/>
                  </a:lnTo>
                  <a:lnTo>
                    <a:pt x="86" y="107"/>
                  </a:lnTo>
                  <a:lnTo>
                    <a:pt x="86" y="109"/>
                  </a:lnTo>
                  <a:lnTo>
                    <a:pt x="85" y="109"/>
                  </a:lnTo>
                  <a:lnTo>
                    <a:pt x="83" y="109"/>
                  </a:lnTo>
                  <a:lnTo>
                    <a:pt x="82" y="108"/>
                  </a:lnTo>
                  <a:lnTo>
                    <a:pt x="80" y="107"/>
                  </a:lnTo>
                  <a:lnTo>
                    <a:pt x="79" y="106"/>
                  </a:lnTo>
                  <a:lnTo>
                    <a:pt x="78" y="106"/>
                  </a:lnTo>
                  <a:lnTo>
                    <a:pt x="77" y="106"/>
                  </a:lnTo>
                  <a:lnTo>
                    <a:pt x="76" y="105"/>
                  </a:lnTo>
                  <a:lnTo>
                    <a:pt x="75" y="105"/>
                  </a:lnTo>
                  <a:lnTo>
                    <a:pt x="74" y="104"/>
                  </a:lnTo>
                  <a:lnTo>
                    <a:pt x="75" y="100"/>
                  </a:lnTo>
                  <a:lnTo>
                    <a:pt x="75" y="99"/>
                  </a:lnTo>
                  <a:lnTo>
                    <a:pt x="75" y="98"/>
                  </a:lnTo>
                  <a:lnTo>
                    <a:pt x="76" y="97"/>
                  </a:lnTo>
                  <a:lnTo>
                    <a:pt x="78" y="97"/>
                  </a:lnTo>
                  <a:lnTo>
                    <a:pt x="79" y="96"/>
                  </a:lnTo>
                  <a:lnTo>
                    <a:pt x="82" y="95"/>
                  </a:lnTo>
                  <a:lnTo>
                    <a:pt x="84" y="93"/>
                  </a:lnTo>
                  <a:lnTo>
                    <a:pt x="85" y="89"/>
                  </a:lnTo>
                  <a:lnTo>
                    <a:pt x="85" y="87"/>
                  </a:lnTo>
                  <a:lnTo>
                    <a:pt x="86" y="86"/>
                  </a:lnTo>
                  <a:lnTo>
                    <a:pt x="87" y="85"/>
                  </a:lnTo>
                  <a:close/>
                  <a:moveTo>
                    <a:pt x="389" y="72"/>
                  </a:moveTo>
                  <a:lnTo>
                    <a:pt x="389" y="73"/>
                  </a:lnTo>
                  <a:lnTo>
                    <a:pt x="391" y="74"/>
                  </a:lnTo>
                  <a:lnTo>
                    <a:pt x="393" y="75"/>
                  </a:lnTo>
                  <a:lnTo>
                    <a:pt x="395" y="76"/>
                  </a:lnTo>
                  <a:lnTo>
                    <a:pt x="397" y="77"/>
                  </a:lnTo>
                  <a:lnTo>
                    <a:pt x="400" y="78"/>
                  </a:lnTo>
                  <a:lnTo>
                    <a:pt x="402" y="83"/>
                  </a:lnTo>
                  <a:lnTo>
                    <a:pt x="403" y="87"/>
                  </a:lnTo>
                  <a:lnTo>
                    <a:pt x="405" y="92"/>
                  </a:lnTo>
                  <a:lnTo>
                    <a:pt x="405" y="93"/>
                  </a:lnTo>
                  <a:lnTo>
                    <a:pt x="405" y="95"/>
                  </a:lnTo>
                  <a:lnTo>
                    <a:pt x="406" y="97"/>
                  </a:lnTo>
                  <a:lnTo>
                    <a:pt x="406" y="99"/>
                  </a:lnTo>
                  <a:lnTo>
                    <a:pt x="406" y="101"/>
                  </a:lnTo>
                  <a:lnTo>
                    <a:pt x="406" y="103"/>
                  </a:lnTo>
                  <a:lnTo>
                    <a:pt x="405" y="103"/>
                  </a:lnTo>
                  <a:lnTo>
                    <a:pt x="403" y="104"/>
                  </a:lnTo>
                  <a:lnTo>
                    <a:pt x="402" y="104"/>
                  </a:lnTo>
                  <a:lnTo>
                    <a:pt x="401" y="103"/>
                  </a:lnTo>
                  <a:lnTo>
                    <a:pt x="400" y="103"/>
                  </a:lnTo>
                  <a:lnTo>
                    <a:pt x="399" y="101"/>
                  </a:lnTo>
                  <a:lnTo>
                    <a:pt x="397" y="103"/>
                  </a:lnTo>
                  <a:lnTo>
                    <a:pt x="396" y="103"/>
                  </a:lnTo>
                  <a:lnTo>
                    <a:pt x="394" y="105"/>
                  </a:lnTo>
                  <a:lnTo>
                    <a:pt x="393" y="106"/>
                  </a:lnTo>
                  <a:lnTo>
                    <a:pt x="392" y="107"/>
                  </a:lnTo>
                  <a:lnTo>
                    <a:pt x="390" y="108"/>
                  </a:lnTo>
                  <a:lnTo>
                    <a:pt x="388" y="108"/>
                  </a:lnTo>
                  <a:lnTo>
                    <a:pt x="385" y="107"/>
                  </a:lnTo>
                  <a:lnTo>
                    <a:pt x="386" y="103"/>
                  </a:lnTo>
                  <a:lnTo>
                    <a:pt x="388" y="98"/>
                  </a:lnTo>
                  <a:lnTo>
                    <a:pt x="389" y="94"/>
                  </a:lnTo>
                  <a:lnTo>
                    <a:pt x="388" y="88"/>
                  </a:lnTo>
                  <a:lnTo>
                    <a:pt x="385" y="83"/>
                  </a:lnTo>
                  <a:lnTo>
                    <a:pt x="385" y="77"/>
                  </a:lnTo>
                  <a:lnTo>
                    <a:pt x="389" y="72"/>
                  </a:lnTo>
                  <a:close/>
                  <a:moveTo>
                    <a:pt x="368" y="46"/>
                  </a:moveTo>
                  <a:lnTo>
                    <a:pt x="369" y="47"/>
                  </a:lnTo>
                  <a:lnTo>
                    <a:pt x="370" y="47"/>
                  </a:lnTo>
                  <a:lnTo>
                    <a:pt x="370" y="47"/>
                  </a:lnTo>
                  <a:lnTo>
                    <a:pt x="370" y="49"/>
                  </a:lnTo>
                  <a:lnTo>
                    <a:pt x="370" y="50"/>
                  </a:lnTo>
                  <a:lnTo>
                    <a:pt x="369" y="51"/>
                  </a:lnTo>
                  <a:lnTo>
                    <a:pt x="368" y="52"/>
                  </a:lnTo>
                  <a:lnTo>
                    <a:pt x="366" y="51"/>
                  </a:lnTo>
                  <a:lnTo>
                    <a:pt x="364" y="50"/>
                  </a:lnTo>
                  <a:lnTo>
                    <a:pt x="363" y="49"/>
                  </a:lnTo>
                  <a:lnTo>
                    <a:pt x="364" y="47"/>
                  </a:lnTo>
                  <a:lnTo>
                    <a:pt x="366" y="46"/>
                  </a:lnTo>
                  <a:lnTo>
                    <a:pt x="368" y="46"/>
                  </a:lnTo>
                  <a:close/>
                  <a:moveTo>
                    <a:pt x="22" y="46"/>
                  </a:moveTo>
                  <a:lnTo>
                    <a:pt x="23" y="46"/>
                  </a:lnTo>
                  <a:lnTo>
                    <a:pt x="24" y="47"/>
                  </a:lnTo>
                  <a:lnTo>
                    <a:pt x="25" y="49"/>
                  </a:lnTo>
                  <a:lnTo>
                    <a:pt x="28" y="49"/>
                  </a:lnTo>
                  <a:lnTo>
                    <a:pt x="28" y="50"/>
                  </a:lnTo>
                  <a:lnTo>
                    <a:pt x="26" y="51"/>
                  </a:lnTo>
                  <a:lnTo>
                    <a:pt x="25" y="52"/>
                  </a:lnTo>
                  <a:lnTo>
                    <a:pt x="23" y="52"/>
                  </a:lnTo>
                  <a:lnTo>
                    <a:pt x="22" y="52"/>
                  </a:lnTo>
                  <a:lnTo>
                    <a:pt x="20" y="51"/>
                  </a:lnTo>
                  <a:lnTo>
                    <a:pt x="19" y="50"/>
                  </a:lnTo>
                  <a:lnTo>
                    <a:pt x="19" y="47"/>
                  </a:lnTo>
                  <a:lnTo>
                    <a:pt x="20" y="46"/>
                  </a:lnTo>
                  <a:lnTo>
                    <a:pt x="21" y="46"/>
                  </a:lnTo>
                  <a:lnTo>
                    <a:pt x="22" y="46"/>
                  </a:lnTo>
                  <a:close/>
                  <a:moveTo>
                    <a:pt x="3068" y="35"/>
                  </a:moveTo>
                  <a:lnTo>
                    <a:pt x="3068" y="155"/>
                  </a:lnTo>
                  <a:lnTo>
                    <a:pt x="3060" y="253"/>
                  </a:lnTo>
                  <a:lnTo>
                    <a:pt x="3046" y="349"/>
                  </a:lnTo>
                  <a:lnTo>
                    <a:pt x="3027" y="444"/>
                  </a:lnTo>
                  <a:lnTo>
                    <a:pt x="3002" y="535"/>
                  </a:lnTo>
                  <a:lnTo>
                    <a:pt x="3002" y="533"/>
                  </a:lnTo>
                  <a:lnTo>
                    <a:pt x="3000" y="532"/>
                  </a:lnTo>
                  <a:lnTo>
                    <a:pt x="2999" y="533"/>
                  </a:lnTo>
                  <a:lnTo>
                    <a:pt x="2998" y="534"/>
                  </a:lnTo>
                  <a:lnTo>
                    <a:pt x="2998" y="535"/>
                  </a:lnTo>
                  <a:lnTo>
                    <a:pt x="2998" y="537"/>
                  </a:lnTo>
                  <a:lnTo>
                    <a:pt x="2994" y="541"/>
                  </a:lnTo>
                  <a:lnTo>
                    <a:pt x="2992" y="544"/>
                  </a:lnTo>
                  <a:lnTo>
                    <a:pt x="2989" y="546"/>
                  </a:lnTo>
                  <a:lnTo>
                    <a:pt x="2987" y="548"/>
                  </a:lnTo>
                  <a:lnTo>
                    <a:pt x="2983" y="549"/>
                  </a:lnTo>
                  <a:lnTo>
                    <a:pt x="2981" y="553"/>
                  </a:lnTo>
                  <a:lnTo>
                    <a:pt x="2980" y="555"/>
                  </a:lnTo>
                  <a:lnTo>
                    <a:pt x="2978" y="558"/>
                  </a:lnTo>
                  <a:lnTo>
                    <a:pt x="2976" y="562"/>
                  </a:lnTo>
                  <a:lnTo>
                    <a:pt x="2974" y="564"/>
                  </a:lnTo>
                  <a:lnTo>
                    <a:pt x="2971" y="567"/>
                  </a:lnTo>
                  <a:lnTo>
                    <a:pt x="2969" y="570"/>
                  </a:lnTo>
                  <a:lnTo>
                    <a:pt x="2967" y="573"/>
                  </a:lnTo>
                  <a:lnTo>
                    <a:pt x="2967" y="575"/>
                  </a:lnTo>
                  <a:lnTo>
                    <a:pt x="2966" y="577"/>
                  </a:lnTo>
                  <a:lnTo>
                    <a:pt x="2965" y="579"/>
                  </a:lnTo>
                  <a:lnTo>
                    <a:pt x="2963" y="583"/>
                  </a:lnTo>
                  <a:lnTo>
                    <a:pt x="2959" y="586"/>
                  </a:lnTo>
                  <a:lnTo>
                    <a:pt x="2958" y="588"/>
                  </a:lnTo>
                  <a:lnTo>
                    <a:pt x="2956" y="590"/>
                  </a:lnTo>
                  <a:lnTo>
                    <a:pt x="2955" y="592"/>
                  </a:lnTo>
                  <a:lnTo>
                    <a:pt x="2953" y="595"/>
                  </a:lnTo>
                  <a:lnTo>
                    <a:pt x="2952" y="598"/>
                  </a:lnTo>
                  <a:lnTo>
                    <a:pt x="2949" y="602"/>
                  </a:lnTo>
                  <a:lnTo>
                    <a:pt x="2947" y="607"/>
                  </a:lnTo>
                  <a:lnTo>
                    <a:pt x="2945" y="610"/>
                  </a:lnTo>
                  <a:lnTo>
                    <a:pt x="2942" y="612"/>
                  </a:lnTo>
                  <a:lnTo>
                    <a:pt x="2941" y="614"/>
                  </a:lnTo>
                  <a:lnTo>
                    <a:pt x="2938" y="617"/>
                  </a:lnTo>
                  <a:lnTo>
                    <a:pt x="2936" y="620"/>
                  </a:lnTo>
                  <a:lnTo>
                    <a:pt x="2934" y="623"/>
                  </a:lnTo>
                  <a:lnTo>
                    <a:pt x="2933" y="628"/>
                  </a:lnTo>
                  <a:lnTo>
                    <a:pt x="2932" y="630"/>
                  </a:lnTo>
                  <a:lnTo>
                    <a:pt x="2932" y="633"/>
                  </a:lnTo>
                  <a:lnTo>
                    <a:pt x="2931" y="635"/>
                  </a:lnTo>
                  <a:lnTo>
                    <a:pt x="2931" y="638"/>
                  </a:lnTo>
                  <a:lnTo>
                    <a:pt x="2931" y="640"/>
                  </a:lnTo>
                  <a:lnTo>
                    <a:pt x="2932" y="640"/>
                  </a:lnTo>
                  <a:lnTo>
                    <a:pt x="2932" y="641"/>
                  </a:lnTo>
                  <a:lnTo>
                    <a:pt x="2933" y="642"/>
                  </a:lnTo>
                  <a:lnTo>
                    <a:pt x="2933" y="644"/>
                  </a:lnTo>
                  <a:lnTo>
                    <a:pt x="2932" y="646"/>
                  </a:lnTo>
                  <a:lnTo>
                    <a:pt x="2931" y="650"/>
                  </a:lnTo>
                  <a:lnTo>
                    <a:pt x="2929" y="652"/>
                  </a:lnTo>
                  <a:lnTo>
                    <a:pt x="2928" y="653"/>
                  </a:lnTo>
                  <a:lnTo>
                    <a:pt x="2927" y="656"/>
                  </a:lnTo>
                  <a:lnTo>
                    <a:pt x="2926" y="658"/>
                  </a:lnTo>
                  <a:lnTo>
                    <a:pt x="2925" y="662"/>
                  </a:lnTo>
                  <a:lnTo>
                    <a:pt x="2924" y="664"/>
                  </a:lnTo>
                  <a:lnTo>
                    <a:pt x="2922" y="668"/>
                  </a:lnTo>
                  <a:lnTo>
                    <a:pt x="2921" y="671"/>
                  </a:lnTo>
                  <a:lnTo>
                    <a:pt x="2920" y="673"/>
                  </a:lnTo>
                  <a:lnTo>
                    <a:pt x="2918" y="676"/>
                  </a:lnTo>
                  <a:lnTo>
                    <a:pt x="2917" y="678"/>
                  </a:lnTo>
                  <a:lnTo>
                    <a:pt x="2917" y="682"/>
                  </a:lnTo>
                  <a:lnTo>
                    <a:pt x="2915" y="684"/>
                  </a:lnTo>
                  <a:lnTo>
                    <a:pt x="2915" y="685"/>
                  </a:lnTo>
                  <a:lnTo>
                    <a:pt x="2915" y="687"/>
                  </a:lnTo>
                  <a:lnTo>
                    <a:pt x="2914" y="690"/>
                  </a:lnTo>
                  <a:lnTo>
                    <a:pt x="2913" y="693"/>
                  </a:lnTo>
                  <a:lnTo>
                    <a:pt x="2911" y="696"/>
                  </a:lnTo>
                  <a:lnTo>
                    <a:pt x="2910" y="698"/>
                  </a:lnTo>
                  <a:lnTo>
                    <a:pt x="2909" y="699"/>
                  </a:lnTo>
                  <a:lnTo>
                    <a:pt x="2907" y="700"/>
                  </a:lnTo>
                  <a:lnTo>
                    <a:pt x="2906" y="699"/>
                  </a:lnTo>
                  <a:lnTo>
                    <a:pt x="2906" y="699"/>
                  </a:lnTo>
                  <a:lnTo>
                    <a:pt x="2905" y="698"/>
                  </a:lnTo>
                  <a:lnTo>
                    <a:pt x="2906" y="696"/>
                  </a:lnTo>
                  <a:lnTo>
                    <a:pt x="2906" y="695"/>
                  </a:lnTo>
                  <a:lnTo>
                    <a:pt x="2906" y="693"/>
                  </a:lnTo>
                  <a:lnTo>
                    <a:pt x="2905" y="690"/>
                  </a:lnTo>
                  <a:lnTo>
                    <a:pt x="2905" y="687"/>
                  </a:lnTo>
                  <a:lnTo>
                    <a:pt x="2904" y="685"/>
                  </a:lnTo>
                  <a:lnTo>
                    <a:pt x="2904" y="682"/>
                  </a:lnTo>
                  <a:lnTo>
                    <a:pt x="2904" y="660"/>
                  </a:lnTo>
                  <a:lnTo>
                    <a:pt x="2903" y="650"/>
                  </a:lnTo>
                  <a:lnTo>
                    <a:pt x="2902" y="638"/>
                  </a:lnTo>
                  <a:lnTo>
                    <a:pt x="2902" y="627"/>
                  </a:lnTo>
                  <a:lnTo>
                    <a:pt x="2902" y="614"/>
                  </a:lnTo>
                  <a:lnTo>
                    <a:pt x="2902" y="610"/>
                  </a:lnTo>
                  <a:lnTo>
                    <a:pt x="2903" y="606"/>
                  </a:lnTo>
                  <a:lnTo>
                    <a:pt x="2904" y="601"/>
                  </a:lnTo>
                  <a:lnTo>
                    <a:pt x="2904" y="590"/>
                  </a:lnTo>
                  <a:lnTo>
                    <a:pt x="2905" y="585"/>
                  </a:lnTo>
                  <a:lnTo>
                    <a:pt x="2905" y="581"/>
                  </a:lnTo>
                  <a:lnTo>
                    <a:pt x="2906" y="577"/>
                  </a:lnTo>
                  <a:lnTo>
                    <a:pt x="2906" y="573"/>
                  </a:lnTo>
                  <a:lnTo>
                    <a:pt x="2906" y="572"/>
                  </a:lnTo>
                  <a:lnTo>
                    <a:pt x="2906" y="569"/>
                  </a:lnTo>
                  <a:lnTo>
                    <a:pt x="2906" y="568"/>
                  </a:lnTo>
                  <a:lnTo>
                    <a:pt x="2905" y="567"/>
                  </a:lnTo>
                  <a:lnTo>
                    <a:pt x="2905" y="567"/>
                  </a:lnTo>
                  <a:lnTo>
                    <a:pt x="2904" y="568"/>
                  </a:lnTo>
                  <a:lnTo>
                    <a:pt x="2904" y="570"/>
                  </a:lnTo>
                  <a:lnTo>
                    <a:pt x="2902" y="575"/>
                  </a:lnTo>
                  <a:lnTo>
                    <a:pt x="2900" y="578"/>
                  </a:lnTo>
                  <a:lnTo>
                    <a:pt x="2898" y="579"/>
                  </a:lnTo>
                  <a:lnTo>
                    <a:pt x="2895" y="580"/>
                  </a:lnTo>
                  <a:lnTo>
                    <a:pt x="2893" y="581"/>
                  </a:lnTo>
                  <a:lnTo>
                    <a:pt x="2892" y="581"/>
                  </a:lnTo>
                  <a:lnTo>
                    <a:pt x="2891" y="580"/>
                  </a:lnTo>
                  <a:lnTo>
                    <a:pt x="2890" y="579"/>
                  </a:lnTo>
                  <a:lnTo>
                    <a:pt x="2890" y="577"/>
                  </a:lnTo>
                  <a:lnTo>
                    <a:pt x="2889" y="575"/>
                  </a:lnTo>
                  <a:lnTo>
                    <a:pt x="2889" y="573"/>
                  </a:lnTo>
                  <a:lnTo>
                    <a:pt x="2889" y="570"/>
                  </a:lnTo>
                  <a:lnTo>
                    <a:pt x="2889" y="559"/>
                  </a:lnTo>
                  <a:lnTo>
                    <a:pt x="2889" y="557"/>
                  </a:lnTo>
                  <a:lnTo>
                    <a:pt x="2889" y="555"/>
                  </a:lnTo>
                  <a:lnTo>
                    <a:pt x="2887" y="553"/>
                  </a:lnTo>
                  <a:lnTo>
                    <a:pt x="2887" y="552"/>
                  </a:lnTo>
                  <a:lnTo>
                    <a:pt x="2887" y="551"/>
                  </a:lnTo>
                  <a:lnTo>
                    <a:pt x="2887" y="549"/>
                  </a:lnTo>
                  <a:lnTo>
                    <a:pt x="2885" y="548"/>
                  </a:lnTo>
                  <a:lnTo>
                    <a:pt x="2884" y="548"/>
                  </a:lnTo>
                  <a:lnTo>
                    <a:pt x="2883" y="546"/>
                  </a:lnTo>
                  <a:lnTo>
                    <a:pt x="2882" y="544"/>
                  </a:lnTo>
                  <a:lnTo>
                    <a:pt x="2882" y="542"/>
                  </a:lnTo>
                  <a:lnTo>
                    <a:pt x="2882" y="540"/>
                  </a:lnTo>
                  <a:lnTo>
                    <a:pt x="2882" y="538"/>
                  </a:lnTo>
                  <a:lnTo>
                    <a:pt x="2882" y="536"/>
                  </a:lnTo>
                  <a:lnTo>
                    <a:pt x="2881" y="535"/>
                  </a:lnTo>
                  <a:lnTo>
                    <a:pt x="2880" y="535"/>
                  </a:lnTo>
                  <a:lnTo>
                    <a:pt x="2878" y="535"/>
                  </a:lnTo>
                  <a:lnTo>
                    <a:pt x="2876" y="537"/>
                  </a:lnTo>
                  <a:lnTo>
                    <a:pt x="2873" y="540"/>
                  </a:lnTo>
                  <a:lnTo>
                    <a:pt x="2871" y="540"/>
                  </a:lnTo>
                  <a:lnTo>
                    <a:pt x="2869" y="540"/>
                  </a:lnTo>
                  <a:lnTo>
                    <a:pt x="2867" y="542"/>
                  </a:lnTo>
                  <a:lnTo>
                    <a:pt x="2865" y="542"/>
                  </a:lnTo>
                  <a:lnTo>
                    <a:pt x="2862" y="543"/>
                  </a:lnTo>
                  <a:lnTo>
                    <a:pt x="2860" y="544"/>
                  </a:lnTo>
                  <a:lnTo>
                    <a:pt x="2851" y="544"/>
                  </a:lnTo>
                  <a:lnTo>
                    <a:pt x="2849" y="544"/>
                  </a:lnTo>
                  <a:lnTo>
                    <a:pt x="2847" y="545"/>
                  </a:lnTo>
                  <a:lnTo>
                    <a:pt x="2845" y="546"/>
                  </a:lnTo>
                  <a:lnTo>
                    <a:pt x="2844" y="546"/>
                  </a:lnTo>
                  <a:lnTo>
                    <a:pt x="2843" y="546"/>
                  </a:lnTo>
                  <a:lnTo>
                    <a:pt x="2841" y="547"/>
                  </a:lnTo>
                  <a:lnTo>
                    <a:pt x="2840" y="547"/>
                  </a:lnTo>
                  <a:lnTo>
                    <a:pt x="2839" y="547"/>
                  </a:lnTo>
                  <a:lnTo>
                    <a:pt x="2838" y="546"/>
                  </a:lnTo>
                  <a:lnTo>
                    <a:pt x="2838" y="544"/>
                  </a:lnTo>
                  <a:lnTo>
                    <a:pt x="2838" y="542"/>
                  </a:lnTo>
                  <a:lnTo>
                    <a:pt x="2838" y="538"/>
                  </a:lnTo>
                  <a:lnTo>
                    <a:pt x="2838" y="535"/>
                  </a:lnTo>
                  <a:lnTo>
                    <a:pt x="2838" y="532"/>
                  </a:lnTo>
                  <a:lnTo>
                    <a:pt x="2837" y="530"/>
                  </a:lnTo>
                  <a:lnTo>
                    <a:pt x="2837" y="529"/>
                  </a:lnTo>
                  <a:lnTo>
                    <a:pt x="2836" y="529"/>
                  </a:lnTo>
                  <a:lnTo>
                    <a:pt x="2835" y="529"/>
                  </a:lnTo>
                  <a:lnTo>
                    <a:pt x="2834" y="530"/>
                  </a:lnTo>
                  <a:lnTo>
                    <a:pt x="2834" y="532"/>
                  </a:lnTo>
                  <a:lnTo>
                    <a:pt x="2833" y="533"/>
                  </a:lnTo>
                  <a:lnTo>
                    <a:pt x="2832" y="535"/>
                  </a:lnTo>
                  <a:lnTo>
                    <a:pt x="2829" y="537"/>
                  </a:lnTo>
                  <a:lnTo>
                    <a:pt x="2828" y="540"/>
                  </a:lnTo>
                  <a:lnTo>
                    <a:pt x="2827" y="542"/>
                  </a:lnTo>
                  <a:lnTo>
                    <a:pt x="2825" y="543"/>
                  </a:lnTo>
                  <a:lnTo>
                    <a:pt x="2823" y="544"/>
                  </a:lnTo>
                  <a:lnTo>
                    <a:pt x="2821" y="544"/>
                  </a:lnTo>
                  <a:lnTo>
                    <a:pt x="2819" y="543"/>
                  </a:lnTo>
                  <a:lnTo>
                    <a:pt x="2817" y="542"/>
                  </a:lnTo>
                  <a:lnTo>
                    <a:pt x="2816" y="540"/>
                  </a:lnTo>
                  <a:lnTo>
                    <a:pt x="2815" y="536"/>
                  </a:lnTo>
                  <a:lnTo>
                    <a:pt x="2814" y="533"/>
                  </a:lnTo>
                  <a:lnTo>
                    <a:pt x="2813" y="529"/>
                  </a:lnTo>
                  <a:lnTo>
                    <a:pt x="2812" y="524"/>
                  </a:lnTo>
                  <a:lnTo>
                    <a:pt x="2812" y="523"/>
                  </a:lnTo>
                  <a:lnTo>
                    <a:pt x="2811" y="522"/>
                  </a:lnTo>
                  <a:lnTo>
                    <a:pt x="2811" y="521"/>
                  </a:lnTo>
                  <a:lnTo>
                    <a:pt x="2809" y="520"/>
                  </a:lnTo>
                  <a:lnTo>
                    <a:pt x="2809" y="518"/>
                  </a:lnTo>
                  <a:lnTo>
                    <a:pt x="2808" y="515"/>
                  </a:lnTo>
                  <a:lnTo>
                    <a:pt x="2807" y="513"/>
                  </a:lnTo>
                  <a:lnTo>
                    <a:pt x="2807" y="511"/>
                  </a:lnTo>
                  <a:lnTo>
                    <a:pt x="2807" y="509"/>
                  </a:lnTo>
                  <a:lnTo>
                    <a:pt x="2807" y="507"/>
                  </a:lnTo>
                  <a:lnTo>
                    <a:pt x="2806" y="505"/>
                  </a:lnTo>
                  <a:lnTo>
                    <a:pt x="2805" y="504"/>
                  </a:lnTo>
                  <a:lnTo>
                    <a:pt x="2803" y="504"/>
                  </a:lnTo>
                  <a:lnTo>
                    <a:pt x="2801" y="504"/>
                  </a:lnTo>
                  <a:lnTo>
                    <a:pt x="2800" y="504"/>
                  </a:lnTo>
                  <a:lnTo>
                    <a:pt x="2798" y="505"/>
                  </a:lnTo>
                  <a:lnTo>
                    <a:pt x="2797" y="509"/>
                  </a:lnTo>
                  <a:lnTo>
                    <a:pt x="2796" y="512"/>
                  </a:lnTo>
                  <a:lnTo>
                    <a:pt x="2796" y="518"/>
                  </a:lnTo>
                  <a:lnTo>
                    <a:pt x="2795" y="525"/>
                  </a:lnTo>
                  <a:lnTo>
                    <a:pt x="2796" y="533"/>
                  </a:lnTo>
                  <a:lnTo>
                    <a:pt x="2798" y="540"/>
                  </a:lnTo>
                  <a:lnTo>
                    <a:pt x="2800" y="548"/>
                  </a:lnTo>
                  <a:lnTo>
                    <a:pt x="2803" y="559"/>
                  </a:lnTo>
                  <a:lnTo>
                    <a:pt x="2803" y="562"/>
                  </a:lnTo>
                  <a:lnTo>
                    <a:pt x="2803" y="564"/>
                  </a:lnTo>
                  <a:lnTo>
                    <a:pt x="2804" y="566"/>
                  </a:lnTo>
                  <a:lnTo>
                    <a:pt x="2805" y="568"/>
                  </a:lnTo>
                  <a:lnTo>
                    <a:pt x="2805" y="569"/>
                  </a:lnTo>
                  <a:lnTo>
                    <a:pt x="2805" y="572"/>
                  </a:lnTo>
                  <a:lnTo>
                    <a:pt x="2805" y="573"/>
                  </a:lnTo>
                  <a:lnTo>
                    <a:pt x="2806" y="574"/>
                  </a:lnTo>
                  <a:lnTo>
                    <a:pt x="2807" y="575"/>
                  </a:lnTo>
                  <a:lnTo>
                    <a:pt x="2807" y="575"/>
                  </a:lnTo>
                  <a:lnTo>
                    <a:pt x="2809" y="575"/>
                  </a:lnTo>
                  <a:lnTo>
                    <a:pt x="2811" y="574"/>
                  </a:lnTo>
                  <a:lnTo>
                    <a:pt x="2813" y="573"/>
                  </a:lnTo>
                  <a:lnTo>
                    <a:pt x="2814" y="570"/>
                  </a:lnTo>
                  <a:lnTo>
                    <a:pt x="2816" y="567"/>
                  </a:lnTo>
                  <a:lnTo>
                    <a:pt x="2818" y="564"/>
                  </a:lnTo>
                  <a:lnTo>
                    <a:pt x="2821" y="562"/>
                  </a:lnTo>
                  <a:lnTo>
                    <a:pt x="2822" y="559"/>
                  </a:lnTo>
                  <a:lnTo>
                    <a:pt x="2824" y="557"/>
                  </a:lnTo>
                  <a:lnTo>
                    <a:pt x="2825" y="555"/>
                  </a:lnTo>
                  <a:lnTo>
                    <a:pt x="2826" y="553"/>
                  </a:lnTo>
                  <a:lnTo>
                    <a:pt x="2827" y="551"/>
                  </a:lnTo>
                  <a:lnTo>
                    <a:pt x="2829" y="548"/>
                  </a:lnTo>
                  <a:lnTo>
                    <a:pt x="2830" y="546"/>
                  </a:lnTo>
                  <a:lnTo>
                    <a:pt x="2832" y="544"/>
                  </a:lnTo>
                  <a:lnTo>
                    <a:pt x="2832" y="544"/>
                  </a:lnTo>
                  <a:lnTo>
                    <a:pt x="2833" y="544"/>
                  </a:lnTo>
                  <a:lnTo>
                    <a:pt x="2833" y="546"/>
                  </a:lnTo>
                  <a:lnTo>
                    <a:pt x="2832" y="548"/>
                  </a:lnTo>
                  <a:lnTo>
                    <a:pt x="2832" y="551"/>
                  </a:lnTo>
                  <a:lnTo>
                    <a:pt x="2830" y="553"/>
                  </a:lnTo>
                  <a:lnTo>
                    <a:pt x="2830" y="556"/>
                  </a:lnTo>
                  <a:lnTo>
                    <a:pt x="2829" y="558"/>
                  </a:lnTo>
                  <a:lnTo>
                    <a:pt x="2829" y="559"/>
                  </a:lnTo>
                  <a:lnTo>
                    <a:pt x="2830" y="563"/>
                  </a:lnTo>
                  <a:lnTo>
                    <a:pt x="2833" y="565"/>
                  </a:lnTo>
                  <a:lnTo>
                    <a:pt x="2835" y="566"/>
                  </a:lnTo>
                  <a:lnTo>
                    <a:pt x="2837" y="567"/>
                  </a:lnTo>
                  <a:lnTo>
                    <a:pt x="2838" y="568"/>
                  </a:lnTo>
                  <a:lnTo>
                    <a:pt x="2838" y="568"/>
                  </a:lnTo>
                  <a:lnTo>
                    <a:pt x="2839" y="567"/>
                  </a:lnTo>
                  <a:lnTo>
                    <a:pt x="2839" y="567"/>
                  </a:lnTo>
                  <a:lnTo>
                    <a:pt x="2840" y="567"/>
                  </a:lnTo>
                  <a:lnTo>
                    <a:pt x="2840" y="568"/>
                  </a:lnTo>
                  <a:lnTo>
                    <a:pt x="2840" y="570"/>
                  </a:lnTo>
                  <a:lnTo>
                    <a:pt x="2840" y="574"/>
                  </a:lnTo>
                  <a:lnTo>
                    <a:pt x="2841" y="576"/>
                  </a:lnTo>
                  <a:lnTo>
                    <a:pt x="2843" y="579"/>
                  </a:lnTo>
                  <a:lnTo>
                    <a:pt x="2843" y="586"/>
                  </a:lnTo>
                  <a:lnTo>
                    <a:pt x="2840" y="592"/>
                  </a:lnTo>
                  <a:lnTo>
                    <a:pt x="2836" y="599"/>
                  </a:lnTo>
                  <a:lnTo>
                    <a:pt x="2835" y="600"/>
                  </a:lnTo>
                  <a:lnTo>
                    <a:pt x="2833" y="602"/>
                  </a:lnTo>
                  <a:lnTo>
                    <a:pt x="2832" y="605"/>
                  </a:lnTo>
                  <a:lnTo>
                    <a:pt x="2832" y="608"/>
                  </a:lnTo>
                  <a:lnTo>
                    <a:pt x="2830" y="610"/>
                  </a:lnTo>
                  <a:lnTo>
                    <a:pt x="2829" y="612"/>
                  </a:lnTo>
                  <a:lnTo>
                    <a:pt x="2829" y="617"/>
                  </a:lnTo>
                  <a:lnTo>
                    <a:pt x="2828" y="618"/>
                  </a:lnTo>
                  <a:lnTo>
                    <a:pt x="2827" y="620"/>
                  </a:lnTo>
                  <a:lnTo>
                    <a:pt x="2825" y="622"/>
                  </a:lnTo>
                  <a:lnTo>
                    <a:pt x="2824" y="624"/>
                  </a:lnTo>
                  <a:lnTo>
                    <a:pt x="2823" y="625"/>
                  </a:lnTo>
                  <a:lnTo>
                    <a:pt x="2822" y="627"/>
                  </a:lnTo>
                  <a:lnTo>
                    <a:pt x="2821" y="627"/>
                  </a:lnTo>
                  <a:lnTo>
                    <a:pt x="2821" y="628"/>
                  </a:lnTo>
                  <a:lnTo>
                    <a:pt x="2819" y="630"/>
                  </a:lnTo>
                  <a:lnTo>
                    <a:pt x="2818" y="631"/>
                  </a:lnTo>
                  <a:lnTo>
                    <a:pt x="2816" y="634"/>
                  </a:lnTo>
                  <a:lnTo>
                    <a:pt x="2814" y="638"/>
                  </a:lnTo>
                  <a:lnTo>
                    <a:pt x="2812" y="641"/>
                  </a:lnTo>
                  <a:lnTo>
                    <a:pt x="2809" y="643"/>
                  </a:lnTo>
                  <a:lnTo>
                    <a:pt x="2807" y="644"/>
                  </a:lnTo>
                  <a:lnTo>
                    <a:pt x="2806" y="646"/>
                  </a:lnTo>
                  <a:lnTo>
                    <a:pt x="2805" y="649"/>
                  </a:lnTo>
                  <a:lnTo>
                    <a:pt x="2804" y="652"/>
                  </a:lnTo>
                  <a:lnTo>
                    <a:pt x="2803" y="654"/>
                  </a:lnTo>
                  <a:lnTo>
                    <a:pt x="2801" y="655"/>
                  </a:lnTo>
                  <a:lnTo>
                    <a:pt x="2801" y="656"/>
                  </a:lnTo>
                  <a:lnTo>
                    <a:pt x="2800" y="656"/>
                  </a:lnTo>
                  <a:lnTo>
                    <a:pt x="2798" y="656"/>
                  </a:lnTo>
                  <a:lnTo>
                    <a:pt x="2797" y="657"/>
                  </a:lnTo>
                  <a:lnTo>
                    <a:pt x="2796" y="657"/>
                  </a:lnTo>
                  <a:lnTo>
                    <a:pt x="2790" y="671"/>
                  </a:lnTo>
                  <a:lnTo>
                    <a:pt x="2786" y="674"/>
                  </a:lnTo>
                  <a:lnTo>
                    <a:pt x="2784" y="676"/>
                  </a:lnTo>
                  <a:lnTo>
                    <a:pt x="2781" y="678"/>
                  </a:lnTo>
                  <a:lnTo>
                    <a:pt x="2778" y="681"/>
                  </a:lnTo>
                  <a:lnTo>
                    <a:pt x="2774" y="684"/>
                  </a:lnTo>
                  <a:lnTo>
                    <a:pt x="2774" y="685"/>
                  </a:lnTo>
                  <a:lnTo>
                    <a:pt x="2773" y="686"/>
                  </a:lnTo>
                  <a:lnTo>
                    <a:pt x="2771" y="687"/>
                  </a:lnTo>
                  <a:lnTo>
                    <a:pt x="2770" y="688"/>
                  </a:lnTo>
                  <a:lnTo>
                    <a:pt x="2769" y="689"/>
                  </a:lnTo>
                  <a:lnTo>
                    <a:pt x="2768" y="690"/>
                  </a:lnTo>
                  <a:lnTo>
                    <a:pt x="2768" y="692"/>
                  </a:lnTo>
                  <a:lnTo>
                    <a:pt x="2767" y="694"/>
                  </a:lnTo>
                  <a:lnTo>
                    <a:pt x="2765" y="695"/>
                  </a:lnTo>
                  <a:lnTo>
                    <a:pt x="2763" y="696"/>
                  </a:lnTo>
                  <a:lnTo>
                    <a:pt x="2762" y="697"/>
                  </a:lnTo>
                  <a:lnTo>
                    <a:pt x="2760" y="699"/>
                  </a:lnTo>
                  <a:lnTo>
                    <a:pt x="2759" y="701"/>
                  </a:lnTo>
                  <a:lnTo>
                    <a:pt x="2757" y="704"/>
                  </a:lnTo>
                  <a:lnTo>
                    <a:pt x="2753" y="706"/>
                  </a:lnTo>
                  <a:lnTo>
                    <a:pt x="2750" y="708"/>
                  </a:lnTo>
                  <a:lnTo>
                    <a:pt x="2748" y="710"/>
                  </a:lnTo>
                  <a:lnTo>
                    <a:pt x="2746" y="711"/>
                  </a:lnTo>
                  <a:lnTo>
                    <a:pt x="2743" y="712"/>
                  </a:lnTo>
                  <a:lnTo>
                    <a:pt x="2741" y="715"/>
                  </a:lnTo>
                  <a:lnTo>
                    <a:pt x="2740" y="716"/>
                  </a:lnTo>
                  <a:lnTo>
                    <a:pt x="2738" y="716"/>
                  </a:lnTo>
                  <a:lnTo>
                    <a:pt x="2737" y="715"/>
                  </a:lnTo>
                  <a:lnTo>
                    <a:pt x="2736" y="714"/>
                  </a:lnTo>
                  <a:lnTo>
                    <a:pt x="2736" y="712"/>
                  </a:lnTo>
                  <a:lnTo>
                    <a:pt x="2735" y="711"/>
                  </a:lnTo>
                  <a:lnTo>
                    <a:pt x="2734" y="709"/>
                  </a:lnTo>
                  <a:lnTo>
                    <a:pt x="2734" y="707"/>
                  </a:lnTo>
                  <a:lnTo>
                    <a:pt x="2735" y="704"/>
                  </a:lnTo>
                  <a:lnTo>
                    <a:pt x="2736" y="696"/>
                  </a:lnTo>
                  <a:lnTo>
                    <a:pt x="2737" y="689"/>
                  </a:lnTo>
                  <a:lnTo>
                    <a:pt x="2737" y="682"/>
                  </a:lnTo>
                  <a:lnTo>
                    <a:pt x="2737" y="674"/>
                  </a:lnTo>
                  <a:lnTo>
                    <a:pt x="2736" y="668"/>
                  </a:lnTo>
                  <a:lnTo>
                    <a:pt x="2735" y="662"/>
                  </a:lnTo>
                  <a:lnTo>
                    <a:pt x="2735" y="658"/>
                  </a:lnTo>
                  <a:lnTo>
                    <a:pt x="2735" y="654"/>
                  </a:lnTo>
                  <a:lnTo>
                    <a:pt x="2734" y="650"/>
                  </a:lnTo>
                  <a:lnTo>
                    <a:pt x="2734" y="646"/>
                  </a:lnTo>
                  <a:lnTo>
                    <a:pt x="2732" y="644"/>
                  </a:lnTo>
                  <a:lnTo>
                    <a:pt x="2731" y="644"/>
                  </a:lnTo>
                  <a:lnTo>
                    <a:pt x="2729" y="643"/>
                  </a:lnTo>
                  <a:lnTo>
                    <a:pt x="2728" y="643"/>
                  </a:lnTo>
                  <a:lnTo>
                    <a:pt x="2727" y="643"/>
                  </a:lnTo>
                  <a:lnTo>
                    <a:pt x="2727" y="642"/>
                  </a:lnTo>
                  <a:lnTo>
                    <a:pt x="2728" y="640"/>
                  </a:lnTo>
                  <a:lnTo>
                    <a:pt x="2728" y="635"/>
                  </a:lnTo>
                  <a:lnTo>
                    <a:pt x="2729" y="632"/>
                  </a:lnTo>
                  <a:lnTo>
                    <a:pt x="2730" y="628"/>
                  </a:lnTo>
                  <a:lnTo>
                    <a:pt x="2730" y="623"/>
                  </a:lnTo>
                  <a:lnTo>
                    <a:pt x="2730" y="619"/>
                  </a:lnTo>
                  <a:lnTo>
                    <a:pt x="2730" y="617"/>
                  </a:lnTo>
                  <a:lnTo>
                    <a:pt x="2730" y="612"/>
                  </a:lnTo>
                  <a:lnTo>
                    <a:pt x="2730" y="609"/>
                  </a:lnTo>
                  <a:lnTo>
                    <a:pt x="2730" y="606"/>
                  </a:lnTo>
                  <a:lnTo>
                    <a:pt x="2728" y="599"/>
                  </a:lnTo>
                  <a:lnTo>
                    <a:pt x="2726" y="595"/>
                  </a:lnTo>
                  <a:lnTo>
                    <a:pt x="2724" y="590"/>
                  </a:lnTo>
                  <a:lnTo>
                    <a:pt x="2721" y="579"/>
                  </a:lnTo>
                  <a:lnTo>
                    <a:pt x="2721" y="568"/>
                  </a:lnTo>
                  <a:lnTo>
                    <a:pt x="2720" y="566"/>
                  </a:lnTo>
                  <a:lnTo>
                    <a:pt x="2720" y="564"/>
                  </a:lnTo>
                  <a:lnTo>
                    <a:pt x="2719" y="562"/>
                  </a:lnTo>
                  <a:lnTo>
                    <a:pt x="2719" y="559"/>
                  </a:lnTo>
                  <a:lnTo>
                    <a:pt x="2718" y="558"/>
                  </a:lnTo>
                  <a:lnTo>
                    <a:pt x="2717" y="557"/>
                  </a:lnTo>
                  <a:lnTo>
                    <a:pt x="2716" y="558"/>
                  </a:lnTo>
                  <a:lnTo>
                    <a:pt x="2715" y="559"/>
                  </a:lnTo>
                  <a:lnTo>
                    <a:pt x="2714" y="561"/>
                  </a:lnTo>
                  <a:lnTo>
                    <a:pt x="2713" y="562"/>
                  </a:lnTo>
                  <a:lnTo>
                    <a:pt x="2712" y="563"/>
                  </a:lnTo>
                  <a:lnTo>
                    <a:pt x="2710" y="564"/>
                  </a:lnTo>
                  <a:lnTo>
                    <a:pt x="2710" y="570"/>
                  </a:lnTo>
                  <a:lnTo>
                    <a:pt x="2712" y="584"/>
                  </a:lnTo>
                  <a:lnTo>
                    <a:pt x="2713" y="597"/>
                  </a:lnTo>
                  <a:lnTo>
                    <a:pt x="2713" y="598"/>
                  </a:lnTo>
                  <a:lnTo>
                    <a:pt x="2714" y="601"/>
                  </a:lnTo>
                  <a:lnTo>
                    <a:pt x="2714" y="605"/>
                  </a:lnTo>
                  <a:lnTo>
                    <a:pt x="2715" y="608"/>
                  </a:lnTo>
                  <a:lnTo>
                    <a:pt x="2713" y="609"/>
                  </a:lnTo>
                  <a:lnTo>
                    <a:pt x="2713" y="612"/>
                  </a:lnTo>
                  <a:lnTo>
                    <a:pt x="2713" y="616"/>
                  </a:lnTo>
                  <a:lnTo>
                    <a:pt x="2713" y="619"/>
                  </a:lnTo>
                  <a:lnTo>
                    <a:pt x="2712" y="621"/>
                  </a:lnTo>
                  <a:lnTo>
                    <a:pt x="2712" y="623"/>
                  </a:lnTo>
                  <a:lnTo>
                    <a:pt x="2713" y="624"/>
                  </a:lnTo>
                  <a:lnTo>
                    <a:pt x="2714" y="627"/>
                  </a:lnTo>
                  <a:lnTo>
                    <a:pt x="2715" y="630"/>
                  </a:lnTo>
                  <a:lnTo>
                    <a:pt x="2715" y="631"/>
                  </a:lnTo>
                  <a:lnTo>
                    <a:pt x="2715" y="634"/>
                  </a:lnTo>
                  <a:lnTo>
                    <a:pt x="2715" y="636"/>
                  </a:lnTo>
                  <a:lnTo>
                    <a:pt x="2715" y="640"/>
                  </a:lnTo>
                  <a:lnTo>
                    <a:pt x="2714" y="646"/>
                  </a:lnTo>
                  <a:lnTo>
                    <a:pt x="2713" y="653"/>
                  </a:lnTo>
                  <a:lnTo>
                    <a:pt x="2710" y="660"/>
                  </a:lnTo>
                  <a:lnTo>
                    <a:pt x="2710" y="664"/>
                  </a:lnTo>
                  <a:lnTo>
                    <a:pt x="2713" y="666"/>
                  </a:lnTo>
                  <a:lnTo>
                    <a:pt x="2714" y="666"/>
                  </a:lnTo>
                  <a:lnTo>
                    <a:pt x="2715" y="666"/>
                  </a:lnTo>
                  <a:lnTo>
                    <a:pt x="2716" y="668"/>
                  </a:lnTo>
                  <a:lnTo>
                    <a:pt x="2717" y="671"/>
                  </a:lnTo>
                  <a:lnTo>
                    <a:pt x="2717" y="673"/>
                  </a:lnTo>
                  <a:lnTo>
                    <a:pt x="2717" y="677"/>
                  </a:lnTo>
                  <a:lnTo>
                    <a:pt x="2716" y="684"/>
                  </a:lnTo>
                  <a:lnTo>
                    <a:pt x="2715" y="690"/>
                  </a:lnTo>
                  <a:lnTo>
                    <a:pt x="2715" y="697"/>
                  </a:lnTo>
                  <a:lnTo>
                    <a:pt x="2715" y="700"/>
                  </a:lnTo>
                  <a:lnTo>
                    <a:pt x="2716" y="703"/>
                  </a:lnTo>
                  <a:lnTo>
                    <a:pt x="2717" y="704"/>
                  </a:lnTo>
                  <a:lnTo>
                    <a:pt x="2718" y="705"/>
                  </a:lnTo>
                  <a:lnTo>
                    <a:pt x="2720" y="705"/>
                  </a:lnTo>
                  <a:lnTo>
                    <a:pt x="2721" y="706"/>
                  </a:lnTo>
                  <a:lnTo>
                    <a:pt x="2724" y="707"/>
                  </a:lnTo>
                  <a:lnTo>
                    <a:pt x="2726" y="708"/>
                  </a:lnTo>
                  <a:lnTo>
                    <a:pt x="2728" y="710"/>
                  </a:lnTo>
                  <a:lnTo>
                    <a:pt x="2728" y="711"/>
                  </a:lnTo>
                  <a:lnTo>
                    <a:pt x="2729" y="712"/>
                  </a:lnTo>
                  <a:lnTo>
                    <a:pt x="2729" y="712"/>
                  </a:lnTo>
                  <a:lnTo>
                    <a:pt x="2730" y="712"/>
                  </a:lnTo>
                  <a:lnTo>
                    <a:pt x="2730" y="715"/>
                  </a:lnTo>
                  <a:lnTo>
                    <a:pt x="2731" y="716"/>
                  </a:lnTo>
                  <a:lnTo>
                    <a:pt x="2730" y="719"/>
                  </a:lnTo>
                  <a:lnTo>
                    <a:pt x="2730" y="721"/>
                  </a:lnTo>
                  <a:lnTo>
                    <a:pt x="2730" y="723"/>
                  </a:lnTo>
                  <a:lnTo>
                    <a:pt x="2730" y="728"/>
                  </a:lnTo>
                  <a:lnTo>
                    <a:pt x="2730" y="730"/>
                  </a:lnTo>
                  <a:lnTo>
                    <a:pt x="2730" y="732"/>
                  </a:lnTo>
                  <a:lnTo>
                    <a:pt x="2730" y="736"/>
                  </a:lnTo>
                  <a:lnTo>
                    <a:pt x="2731" y="739"/>
                  </a:lnTo>
                  <a:lnTo>
                    <a:pt x="2732" y="741"/>
                  </a:lnTo>
                  <a:lnTo>
                    <a:pt x="2735" y="743"/>
                  </a:lnTo>
                  <a:lnTo>
                    <a:pt x="2737" y="743"/>
                  </a:lnTo>
                  <a:lnTo>
                    <a:pt x="2739" y="742"/>
                  </a:lnTo>
                  <a:lnTo>
                    <a:pt x="2741" y="740"/>
                  </a:lnTo>
                  <a:lnTo>
                    <a:pt x="2743" y="737"/>
                  </a:lnTo>
                  <a:lnTo>
                    <a:pt x="2745" y="736"/>
                  </a:lnTo>
                  <a:lnTo>
                    <a:pt x="2746" y="734"/>
                  </a:lnTo>
                  <a:lnTo>
                    <a:pt x="2747" y="734"/>
                  </a:lnTo>
                  <a:lnTo>
                    <a:pt x="2748" y="734"/>
                  </a:lnTo>
                  <a:lnTo>
                    <a:pt x="2750" y="733"/>
                  </a:lnTo>
                  <a:lnTo>
                    <a:pt x="2752" y="732"/>
                  </a:lnTo>
                  <a:lnTo>
                    <a:pt x="2754" y="730"/>
                  </a:lnTo>
                  <a:lnTo>
                    <a:pt x="2756" y="728"/>
                  </a:lnTo>
                  <a:lnTo>
                    <a:pt x="2758" y="726"/>
                  </a:lnTo>
                  <a:lnTo>
                    <a:pt x="2759" y="725"/>
                  </a:lnTo>
                  <a:lnTo>
                    <a:pt x="2761" y="723"/>
                  </a:lnTo>
                  <a:lnTo>
                    <a:pt x="2763" y="722"/>
                  </a:lnTo>
                  <a:lnTo>
                    <a:pt x="2765" y="721"/>
                  </a:lnTo>
                  <a:lnTo>
                    <a:pt x="2768" y="719"/>
                  </a:lnTo>
                  <a:lnTo>
                    <a:pt x="2769" y="718"/>
                  </a:lnTo>
                  <a:lnTo>
                    <a:pt x="2771" y="716"/>
                  </a:lnTo>
                  <a:lnTo>
                    <a:pt x="2771" y="716"/>
                  </a:lnTo>
                  <a:lnTo>
                    <a:pt x="2772" y="715"/>
                  </a:lnTo>
                  <a:lnTo>
                    <a:pt x="2773" y="716"/>
                  </a:lnTo>
                  <a:lnTo>
                    <a:pt x="2773" y="720"/>
                  </a:lnTo>
                  <a:lnTo>
                    <a:pt x="2771" y="727"/>
                  </a:lnTo>
                  <a:lnTo>
                    <a:pt x="2769" y="732"/>
                  </a:lnTo>
                  <a:lnTo>
                    <a:pt x="2768" y="737"/>
                  </a:lnTo>
                  <a:lnTo>
                    <a:pt x="2761" y="751"/>
                  </a:lnTo>
                  <a:lnTo>
                    <a:pt x="2754" y="765"/>
                  </a:lnTo>
                  <a:lnTo>
                    <a:pt x="2741" y="792"/>
                  </a:lnTo>
                  <a:lnTo>
                    <a:pt x="2735" y="805"/>
                  </a:lnTo>
                  <a:lnTo>
                    <a:pt x="2728" y="816"/>
                  </a:lnTo>
                  <a:lnTo>
                    <a:pt x="2726" y="818"/>
                  </a:lnTo>
                  <a:lnTo>
                    <a:pt x="2724" y="821"/>
                  </a:lnTo>
                  <a:lnTo>
                    <a:pt x="2721" y="825"/>
                  </a:lnTo>
                  <a:lnTo>
                    <a:pt x="2719" y="826"/>
                  </a:lnTo>
                  <a:lnTo>
                    <a:pt x="2717" y="827"/>
                  </a:lnTo>
                  <a:lnTo>
                    <a:pt x="2715" y="827"/>
                  </a:lnTo>
                  <a:lnTo>
                    <a:pt x="2713" y="829"/>
                  </a:lnTo>
                  <a:lnTo>
                    <a:pt x="2710" y="832"/>
                  </a:lnTo>
                  <a:lnTo>
                    <a:pt x="2708" y="836"/>
                  </a:lnTo>
                  <a:lnTo>
                    <a:pt x="2706" y="839"/>
                  </a:lnTo>
                  <a:lnTo>
                    <a:pt x="2704" y="842"/>
                  </a:lnTo>
                  <a:lnTo>
                    <a:pt x="2704" y="845"/>
                  </a:lnTo>
                  <a:lnTo>
                    <a:pt x="2702" y="847"/>
                  </a:lnTo>
                  <a:lnTo>
                    <a:pt x="2702" y="849"/>
                  </a:lnTo>
                  <a:lnTo>
                    <a:pt x="2701" y="851"/>
                  </a:lnTo>
                  <a:lnTo>
                    <a:pt x="2699" y="853"/>
                  </a:lnTo>
                  <a:lnTo>
                    <a:pt x="2697" y="856"/>
                  </a:lnTo>
                  <a:lnTo>
                    <a:pt x="2695" y="858"/>
                  </a:lnTo>
                  <a:lnTo>
                    <a:pt x="2695" y="860"/>
                  </a:lnTo>
                  <a:lnTo>
                    <a:pt x="2685" y="872"/>
                  </a:lnTo>
                  <a:lnTo>
                    <a:pt x="2676" y="885"/>
                  </a:lnTo>
                  <a:lnTo>
                    <a:pt x="2667" y="898"/>
                  </a:lnTo>
                  <a:lnTo>
                    <a:pt x="2665" y="903"/>
                  </a:lnTo>
                  <a:lnTo>
                    <a:pt x="2662" y="907"/>
                  </a:lnTo>
                  <a:lnTo>
                    <a:pt x="2659" y="912"/>
                  </a:lnTo>
                  <a:lnTo>
                    <a:pt x="2659" y="914"/>
                  </a:lnTo>
                  <a:lnTo>
                    <a:pt x="2658" y="916"/>
                  </a:lnTo>
                  <a:lnTo>
                    <a:pt x="2658" y="919"/>
                  </a:lnTo>
                  <a:lnTo>
                    <a:pt x="2656" y="921"/>
                  </a:lnTo>
                  <a:lnTo>
                    <a:pt x="2655" y="927"/>
                  </a:lnTo>
                  <a:lnTo>
                    <a:pt x="2653" y="935"/>
                  </a:lnTo>
                  <a:lnTo>
                    <a:pt x="2652" y="943"/>
                  </a:lnTo>
                  <a:lnTo>
                    <a:pt x="2652" y="948"/>
                  </a:lnTo>
                  <a:lnTo>
                    <a:pt x="2652" y="952"/>
                  </a:lnTo>
                  <a:lnTo>
                    <a:pt x="2652" y="957"/>
                  </a:lnTo>
                  <a:lnTo>
                    <a:pt x="2652" y="960"/>
                  </a:lnTo>
                  <a:lnTo>
                    <a:pt x="2652" y="965"/>
                  </a:lnTo>
                  <a:lnTo>
                    <a:pt x="2651" y="968"/>
                  </a:lnTo>
                  <a:lnTo>
                    <a:pt x="2650" y="973"/>
                  </a:lnTo>
                  <a:lnTo>
                    <a:pt x="2648" y="978"/>
                  </a:lnTo>
                  <a:lnTo>
                    <a:pt x="2645" y="987"/>
                  </a:lnTo>
                  <a:lnTo>
                    <a:pt x="2643" y="993"/>
                  </a:lnTo>
                  <a:lnTo>
                    <a:pt x="2641" y="1000"/>
                  </a:lnTo>
                  <a:lnTo>
                    <a:pt x="2640" y="1003"/>
                  </a:lnTo>
                  <a:lnTo>
                    <a:pt x="2639" y="1007"/>
                  </a:lnTo>
                  <a:lnTo>
                    <a:pt x="2637" y="1011"/>
                  </a:lnTo>
                  <a:lnTo>
                    <a:pt x="2634" y="1014"/>
                  </a:lnTo>
                  <a:lnTo>
                    <a:pt x="2630" y="1017"/>
                  </a:lnTo>
                  <a:lnTo>
                    <a:pt x="2629" y="1020"/>
                  </a:lnTo>
                  <a:lnTo>
                    <a:pt x="2627" y="1021"/>
                  </a:lnTo>
                  <a:lnTo>
                    <a:pt x="2625" y="1023"/>
                  </a:lnTo>
                  <a:lnTo>
                    <a:pt x="2621" y="1026"/>
                  </a:lnTo>
                  <a:lnTo>
                    <a:pt x="2619" y="1028"/>
                  </a:lnTo>
                  <a:lnTo>
                    <a:pt x="2617" y="1032"/>
                  </a:lnTo>
                  <a:lnTo>
                    <a:pt x="2615" y="1035"/>
                  </a:lnTo>
                  <a:lnTo>
                    <a:pt x="2612" y="1036"/>
                  </a:lnTo>
                  <a:lnTo>
                    <a:pt x="2610" y="1037"/>
                  </a:lnTo>
                  <a:lnTo>
                    <a:pt x="2608" y="1039"/>
                  </a:lnTo>
                  <a:lnTo>
                    <a:pt x="2606" y="1042"/>
                  </a:lnTo>
                  <a:lnTo>
                    <a:pt x="2604" y="1045"/>
                  </a:lnTo>
                  <a:lnTo>
                    <a:pt x="2601" y="1048"/>
                  </a:lnTo>
                  <a:lnTo>
                    <a:pt x="2597" y="1054"/>
                  </a:lnTo>
                  <a:lnTo>
                    <a:pt x="2592" y="1060"/>
                  </a:lnTo>
                  <a:lnTo>
                    <a:pt x="2586" y="1068"/>
                  </a:lnTo>
                  <a:lnTo>
                    <a:pt x="2584" y="1070"/>
                  </a:lnTo>
                  <a:lnTo>
                    <a:pt x="2584" y="1074"/>
                  </a:lnTo>
                  <a:lnTo>
                    <a:pt x="2584" y="1076"/>
                  </a:lnTo>
                  <a:lnTo>
                    <a:pt x="2584" y="1078"/>
                  </a:lnTo>
                  <a:lnTo>
                    <a:pt x="2584" y="1081"/>
                  </a:lnTo>
                  <a:lnTo>
                    <a:pt x="2582" y="1086"/>
                  </a:lnTo>
                  <a:lnTo>
                    <a:pt x="2581" y="1090"/>
                  </a:lnTo>
                  <a:lnTo>
                    <a:pt x="2579" y="1094"/>
                  </a:lnTo>
                  <a:lnTo>
                    <a:pt x="2578" y="1097"/>
                  </a:lnTo>
                  <a:lnTo>
                    <a:pt x="2577" y="1099"/>
                  </a:lnTo>
                  <a:lnTo>
                    <a:pt x="2576" y="1102"/>
                  </a:lnTo>
                  <a:lnTo>
                    <a:pt x="2575" y="1105"/>
                  </a:lnTo>
                  <a:lnTo>
                    <a:pt x="2573" y="1110"/>
                  </a:lnTo>
                  <a:lnTo>
                    <a:pt x="2570" y="1113"/>
                  </a:lnTo>
                  <a:lnTo>
                    <a:pt x="2566" y="1115"/>
                  </a:lnTo>
                  <a:lnTo>
                    <a:pt x="2563" y="1118"/>
                  </a:lnTo>
                  <a:lnTo>
                    <a:pt x="2560" y="1121"/>
                  </a:lnTo>
                  <a:lnTo>
                    <a:pt x="2555" y="1124"/>
                  </a:lnTo>
                  <a:lnTo>
                    <a:pt x="2552" y="1129"/>
                  </a:lnTo>
                  <a:lnTo>
                    <a:pt x="2549" y="1133"/>
                  </a:lnTo>
                  <a:lnTo>
                    <a:pt x="2546" y="1138"/>
                  </a:lnTo>
                  <a:lnTo>
                    <a:pt x="2541" y="1148"/>
                  </a:lnTo>
                  <a:lnTo>
                    <a:pt x="2535" y="1157"/>
                  </a:lnTo>
                  <a:lnTo>
                    <a:pt x="2522" y="1177"/>
                  </a:lnTo>
                  <a:lnTo>
                    <a:pt x="2519" y="1180"/>
                  </a:lnTo>
                  <a:lnTo>
                    <a:pt x="2516" y="1184"/>
                  </a:lnTo>
                  <a:lnTo>
                    <a:pt x="2513" y="1187"/>
                  </a:lnTo>
                  <a:lnTo>
                    <a:pt x="2510" y="1191"/>
                  </a:lnTo>
                  <a:lnTo>
                    <a:pt x="2507" y="1195"/>
                  </a:lnTo>
                  <a:lnTo>
                    <a:pt x="2503" y="1198"/>
                  </a:lnTo>
                  <a:lnTo>
                    <a:pt x="2501" y="1200"/>
                  </a:lnTo>
                  <a:lnTo>
                    <a:pt x="2499" y="1202"/>
                  </a:lnTo>
                  <a:lnTo>
                    <a:pt x="2496" y="1203"/>
                  </a:lnTo>
                  <a:lnTo>
                    <a:pt x="2494" y="1208"/>
                  </a:lnTo>
                  <a:lnTo>
                    <a:pt x="2491" y="1211"/>
                  </a:lnTo>
                  <a:lnTo>
                    <a:pt x="2489" y="1214"/>
                  </a:lnTo>
                  <a:lnTo>
                    <a:pt x="2485" y="1217"/>
                  </a:lnTo>
                  <a:lnTo>
                    <a:pt x="2481" y="1219"/>
                  </a:lnTo>
                  <a:lnTo>
                    <a:pt x="2478" y="1221"/>
                  </a:lnTo>
                  <a:lnTo>
                    <a:pt x="2476" y="1223"/>
                  </a:lnTo>
                  <a:lnTo>
                    <a:pt x="2475" y="1224"/>
                  </a:lnTo>
                  <a:lnTo>
                    <a:pt x="2473" y="1225"/>
                  </a:lnTo>
                  <a:lnTo>
                    <a:pt x="2470" y="1227"/>
                  </a:lnTo>
                  <a:lnTo>
                    <a:pt x="2469" y="1228"/>
                  </a:lnTo>
                  <a:lnTo>
                    <a:pt x="2466" y="1230"/>
                  </a:lnTo>
                  <a:lnTo>
                    <a:pt x="2464" y="1232"/>
                  </a:lnTo>
                  <a:lnTo>
                    <a:pt x="2461" y="1234"/>
                  </a:lnTo>
                  <a:lnTo>
                    <a:pt x="2458" y="1236"/>
                  </a:lnTo>
                  <a:lnTo>
                    <a:pt x="2456" y="1236"/>
                  </a:lnTo>
                  <a:lnTo>
                    <a:pt x="2454" y="1238"/>
                  </a:lnTo>
                  <a:lnTo>
                    <a:pt x="2452" y="1239"/>
                  </a:lnTo>
                  <a:lnTo>
                    <a:pt x="2450" y="1239"/>
                  </a:lnTo>
                  <a:lnTo>
                    <a:pt x="2446" y="1241"/>
                  </a:lnTo>
                  <a:lnTo>
                    <a:pt x="2443" y="1243"/>
                  </a:lnTo>
                  <a:lnTo>
                    <a:pt x="2438" y="1243"/>
                  </a:lnTo>
                  <a:lnTo>
                    <a:pt x="2432" y="1250"/>
                  </a:lnTo>
                  <a:lnTo>
                    <a:pt x="2427" y="1253"/>
                  </a:lnTo>
                  <a:lnTo>
                    <a:pt x="2422" y="1256"/>
                  </a:lnTo>
                  <a:lnTo>
                    <a:pt x="2416" y="1257"/>
                  </a:lnTo>
                  <a:lnTo>
                    <a:pt x="2414" y="1258"/>
                  </a:lnTo>
                  <a:lnTo>
                    <a:pt x="2412" y="1258"/>
                  </a:lnTo>
                  <a:lnTo>
                    <a:pt x="2412" y="1257"/>
                  </a:lnTo>
                  <a:lnTo>
                    <a:pt x="2411" y="1256"/>
                  </a:lnTo>
                  <a:lnTo>
                    <a:pt x="2410" y="1256"/>
                  </a:lnTo>
                  <a:lnTo>
                    <a:pt x="2408" y="1256"/>
                  </a:lnTo>
                  <a:lnTo>
                    <a:pt x="2408" y="1255"/>
                  </a:lnTo>
                  <a:lnTo>
                    <a:pt x="2408" y="1254"/>
                  </a:lnTo>
                  <a:lnTo>
                    <a:pt x="2408" y="1252"/>
                  </a:lnTo>
                  <a:lnTo>
                    <a:pt x="2408" y="1251"/>
                  </a:lnTo>
                  <a:lnTo>
                    <a:pt x="2408" y="1250"/>
                  </a:lnTo>
                  <a:lnTo>
                    <a:pt x="2408" y="1249"/>
                  </a:lnTo>
                  <a:lnTo>
                    <a:pt x="2409" y="1247"/>
                  </a:lnTo>
                  <a:lnTo>
                    <a:pt x="2410" y="1245"/>
                  </a:lnTo>
                  <a:lnTo>
                    <a:pt x="2410" y="1244"/>
                  </a:lnTo>
                  <a:lnTo>
                    <a:pt x="2411" y="1243"/>
                  </a:lnTo>
                  <a:lnTo>
                    <a:pt x="2412" y="1241"/>
                  </a:lnTo>
                  <a:lnTo>
                    <a:pt x="2413" y="1239"/>
                  </a:lnTo>
                  <a:lnTo>
                    <a:pt x="2414" y="1236"/>
                  </a:lnTo>
                  <a:lnTo>
                    <a:pt x="2415" y="1233"/>
                  </a:lnTo>
                  <a:lnTo>
                    <a:pt x="2415" y="1230"/>
                  </a:lnTo>
                  <a:lnTo>
                    <a:pt x="2415" y="1228"/>
                  </a:lnTo>
                  <a:lnTo>
                    <a:pt x="2414" y="1225"/>
                  </a:lnTo>
                  <a:lnTo>
                    <a:pt x="2413" y="1225"/>
                  </a:lnTo>
                  <a:lnTo>
                    <a:pt x="2413" y="1224"/>
                  </a:lnTo>
                  <a:lnTo>
                    <a:pt x="2412" y="1224"/>
                  </a:lnTo>
                  <a:lnTo>
                    <a:pt x="2412" y="1224"/>
                  </a:lnTo>
                  <a:lnTo>
                    <a:pt x="2411" y="1223"/>
                  </a:lnTo>
                  <a:lnTo>
                    <a:pt x="2411" y="1223"/>
                  </a:lnTo>
                  <a:lnTo>
                    <a:pt x="2412" y="1221"/>
                  </a:lnTo>
                  <a:lnTo>
                    <a:pt x="2412" y="1220"/>
                  </a:lnTo>
                  <a:lnTo>
                    <a:pt x="2412" y="1218"/>
                  </a:lnTo>
                  <a:lnTo>
                    <a:pt x="2413" y="1217"/>
                  </a:lnTo>
                  <a:lnTo>
                    <a:pt x="2413" y="1216"/>
                  </a:lnTo>
                  <a:lnTo>
                    <a:pt x="2414" y="1214"/>
                  </a:lnTo>
                  <a:lnTo>
                    <a:pt x="2412" y="1211"/>
                  </a:lnTo>
                  <a:lnTo>
                    <a:pt x="2411" y="1209"/>
                  </a:lnTo>
                  <a:lnTo>
                    <a:pt x="2410" y="1206"/>
                  </a:lnTo>
                  <a:lnTo>
                    <a:pt x="2410" y="1203"/>
                  </a:lnTo>
                  <a:lnTo>
                    <a:pt x="2409" y="1202"/>
                  </a:lnTo>
                  <a:lnTo>
                    <a:pt x="2409" y="1200"/>
                  </a:lnTo>
                  <a:lnTo>
                    <a:pt x="2409" y="1198"/>
                  </a:lnTo>
                  <a:lnTo>
                    <a:pt x="2409" y="1197"/>
                  </a:lnTo>
                  <a:lnTo>
                    <a:pt x="2410" y="1195"/>
                  </a:lnTo>
                  <a:lnTo>
                    <a:pt x="2410" y="1186"/>
                  </a:lnTo>
                  <a:lnTo>
                    <a:pt x="2410" y="1185"/>
                  </a:lnTo>
                  <a:lnTo>
                    <a:pt x="2411" y="1183"/>
                  </a:lnTo>
                  <a:lnTo>
                    <a:pt x="2412" y="1180"/>
                  </a:lnTo>
                  <a:lnTo>
                    <a:pt x="2413" y="1179"/>
                  </a:lnTo>
                  <a:lnTo>
                    <a:pt x="2414" y="1177"/>
                  </a:lnTo>
                  <a:lnTo>
                    <a:pt x="2415" y="1174"/>
                  </a:lnTo>
                  <a:lnTo>
                    <a:pt x="2416" y="1172"/>
                  </a:lnTo>
                  <a:lnTo>
                    <a:pt x="2418" y="1168"/>
                  </a:lnTo>
                  <a:lnTo>
                    <a:pt x="2419" y="1166"/>
                  </a:lnTo>
                  <a:lnTo>
                    <a:pt x="2421" y="1156"/>
                  </a:lnTo>
                  <a:lnTo>
                    <a:pt x="2421" y="1147"/>
                  </a:lnTo>
                  <a:lnTo>
                    <a:pt x="2419" y="1141"/>
                  </a:lnTo>
                  <a:lnTo>
                    <a:pt x="2416" y="1134"/>
                  </a:lnTo>
                  <a:lnTo>
                    <a:pt x="2415" y="1131"/>
                  </a:lnTo>
                  <a:lnTo>
                    <a:pt x="2414" y="1129"/>
                  </a:lnTo>
                  <a:lnTo>
                    <a:pt x="2414" y="1125"/>
                  </a:lnTo>
                  <a:lnTo>
                    <a:pt x="2415" y="1121"/>
                  </a:lnTo>
                  <a:lnTo>
                    <a:pt x="2416" y="1116"/>
                  </a:lnTo>
                  <a:lnTo>
                    <a:pt x="2419" y="1113"/>
                  </a:lnTo>
                  <a:lnTo>
                    <a:pt x="2420" y="1110"/>
                  </a:lnTo>
                  <a:lnTo>
                    <a:pt x="2421" y="1105"/>
                  </a:lnTo>
                  <a:lnTo>
                    <a:pt x="2422" y="1103"/>
                  </a:lnTo>
                  <a:lnTo>
                    <a:pt x="2423" y="1101"/>
                  </a:lnTo>
                  <a:lnTo>
                    <a:pt x="2423" y="1098"/>
                  </a:lnTo>
                  <a:lnTo>
                    <a:pt x="2425" y="1097"/>
                  </a:lnTo>
                  <a:lnTo>
                    <a:pt x="2429" y="1092"/>
                  </a:lnTo>
                  <a:lnTo>
                    <a:pt x="2432" y="1088"/>
                  </a:lnTo>
                  <a:lnTo>
                    <a:pt x="2434" y="1086"/>
                  </a:lnTo>
                  <a:lnTo>
                    <a:pt x="2434" y="1082"/>
                  </a:lnTo>
                  <a:lnTo>
                    <a:pt x="2435" y="1080"/>
                  </a:lnTo>
                  <a:lnTo>
                    <a:pt x="2436" y="1078"/>
                  </a:lnTo>
                  <a:lnTo>
                    <a:pt x="2438" y="1075"/>
                  </a:lnTo>
                  <a:lnTo>
                    <a:pt x="2442" y="1071"/>
                  </a:lnTo>
                  <a:lnTo>
                    <a:pt x="2446" y="1068"/>
                  </a:lnTo>
                  <a:lnTo>
                    <a:pt x="2450" y="1064"/>
                  </a:lnTo>
                  <a:lnTo>
                    <a:pt x="2454" y="1059"/>
                  </a:lnTo>
                  <a:lnTo>
                    <a:pt x="2456" y="1056"/>
                  </a:lnTo>
                  <a:lnTo>
                    <a:pt x="2457" y="1053"/>
                  </a:lnTo>
                  <a:lnTo>
                    <a:pt x="2458" y="1048"/>
                  </a:lnTo>
                  <a:lnTo>
                    <a:pt x="2458" y="1047"/>
                  </a:lnTo>
                  <a:lnTo>
                    <a:pt x="2458" y="1046"/>
                  </a:lnTo>
                  <a:lnTo>
                    <a:pt x="2458" y="1046"/>
                  </a:lnTo>
                  <a:lnTo>
                    <a:pt x="2457" y="1045"/>
                  </a:lnTo>
                  <a:lnTo>
                    <a:pt x="2456" y="1044"/>
                  </a:lnTo>
                  <a:lnTo>
                    <a:pt x="2456" y="1042"/>
                  </a:lnTo>
                  <a:lnTo>
                    <a:pt x="2456" y="1041"/>
                  </a:lnTo>
                  <a:lnTo>
                    <a:pt x="2457" y="1038"/>
                  </a:lnTo>
                  <a:lnTo>
                    <a:pt x="2458" y="1035"/>
                  </a:lnTo>
                  <a:lnTo>
                    <a:pt x="2459" y="1032"/>
                  </a:lnTo>
                  <a:lnTo>
                    <a:pt x="2459" y="1029"/>
                  </a:lnTo>
                  <a:lnTo>
                    <a:pt x="2461" y="1027"/>
                  </a:lnTo>
                  <a:lnTo>
                    <a:pt x="2461" y="1024"/>
                  </a:lnTo>
                  <a:lnTo>
                    <a:pt x="2461" y="1015"/>
                  </a:lnTo>
                  <a:lnTo>
                    <a:pt x="2461" y="1013"/>
                  </a:lnTo>
                  <a:lnTo>
                    <a:pt x="2461" y="1011"/>
                  </a:lnTo>
                  <a:lnTo>
                    <a:pt x="2462" y="1009"/>
                  </a:lnTo>
                  <a:lnTo>
                    <a:pt x="2463" y="1006"/>
                  </a:lnTo>
                  <a:lnTo>
                    <a:pt x="2464" y="1002"/>
                  </a:lnTo>
                  <a:lnTo>
                    <a:pt x="2464" y="998"/>
                  </a:lnTo>
                  <a:lnTo>
                    <a:pt x="2464" y="995"/>
                  </a:lnTo>
                  <a:lnTo>
                    <a:pt x="2464" y="993"/>
                  </a:lnTo>
                  <a:lnTo>
                    <a:pt x="2463" y="991"/>
                  </a:lnTo>
                  <a:lnTo>
                    <a:pt x="2459" y="988"/>
                  </a:lnTo>
                  <a:lnTo>
                    <a:pt x="2457" y="983"/>
                  </a:lnTo>
                  <a:lnTo>
                    <a:pt x="2455" y="979"/>
                  </a:lnTo>
                  <a:lnTo>
                    <a:pt x="2454" y="976"/>
                  </a:lnTo>
                  <a:lnTo>
                    <a:pt x="2453" y="974"/>
                  </a:lnTo>
                  <a:lnTo>
                    <a:pt x="2452" y="973"/>
                  </a:lnTo>
                  <a:lnTo>
                    <a:pt x="2451" y="972"/>
                  </a:lnTo>
                  <a:lnTo>
                    <a:pt x="2450" y="971"/>
                  </a:lnTo>
                  <a:lnTo>
                    <a:pt x="2450" y="969"/>
                  </a:lnTo>
                  <a:lnTo>
                    <a:pt x="2450" y="966"/>
                  </a:lnTo>
                  <a:lnTo>
                    <a:pt x="2452" y="962"/>
                  </a:lnTo>
                  <a:lnTo>
                    <a:pt x="2458" y="949"/>
                  </a:lnTo>
                  <a:lnTo>
                    <a:pt x="2465" y="936"/>
                  </a:lnTo>
                  <a:lnTo>
                    <a:pt x="2467" y="933"/>
                  </a:lnTo>
                  <a:lnTo>
                    <a:pt x="2469" y="929"/>
                  </a:lnTo>
                  <a:lnTo>
                    <a:pt x="2472" y="925"/>
                  </a:lnTo>
                  <a:lnTo>
                    <a:pt x="2473" y="924"/>
                  </a:lnTo>
                  <a:lnTo>
                    <a:pt x="2474" y="921"/>
                  </a:lnTo>
                  <a:lnTo>
                    <a:pt x="2475" y="917"/>
                  </a:lnTo>
                  <a:lnTo>
                    <a:pt x="2476" y="914"/>
                  </a:lnTo>
                  <a:lnTo>
                    <a:pt x="2476" y="913"/>
                  </a:lnTo>
                  <a:lnTo>
                    <a:pt x="2475" y="912"/>
                  </a:lnTo>
                  <a:lnTo>
                    <a:pt x="2474" y="912"/>
                  </a:lnTo>
                  <a:lnTo>
                    <a:pt x="2473" y="911"/>
                  </a:lnTo>
                  <a:lnTo>
                    <a:pt x="2472" y="909"/>
                  </a:lnTo>
                  <a:lnTo>
                    <a:pt x="2470" y="909"/>
                  </a:lnTo>
                  <a:lnTo>
                    <a:pt x="2470" y="908"/>
                  </a:lnTo>
                  <a:lnTo>
                    <a:pt x="2470" y="907"/>
                  </a:lnTo>
                  <a:lnTo>
                    <a:pt x="2470" y="906"/>
                  </a:lnTo>
                  <a:lnTo>
                    <a:pt x="2469" y="905"/>
                  </a:lnTo>
                  <a:lnTo>
                    <a:pt x="2468" y="904"/>
                  </a:lnTo>
                  <a:lnTo>
                    <a:pt x="2466" y="905"/>
                  </a:lnTo>
                  <a:lnTo>
                    <a:pt x="2464" y="906"/>
                  </a:lnTo>
                  <a:lnTo>
                    <a:pt x="2462" y="907"/>
                  </a:lnTo>
                  <a:lnTo>
                    <a:pt x="2459" y="909"/>
                  </a:lnTo>
                  <a:lnTo>
                    <a:pt x="2456" y="913"/>
                  </a:lnTo>
                  <a:lnTo>
                    <a:pt x="2454" y="914"/>
                  </a:lnTo>
                  <a:lnTo>
                    <a:pt x="2451" y="916"/>
                  </a:lnTo>
                  <a:lnTo>
                    <a:pt x="2447" y="918"/>
                  </a:lnTo>
                  <a:lnTo>
                    <a:pt x="2445" y="918"/>
                  </a:lnTo>
                  <a:lnTo>
                    <a:pt x="2444" y="918"/>
                  </a:lnTo>
                  <a:lnTo>
                    <a:pt x="2443" y="917"/>
                  </a:lnTo>
                  <a:lnTo>
                    <a:pt x="2443" y="914"/>
                  </a:lnTo>
                  <a:lnTo>
                    <a:pt x="2443" y="912"/>
                  </a:lnTo>
                  <a:lnTo>
                    <a:pt x="2442" y="909"/>
                  </a:lnTo>
                  <a:lnTo>
                    <a:pt x="2442" y="907"/>
                  </a:lnTo>
                  <a:lnTo>
                    <a:pt x="2441" y="905"/>
                  </a:lnTo>
                  <a:lnTo>
                    <a:pt x="2440" y="904"/>
                  </a:lnTo>
                  <a:lnTo>
                    <a:pt x="2438" y="903"/>
                  </a:lnTo>
                  <a:lnTo>
                    <a:pt x="2436" y="904"/>
                  </a:lnTo>
                  <a:lnTo>
                    <a:pt x="2435" y="905"/>
                  </a:lnTo>
                  <a:lnTo>
                    <a:pt x="2433" y="906"/>
                  </a:lnTo>
                  <a:lnTo>
                    <a:pt x="2431" y="907"/>
                  </a:lnTo>
                  <a:lnTo>
                    <a:pt x="2430" y="907"/>
                  </a:lnTo>
                  <a:lnTo>
                    <a:pt x="2423" y="907"/>
                  </a:lnTo>
                  <a:lnTo>
                    <a:pt x="2421" y="908"/>
                  </a:lnTo>
                  <a:lnTo>
                    <a:pt x="2419" y="908"/>
                  </a:lnTo>
                  <a:lnTo>
                    <a:pt x="2416" y="909"/>
                  </a:lnTo>
                  <a:lnTo>
                    <a:pt x="2414" y="912"/>
                  </a:lnTo>
                  <a:lnTo>
                    <a:pt x="2414" y="914"/>
                  </a:lnTo>
                  <a:lnTo>
                    <a:pt x="2413" y="917"/>
                  </a:lnTo>
                  <a:lnTo>
                    <a:pt x="2412" y="918"/>
                  </a:lnTo>
                  <a:lnTo>
                    <a:pt x="2408" y="922"/>
                  </a:lnTo>
                  <a:lnTo>
                    <a:pt x="2404" y="925"/>
                  </a:lnTo>
                  <a:lnTo>
                    <a:pt x="2400" y="927"/>
                  </a:lnTo>
                  <a:lnTo>
                    <a:pt x="2397" y="929"/>
                  </a:lnTo>
                  <a:lnTo>
                    <a:pt x="2393" y="929"/>
                  </a:lnTo>
                  <a:lnTo>
                    <a:pt x="2392" y="930"/>
                  </a:lnTo>
                  <a:lnTo>
                    <a:pt x="2390" y="932"/>
                  </a:lnTo>
                  <a:lnTo>
                    <a:pt x="2388" y="933"/>
                  </a:lnTo>
                  <a:lnTo>
                    <a:pt x="2386" y="935"/>
                  </a:lnTo>
                  <a:lnTo>
                    <a:pt x="2385" y="937"/>
                  </a:lnTo>
                  <a:lnTo>
                    <a:pt x="2382" y="938"/>
                  </a:lnTo>
                  <a:lnTo>
                    <a:pt x="2377" y="941"/>
                  </a:lnTo>
                  <a:lnTo>
                    <a:pt x="2371" y="945"/>
                  </a:lnTo>
                  <a:lnTo>
                    <a:pt x="2366" y="947"/>
                  </a:lnTo>
                  <a:lnTo>
                    <a:pt x="2363" y="945"/>
                  </a:lnTo>
                  <a:lnTo>
                    <a:pt x="2360" y="940"/>
                  </a:lnTo>
                  <a:lnTo>
                    <a:pt x="2357" y="940"/>
                  </a:lnTo>
                  <a:lnTo>
                    <a:pt x="2352" y="943"/>
                  </a:lnTo>
                  <a:lnTo>
                    <a:pt x="2345" y="947"/>
                  </a:lnTo>
                  <a:lnTo>
                    <a:pt x="2334" y="955"/>
                  </a:lnTo>
                  <a:lnTo>
                    <a:pt x="2321" y="962"/>
                  </a:lnTo>
                  <a:lnTo>
                    <a:pt x="2317" y="963"/>
                  </a:lnTo>
                  <a:lnTo>
                    <a:pt x="2314" y="962"/>
                  </a:lnTo>
                  <a:lnTo>
                    <a:pt x="2311" y="961"/>
                  </a:lnTo>
                  <a:lnTo>
                    <a:pt x="2309" y="959"/>
                  </a:lnTo>
                  <a:lnTo>
                    <a:pt x="2305" y="956"/>
                  </a:lnTo>
                  <a:lnTo>
                    <a:pt x="2305" y="954"/>
                  </a:lnTo>
                  <a:lnTo>
                    <a:pt x="2303" y="952"/>
                  </a:lnTo>
                  <a:lnTo>
                    <a:pt x="2301" y="951"/>
                  </a:lnTo>
                  <a:lnTo>
                    <a:pt x="2300" y="950"/>
                  </a:lnTo>
                  <a:lnTo>
                    <a:pt x="2298" y="950"/>
                  </a:lnTo>
                  <a:lnTo>
                    <a:pt x="2296" y="950"/>
                  </a:lnTo>
                  <a:lnTo>
                    <a:pt x="2294" y="949"/>
                  </a:lnTo>
                  <a:lnTo>
                    <a:pt x="2294" y="948"/>
                  </a:lnTo>
                  <a:lnTo>
                    <a:pt x="2294" y="946"/>
                  </a:lnTo>
                  <a:lnTo>
                    <a:pt x="2294" y="945"/>
                  </a:lnTo>
                  <a:lnTo>
                    <a:pt x="2293" y="944"/>
                  </a:lnTo>
                  <a:lnTo>
                    <a:pt x="2292" y="943"/>
                  </a:lnTo>
                  <a:lnTo>
                    <a:pt x="2291" y="943"/>
                  </a:lnTo>
                  <a:lnTo>
                    <a:pt x="2289" y="941"/>
                  </a:lnTo>
                  <a:lnTo>
                    <a:pt x="2287" y="943"/>
                  </a:lnTo>
                  <a:lnTo>
                    <a:pt x="2285" y="943"/>
                  </a:lnTo>
                  <a:lnTo>
                    <a:pt x="2283" y="943"/>
                  </a:lnTo>
                  <a:lnTo>
                    <a:pt x="2281" y="943"/>
                  </a:lnTo>
                  <a:lnTo>
                    <a:pt x="2280" y="941"/>
                  </a:lnTo>
                  <a:lnTo>
                    <a:pt x="2279" y="940"/>
                  </a:lnTo>
                  <a:lnTo>
                    <a:pt x="2279" y="938"/>
                  </a:lnTo>
                  <a:lnTo>
                    <a:pt x="2279" y="936"/>
                  </a:lnTo>
                  <a:lnTo>
                    <a:pt x="2279" y="934"/>
                  </a:lnTo>
                  <a:lnTo>
                    <a:pt x="2279" y="930"/>
                  </a:lnTo>
                  <a:lnTo>
                    <a:pt x="2278" y="928"/>
                  </a:lnTo>
                  <a:lnTo>
                    <a:pt x="2277" y="925"/>
                  </a:lnTo>
                  <a:lnTo>
                    <a:pt x="2276" y="924"/>
                  </a:lnTo>
                  <a:lnTo>
                    <a:pt x="2274" y="921"/>
                  </a:lnTo>
                  <a:lnTo>
                    <a:pt x="2274" y="917"/>
                  </a:lnTo>
                  <a:lnTo>
                    <a:pt x="2274" y="914"/>
                  </a:lnTo>
                  <a:lnTo>
                    <a:pt x="2274" y="913"/>
                  </a:lnTo>
                  <a:lnTo>
                    <a:pt x="2274" y="909"/>
                  </a:lnTo>
                  <a:lnTo>
                    <a:pt x="2273" y="907"/>
                  </a:lnTo>
                  <a:lnTo>
                    <a:pt x="2272" y="905"/>
                  </a:lnTo>
                  <a:lnTo>
                    <a:pt x="2272" y="904"/>
                  </a:lnTo>
                  <a:lnTo>
                    <a:pt x="2270" y="902"/>
                  </a:lnTo>
                  <a:lnTo>
                    <a:pt x="2269" y="902"/>
                  </a:lnTo>
                  <a:lnTo>
                    <a:pt x="2266" y="902"/>
                  </a:lnTo>
                  <a:lnTo>
                    <a:pt x="2263" y="903"/>
                  </a:lnTo>
                  <a:lnTo>
                    <a:pt x="2260" y="903"/>
                  </a:lnTo>
                  <a:lnTo>
                    <a:pt x="2259" y="902"/>
                  </a:lnTo>
                  <a:lnTo>
                    <a:pt x="2257" y="901"/>
                  </a:lnTo>
                  <a:lnTo>
                    <a:pt x="2257" y="898"/>
                  </a:lnTo>
                  <a:lnTo>
                    <a:pt x="2256" y="895"/>
                  </a:lnTo>
                  <a:lnTo>
                    <a:pt x="2257" y="889"/>
                  </a:lnTo>
                  <a:lnTo>
                    <a:pt x="2260" y="883"/>
                  </a:lnTo>
                  <a:lnTo>
                    <a:pt x="2263" y="878"/>
                  </a:lnTo>
                  <a:lnTo>
                    <a:pt x="2266" y="868"/>
                  </a:lnTo>
                  <a:lnTo>
                    <a:pt x="2268" y="858"/>
                  </a:lnTo>
                  <a:lnTo>
                    <a:pt x="2272" y="849"/>
                  </a:lnTo>
                  <a:lnTo>
                    <a:pt x="2278" y="839"/>
                  </a:lnTo>
                  <a:lnTo>
                    <a:pt x="2282" y="830"/>
                  </a:lnTo>
                  <a:lnTo>
                    <a:pt x="2285" y="820"/>
                  </a:lnTo>
                  <a:lnTo>
                    <a:pt x="2287" y="816"/>
                  </a:lnTo>
                  <a:lnTo>
                    <a:pt x="2287" y="813"/>
                  </a:lnTo>
                  <a:lnTo>
                    <a:pt x="2287" y="810"/>
                  </a:lnTo>
                  <a:lnTo>
                    <a:pt x="2285" y="807"/>
                  </a:lnTo>
                  <a:lnTo>
                    <a:pt x="2285" y="805"/>
                  </a:lnTo>
                  <a:lnTo>
                    <a:pt x="2285" y="789"/>
                  </a:lnTo>
                  <a:lnTo>
                    <a:pt x="2288" y="780"/>
                  </a:lnTo>
                  <a:lnTo>
                    <a:pt x="2290" y="769"/>
                  </a:lnTo>
                  <a:lnTo>
                    <a:pt x="2294" y="759"/>
                  </a:lnTo>
                  <a:lnTo>
                    <a:pt x="2306" y="743"/>
                  </a:lnTo>
                  <a:lnTo>
                    <a:pt x="2314" y="728"/>
                  </a:lnTo>
                  <a:lnTo>
                    <a:pt x="2321" y="716"/>
                  </a:lnTo>
                  <a:lnTo>
                    <a:pt x="2327" y="705"/>
                  </a:lnTo>
                  <a:lnTo>
                    <a:pt x="2332" y="693"/>
                  </a:lnTo>
                  <a:lnTo>
                    <a:pt x="2336" y="688"/>
                  </a:lnTo>
                  <a:lnTo>
                    <a:pt x="2339" y="684"/>
                  </a:lnTo>
                  <a:lnTo>
                    <a:pt x="2343" y="679"/>
                  </a:lnTo>
                  <a:lnTo>
                    <a:pt x="2345" y="675"/>
                  </a:lnTo>
                  <a:lnTo>
                    <a:pt x="2347" y="672"/>
                  </a:lnTo>
                  <a:lnTo>
                    <a:pt x="2349" y="668"/>
                  </a:lnTo>
                  <a:lnTo>
                    <a:pt x="2353" y="666"/>
                  </a:lnTo>
                  <a:lnTo>
                    <a:pt x="2355" y="664"/>
                  </a:lnTo>
                  <a:lnTo>
                    <a:pt x="2357" y="662"/>
                  </a:lnTo>
                  <a:lnTo>
                    <a:pt x="2358" y="660"/>
                  </a:lnTo>
                  <a:lnTo>
                    <a:pt x="2361" y="658"/>
                  </a:lnTo>
                  <a:lnTo>
                    <a:pt x="2364" y="656"/>
                  </a:lnTo>
                  <a:lnTo>
                    <a:pt x="2367" y="654"/>
                  </a:lnTo>
                  <a:lnTo>
                    <a:pt x="2369" y="651"/>
                  </a:lnTo>
                  <a:lnTo>
                    <a:pt x="2377" y="643"/>
                  </a:lnTo>
                  <a:lnTo>
                    <a:pt x="2383" y="635"/>
                  </a:lnTo>
                  <a:lnTo>
                    <a:pt x="2390" y="625"/>
                  </a:lnTo>
                  <a:lnTo>
                    <a:pt x="2391" y="621"/>
                  </a:lnTo>
                  <a:lnTo>
                    <a:pt x="2391" y="617"/>
                  </a:lnTo>
                  <a:lnTo>
                    <a:pt x="2391" y="612"/>
                  </a:lnTo>
                  <a:lnTo>
                    <a:pt x="2392" y="608"/>
                  </a:lnTo>
                  <a:lnTo>
                    <a:pt x="2399" y="595"/>
                  </a:lnTo>
                  <a:lnTo>
                    <a:pt x="2402" y="584"/>
                  </a:lnTo>
                  <a:lnTo>
                    <a:pt x="2407" y="574"/>
                  </a:lnTo>
                  <a:lnTo>
                    <a:pt x="2414" y="566"/>
                  </a:lnTo>
                  <a:lnTo>
                    <a:pt x="2420" y="561"/>
                  </a:lnTo>
                  <a:lnTo>
                    <a:pt x="2425" y="555"/>
                  </a:lnTo>
                  <a:lnTo>
                    <a:pt x="2432" y="546"/>
                  </a:lnTo>
                  <a:lnTo>
                    <a:pt x="2434" y="538"/>
                  </a:lnTo>
                  <a:lnTo>
                    <a:pt x="2437" y="531"/>
                  </a:lnTo>
                  <a:lnTo>
                    <a:pt x="2441" y="524"/>
                  </a:lnTo>
                  <a:lnTo>
                    <a:pt x="2442" y="522"/>
                  </a:lnTo>
                  <a:lnTo>
                    <a:pt x="2443" y="522"/>
                  </a:lnTo>
                  <a:lnTo>
                    <a:pt x="2444" y="522"/>
                  </a:lnTo>
                  <a:lnTo>
                    <a:pt x="2445" y="523"/>
                  </a:lnTo>
                  <a:lnTo>
                    <a:pt x="2447" y="524"/>
                  </a:lnTo>
                  <a:lnTo>
                    <a:pt x="2448" y="524"/>
                  </a:lnTo>
                  <a:lnTo>
                    <a:pt x="2452" y="524"/>
                  </a:lnTo>
                  <a:lnTo>
                    <a:pt x="2454" y="525"/>
                  </a:lnTo>
                  <a:lnTo>
                    <a:pt x="2456" y="526"/>
                  </a:lnTo>
                  <a:lnTo>
                    <a:pt x="2457" y="526"/>
                  </a:lnTo>
                  <a:lnTo>
                    <a:pt x="2459" y="526"/>
                  </a:lnTo>
                  <a:lnTo>
                    <a:pt x="2462" y="525"/>
                  </a:lnTo>
                  <a:lnTo>
                    <a:pt x="2464" y="524"/>
                  </a:lnTo>
                  <a:lnTo>
                    <a:pt x="2467" y="524"/>
                  </a:lnTo>
                  <a:lnTo>
                    <a:pt x="2469" y="523"/>
                  </a:lnTo>
                  <a:lnTo>
                    <a:pt x="2472" y="522"/>
                  </a:lnTo>
                  <a:lnTo>
                    <a:pt x="2476" y="520"/>
                  </a:lnTo>
                  <a:lnTo>
                    <a:pt x="2479" y="516"/>
                  </a:lnTo>
                  <a:lnTo>
                    <a:pt x="2481" y="515"/>
                  </a:lnTo>
                  <a:lnTo>
                    <a:pt x="2485" y="514"/>
                  </a:lnTo>
                  <a:lnTo>
                    <a:pt x="2487" y="512"/>
                  </a:lnTo>
                  <a:lnTo>
                    <a:pt x="2489" y="510"/>
                  </a:lnTo>
                  <a:lnTo>
                    <a:pt x="2491" y="507"/>
                  </a:lnTo>
                  <a:lnTo>
                    <a:pt x="2492" y="503"/>
                  </a:lnTo>
                  <a:lnTo>
                    <a:pt x="2494" y="501"/>
                  </a:lnTo>
                  <a:lnTo>
                    <a:pt x="2496" y="500"/>
                  </a:lnTo>
                  <a:lnTo>
                    <a:pt x="2498" y="500"/>
                  </a:lnTo>
                  <a:lnTo>
                    <a:pt x="2500" y="500"/>
                  </a:lnTo>
                  <a:lnTo>
                    <a:pt x="2501" y="500"/>
                  </a:lnTo>
                  <a:lnTo>
                    <a:pt x="2503" y="500"/>
                  </a:lnTo>
                  <a:lnTo>
                    <a:pt x="2505" y="498"/>
                  </a:lnTo>
                  <a:lnTo>
                    <a:pt x="2507" y="496"/>
                  </a:lnTo>
                  <a:lnTo>
                    <a:pt x="2507" y="493"/>
                  </a:lnTo>
                  <a:lnTo>
                    <a:pt x="2507" y="490"/>
                  </a:lnTo>
                  <a:lnTo>
                    <a:pt x="2507" y="489"/>
                  </a:lnTo>
                  <a:lnTo>
                    <a:pt x="2508" y="487"/>
                  </a:lnTo>
                  <a:lnTo>
                    <a:pt x="2509" y="487"/>
                  </a:lnTo>
                  <a:lnTo>
                    <a:pt x="2511" y="486"/>
                  </a:lnTo>
                  <a:lnTo>
                    <a:pt x="2512" y="486"/>
                  </a:lnTo>
                  <a:lnTo>
                    <a:pt x="2513" y="486"/>
                  </a:lnTo>
                  <a:lnTo>
                    <a:pt x="2514" y="487"/>
                  </a:lnTo>
                  <a:lnTo>
                    <a:pt x="2516" y="487"/>
                  </a:lnTo>
                  <a:lnTo>
                    <a:pt x="2521" y="487"/>
                  </a:lnTo>
                  <a:lnTo>
                    <a:pt x="2527" y="483"/>
                  </a:lnTo>
                  <a:lnTo>
                    <a:pt x="2533" y="480"/>
                  </a:lnTo>
                  <a:lnTo>
                    <a:pt x="2535" y="480"/>
                  </a:lnTo>
                  <a:lnTo>
                    <a:pt x="2536" y="480"/>
                  </a:lnTo>
                  <a:lnTo>
                    <a:pt x="2539" y="479"/>
                  </a:lnTo>
                  <a:lnTo>
                    <a:pt x="2542" y="478"/>
                  </a:lnTo>
                  <a:lnTo>
                    <a:pt x="2543" y="476"/>
                  </a:lnTo>
                  <a:lnTo>
                    <a:pt x="2544" y="474"/>
                  </a:lnTo>
                  <a:lnTo>
                    <a:pt x="2545" y="471"/>
                  </a:lnTo>
                  <a:lnTo>
                    <a:pt x="2546" y="469"/>
                  </a:lnTo>
                  <a:lnTo>
                    <a:pt x="2549" y="469"/>
                  </a:lnTo>
                  <a:lnTo>
                    <a:pt x="2552" y="470"/>
                  </a:lnTo>
                  <a:lnTo>
                    <a:pt x="2554" y="471"/>
                  </a:lnTo>
                  <a:lnTo>
                    <a:pt x="2556" y="472"/>
                  </a:lnTo>
                  <a:lnTo>
                    <a:pt x="2557" y="474"/>
                  </a:lnTo>
                  <a:lnTo>
                    <a:pt x="2560" y="475"/>
                  </a:lnTo>
                  <a:lnTo>
                    <a:pt x="2563" y="474"/>
                  </a:lnTo>
                  <a:lnTo>
                    <a:pt x="2565" y="472"/>
                  </a:lnTo>
                  <a:lnTo>
                    <a:pt x="2567" y="469"/>
                  </a:lnTo>
                  <a:lnTo>
                    <a:pt x="2568" y="467"/>
                  </a:lnTo>
                  <a:lnTo>
                    <a:pt x="2570" y="466"/>
                  </a:lnTo>
                  <a:lnTo>
                    <a:pt x="2571" y="465"/>
                  </a:lnTo>
                  <a:lnTo>
                    <a:pt x="2572" y="464"/>
                  </a:lnTo>
                  <a:lnTo>
                    <a:pt x="2573" y="464"/>
                  </a:lnTo>
                  <a:lnTo>
                    <a:pt x="2574" y="464"/>
                  </a:lnTo>
                  <a:lnTo>
                    <a:pt x="2575" y="465"/>
                  </a:lnTo>
                  <a:lnTo>
                    <a:pt x="2575" y="467"/>
                  </a:lnTo>
                  <a:lnTo>
                    <a:pt x="2575" y="469"/>
                  </a:lnTo>
                  <a:lnTo>
                    <a:pt x="2575" y="471"/>
                  </a:lnTo>
                  <a:lnTo>
                    <a:pt x="2574" y="474"/>
                  </a:lnTo>
                  <a:lnTo>
                    <a:pt x="2574" y="476"/>
                  </a:lnTo>
                  <a:lnTo>
                    <a:pt x="2575" y="478"/>
                  </a:lnTo>
                  <a:lnTo>
                    <a:pt x="2576" y="485"/>
                  </a:lnTo>
                  <a:lnTo>
                    <a:pt x="2578" y="490"/>
                  </a:lnTo>
                  <a:lnTo>
                    <a:pt x="2579" y="498"/>
                  </a:lnTo>
                  <a:lnTo>
                    <a:pt x="2579" y="501"/>
                  </a:lnTo>
                  <a:lnTo>
                    <a:pt x="2577" y="503"/>
                  </a:lnTo>
                  <a:lnTo>
                    <a:pt x="2575" y="507"/>
                  </a:lnTo>
                  <a:lnTo>
                    <a:pt x="2573" y="510"/>
                  </a:lnTo>
                  <a:lnTo>
                    <a:pt x="2571" y="513"/>
                  </a:lnTo>
                  <a:lnTo>
                    <a:pt x="2570" y="515"/>
                  </a:lnTo>
                  <a:lnTo>
                    <a:pt x="2570" y="518"/>
                  </a:lnTo>
                  <a:lnTo>
                    <a:pt x="2571" y="519"/>
                  </a:lnTo>
                  <a:lnTo>
                    <a:pt x="2571" y="520"/>
                  </a:lnTo>
                  <a:lnTo>
                    <a:pt x="2572" y="520"/>
                  </a:lnTo>
                  <a:lnTo>
                    <a:pt x="2573" y="520"/>
                  </a:lnTo>
                  <a:lnTo>
                    <a:pt x="2573" y="522"/>
                  </a:lnTo>
                  <a:lnTo>
                    <a:pt x="2573" y="524"/>
                  </a:lnTo>
                  <a:lnTo>
                    <a:pt x="2574" y="526"/>
                  </a:lnTo>
                  <a:lnTo>
                    <a:pt x="2574" y="529"/>
                  </a:lnTo>
                  <a:lnTo>
                    <a:pt x="2575" y="531"/>
                  </a:lnTo>
                  <a:lnTo>
                    <a:pt x="2576" y="532"/>
                  </a:lnTo>
                  <a:lnTo>
                    <a:pt x="2577" y="532"/>
                  </a:lnTo>
                  <a:lnTo>
                    <a:pt x="2578" y="532"/>
                  </a:lnTo>
                  <a:lnTo>
                    <a:pt x="2581" y="532"/>
                  </a:lnTo>
                  <a:lnTo>
                    <a:pt x="2582" y="533"/>
                  </a:lnTo>
                  <a:lnTo>
                    <a:pt x="2583" y="533"/>
                  </a:lnTo>
                  <a:lnTo>
                    <a:pt x="2584" y="534"/>
                  </a:lnTo>
                  <a:lnTo>
                    <a:pt x="2584" y="535"/>
                  </a:lnTo>
                  <a:lnTo>
                    <a:pt x="2585" y="536"/>
                  </a:lnTo>
                  <a:lnTo>
                    <a:pt x="2586" y="537"/>
                  </a:lnTo>
                  <a:lnTo>
                    <a:pt x="2588" y="536"/>
                  </a:lnTo>
                  <a:lnTo>
                    <a:pt x="2590" y="535"/>
                  </a:lnTo>
                  <a:lnTo>
                    <a:pt x="2593" y="535"/>
                  </a:lnTo>
                  <a:lnTo>
                    <a:pt x="2595" y="535"/>
                  </a:lnTo>
                  <a:lnTo>
                    <a:pt x="2597" y="537"/>
                  </a:lnTo>
                  <a:lnTo>
                    <a:pt x="2597" y="540"/>
                  </a:lnTo>
                  <a:lnTo>
                    <a:pt x="2598" y="542"/>
                  </a:lnTo>
                  <a:lnTo>
                    <a:pt x="2599" y="544"/>
                  </a:lnTo>
                  <a:lnTo>
                    <a:pt x="2600" y="546"/>
                  </a:lnTo>
                  <a:lnTo>
                    <a:pt x="2601" y="548"/>
                  </a:lnTo>
                  <a:lnTo>
                    <a:pt x="2603" y="549"/>
                  </a:lnTo>
                  <a:lnTo>
                    <a:pt x="2603" y="551"/>
                  </a:lnTo>
                  <a:lnTo>
                    <a:pt x="2605" y="551"/>
                  </a:lnTo>
                  <a:lnTo>
                    <a:pt x="2606" y="551"/>
                  </a:lnTo>
                  <a:lnTo>
                    <a:pt x="2608" y="552"/>
                  </a:lnTo>
                  <a:lnTo>
                    <a:pt x="2610" y="553"/>
                  </a:lnTo>
                  <a:lnTo>
                    <a:pt x="2612" y="553"/>
                  </a:lnTo>
                  <a:lnTo>
                    <a:pt x="2614" y="554"/>
                  </a:lnTo>
                  <a:lnTo>
                    <a:pt x="2615" y="556"/>
                  </a:lnTo>
                  <a:lnTo>
                    <a:pt x="2616" y="556"/>
                  </a:lnTo>
                  <a:lnTo>
                    <a:pt x="2617" y="557"/>
                  </a:lnTo>
                  <a:lnTo>
                    <a:pt x="2620" y="557"/>
                  </a:lnTo>
                  <a:lnTo>
                    <a:pt x="2621" y="557"/>
                  </a:lnTo>
                  <a:lnTo>
                    <a:pt x="2623" y="555"/>
                  </a:lnTo>
                  <a:lnTo>
                    <a:pt x="2626" y="553"/>
                  </a:lnTo>
                  <a:lnTo>
                    <a:pt x="2628" y="551"/>
                  </a:lnTo>
                  <a:lnTo>
                    <a:pt x="2631" y="548"/>
                  </a:lnTo>
                  <a:lnTo>
                    <a:pt x="2632" y="546"/>
                  </a:lnTo>
                  <a:lnTo>
                    <a:pt x="2632" y="544"/>
                  </a:lnTo>
                  <a:lnTo>
                    <a:pt x="2632" y="541"/>
                  </a:lnTo>
                  <a:lnTo>
                    <a:pt x="2632" y="538"/>
                  </a:lnTo>
                  <a:lnTo>
                    <a:pt x="2632" y="535"/>
                  </a:lnTo>
                  <a:lnTo>
                    <a:pt x="2633" y="532"/>
                  </a:lnTo>
                  <a:lnTo>
                    <a:pt x="2633" y="531"/>
                  </a:lnTo>
                  <a:lnTo>
                    <a:pt x="2636" y="529"/>
                  </a:lnTo>
                  <a:lnTo>
                    <a:pt x="2637" y="527"/>
                  </a:lnTo>
                  <a:lnTo>
                    <a:pt x="2638" y="526"/>
                  </a:lnTo>
                  <a:lnTo>
                    <a:pt x="2639" y="524"/>
                  </a:lnTo>
                  <a:lnTo>
                    <a:pt x="2641" y="521"/>
                  </a:lnTo>
                  <a:lnTo>
                    <a:pt x="2643" y="518"/>
                  </a:lnTo>
                  <a:lnTo>
                    <a:pt x="2645" y="515"/>
                  </a:lnTo>
                  <a:lnTo>
                    <a:pt x="2648" y="514"/>
                  </a:lnTo>
                  <a:lnTo>
                    <a:pt x="2650" y="513"/>
                  </a:lnTo>
                  <a:lnTo>
                    <a:pt x="2651" y="514"/>
                  </a:lnTo>
                  <a:lnTo>
                    <a:pt x="2653" y="516"/>
                  </a:lnTo>
                  <a:lnTo>
                    <a:pt x="2655" y="519"/>
                  </a:lnTo>
                  <a:lnTo>
                    <a:pt x="2656" y="522"/>
                  </a:lnTo>
                  <a:lnTo>
                    <a:pt x="2659" y="524"/>
                  </a:lnTo>
                  <a:lnTo>
                    <a:pt x="2661" y="525"/>
                  </a:lnTo>
                  <a:lnTo>
                    <a:pt x="2663" y="526"/>
                  </a:lnTo>
                  <a:lnTo>
                    <a:pt x="2665" y="526"/>
                  </a:lnTo>
                  <a:lnTo>
                    <a:pt x="2667" y="526"/>
                  </a:lnTo>
                  <a:lnTo>
                    <a:pt x="2670" y="525"/>
                  </a:lnTo>
                  <a:lnTo>
                    <a:pt x="2672" y="525"/>
                  </a:lnTo>
                  <a:lnTo>
                    <a:pt x="2674" y="526"/>
                  </a:lnTo>
                  <a:lnTo>
                    <a:pt x="2675" y="526"/>
                  </a:lnTo>
                  <a:lnTo>
                    <a:pt x="2675" y="525"/>
                  </a:lnTo>
                  <a:lnTo>
                    <a:pt x="2675" y="523"/>
                  </a:lnTo>
                  <a:lnTo>
                    <a:pt x="2676" y="522"/>
                  </a:lnTo>
                  <a:lnTo>
                    <a:pt x="2676" y="522"/>
                  </a:lnTo>
                  <a:lnTo>
                    <a:pt x="2678" y="521"/>
                  </a:lnTo>
                  <a:lnTo>
                    <a:pt x="2681" y="521"/>
                  </a:lnTo>
                  <a:lnTo>
                    <a:pt x="2682" y="522"/>
                  </a:lnTo>
                  <a:lnTo>
                    <a:pt x="2684" y="523"/>
                  </a:lnTo>
                  <a:lnTo>
                    <a:pt x="2686" y="524"/>
                  </a:lnTo>
                  <a:lnTo>
                    <a:pt x="2686" y="525"/>
                  </a:lnTo>
                  <a:lnTo>
                    <a:pt x="2686" y="525"/>
                  </a:lnTo>
                  <a:lnTo>
                    <a:pt x="2687" y="524"/>
                  </a:lnTo>
                  <a:lnTo>
                    <a:pt x="2688" y="523"/>
                  </a:lnTo>
                  <a:lnTo>
                    <a:pt x="2691" y="522"/>
                  </a:lnTo>
                  <a:lnTo>
                    <a:pt x="2692" y="520"/>
                  </a:lnTo>
                  <a:lnTo>
                    <a:pt x="2692" y="519"/>
                  </a:lnTo>
                  <a:lnTo>
                    <a:pt x="2693" y="518"/>
                  </a:lnTo>
                  <a:lnTo>
                    <a:pt x="2694" y="518"/>
                  </a:lnTo>
                  <a:lnTo>
                    <a:pt x="2695" y="518"/>
                  </a:lnTo>
                  <a:lnTo>
                    <a:pt x="2696" y="515"/>
                  </a:lnTo>
                  <a:lnTo>
                    <a:pt x="2698" y="513"/>
                  </a:lnTo>
                  <a:lnTo>
                    <a:pt x="2701" y="510"/>
                  </a:lnTo>
                  <a:lnTo>
                    <a:pt x="2702" y="508"/>
                  </a:lnTo>
                  <a:lnTo>
                    <a:pt x="2704" y="505"/>
                  </a:lnTo>
                  <a:lnTo>
                    <a:pt x="2706" y="504"/>
                  </a:lnTo>
                  <a:lnTo>
                    <a:pt x="2707" y="504"/>
                  </a:lnTo>
                  <a:lnTo>
                    <a:pt x="2707" y="505"/>
                  </a:lnTo>
                  <a:lnTo>
                    <a:pt x="2708" y="505"/>
                  </a:lnTo>
                  <a:lnTo>
                    <a:pt x="2709" y="505"/>
                  </a:lnTo>
                  <a:lnTo>
                    <a:pt x="2710" y="504"/>
                  </a:lnTo>
                  <a:lnTo>
                    <a:pt x="2712" y="504"/>
                  </a:lnTo>
                  <a:lnTo>
                    <a:pt x="2713" y="503"/>
                  </a:lnTo>
                  <a:lnTo>
                    <a:pt x="2714" y="501"/>
                  </a:lnTo>
                  <a:lnTo>
                    <a:pt x="2714" y="500"/>
                  </a:lnTo>
                  <a:lnTo>
                    <a:pt x="2715" y="500"/>
                  </a:lnTo>
                  <a:lnTo>
                    <a:pt x="2716" y="500"/>
                  </a:lnTo>
                  <a:lnTo>
                    <a:pt x="2718" y="500"/>
                  </a:lnTo>
                  <a:lnTo>
                    <a:pt x="2719" y="500"/>
                  </a:lnTo>
                  <a:lnTo>
                    <a:pt x="2721" y="500"/>
                  </a:lnTo>
                  <a:lnTo>
                    <a:pt x="2723" y="499"/>
                  </a:lnTo>
                  <a:lnTo>
                    <a:pt x="2724" y="498"/>
                  </a:lnTo>
                  <a:lnTo>
                    <a:pt x="2724" y="497"/>
                  </a:lnTo>
                  <a:lnTo>
                    <a:pt x="2724" y="493"/>
                  </a:lnTo>
                  <a:lnTo>
                    <a:pt x="2723" y="491"/>
                  </a:lnTo>
                  <a:lnTo>
                    <a:pt x="2724" y="489"/>
                  </a:lnTo>
                  <a:lnTo>
                    <a:pt x="2725" y="488"/>
                  </a:lnTo>
                  <a:lnTo>
                    <a:pt x="2726" y="487"/>
                  </a:lnTo>
                  <a:lnTo>
                    <a:pt x="2727" y="486"/>
                  </a:lnTo>
                  <a:lnTo>
                    <a:pt x="2729" y="486"/>
                  </a:lnTo>
                  <a:lnTo>
                    <a:pt x="2730" y="485"/>
                  </a:lnTo>
                  <a:lnTo>
                    <a:pt x="2731" y="482"/>
                  </a:lnTo>
                  <a:lnTo>
                    <a:pt x="2732" y="480"/>
                  </a:lnTo>
                  <a:lnTo>
                    <a:pt x="2734" y="477"/>
                  </a:lnTo>
                  <a:lnTo>
                    <a:pt x="2735" y="474"/>
                  </a:lnTo>
                  <a:lnTo>
                    <a:pt x="2736" y="469"/>
                  </a:lnTo>
                  <a:lnTo>
                    <a:pt x="2737" y="465"/>
                  </a:lnTo>
                  <a:lnTo>
                    <a:pt x="2737" y="460"/>
                  </a:lnTo>
                  <a:lnTo>
                    <a:pt x="2739" y="453"/>
                  </a:lnTo>
                  <a:lnTo>
                    <a:pt x="2740" y="444"/>
                  </a:lnTo>
                  <a:lnTo>
                    <a:pt x="2741" y="436"/>
                  </a:lnTo>
                  <a:lnTo>
                    <a:pt x="2740" y="434"/>
                  </a:lnTo>
                  <a:lnTo>
                    <a:pt x="2740" y="432"/>
                  </a:lnTo>
                  <a:lnTo>
                    <a:pt x="2739" y="432"/>
                  </a:lnTo>
                  <a:lnTo>
                    <a:pt x="2737" y="432"/>
                  </a:lnTo>
                  <a:lnTo>
                    <a:pt x="2736" y="432"/>
                  </a:lnTo>
                  <a:lnTo>
                    <a:pt x="2735" y="433"/>
                  </a:lnTo>
                  <a:lnTo>
                    <a:pt x="2734" y="435"/>
                  </a:lnTo>
                  <a:lnTo>
                    <a:pt x="2732" y="436"/>
                  </a:lnTo>
                  <a:lnTo>
                    <a:pt x="2726" y="443"/>
                  </a:lnTo>
                  <a:lnTo>
                    <a:pt x="2725" y="444"/>
                  </a:lnTo>
                  <a:lnTo>
                    <a:pt x="2725" y="445"/>
                  </a:lnTo>
                  <a:lnTo>
                    <a:pt x="2724" y="446"/>
                  </a:lnTo>
                  <a:lnTo>
                    <a:pt x="2724" y="446"/>
                  </a:lnTo>
                  <a:lnTo>
                    <a:pt x="2724" y="445"/>
                  </a:lnTo>
                  <a:lnTo>
                    <a:pt x="2721" y="445"/>
                  </a:lnTo>
                  <a:lnTo>
                    <a:pt x="2720" y="443"/>
                  </a:lnTo>
                  <a:lnTo>
                    <a:pt x="2718" y="441"/>
                  </a:lnTo>
                  <a:lnTo>
                    <a:pt x="2717" y="438"/>
                  </a:lnTo>
                  <a:lnTo>
                    <a:pt x="2715" y="438"/>
                  </a:lnTo>
                  <a:lnTo>
                    <a:pt x="2713" y="438"/>
                  </a:lnTo>
                  <a:lnTo>
                    <a:pt x="2710" y="436"/>
                  </a:lnTo>
                  <a:lnTo>
                    <a:pt x="2708" y="436"/>
                  </a:lnTo>
                  <a:lnTo>
                    <a:pt x="2707" y="437"/>
                  </a:lnTo>
                  <a:lnTo>
                    <a:pt x="2705" y="438"/>
                  </a:lnTo>
                  <a:lnTo>
                    <a:pt x="2704" y="441"/>
                  </a:lnTo>
                  <a:lnTo>
                    <a:pt x="2703" y="442"/>
                  </a:lnTo>
                  <a:lnTo>
                    <a:pt x="2702" y="443"/>
                  </a:lnTo>
                  <a:lnTo>
                    <a:pt x="2699" y="444"/>
                  </a:lnTo>
                  <a:lnTo>
                    <a:pt x="2698" y="445"/>
                  </a:lnTo>
                  <a:lnTo>
                    <a:pt x="2697" y="446"/>
                  </a:lnTo>
                  <a:lnTo>
                    <a:pt x="2696" y="446"/>
                  </a:lnTo>
                  <a:lnTo>
                    <a:pt x="2695" y="445"/>
                  </a:lnTo>
                  <a:lnTo>
                    <a:pt x="2695" y="443"/>
                  </a:lnTo>
                  <a:lnTo>
                    <a:pt x="2694" y="441"/>
                  </a:lnTo>
                  <a:lnTo>
                    <a:pt x="2694" y="438"/>
                  </a:lnTo>
                  <a:lnTo>
                    <a:pt x="2693" y="436"/>
                  </a:lnTo>
                  <a:lnTo>
                    <a:pt x="2692" y="435"/>
                  </a:lnTo>
                  <a:lnTo>
                    <a:pt x="2691" y="433"/>
                  </a:lnTo>
                  <a:lnTo>
                    <a:pt x="2691" y="429"/>
                  </a:lnTo>
                  <a:lnTo>
                    <a:pt x="2689" y="427"/>
                  </a:lnTo>
                  <a:lnTo>
                    <a:pt x="2689" y="424"/>
                  </a:lnTo>
                  <a:lnTo>
                    <a:pt x="2688" y="422"/>
                  </a:lnTo>
                  <a:lnTo>
                    <a:pt x="2688" y="418"/>
                  </a:lnTo>
                  <a:lnTo>
                    <a:pt x="2688" y="416"/>
                  </a:lnTo>
                  <a:lnTo>
                    <a:pt x="2689" y="414"/>
                  </a:lnTo>
                  <a:lnTo>
                    <a:pt x="2689" y="411"/>
                  </a:lnTo>
                  <a:lnTo>
                    <a:pt x="2691" y="407"/>
                  </a:lnTo>
                  <a:lnTo>
                    <a:pt x="2691" y="394"/>
                  </a:lnTo>
                  <a:lnTo>
                    <a:pt x="2691" y="391"/>
                  </a:lnTo>
                  <a:lnTo>
                    <a:pt x="2691" y="388"/>
                  </a:lnTo>
                  <a:lnTo>
                    <a:pt x="2693" y="385"/>
                  </a:lnTo>
                  <a:lnTo>
                    <a:pt x="2694" y="383"/>
                  </a:lnTo>
                  <a:lnTo>
                    <a:pt x="2696" y="381"/>
                  </a:lnTo>
                  <a:lnTo>
                    <a:pt x="2697" y="381"/>
                  </a:lnTo>
                  <a:lnTo>
                    <a:pt x="2698" y="381"/>
                  </a:lnTo>
                  <a:lnTo>
                    <a:pt x="2701" y="381"/>
                  </a:lnTo>
                  <a:lnTo>
                    <a:pt x="2702" y="381"/>
                  </a:lnTo>
                  <a:lnTo>
                    <a:pt x="2704" y="381"/>
                  </a:lnTo>
                  <a:lnTo>
                    <a:pt x="2708" y="381"/>
                  </a:lnTo>
                  <a:lnTo>
                    <a:pt x="2710" y="378"/>
                  </a:lnTo>
                  <a:lnTo>
                    <a:pt x="2713" y="376"/>
                  </a:lnTo>
                  <a:lnTo>
                    <a:pt x="2715" y="374"/>
                  </a:lnTo>
                  <a:lnTo>
                    <a:pt x="2717" y="374"/>
                  </a:lnTo>
                  <a:lnTo>
                    <a:pt x="2719" y="372"/>
                  </a:lnTo>
                  <a:lnTo>
                    <a:pt x="2721" y="371"/>
                  </a:lnTo>
                  <a:lnTo>
                    <a:pt x="2721" y="367"/>
                  </a:lnTo>
                  <a:lnTo>
                    <a:pt x="2724" y="362"/>
                  </a:lnTo>
                  <a:lnTo>
                    <a:pt x="2726" y="360"/>
                  </a:lnTo>
                  <a:lnTo>
                    <a:pt x="2726" y="358"/>
                  </a:lnTo>
                  <a:lnTo>
                    <a:pt x="2727" y="358"/>
                  </a:lnTo>
                  <a:lnTo>
                    <a:pt x="2728" y="357"/>
                  </a:lnTo>
                  <a:lnTo>
                    <a:pt x="2730" y="356"/>
                  </a:lnTo>
                  <a:lnTo>
                    <a:pt x="2732" y="355"/>
                  </a:lnTo>
                  <a:lnTo>
                    <a:pt x="2735" y="352"/>
                  </a:lnTo>
                  <a:lnTo>
                    <a:pt x="2737" y="351"/>
                  </a:lnTo>
                  <a:lnTo>
                    <a:pt x="2742" y="350"/>
                  </a:lnTo>
                  <a:lnTo>
                    <a:pt x="2749" y="352"/>
                  </a:lnTo>
                  <a:lnTo>
                    <a:pt x="2753" y="357"/>
                  </a:lnTo>
                  <a:lnTo>
                    <a:pt x="2759" y="362"/>
                  </a:lnTo>
                  <a:lnTo>
                    <a:pt x="2760" y="363"/>
                  </a:lnTo>
                  <a:lnTo>
                    <a:pt x="2762" y="365"/>
                  </a:lnTo>
                  <a:lnTo>
                    <a:pt x="2764" y="365"/>
                  </a:lnTo>
                  <a:lnTo>
                    <a:pt x="2767" y="363"/>
                  </a:lnTo>
                  <a:lnTo>
                    <a:pt x="2770" y="361"/>
                  </a:lnTo>
                  <a:lnTo>
                    <a:pt x="2772" y="360"/>
                  </a:lnTo>
                  <a:lnTo>
                    <a:pt x="2773" y="358"/>
                  </a:lnTo>
                  <a:lnTo>
                    <a:pt x="2775" y="358"/>
                  </a:lnTo>
                  <a:lnTo>
                    <a:pt x="2778" y="356"/>
                  </a:lnTo>
                  <a:lnTo>
                    <a:pt x="2779" y="354"/>
                  </a:lnTo>
                  <a:lnTo>
                    <a:pt x="2781" y="351"/>
                  </a:lnTo>
                  <a:lnTo>
                    <a:pt x="2781" y="343"/>
                  </a:lnTo>
                  <a:lnTo>
                    <a:pt x="2780" y="341"/>
                  </a:lnTo>
                  <a:lnTo>
                    <a:pt x="2779" y="340"/>
                  </a:lnTo>
                  <a:lnTo>
                    <a:pt x="2778" y="339"/>
                  </a:lnTo>
                  <a:lnTo>
                    <a:pt x="2778" y="339"/>
                  </a:lnTo>
                  <a:lnTo>
                    <a:pt x="2779" y="338"/>
                  </a:lnTo>
                  <a:lnTo>
                    <a:pt x="2779" y="336"/>
                  </a:lnTo>
                  <a:lnTo>
                    <a:pt x="2780" y="334"/>
                  </a:lnTo>
                  <a:lnTo>
                    <a:pt x="2781" y="332"/>
                  </a:lnTo>
                  <a:lnTo>
                    <a:pt x="2781" y="329"/>
                  </a:lnTo>
                  <a:lnTo>
                    <a:pt x="2780" y="329"/>
                  </a:lnTo>
                  <a:lnTo>
                    <a:pt x="2779" y="328"/>
                  </a:lnTo>
                  <a:lnTo>
                    <a:pt x="2779" y="327"/>
                  </a:lnTo>
                  <a:lnTo>
                    <a:pt x="2776" y="324"/>
                  </a:lnTo>
                  <a:lnTo>
                    <a:pt x="2774" y="321"/>
                  </a:lnTo>
                  <a:lnTo>
                    <a:pt x="2772" y="318"/>
                  </a:lnTo>
                  <a:lnTo>
                    <a:pt x="2772" y="316"/>
                  </a:lnTo>
                  <a:lnTo>
                    <a:pt x="2770" y="312"/>
                  </a:lnTo>
                  <a:lnTo>
                    <a:pt x="2770" y="309"/>
                  </a:lnTo>
                  <a:lnTo>
                    <a:pt x="2768" y="307"/>
                  </a:lnTo>
                  <a:lnTo>
                    <a:pt x="2767" y="305"/>
                  </a:lnTo>
                  <a:lnTo>
                    <a:pt x="2765" y="303"/>
                  </a:lnTo>
                  <a:lnTo>
                    <a:pt x="2764" y="303"/>
                  </a:lnTo>
                  <a:lnTo>
                    <a:pt x="2763" y="303"/>
                  </a:lnTo>
                  <a:lnTo>
                    <a:pt x="2762" y="302"/>
                  </a:lnTo>
                  <a:lnTo>
                    <a:pt x="2761" y="301"/>
                  </a:lnTo>
                  <a:lnTo>
                    <a:pt x="2761" y="298"/>
                  </a:lnTo>
                  <a:lnTo>
                    <a:pt x="2760" y="296"/>
                  </a:lnTo>
                  <a:lnTo>
                    <a:pt x="2760" y="295"/>
                  </a:lnTo>
                  <a:lnTo>
                    <a:pt x="2761" y="293"/>
                  </a:lnTo>
                  <a:lnTo>
                    <a:pt x="2762" y="291"/>
                  </a:lnTo>
                  <a:lnTo>
                    <a:pt x="2763" y="290"/>
                  </a:lnTo>
                  <a:lnTo>
                    <a:pt x="2765" y="285"/>
                  </a:lnTo>
                  <a:lnTo>
                    <a:pt x="2768" y="282"/>
                  </a:lnTo>
                  <a:lnTo>
                    <a:pt x="2770" y="279"/>
                  </a:lnTo>
                  <a:lnTo>
                    <a:pt x="2770" y="275"/>
                  </a:lnTo>
                  <a:lnTo>
                    <a:pt x="2769" y="274"/>
                  </a:lnTo>
                  <a:lnTo>
                    <a:pt x="2768" y="272"/>
                  </a:lnTo>
                  <a:lnTo>
                    <a:pt x="2767" y="271"/>
                  </a:lnTo>
                  <a:lnTo>
                    <a:pt x="2765" y="270"/>
                  </a:lnTo>
                  <a:lnTo>
                    <a:pt x="2765" y="268"/>
                  </a:lnTo>
                  <a:lnTo>
                    <a:pt x="2825" y="219"/>
                  </a:lnTo>
                  <a:lnTo>
                    <a:pt x="2882" y="172"/>
                  </a:lnTo>
                  <a:lnTo>
                    <a:pt x="2936" y="127"/>
                  </a:lnTo>
                  <a:lnTo>
                    <a:pt x="2989" y="86"/>
                  </a:lnTo>
                  <a:lnTo>
                    <a:pt x="3042" y="51"/>
                  </a:lnTo>
                  <a:lnTo>
                    <a:pt x="3055" y="43"/>
                  </a:lnTo>
                  <a:lnTo>
                    <a:pt x="3068" y="35"/>
                  </a:lnTo>
                  <a:close/>
                  <a:moveTo>
                    <a:pt x="2655" y="29"/>
                  </a:moveTo>
                  <a:lnTo>
                    <a:pt x="2656" y="30"/>
                  </a:lnTo>
                  <a:lnTo>
                    <a:pt x="2658" y="31"/>
                  </a:lnTo>
                  <a:lnTo>
                    <a:pt x="2659" y="34"/>
                  </a:lnTo>
                  <a:lnTo>
                    <a:pt x="2659" y="36"/>
                  </a:lnTo>
                  <a:lnTo>
                    <a:pt x="2659" y="40"/>
                  </a:lnTo>
                  <a:lnTo>
                    <a:pt x="2658" y="42"/>
                  </a:lnTo>
                  <a:lnTo>
                    <a:pt x="2658" y="44"/>
                  </a:lnTo>
                  <a:lnTo>
                    <a:pt x="2658" y="45"/>
                  </a:lnTo>
                  <a:lnTo>
                    <a:pt x="2656" y="47"/>
                  </a:lnTo>
                  <a:lnTo>
                    <a:pt x="2656" y="49"/>
                  </a:lnTo>
                  <a:lnTo>
                    <a:pt x="2655" y="50"/>
                  </a:lnTo>
                  <a:lnTo>
                    <a:pt x="2654" y="50"/>
                  </a:lnTo>
                  <a:lnTo>
                    <a:pt x="2653" y="49"/>
                  </a:lnTo>
                  <a:lnTo>
                    <a:pt x="2652" y="44"/>
                  </a:lnTo>
                  <a:lnTo>
                    <a:pt x="2652" y="40"/>
                  </a:lnTo>
                  <a:lnTo>
                    <a:pt x="2652" y="36"/>
                  </a:lnTo>
                  <a:lnTo>
                    <a:pt x="2653" y="33"/>
                  </a:lnTo>
                  <a:lnTo>
                    <a:pt x="2653" y="31"/>
                  </a:lnTo>
                  <a:lnTo>
                    <a:pt x="2654" y="30"/>
                  </a:lnTo>
                  <a:lnTo>
                    <a:pt x="2654" y="29"/>
                  </a:lnTo>
                  <a:lnTo>
                    <a:pt x="2655" y="29"/>
                  </a:lnTo>
                  <a:close/>
                  <a:moveTo>
                    <a:pt x="1333" y="18"/>
                  </a:moveTo>
                  <a:lnTo>
                    <a:pt x="1335" y="18"/>
                  </a:lnTo>
                  <a:lnTo>
                    <a:pt x="1338" y="19"/>
                  </a:lnTo>
                  <a:lnTo>
                    <a:pt x="1339" y="21"/>
                  </a:lnTo>
                  <a:lnTo>
                    <a:pt x="1340" y="22"/>
                  </a:lnTo>
                  <a:lnTo>
                    <a:pt x="1340" y="24"/>
                  </a:lnTo>
                  <a:lnTo>
                    <a:pt x="1341" y="31"/>
                  </a:lnTo>
                  <a:lnTo>
                    <a:pt x="1345" y="36"/>
                  </a:lnTo>
                  <a:lnTo>
                    <a:pt x="1350" y="42"/>
                  </a:lnTo>
                  <a:lnTo>
                    <a:pt x="1351" y="47"/>
                  </a:lnTo>
                  <a:lnTo>
                    <a:pt x="1350" y="53"/>
                  </a:lnTo>
                  <a:lnTo>
                    <a:pt x="1343" y="57"/>
                  </a:lnTo>
                  <a:lnTo>
                    <a:pt x="1334" y="61"/>
                  </a:lnTo>
                  <a:lnTo>
                    <a:pt x="1328" y="61"/>
                  </a:lnTo>
                  <a:lnTo>
                    <a:pt x="1324" y="57"/>
                  </a:lnTo>
                  <a:lnTo>
                    <a:pt x="1324" y="52"/>
                  </a:lnTo>
                  <a:lnTo>
                    <a:pt x="1326" y="46"/>
                  </a:lnTo>
                  <a:lnTo>
                    <a:pt x="1328" y="40"/>
                  </a:lnTo>
                  <a:lnTo>
                    <a:pt x="1330" y="34"/>
                  </a:lnTo>
                  <a:lnTo>
                    <a:pt x="1330" y="30"/>
                  </a:lnTo>
                  <a:lnTo>
                    <a:pt x="1330" y="29"/>
                  </a:lnTo>
                  <a:lnTo>
                    <a:pt x="1330" y="28"/>
                  </a:lnTo>
                  <a:lnTo>
                    <a:pt x="1329" y="25"/>
                  </a:lnTo>
                  <a:lnTo>
                    <a:pt x="1328" y="23"/>
                  </a:lnTo>
                  <a:lnTo>
                    <a:pt x="1328" y="21"/>
                  </a:lnTo>
                  <a:lnTo>
                    <a:pt x="1329" y="20"/>
                  </a:lnTo>
                  <a:lnTo>
                    <a:pt x="1330" y="19"/>
                  </a:lnTo>
                  <a:lnTo>
                    <a:pt x="1333" y="18"/>
                  </a:lnTo>
                  <a:close/>
                  <a:moveTo>
                    <a:pt x="2768" y="10"/>
                  </a:moveTo>
                  <a:lnTo>
                    <a:pt x="2768" y="10"/>
                  </a:lnTo>
                  <a:lnTo>
                    <a:pt x="2768" y="11"/>
                  </a:lnTo>
                  <a:lnTo>
                    <a:pt x="2768" y="13"/>
                  </a:lnTo>
                  <a:lnTo>
                    <a:pt x="2768" y="16"/>
                  </a:lnTo>
                  <a:lnTo>
                    <a:pt x="2769" y="17"/>
                  </a:lnTo>
                  <a:lnTo>
                    <a:pt x="2769" y="18"/>
                  </a:lnTo>
                  <a:lnTo>
                    <a:pt x="2770" y="19"/>
                  </a:lnTo>
                  <a:lnTo>
                    <a:pt x="2770" y="20"/>
                  </a:lnTo>
                  <a:lnTo>
                    <a:pt x="2771" y="22"/>
                  </a:lnTo>
                  <a:lnTo>
                    <a:pt x="2772" y="24"/>
                  </a:lnTo>
                  <a:lnTo>
                    <a:pt x="2772" y="27"/>
                  </a:lnTo>
                  <a:lnTo>
                    <a:pt x="2772" y="29"/>
                  </a:lnTo>
                  <a:lnTo>
                    <a:pt x="2773" y="30"/>
                  </a:lnTo>
                  <a:lnTo>
                    <a:pt x="2775" y="30"/>
                  </a:lnTo>
                  <a:lnTo>
                    <a:pt x="2776" y="29"/>
                  </a:lnTo>
                  <a:lnTo>
                    <a:pt x="2776" y="27"/>
                  </a:lnTo>
                  <a:lnTo>
                    <a:pt x="2778" y="24"/>
                  </a:lnTo>
                  <a:lnTo>
                    <a:pt x="2778" y="22"/>
                  </a:lnTo>
                  <a:lnTo>
                    <a:pt x="2776" y="21"/>
                  </a:lnTo>
                  <a:lnTo>
                    <a:pt x="2775" y="20"/>
                  </a:lnTo>
                  <a:lnTo>
                    <a:pt x="2774" y="18"/>
                  </a:lnTo>
                  <a:lnTo>
                    <a:pt x="2774" y="17"/>
                  </a:lnTo>
                  <a:lnTo>
                    <a:pt x="2774" y="16"/>
                  </a:lnTo>
                  <a:lnTo>
                    <a:pt x="2773" y="14"/>
                  </a:lnTo>
                  <a:lnTo>
                    <a:pt x="2772" y="13"/>
                  </a:lnTo>
                  <a:lnTo>
                    <a:pt x="2771" y="13"/>
                  </a:lnTo>
                  <a:lnTo>
                    <a:pt x="2770" y="12"/>
                  </a:lnTo>
                  <a:lnTo>
                    <a:pt x="2769" y="11"/>
                  </a:lnTo>
                  <a:lnTo>
                    <a:pt x="2769" y="11"/>
                  </a:lnTo>
                  <a:lnTo>
                    <a:pt x="2768" y="10"/>
                  </a:lnTo>
                  <a:close/>
                  <a:moveTo>
                    <a:pt x="357" y="2"/>
                  </a:moveTo>
                  <a:lnTo>
                    <a:pt x="359" y="2"/>
                  </a:lnTo>
                  <a:lnTo>
                    <a:pt x="361" y="5"/>
                  </a:lnTo>
                  <a:lnTo>
                    <a:pt x="367" y="17"/>
                  </a:lnTo>
                  <a:lnTo>
                    <a:pt x="368" y="18"/>
                  </a:lnTo>
                  <a:lnTo>
                    <a:pt x="369" y="19"/>
                  </a:lnTo>
                  <a:lnTo>
                    <a:pt x="370" y="20"/>
                  </a:lnTo>
                  <a:lnTo>
                    <a:pt x="371" y="21"/>
                  </a:lnTo>
                  <a:lnTo>
                    <a:pt x="371" y="23"/>
                  </a:lnTo>
                  <a:lnTo>
                    <a:pt x="371" y="27"/>
                  </a:lnTo>
                  <a:lnTo>
                    <a:pt x="370" y="29"/>
                  </a:lnTo>
                  <a:lnTo>
                    <a:pt x="369" y="30"/>
                  </a:lnTo>
                  <a:lnTo>
                    <a:pt x="368" y="30"/>
                  </a:lnTo>
                  <a:lnTo>
                    <a:pt x="367" y="30"/>
                  </a:lnTo>
                  <a:lnTo>
                    <a:pt x="366" y="29"/>
                  </a:lnTo>
                  <a:lnTo>
                    <a:pt x="364" y="28"/>
                  </a:lnTo>
                  <a:lnTo>
                    <a:pt x="362" y="27"/>
                  </a:lnTo>
                  <a:lnTo>
                    <a:pt x="361" y="24"/>
                  </a:lnTo>
                  <a:lnTo>
                    <a:pt x="361" y="23"/>
                  </a:lnTo>
                  <a:lnTo>
                    <a:pt x="360" y="22"/>
                  </a:lnTo>
                  <a:lnTo>
                    <a:pt x="359" y="21"/>
                  </a:lnTo>
                  <a:lnTo>
                    <a:pt x="359" y="21"/>
                  </a:lnTo>
                  <a:lnTo>
                    <a:pt x="357" y="21"/>
                  </a:lnTo>
                  <a:lnTo>
                    <a:pt x="356" y="20"/>
                  </a:lnTo>
                  <a:lnTo>
                    <a:pt x="355" y="19"/>
                  </a:lnTo>
                  <a:lnTo>
                    <a:pt x="353" y="17"/>
                  </a:lnTo>
                  <a:lnTo>
                    <a:pt x="353" y="11"/>
                  </a:lnTo>
                  <a:lnTo>
                    <a:pt x="355" y="7"/>
                  </a:lnTo>
                  <a:lnTo>
                    <a:pt x="356" y="3"/>
                  </a:lnTo>
                  <a:lnTo>
                    <a:pt x="357" y="2"/>
                  </a:lnTo>
                  <a:close/>
                  <a:moveTo>
                    <a:pt x="183" y="0"/>
                  </a:moveTo>
                  <a:lnTo>
                    <a:pt x="183" y="0"/>
                  </a:lnTo>
                  <a:lnTo>
                    <a:pt x="184" y="1"/>
                  </a:lnTo>
                  <a:lnTo>
                    <a:pt x="184" y="3"/>
                  </a:lnTo>
                  <a:lnTo>
                    <a:pt x="183" y="6"/>
                  </a:lnTo>
                  <a:lnTo>
                    <a:pt x="183" y="7"/>
                  </a:lnTo>
                  <a:lnTo>
                    <a:pt x="182" y="9"/>
                  </a:lnTo>
                  <a:lnTo>
                    <a:pt x="181" y="10"/>
                  </a:lnTo>
                  <a:lnTo>
                    <a:pt x="181" y="17"/>
                  </a:lnTo>
                  <a:lnTo>
                    <a:pt x="183" y="23"/>
                  </a:lnTo>
                  <a:lnTo>
                    <a:pt x="181" y="29"/>
                  </a:lnTo>
                  <a:lnTo>
                    <a:pt x="179" y="31"/>
                  </a:lnTo>
                  <a:lnTo>
                    <a:pt x="177" y="33"/>
                  </a:lnTo>
                  <a:lnTo>
                    <a:pt x="175" y="34"/>
                  </a:lnTo>
                  <a:lnTo>
                    <a:pt x="173" y="36"/>
                  </a:lnTo>
                  <a:lnTo>
                    <a:pt x="171" y="38"/>
                  </a:lnTo>
                  <a:lnTo>
                    <a:pt x="170" y="41"/>
                  </a:lnTo>
                  <a:lnTo>
                    <a:pt x="167" y="42"/>
                  </a:lnTo>
                  <a:lnTo>
                    <a:pt x="166" y="42"/>
                  </a:lnTo>
                  <a:lnTo>
                    <a:pt x="166" y="43"/>
                  </a:lnTo>
                  <a:lnTo>
                    <a:pt x="165" y="43"/>
                  </a:lnTo>
                  <a:lnTo>
                    <a:pt x="164" y="43"/>
                  </a:lnTo>
                  <a:lnTo>
                    <a:pt x="162" y="42"/>
                  </a:lnTo>
                  <a:lnTo>
                    <a:pt x="160" y="42"/>
                  </a:lnTo>
                  <a:lnTo>
                    <a:pt x="159" y="41"/>
                  </a:lnTo>
                  <a:lnTo>
                    <a:pt x="157" y="39"/>
                  </a:lnTo>
                  <a:lnTo>
                    <a:pt x="159" y="34"/>
                  </a:lnTo>
                  <a:lnTo>
                    <a:pt x="160" y="31"/>
                  </a:lnTo>
                  <a:lnTo>
                    <a:pt x="162" y="29"/>
                  </a:lnTo>
                  <a:lnTo>
                    <a:pt x="164" y="27"/>
                  </a:lnTo>
                  <a:lnTo>
                    <a:pt x="165" y="24"/>
                  </a:lnTo>
                  <a:lnTo>
                    <a:pt x="168" y="22"/>
                  </a:lnTo>
                  <a:lnTo>
                    <a:pt x="171" y="21"/>
                  </a:lnTo>
                  <a:lnTo>
                    <a:pt x="172" y="18"/>
                  </a:lnTo>
                  <a:lnTo>
                    <a:pt x="174" y="16"/>
                  </a:lnTo>
                  <a:lnTo>
                    <a:pt x="174" y="11"/>
                  </a:lnTo>
                  <a:lnTo>
                    <a:pt x="174" y="8"/>
                  </a:lnTo>
                  <a:lnTo>
                    <a:pt x="176" y="5"/>
                  </a:lnTo>
                  <a:lnTo>
                    <a:pt x="178" y="1"/>
                  </a:lnTo>
                  <a:lnTo>
                    <a:pt x="181" y="0"/>
                  </a:lnTo>
                  <a:lnTo>
                    <a:pt x="183"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97" name="Freeform 33"/>
            <p:cNvSpPr>
              <a:spLocks noEditPoints="1"/>
            </p:cNvSpPr>
            <p:nvPr/>
          </p:nvSpPr>
          <p:spPr bwMode="auto">
            <a:xfrm>
              <a:off x="5569" y="806"/>
              <a:ext cx="391" cy="258"/>
            </a:xfrm>
            <a:custGeom>
              <a:avLst/>
              <a:gdLst>
                <a:gd name="T0" fmla="*/ 2478 w 2739"/>
                <a:gd name="T1" fmla="*/ 300 h 1807"/>
                <a:gd name="T2" fmla="*/ 2447 w 2739"/>
                <a:gd name="T3" fmla="*/ 417 h 1807"/>
                <a:gd name="T4" fmla="*/ 2459 w 2739"/>
                <a:gd name="T5" fmla="*/ 309 h 1807"/>
                <a:gd name="T6" fmla="*/ 2439 w 2739"/>
                <a:gd name="T7" fmla="*/ 235 h 1807"/>
                <a:gd name="T8" fmla="*/ 2458 w 2739"/>
                <a:gd name="T9" fmla="*/ 180 h 1807"/>
                <a:gd name="T10" fmla="*/ 2704 w 2739"/>
                <a:gd name="T11" fmla="*/ 125 h 1807"/>
                <a:gd name="T12" fmla="*/ 703 w 2739"/>
                <a:gd name="T13" fmla="*/ 154 h 1807"/>
                <a:gd name="T14" fmla="*/ 2734 w 2739"/>
                <a:gd name="T15" fmla="*/ 120 h 1807"/>
                <a:gd name="T16" fmla="*/ 1551 w 2739"/>
                <a:gd name="T17" fmla="*/ 70 h 1807"/>
                <a:gd name="T18" fmla="*/ 6 w 2739"/>
                <a:gd name="T19" fmla="*/ 67 h 1807"/>
                <a:gd name="T20" fmla="*/ 95 w 2739"/>
                <a:gd name="T21" fmla="*/ 1 h 1807"/>
                <a:gd name="T22" fmla="*/ 1088 w 2739"/>
                <a:gd name="T23" fmla="*/ 558 h 1807"/>
                <a:gd name="T24" fmla="*/ 1155 w 2739"/>
                <a:gd name="T25" fmla="*/ 617 h 1807"/>
                <a:gd name="T26" fmla="*/ 1233 w 2739"/>
                <a:gd name="T27" fmla="*/ 604 h 1807"/>
                <a:gd name="T28" fmla="*/ 1304 w 2739"/>
                <a:gd name="T29" fmla="*/ 617 h 1807"/>
                <a:gd name="T30" fmla="*/ 1383 w 2739"/>
                <a:gd name="T31" fmla="*/ 650 h 1807"/>
                <a:gd name="T32" fmla="*/ 1459 w 2739"/>
                <a:gd name="T33" fmla="*/ 709 h 1807"/>
                <a:gd name="T34" fmla="*/ 1379 w 2739"/>
                <a:gd name="T35" fmla="*/ 842 h 1807"/>
                <a:gd name="T36" fmla="*/ 1298 w 2739"/>
                <a:gd name="T37" fmla="*/ 1027 h 1807"/>
                <a:gd name="T38" fmla="*/ 1116 w 2739"/>
                <a:gd name="T39" fmla="*/ 944 h 1807"/>
                <a:gd name="T40" fmla="*/ 977 w 2739"/>
                <a:gd name="T41" fmla="*/ 1044 h 1807"/>
                <a:gd name="T42" fmla="*/ 1100 w 2739"/>
                <a:gd name="T43" fmla="*/ 1137 h 1807"/>
                <a:gd name="T44" fmla="*/ 1163 w 2739"/>
                <a:gd name="T45" fmla="*/ 1180 h 1807"/>
                <a:gd name="T46" fmla="*/ 1297 w 2739"/>
                <a:gd name="T47" fmla="*/ 1268 h 1807"/>
                <a:gd name="T48" fmla="*/ 1464 w 2739"/>
                <a:gd name="T49" fmla="*/ 1220 h 1807"/>
                <a:gd name="T50" fmla="*/ 1482 w 2739"/>
                <a:gd name="T51" fmla="*/ 1227 h 1807"/>
                <a:gd name="T52" fmla="*/ 1592 w 2739"/>
                <a:gd name="T53" fmla="*/ 1228 h 1807"/>
                <a:gd name="T54" fmla="*/ 1658 w 2739"/>
                <a:gd name="T55" fmla="*/ 1262 h 1807"/>
                <a:gd name="T56" fmla="*/ 1771 w 2739"/>
                <a:gd name="T57" fmla="*/ 1338 h 1807"/>
                <a:gd name="T58" fmla="*/ 1789 w 2739"/>
                <a:gd name="T59" fmla="*/ 1345 h 1807"/>
                <a:gd name="T60" fmla="*/ 1856 w 2739"/>
                <a:gd name="T61" fmla="*/ 1357 h 1807"/>
                <a:gd name="T62" fmla="*/ 1902 w 2739"/>
                <a:gd name="T63" fmla="*/ 1452 h 1807"/>
                <a:gd name="T64" fmla="*/ 1814 w 2739"/>
                <a:gd name="T65" fmla="*/ 1560 h 1807"/>
                <a:gd name="T66" fmla="*/ 1728 w 2739"/>
                <a:gd name="T67" fmla="*/ 1623 h 1807"/>
                <a:gd name="T68" fmla="*/ 1618 w 2739"/>
                <a:gd name="T69" fmla="*/ 1677 h 1807"/>
                <a:gd name="T70" fmla="*/ 1574 w 2739"/>
                <a:gd name="T71" fmla="*/ 1731 h 1807"/>
                <a:gd name="T72" fmla="*/ 1537 w 2739"/>
                <a:gd name="T73" fmla="*/ 1763 h 1807"/>
                <a:gd name="T74" fmla="*/ 1506 w 2739"/>
                <a:gd name="T75" fmla="*/ 1806 h 1807"/>
                <a:gd name="T76" fmla="*/ 1453 w 2739"/>
                <a:gd name="T77" fmla="*/ 1774 h 1807"/>
                <a:gd name="T78" fmla="*/ 1446 w 2739"/>
                <a:gd name="T79" fmla="*/ 1729 h 1807"/>
                <a:gd name="T80" fmla="*/ 1446 w 2739"/>
                <a:gd name="T81" fmla="*/ 1648 h 1807"/>
                <a:gd name="T82" fmla="*/ 1450 w 2739"/>
                <a:gd name="T83" fmla="*/ 1571 h 1807"/>
                <a:gd name="T84" fmla="*/ 1323 w 2739"/>
                <a:gd name="T85" fmla="*/ 1492 h 1807"/>
                <a:gd name="T86" fmla="*/ 1278 w 2739"/>
                <a:gd name="T87" fmla="*/ 1412 h 1807"/>
                <a:gd name="T88" fmla="*/ 1328 w 2739"/>
                <a:gd name="T89" fmla="*/ 1354 h 1807"/>
                <a:gd name="T90" fmla="*/ 1260 w 2739"/>
                <a:gd name="T91" fmla="*/ 1293 h 1807"/>
                <a:gd name="T92" fmla="*/ 1080 w 2739"/>
                <a:gd name="T93" fmla="*/ 1186 h 1807"/>
                <a:gd name="T94" fmla="*/ 798 w 2739"/>
                <a:gd name="T95" fmla="*/ 1021 h 1807"/>
                <a:gd name="T96" fmla="*/ 741 w 2739"/>
                <a:gd name="T97" fmla="*/ 992 h 1807"/>
                <a:gd name="T98" fmla="*/ 692 w 2739"/>
                <a:gd name="T99" fmla="*/ 967 h 1807"/>
                <a:gd name="T100" fmla="*/ 490 w 2739"/>
                <a:gd name="T101" fmla="*/ 606 h 1807"/>
                <a:gd name="T102" fmla="*/ 433 w 2739"/>
                <a:gd name="T103" fmla="*/ 371 h 1807"/>
                <a:gd name="T104" fmla="*/ 393 w 2739"/>
                <a:gd name="T105" fmla="*/ 286 h 1807"/>
                <a:gd name="T106" fmla="*/ 351 w 2739"/>
                <a:gd name="T107" fmla="*/ 190 h 1807"/>
                <a:gd name="T108" fmla="*/ 289 w 2739"/>
                <a:gd name="T109" fmla="*/ 116 h 1807"/>
                <a:gd name="T110" fmla="*/ 199 w 2739"/>
                <a:gd name="T111" fmla="*/ 136 h 1807"/>
                <a:gd name="T112" fmla="*/ 177 w 2739"/>
                <a:gd name="T113" fmla="*/ 98 h 1807"/>
                <a:gd name="T114" fmla="*/ 134 w 2739"/>
                <a:gd name="T115" fmla="*/ 205 h 1807"/>
                <a:gd name="T116" fmla="*/ 102 w 2739"/>
                <a:gd name="T117" fmla="*/ 222 h 1807"/>
                <a:gd name="T118" fmla="*/ 80 w 2739"/>
                <a:gd name="T119" fmla="*/ 182 h 1807"/>
                <a:gd name="T120" fmla="*/ 39 w 2739"/>
                <a:gd name="T121" fmla="*/ 137 h 1807"/>
                <a:gd name="T122" fmla="*/ 54 w 2739"/>
                <a:gd name="T123" fmla="*/ 57 h 1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39" h="1807">
                  <a:moveTo>
                    <a:pt x="2459" y="188"/>
                  </a:moveTo>
                  <a:lnTo>
                    <a:pt x="2460" y="189"/>
                  </a:lnTo>
                  <a:lnTo>
                    <a:pt x="2461" y="191"/>
                  </a:lnTo>
                  <a:lnTo>
                    <a:pt x="2461" y="196"/>
                  </a:lnTo>
                  <a:lnTo>
                    <a:pt x="2458" y="202"/>
                  </a:lnTo>
                  <a:lnTo>
                    <a:pt x="2456" y="209"/>
                  </a:lnTo>
                  <a:lnTo>
                    <a:pt x="2455" y="215"/>
                  </a:lnTo>
                  <a:lnTo>
                    <a:pt x="2457" y="220"/>
                  </a:lnTo>
                  <a:lnTo>
                    <a:pt x="2459" y="221"/>
                  </a:lnTo>
                  <a:lnTo>
                    <a:pt x="2460" y="221"/>
                  </a:lnTo>
                  <a:lnTo>
                    <a:pt x="2463" y="220"/>
                  </a:lnTo>
                  <a:lnTo>
                    <a:pt x="2464" y="220"/>
                  </a:lnTo>
                  <a:lnTo>
                    <a:pt x="2466" y="220"/>
                  </a:lnTo>
                  <a:lnTo>
                    <a:pt x="2468" y="221"/>
                  </a:lnTo>
                  <a:lnTo>
                    <a:pt x="2470" y="222"/>
                  </a:lnTo>
                  <a:lnTo>
                    <a:pt x="2471" y="223"/>
                  </a:lnTo>
                  <a:lnTo>
                    <a:pt x="2472" y="224"/>
                  </a:lnTo>
                  <a:lnTo>
                    <a:pt x="2472" y="226"/>
                  </a:lnTo>
                  <a:lnTo>
                    <a:pt x="2474" y="229"/>
                  </a:lnTo>
                  <a:lnTo>
                    <a:pt x="2474" y="232"/>
                  </a:lnTo>
                  <a:lnTo>
                    <a:pt x="2472" y="234"/>
                  </a:lnTo>
                  <a:lnTo>
                    <a:pt x="2471" y="237"/>
                  </a:lnTo>
                  <a:lnTo>
                    <a:pt x="2470" y="240"/>
                  </a:lnTo>
                  <a:lnTo>
                    <a:pt x="2469" y="244"/>
                  </a:lnTo>
                  <a:lnTo>
                    <a:pt x="2468" y="247"/>
                  </a:lnTo>
                  <a:lnTo>
                    <a:pt x="2467" y="252"/>
                  </a:lnTo>
                  <a:lnTo>
                    <a:pt x="2466" y="256"/>
                  </a:lnTo>
                  <a:lnTo>
                    <a:pt x="2466" y="258"/>
                  </a:lnTo>
                  <a:lnTo>
                    <a:pt x="2465" y="261"/>
                  </a:lnTo>
                  <a:lnTo>
                    <a:pt x="2465" y="263"/>
                  </a:lnTo>
                  <a:lnTo>
                    <a:pt x="2466" y="265"/>
                  </a:lnTo>
                  <a:lnTo>
                    <a:pt x="2468" y="266"/>
                  </a:lnTo>
                  <a:lnTo>
                    <a:pt x="2470" y="267"/>
                  </a:lnTo>
                  <a:lnTo>
                    <a:pt x="2472" y="269"/>
                  </a:lnTo>
                  <a:lnTo>
                    <a:pt x="2472" y="270"/>
                  </a:lnTo>
                  <a:lnTo>
                    <a:pt x="2472" y="272"/>
                  </a:lnTo>
                  <a:lnTo>
                    <a:pt x="2474" y="274"/>
                  </a:lnTo>
                  <a:lnTo>
                    <a:pt x="2474" y="277"/>
                  </a:lnTo>
                  <a:lnTo>
                    <a:pt x="2474" y="280"/>
                  </a:lnTo>
                  <a:lnTo>
                    <a:pt x="2475" y="283"/>
                  </a:lnTo>
                  <a:lnTo>
                    <a:pt x="2475" y="284"/>
                  </a:lnTo>
                  <a:lnTo>
                    <a:pt x="2476" y="286"/>
                  </a:lnTo>
                  <a:lnTo>
                    <a:pt x="2476" y="287"/>
                  </a:lnTo>
                  <a:lnTo>
                    <a:pt x="2476" y="289"/>
                  </a:lnTo>
                  <a:lnTo>
                    <a:pt x="2477" y="291"/>
                  </a:lnTo>
                  <a:lnTo>
                    <a:pt x="2477" y="295"/>
                  </a:lnTo>
                  <a:lnTo>
                    <a:pt x="2477" y="297"/>
                  </a:lnTo>
                  <a:lnTo>
                    <a:pt x="2477" y="299"/>
                  </a:lnTo>
                  <a:lnTo>
                    <a:pt x="2478" y="300"/>
                  </a:lnTo>
                  <a:lnTo>
                    <a:pt x="2479" y="302"/>
                  </a:lnTo>
                  <a:lnTo>
                    <a:pt x="2480" y="305"/>
                  </a:lnTo>
                  <a:lnTo>
                    <a:pt x="2481" y="307"/>
                  </a:lnTo>
                  <a:lnTo>
                    <a:pt x="2482" y="308"/>
                  </a:lnTo>
                  <a:lnTo>
                    <a:pt x="2482" y="309"/>
                  </a:lnTo>
                  <a:lnTo>
                    <a:pt x="2483" y="313"/>
                  </a:lnTo>
                  <a:lnTo>
                    <a:pt x="2485" y="318"/>
                  </a:lnTo>
                  <a:lnTo>
                    <a:pt x="2487" y="322"/>
                  </a:lnTo>
                  <a:lnTo>
                    <a:pt x="2489" y="331"/>
                  </a:lnTo>
                  <a:lnTo>
                    <a:pt x="2491" y="341"/>
                  </a:lnTo>
                  <a:lnTo>
                    <a:pt x="2493" y="344"/>
                  </a:lnTo>
                  <a:lnTo>
                    <a:pt x="2494" y="347"/>
                  </a:lnTo>
                  <a:lnTo>
                    <a:pt x="2497" y="352"/>
                  </a:lnTo>
                  <a:lnTo>
                    <a:pt x="2500" y="358"/>
                  </a:lnTo>
                  <a:lnTo>
                    <a:pt x="2500" y="366"/>
                  </a:lnTo>
                  <a:lnTo>
                    <a:pt x="2499" y="376"/>
                  </a:lnTo>
                  <a:lnTo>
                    <a:pt x="2497" y="382"/>
                  </a:lnTo>
                  <a:lnTo>
                    <a:pt x="2496" y="387"/>
                  </a:lnTo>
                  <a:lnTo>
                    <a:pt x="2494" y="394"/>
                  </a:lnTo>
                  <a:lnTo>
                    <a:pt x="2494" y="397"/>
                  </a:lnTo>
                  <a:lnTo>
                    <a:pt x="2494" y="399"/>
                  </a:lnTo>
                  <a:lnTo>
                    <a:pt x="2493" y="400"/>
                  </a:lnTo>
                  <a:lnTo>
                    <a:pt x="2492" y="401"/>
                  </a:lnTo>
                  <a:lnTo>
                    <a:pt x="2491" y="403"/>
                  </a:lnTo>
                  <a:lnTo>
                    <a:pt x="2489" y="405"/>
                  </a:lnTo>
                  <a:lnTo>
                    <a:pt x="2488" y="405"/>
                  </a:lnTo>
                  <a:lnTo>
                    <a:pt x="2487" y="404"/>
                  </a:lnTo>
                  <a:lnTo>
                    <a:pt x="2486" y="403"/>
                  </a:lnTo>
                  <a:lnTo>
                    <a:pt x="2485" y="400"/>
                  </a:lnTo>
                  <a:lnTo>
                    <a:pt x="2480" y="400"/>
                  </a:lnTo>
                  <a:lnTo>
                    <a:pt x="2480" y="401"/>
                  </a:lnTo>
                  <a:lnTo>
                    <a:pt x="2480" y="401"/>
                  </a:lnTo>
                  <a:lnTo>
                    <a:pt x="2479" y="403"/>
                  </a:lnTo>
                  <a:lnTo>
                    <a:pt x="2478" y="403"/>
                  </a:lnTo>
                  <a:lnTo>
                    <a:pt x="2477" y="405"/>
                  </a:lnTo>
                  <a:lnTo>
                    <a:pt x="2474" y="405"/>
                  </a:lnTo>
                  <a:lnTo>
                    <a:pt x="2471" y="405"/>
                  </a:lnTo>
                  <a:lnTo>
                    <a:pt x="2470" y="405"/>
                  </a:lnTo>
                  <a:lnTo>
                    <a:pt x="2467" y="406"/>
                  </a:lnTo>
                  <a:lnTo>
                    <a:pt x="2465" y="407"/>
                  </a:lnTo>
                  <a:lnTo>
                    <a:pt x="2463" y="409"/>
                  </a:lnTo>
                  <a:lnTo>
                    <a:pt x="2461" y="411"/>
                  </a:lnTo>
                  <a:lnTo>
                    <a:pt x="2459" y="414"/>
                  </a:lnTo>
                  <a:lnTo>
                    <a:pt x="2457" y="415"/>
                  </a:lnTo>
                  <a:lnTo>
                    <a:pt x="2455" y="416"/>
                  </a:lnTo>
                  <a:lnTo>
                    <a:pt x="2453" y="417"/>
                  </a:lnTo>
                  <a:lnTo>
                    <a:pt x="2450" y="418"/>
                  </a:lnTo>
                  <a:lnTo>
                    <a:pt x="2448" y="418"/>
                  </a:lnTo>
                  <a:lnTo>
                    <a:pt x="2447" y="417"/>
                  </a:lnTo>
                  <a:lnTo>
                    <a:pt x="2445" y="412"/>
                  </a:lnTo>
                  <a:lnTo>
                    <a:pt x="2447" y="407"/>
                  </a:lnTo>
                  <a:lnTo>
                    <a:pt x="2450" y="403"/>
                  </a:lnTo>
                  <a:lnTo>
                    <a:pt x="2455" y="398"/>
                  </a:lnTo>
                  <a:lnTo>
                    <a:pt x="2457" y="396"/>
                  </a:lnTo>
                  <a:lnTo>
                    <a:pt x="2459" y="393"/>
                  </a:lnTo>
                  <a:lnTo>
                    <a:pt x="2463" y="387"/>
                  </a:lnTo>
                  <a:lnTo>
                    <a:pt x="2464" y="382"/>
                  </a:lnTo>
                  <a:lnTo>
                    <a:pt x="2461" y="376"/>
                  </a:lnTo>
                  <a:lnTo>
                    <a:pt x="2461" y="376"/>
                  </a:lnTo>
                  <a:lnTo>
                    <a:pt x="2460" y="377"/>
                  </a:lnTo>
                  <a:lnTo>
                    <a:pt x="2459" y="377"/>
                  </a:lnTo>
                  <a:lnTo>
                    <a:pt x="2458" y="377"/>
                  </a:lnTo>
                  <a:lnTo>
                    <a:pt x="2457" y="376"/>
                  </a:lnTo>
                  <a:lnTo>
                    <a:pt x="2457" y="369"/>
                  </a:lnTo>
                  <a:lnTo>
                    <a:pt x="2456" y="367"/>
                  </a:lnTo>
                  <a:lnTo>
                    <a:pt x="2455" y="366"/>
                  </a:lnTo>
                  <a:lnTo>
                    <a:pt x="2455" y="364"/>
                  </a:lnTo>
                  <a:lnTo>
                    <a:pt x="2455" y="363"/>
                  </a:lnTo>
                  <a:lnTo>
                    <a:pt x="2455" y="360"/>
                  </a:lnTo>
                  <a:lnTo>
                    <a:pt x="2455" y="356"/>
                  </a:lnTo>
                  <a:lnTo>
                    <a:pt x="2455" y="354"/>
                  </a:lnTo>
                  <a:lnTo>
                    <a:pt x="2454" y="351"/>
                  </a:lnTo>
                  <a:lnTo>
                    <a:pt x="2453" y="347"/>
                  </a:lnTo>
                  <a:lnTo>
                    <a:pt x="2452" y="343"/>
                  </a:lnTo>
                  <a:lnTo>
                    <a:pt x="2452" y="339"/>
                  </a:lnTo>
                  <a:lnTo>
                    <a:pt x="2452" y="334"/>
                  </a:lnTo>
                  <a:lnTo>
                    <a:pt x="2452" y="333"/>
                  </a:lnTo>
                  <a:lnTo>
                    <a:pt x="2453" y="335"/>
                  </a:lnTo>
                  <a:lnTo>
                    <a:pt x="2454" y="336"/>
                  </a:lnTo>
                  <a:lnTo>
                    <a:pt x="2456" y="339"/>
                  </a:lnTo>
                  <a:lnTo>
                    <a:pt x="2457" y="341"/>
                  </a:lnTo>
                  <a:lnTo>
                    <a:pt x="2458" y="343"/>
                  </a:lnTo>
                  <a:lnTo>
                    <a:pt x="2460" y="343"/>
                  </a:lnTo>
                  <a:lnTo>
                    <a:pt x="2461" y="343"/>
                  </a:lnTo>
                  <a:lnTo>
                    <a:pt x="2463" y="340"/>
                  </a:lnTo>
                  <a:lnTo>
                    <a:pt x="2463" y="336"/>
                  </a:lnTo>
                  <a:lnTo>
                    <a:pt x="2463" y="333"/>
                  </a:lnTo>
                  <a:lnTo>
                    <a:pt x="2461" y="330"/>
                  </a:lnTo>
                  <a:lnTo>
                    <a:pt x="2461" y="327"/>
                  </a:lnTo>
                  <a:lnTo>
                    <a:pt x="2463" y="324"/>
                  </a:lnTo>
                  <a:lnTo>
                    <a:pt x="2463" y="323"/>
                  </a:lnTo>
                  <a:lnTo>
                    <a:pt x="2463" y="322"/>
                  </a:lnTo>
                  <a:lnTo>
                    <a:pt x="2463" y="320"/>
                  </a:lnTo>
                  <a:lnTo>
                    <a:pt x="2461" y="318"/>
                  </a:lnTo>
                  <a:lnTo>
                    <a:pt x="2461" y="317"/>
                  </a:lnTo>
                  <a:lnTo>
                    <a:pt x="2461" y="314"/>
                  </a:lnTo>
                  <a:lnTo>
                    <a:pt x="2460" y="312"/>
                  </a:lnTo>
                  <a:lnTo>
                    <a:pt x="2459" y="309"/>
                  </a:lnTo>
                  <a:lnTo>
                    <a:pt x="2459" y="308"/>
                  </a:lnTo>
                  <a:lnTo>
                    <a:pt x="2459" y="306"/>
                  </a:lnTo>
                  <a:lnTo>
                    <a:pt x="2459" y="303"/>
                  </a:lnTo>
                  <a:lnTo>
                    <a:pt x="2459" y="301"/>
                  </a:lnTo>
                  <a:lnTo>
                    <a:pt x="2459" y="299"/>
                  </a:lnTo>
                  <a:lnTo>
                    <a:pt x="2458" y="298"/>
                  </a:lnTo>
                  <a:lnTo>
                    <a:pt x="2457" y="298"/>
                  </a:lnTo>
                  <a:lnTo>
                    <a:pt x="2455" y="298"/>
                  </a:lnTo>
                  <a:lnTo>
                    <a:pt x="2455" y="299"/>
                  </a:lnTo>
                  <a:lnTo>
                    <a:pt x="2454" y="299"/>
                  </a:lnTo>
                  <a:lnTo>
                    <a:pt x="2452" y="300"/>
                  </a:lnTo>
                  <a:lnTo>
                    <a:pt x="2450" y="301"/>
                  </a:lnTo>
                  <a:lnTo>
                    <a:pt x="2449" y="300"/>
                  </a:lnTo>
                  <a:lnTo>
                    <a:pt x="2447" y="298"/>
                  </a:lnTo>
                  <a:lnTo>
                    <a:pt x="2447" y="296"/>
                  </a:lnTo>
                  <a:lnTo>
                    <a:pt x="2447" y="294"/>
                  </a:lnTo>
                  <a:lnTo>
                    <a:pt x="2448" y="291"/>
                  </a:lnTo>
                  <a:lnTo>
                    <a:pt x="2449" y="290"/>
                  </a:lnTo>
                  <a:lnTo>
                    <a:pt x="2449" y="288"/>
                  </a:lnTo>
                  <a:lnTo>
                    <a:pt x="2452" y="285"/>
                  </a:lnTo>
                  <a:lnTo>
                    <a:pt x="2450" y="283"/>
                  </a:lnTo>
                  <a:lnTo>
                    <a:pt x="2450" y="281"/>
                  </a:lnTo>
                  <a:lnTo>
                    <a:pt x="2449" y="279"/>
                  </a:lnTo>
                  <a:lnTo>
                    <a:pt x="2449" y="276"/>
                  </a:lnTo>
                  <a:lnTo>
                    <a:pt x="2448" y="274"/>
                  </a:lnTo>
                  <a:lnTo>
                    <a:pt x="2448" y="272"/>
                  </a:lnTo>
                  <a:lnTo>
                    <a:pt x="2447" y="272"/>
                  </a:lnTo>
                  <a:lnTo>
                    <a:pt x="2446" y="272"/>
                  </a:lnTo>
                  <a:lnTo>
                    <a:pt x="2445" y="270"/>
                  </a:lnTo>
                  <a:lnTo>
                    <a:pt x="2444" y="270"/>
                  </a:lnTo>
                  <a:lnTo>
                    <a:pt x="2444" y="269"/>
                  </a:lnTo>
                  <a:lnTo>
                    <a:pt x="2443" y="267"/>
                  </a:lnTo>
                  <a:lnTo>
                    <a:pt x="2443" y="265"/>
                  </a:lnTo>
                  <a:lnTo>
                    <a:pt x="2443" y="262"/>
                  </a:lnTo>
                  <a:lnTo>
                    <a:pt x="2444" y="259"/>
                  </a:lnTo>
                  <a:lnTo>
                    <a:pt x="2445" y="257"/>
                  </a:lnTo>
                  <a:lnTo>
                    <a:pt x="2445" y="256"/>
                  </a:lnTo>
                  <a:lnTo>
                    <a:pt x="2443" y="254"/>
                  </a:lnTo>
                  <a:lnTo>
                    <a:pt x="2442" y="254"/>
                  </a:lnTo>
                  <a:lnTo>
                    <a:pt x="2441" y="254"/>
                  </a:lnTo>
                  <a:lnTo>
                    <a:pt x="2439" y="252"/>
                  </a:lnTo>
                  <a:lnTo>
                    <a:pt x="2438" y="249"/>
                  </a:lnTo>
                  <a:lnTo>
                    <a:pt x="2438" y="246"/>
                  </a:lnTo>
                  <a:lnTo>
                    <a:pt x="2438" y="244"/>
                  </a:lnTo>
                  <a:lnTo>
                    <a:pt x="2439" y="242"/>
                  </a:lnTo>
                  <a:lnTo>
                    <a:pt x="2441" y="240"/>
                  </a:lnTo>
                  <a:lnTo>
                    <a:pt x="2441" y="237"/>
                  </a:lnTo>
                  <a:lnTo>
                    <a:pt x="2441" y="236"/>
                  </a:lnTo>
                  <a:lnTo>
                    <a:pt x="2439" y="235"/>
                  </a:lnTo>
                  <a:lnTo>
                    <a:pt x="2438" y="233"/>
                  </a:lnTo>
                  <a:lnTo>
                    <a:pt x="2438" y="232"/>
                  </a:lnTo>
                  <a:lnTo>
                    <a:pt x="2439" y="229"/>
                  </a:lnTo>
                  <a:lnTo>
                    <a:pt x="2439" y="226"/>
                  </a:lnTo>
                  <a:lnTo>
                    <a:pt x="2441" y="224"/>
                  </a:lnTo>
                  <a:lnTo>
                    <a:pt x="2441" y="222"/>
                  </a:lnTo>
                  <a:lnTo>
                    <a:pt x="2441" y="219"/>
                  </a:lnTo>
                  <a:lnTo>
                    <a:pt x="2442" y="215"/>
                  </a:lnTo>
                  <a:lnTo>
                    <a:pt x="2443" y="211"/>
                  </a:lnTo>
                  <a:lnTo>
                    <a:pt x="2443" y="207"/>
                  </a:lnTo>
                  <a:lnTo>
                    <a:pt x="2443" y="201"/>
                  </a:lnTo>
                  <a:lnTo>
                    <a:pt x="2445" y="194"/>
                  </a:lnTo>
                  <a:lnTo>
                    <a:pt x="2447" y="189"/>
                  </a:lnTo>
                  <a:lnTo>
                    <a:pt x="2448" y="191"/>
                  </a:lnTo>
                  <a:lnTo>
                    <a:pt x="2450" y="193"/>
                  </a:lnTo>
                  <a:lnTo>
                    <a:pt x="2452" y="193"/>
                  </a:lnTo>
                  <a:lnTo>
                    <a:pt x="2453" y="192"/>
                  </a:lnTo>
                  <a:lnTo>
                    <a:pt x="2455" y="191"/>
                  </a:lnTo>
                  <a:lnTo>
                    <a:pt x="2456" y="190"/>
                  </a:lnTo>
                  <a:lnTo>
                    <a:pt x="2457" y="189"/>
                  </a:lnTo>
                  <a:lnTo>
                    <a:pt x="2458" y="188"/>
                  </a:lnTo>
                  <a:lnTo>
                    <a:pt x="2459" y="188"/>
                  </a:lnTo>
                  <a:close/>
                  <a:moveTo>
                    <a:pt x="1310" y="180"/>
                  </a:moveTo>
                  <a:lnTo>
                    <a:pt x="1312" y="181"/>
                  </a:lnTo>
                  <a:lnTo>
                    <a:pt x="1313" y="182"/>
                  </a:lnTo>
                  <a:lnTo>
                    <a:pt x="1313" y="185"/>
                  </a:lnTo>
                  <a:lnTo>
                    <a:pt x="1314" y="187"/>
                  </a:lnTo>
                  <a:lnTo>
                    <a:pt x="1313" y="188"/>
                  </a:lnTo>
                  <a:lnTo>
                    <a:pt x="1312" y="188"/>
                  </a:lnTo>
                  <a:lnTo>
                    <a:pt x="1310" y="188"/>
                  </a:lnTo>
                  <a:lnTo>
                    <a:pt x="1308" y="187"/>
                  </a:lnTo>
                  <a:lnTo>
                    <a:pt x="1307" y="185"/>
                  </a:lnTo>
                  <a:lnTo>
                    <a:pt x="1307" y="182"/>
                  </a:lnTo>
                  <a:lnTo>
                    <a:pt x="1308" y="181"/>
                  </a:lnTo>
                  <a:lnTo>
                    <a:pt x="1310" y="180"/>
                  </a:lnTo>
                  <a:close/>
                  <a:moveTo>
                    <a:pt x="2459" y="171"/>
                  </a:moveTo>
                  <a:lnTo>
                    <a:pt x="2460" y="171"/>
                  </a:lnTo>
                  <a:lnTo>
                    <a:pt x="2461" y="171"/>
                  </a:lnTo>
                  <a:lnTo>
                    <a:pt x="2461" y="172"/>
                  </a:lnTo>
                  <a:lnTo>
                    <a:pt x="2463" y="175"/>
                  </a:lnTo>
                  <a:lnTo>
                    <a:pt x="2464" y="177"/>
                  </a:lnTo>
                  <a:lnTo>
                    <a:pt x="2464" y="179"/>
                  </a:lnTo>
                  <a:lnTo>
                    <a:pt x="2463" y="181"/>
                  </a:lnTo>
                  <a:lnTo>
                    <a:pt x="2461" y="182"/>
                  </a:lnTo>
                  <a:lnTo>
                    <a:pt x="2461" y="185"/>
                  </a:lnTo>
                  <a:lnTo>
                    <a:pt x="2460" y="185"/>
                  </a:lnTo>
                  <a:lnTo>
                    <a:pt x="2460" y="183"/>
                  </a:lnTo>
                  <a:lnTo>
                    <a:pt x="2458" y="182"/>
                  </a:lnTo>
                  <a:lnTo>
                    <a:pt x="2458" y="180"/>
                  </a:lnTo>
                  <a:lnTo>
                    <a:pt x="2457" y="178"/>
                  </a:lnTo>
                  <a:lnTo>
                    <a:pt x="2457" y="175"/>
                  </a:lnTo>
                  <a:lnTo>
                    <a:pt x="2457" y="172"/>
                  </a:lnTo>
                  <a:lnTo>
                    <a:pt x="2458" y="171"/>
                  </a:lnTo>
                  <a:lnTo>
                    <a:pt x="2459" y="171"/>
                  </a:lnTo>
                  <a:close/>
                  <a:moveTo>
                    <a:pt x="39" y="155"/>
                  </a:moveTo>
                  <a:lnTo>
                    <a:pt x="42" y="155"/>
                  </a:lnTo>
                  <a:lnTo>
                    <a:pt x="43" y="156"/>
                  </a:lnTo>
                  <a:lnTo>
                    <a:pt x="44" y="158"/>
                  </a:lnTo>
                  <a:lnTo>
                    <a:pt x="43" y="161"/>
                  </a:lnTo>
                  <a:lnTo>
                    <a:pt x="42" y="164"/>
                  </a:lnTo>
                  <a:lnTo>
                    <a:pt x="41" y="167"/>
                  </a:lnTo>
                  <a:lnTo>
                    <a:pt x="39" y="169"/>
                  </a:lnTo>
                  <a:lnTo>
                    <a:pt x="38" y="171"/>
                  </a:lnTo>
                  <a:lnTo>
                    <a:pt x="37" y="174"/>
                  </a:lnTo>
                  <a:lnTo>
                    <a:pt x="36" y="174"/>
                  </a:lnTo>
                  <a:lnTo>
                    <a:pt x="36" y="174"/>
                  </a:lnTo>
                  <a:lnTo>
                    <a:pt x="35" y="172"/>
                  </a:lnTo>
                  <a:lnTo>
                    <a:pt x="34" y="170"/>
                  </a:lnTo>
                  <a:lnTo>
                    <a:pt x="34" y="168"/>
                  </a:lnTo>
                  <a:lnTo>
                    <a:pt x="33" y="167"/>
                  </a:lnTo>
                  <a:lnTo>
                    <a:pt x="32" y="166"/>
                  </a:lnTo>
                  <a:lnTo>
                    <a:pt x="31" y="165"/>
                  </a:lnTo>
                  <a:lnTo>
                    <a:pt x="31" y="161"/>
                  </a:lnTo>
                  <a:lnTo>
                    <a:pt x="31" y="159"/>
                  </a:lnTo>
                  <a:lnTo>
                    <a:pt x="32" y="157"/>
                  </a:lnTo>
                  <a:lnTo>
                    <a:pt x="34" y="156"/>
                  </a:lnTo>
                  <a:lnTo>
                    <a:pt x="37" y="155"/>
                  </a:lnTo>
                  <a:lnTo>
                    <a:pt x="39" y="155"/>
                  </a:lnTo>
                  <a:close/>
                  <a:moveTo>
                    <a:pt x="2476" y="134"/>
                  </a:moveTo>
                  <a:lnTo>
                    <a:pt x="2477" y="134"/>
                  </a:lnTo>
                  <a:lnTo>
                    <a:pt x="2479" y="134"/>
                  </a:lnTo>
                  <a:lnTo>
                    <a:pt x="2481" y="134"/>
                  </a:lnTo>
                  <a:lnTo>
                    <a:pt x="2482" y="135"/>
                  </a:lnTo>
                  <a:lnTo>
                    <a:pt x="2482" y="137"/>
                  </a:lnTo>
                  <a:lnTo>
                    <a:pt x="2482" y="139"/>
                  </a:lnTo>
                  <a:lnTo>
                    <a:pt x="2481" y="143"/>
                  </a:lnTo>
                  <a:lnTo>
                    <a:pt x="2480" y="146"/>
                  </a:lnTo>
                  <a:lnTo>
                    <a:pt x="2479" y="148"/>
                  </a:lnTo>
                  <a:lnTo>
                    <a:pt x="2478" y="150"/>
                  </a:lnTo>
                  <a:lnTo>
                    <a:pt x="2477" y="150"/>
                  </a:lnTo>
                  <a:lnTo>
                    <a:pt x="2477" y="148"/>
                  </a:lnTo>
                  <a:lnTo>
                    <a:pt x="2476" y="146"/>
                  </a:lnTo>
                  <a:lnTo>
                    <a:pt x="2475" y="143"/>
                  </a:lnTo>
                  <a:lnTo>
                    <a:pt x="2475" y="139"/>
                  </a:lnTo>
                  <a:lnTo>
                    <a:pt x="2475" y="136"/>
                  </a:lnTo>
                  <a:lnTo>
                    <a:pt x="2475" y="134"/>
                  </a:lnTo>
                  <a:lnTo>
                    <a:pt x="2476" y="134"/>
                  </a:lnTo>
                  <a:close/>
                  <a:moveTo>
                    <a:pt x="2704" y="125"/>
                  </a:moveTo>
                  <a:lnTo>
                    <a:pt x="2701" y="126"/>
                  </a:lnTo>
                  <a:lnTo>
                    <a:pt x="2701" y="129"/>
                  </a:lnTo>
                  <a:lnTo>
                    <a:pt x="2703" y="135"/>
                  </a:lnTo>
                  <a:lnTo>
                    <a:pt x="2704" y="141"/>
                  </a:lnTo>
                  <a:lnTo>
                    <a:pt x="2704" y="145"/>
                  </a:lnTo>
                  <a:lnTo>
                    <a:pt x="2706" y="149"/>
                  </a:lnTo>
                  <a:lnTo>
                    <a:pt x="2708" y="154"/>
                  </a:lnTo>
                  <a:lnTo>
                    <a:pt x="2708" y="158"/>
                  </a:lnTo>
                  <a:lnTo>
                    <a:pt x="2709" y="161"/>
                  </a:lnTo>
                  <a:lnTo>
                    <a:pt x="2709" y="165"/>
                  </a:lnTo>
                  <a:lnTo>
                    <a:pt x="2709" y="168"/>
                  </a:lnTo>
                  <a:lnTo>
                    <a:pt x="2710" y="171"/>
                  </a:lnTo>
                  <a:lnTo>
                    <a:pt x="2711" y="172"/>
                  </a:lnTo>
                  <a:lnTo>
                    <a:pt x="2714" y="174"/>
                  </a:lnTo>
                  <a:lnTo>
                    <a:pt x="2715" y="172"/>
                  </a:lnTo>
                  <a:lnTo>
                    <a:pt x="2716" y="171"/>
                  </a:lnTo>
                  <a:lnTo>
                    <a:pt x="2717" y="170"/>
                  </a:lnTo>
                  <a:lnTo>
                    <a:pt x="2717" y="169"/>
                  </a:lnTo>
                  <a:lnTo>
                    <a:pt x="2717" y="167"/>
                  </a:lnTo>
                  <a:lnTo>
                    <a:pt x="2717" y="165"/>
                  </a:lnTo>
                  <a:lnTo>
                    <a:pt x="2718" y="163"/>
                  </a:lnTo>
                  <a:lnTo>
                    <a:pt x="2719" y="160"/>
                  </a:lnTo>
                  <a:lnTo>
                    <a:pt x="2719" y="154"/>
                  </a:lnTo>
                  <a:lnTo>
                    <a:pt x="2720" y="152"/>
                  </a:lnTo>
                  <a:lnTo>
                    <a:pt x="2720" y="149"/>
                  </a:lnTo>
                  <a:lnTo>
                    <a:pt x="2720" y="147"/>
                  </a:lnTo>
                  <a:lnTo>
                    <a:pt x="2719" y="145"/>
                  </a:lnTo>
                  <a:lnTo>
                    <a:pt x="2719" y="143"/>
                  </a:lnTo>
                  <a:lnTo>
                    <a:pt x="2718" y="142"/>
                  </a:lnTo>
                  <a:lnTo>
                    <a:pt x="2716" y="141"/>
                  </a:lnTo>
                  <a:lnTo>
                    <a:pt x="2715" y="138"/>
                  </a:lnTo>
                  <a:lnTo>
                    <a:pt x="2712" y="136"/>
                  </a:lnTo>
                  <a:lnTo>
                    <a:pt x="2712" y="134"/>
                  </a:lnTo>
                  <a:lnTo>
                    <a:pt x="2712" y="132"/>
                  </a:lnTo>
                  <a:lnTo>
                    <a:pt x="2711" y="129"/>
                  </a:lnTo>
                  <a:lnTo>
                    <a:pt x="2710" y="127"/>
                  </a:lnTo>
                  <a:lnTo>
                    <a:pt x="2708" y="127"/>
                  </a:lnTo>
                  <a:lnTo>
                    <a:pt x="2706" y="126"/>
                  </a:lnTo>
                  <a:lnTo>
                    <a:pt x="2704" y="125"/>
                  </a:lnTo>
                  <a:close/>
                  <a:moveTo>
                    <a:pt x="731" y="113"/>
                  </a:moveTo>
                  <a:lnTo>
                    <a:pt x="729" y="113"/>
                  </a:lnTo>
                  <a:lnTo>
                    <a:pt x="728" y="115"/>
                  </a:lnTo>
                  <a:lnTo>
                    <a:pt x="725" y="118"/>
                  </a:lnTo>
                  <a:lnTo>
                    <a:pt x="719" y="127"/>
                  </a:lnTo>
                  <a:lnTo>
                    <a:pt x="712" y="134"/>
                  </a:lnTo>
                  <a:lnTo>
                    <a:pt x="707" y="141"/>
                  </a:lnTo>
                  <a:lnTo>
                    <a:pt x="703" y="149"/>
                  </a:lnTo>
                  <a:lnTo>
                    <a:pt x="703" y="153"/>
                  </a:lnTo>
                  <a:lnTo>
                    <a:pt x="703" y="154"/>
                  </a:lnTo>
                  <a:lnTo>
                    <a:pt x="703" y="155"/>
                  </a:lnTo>
                  <a:lnTo>
                    <a:pt x="704" y="155"/>
                  </a:lnTo>
                  <a:lnTo>
                    <a:pt x="706" y="154"/>
                  </a:lnTo>
                  <a:lnTo>
                    <a:pt x="707" y="153"/>
                  </a:lnTo>
                  <a:lnTo>
                    <a:pt x="708" y="152"/>
                  </a:lnTo>
                  <a:lnTo>
                    <a:pt x="709" y="149"/>
                  </a:lnTo>
                  <a:lnTo>
                    <a:pt x="710" y="148"/>
                  </a:lnTo>
                  <a:lnTo>
                    <a:pt x="711" y="146"/>
                  </a:lnTo>
                  <a:lnTo>
                    <a:pt x="712" y="145"/>
                  </a:lnTo>
                  <a:lnTo>
                    <a:pt x="717" y="142"/>
                  </a:lnTo>
                  <a:lnTo>
                    <a:pt x="722" y="139"/>
                  </a:lnTo>
                  <a:lnTo>
                    <a:pt x="728" y="139"/>
                  </a:lnTo>
                  <a:lnTo>
                    <a:pt x="733" y="137"/>
                  </a:lnTo>
                  <a:lnTo>
                    <a:pt x="736" y="134"/>
                  </a:lnTo>
                  <a:lnTo>
                    <a:pt x="737" y="131"/>
                  </a:lnTo>
                  <a:lnTo>
                    <a:pt x="739" y="127"/>
                  </a:lnTo>
                  <a:lnTo>
                    <a:pt x="739" y="124"/>
                  </a:lnTo>
                  <a:lnTo>
                    <a:pt x="737" y="121"/>
                  </a:lnTo>
                  <a:lnTo>
                    <a:pt x="736" y="117"/>
                  </a:lnTo>
                  <a:lnTo>
                    <a:pt x="735" y="115"/>
                  </a:lnTo>
                  <a:lnTo>
                    <a:pt x="733" y="113"/>
                  </a:lnTo>
                  <a:lnTo>
                    <a:pt x="731" y="113"/>
                  </a:lnTo>
                  <a:close/>
                  <a:moveTo>
                    <a:pt x="2728" y="103"/>
                  </a:moveTo>
                  <a:lnTo>
                    <a:pt x="2727" y="104"/>
                  </a:lnTo>
                  <a:lnTo>
                    <a:pt x="2726" y="105"/>
                  </a:lnTo>
                  <a:lnTo>
                    <a:pt x="2726" y="118"/>
                  </a:lnTo>
                  <a:lnTo>
                    <a:pt x="2726" y="121"/>
                  </a:lnTo>
                  <a:lnTo>
                    <a:pt x="2726" y="123"/>
                  </a:lnTo>
                  <a:lnTo>
                    <a:pt x="2727" y="125"/>
                  </a:lnTo>
                  <a:lnTo>
                    <a:pt x="2728" y="127"/>
                  </a:lnTo>
                  <a:lnTo>
                    <a:pt x="2728" y="131"/>
                  </a:lnTo>
                  <a:lnTo>
                    <a:pt x="2729" y="133"/>
                  </a:lnTo>
                  <a:lnTo>
                    <a:pt x="2731" y="135"/>
                  </a:lnTo>
                  <a:lnTo>
                    <a:pt x="2732" y="138"/>
                  </a:lnTo>
                  <a:lnTo>
                    <a:pt x="2733" y="142"/>
                  </a:lnTo>
                  <a:lnTo>
                    <a:pt x="2734" y="144"/>
                  </a:lnTo>
                  <a:lnTo>
                    <a:pt x="2736" y="146"/>
                  </a:lnTo>
                  <a:lnTo>
                    <a:pt x="2737" y="149"/>
                  </a:lnTo>
                  <a:lnTo>
                    <a:pt x="2737" y="149"/>
                  </a:lnTo>
                  <a:lnTo>
                    <a:pt x="2737" y="148"/>
                  </a:lnTo>
                  <a:lnTo>
                    <a:pt x="2738" y="147"/>
                  </a:lnTo>
                  <a:lnTo>
                    <a:pt x="2739" y="147"/>
                  </a:lnTo>
                  <a:lnTo>
                    <a:pt x="2739" y="143"/>
                  </a:lnTo>
                  <a:lnTo>
                    <a:pt x="2738" y="138"/>
                  </a:lnTo>
                  <a:lnTo>
                    <a:pt x="2737" y="134"/>
                  </a:lnTo>
                  <a:lnTo>
                    <a:pt x="2736" y="129"/>
                  </a:lnTo>
                  <a:lnTo>
                    <a:pt x="2734" y="125"/>
                  </a:lnTo>
                  <a:lnTo>
                    <a:pt x="2734" y="121"/>
                  </a:lnTo>
                  <a:lnTo>
                    <a:pt x="2734" y="120"/>
                  </a:lnTo>
                  <a:lnTo>
                    <a:pt x="2733" y="116"/>
                  </a:lnTo>
                  <a:lnTo>
                    <a:pt x="2732" y="114"/>
                  </a:lnTo>
                  <a:lnTo>
                    <a:pt x="2731" y="111"/>
                  </a:lnTo>
                  <a:lnTo>
                    <a:pt x="2730" y="109"/>
                  </a:lnTo>
                  <a:lnTo>
                    <a:pt x="2729" y="106"/>
                  </a:lnTo>
                  <a:lnTo>
                    <a:pt x="2728" y="104"/>
                  </a:lnTo>
                  <a:lnTo>
                    <a:pt x="2728" y="103"/>
                  </a:lnTo>
                  <a:close/>
                  <a:moveTo>
                    <a:pt x="1306" y="87"/>
                  </a:moveTo>
                  <a:lnTo>
                    <a:pt x="1308" y="89"/>
                  </a:lnTo>
                  <a:lnTo>
                    <a:pt x="1309" y="91"/>
                  </a:lnTo>
                  <a:lnTo>
                    <a:pt x="1309" y="93"/>
                  </a:lnTo>
                  <a:lnTo>
                    <a:pt x="1308" y="95"/>
                  </a:lnTo>
                  <a:lnTo>
                    <a:pt x="1307" y="98"/>
                  </a:lnTo>
                  <a:lnTo>
                    <a:pt x="1304" y="99"/>
                  </a:lnTo>
                  <a:lnTo>
                    <a:pt x="1302" y="101"/>
                  </a:lnTo>
                  <a:lnTo>
                    <a:pt x="1300" y="102"/>
                  </a:lnTo>
                  <a:lnTo>
                    <a:pt x="1299" y="103"/>
                  </a:lnTo>
                  <a:lnTo>
                    <a:pt x="1292" y="112"/>
                  </a:lnTo>
                  <a:lnTo>
                    <a:pt x="1287" y="122"/>
                  </a:lnTo>
                  <a:lnTo>
                    <a:pt x="1285" y="131"/>
                  </a:lnTo>
                  <a:lnTo>
                    <a:pt x="1282" y="131"/>
                  </a:lnTo>
                  <a:lnTo>
                    <a:pt x="1282" y="126"/>
                  </a:lnTo>
                  <a:lnTo>
                    <a:pt x="1283" y="120"/>
                  </a:lnTo>
                  <a:lnTo>
                    <a:pt x="1285" y="114"/>
                  </a:lnTo>
                  <a:lnTo>
                    <a:pt x="1287" y="109"/>
                  </a:lnTo>
                  <a:lnTo>
                    <a:pt x="1287" y="105"/>
                  </a:lnTo>
                  <a:lnTo>
                    <a:pt x="1289" y="104"/>
                  </a:lnTo>
                  <a:lnTo>
                    <a:pt x="1290" y="102"/>
                  </a:lnTo>
                  <a:lnTo>
                    <a:pt x="1293" y="101"/>
                  </a:lnTo>
                  <a:lnTo>
                    <a:pt x="1296" y="101"/>
                  </a:lnTo>
                  <a:lnTo>
                    <a:pt x="1297" y="100"/>
                  </a:lnTo>
                  <a:lnTo>
                    <a:pt x="1299" y="99"/>
                  </a:lnTo>
                  <a:lnTo>
                    <a:pt x="1300" y="96"/>
                  </a:lnTo>
                  <a:lnTo>
                    <a:pt x="1300" y="94"/>
                  </a:lnTo>
                  <a:lnTo>
                    <a:pt x="1300" y="92"/>
                  </a:lnTo>
                  <a:lnTo>
                    <a:pt x="1300" y="91"/>
                  </a:lnTo>
                  <a:lnTo>
                    <a:pt x="1299" y="90"/>
                  </a:lnTo>
                  <a:lnTo>
                    <a:pt x="1300" y="89"/>
                  </a:lnTo>
                  <a:lnTo>
                    <a:pt x="1301" y="88"/>
                  </a:lnTo>
                  <a:lnTo>
                    <a:pt x="1302" y="88"/>
                  </a:lnTo>
                  <a:lnTo>
                    <a:pt x="1306" y="87"/>
                  </a:lnTo>
                  <a:close/>
                  <a:moveTo>
                    <a:pt x="1540" y="69"/>
                  </a:moveTo>
                  <a:lnTo>
                    <a:pt x="1540" y="69"/>
                  </a:lnTo>
                  <a:lnTo>
                    <a:pt x="1541" y="69"/>
                  </a:lnTo>
                  <a:lnTo>
                    <a:pt x="1541" y="69"/>
                  </a:lnTo>
                  <a:lnTo>
                    <a:pt x="1542" y="69"/>
                  </a:lnTo>
                  <a:lnTo>
                    <a:pt x="1544" y="69"/>
                  </a:lnTo>
                  <a:lnTo>
                    <a:pt x="1547" y="70"/>
                  </a:lnTo>
                  <a:lnTo>
                    <a:pt x="1551" y="70"/>
                  </a:lnTo>
                  <a:lnTo>
                    <a:pt x="1555" y="71"/>
                  </a:lnTo>
                  <a:lnTo>
                    <a:pt x="1555" y="72"/>
                  </a:lnTo>
                  <a:lnTo>
                    <a:pt x="1554" y="74"/>
                  </a:lnTo>
                  <a:lnTo>
                    <a:pt x="1552" y="76"/>
                  </a:lnTo>
                  <a:lnTo>
                    <a:pt x="1550" y="78"/>
                  </a:lnTo>
                  <a:lnTo>
                    <a:pt x="1547" y="78"/>
                  </a:lnTo>
                  <a:lnTo>
                    <a:pt x="1543" y="77"/>
                  </a:lnTo>
                  <a:lnTo>
                    <a:pt x="1541" y="77"/>
                  </a:lnTo>
                  <a:lnTo>
                    <a:pt x="1539" y="76"/>
                  </a:lnTo>
                  <a:lnTo>
                    <a:pt x="1538" y="74"/>
                  </a:lnTo>
                  <a:lnTo>
                    <a:pt x="1538" y="72"/>
                  </a:lnTo>
                  <a:lnTo>
                    <a:pt x="1538" y="72"/>
                  </a:lnTo>
                  <a:lnTo>
                    <a:pt x="1538" y="71"/>
                  </a:lnTo>
                  <a:lnTo>
                    <a:pt x="1538" y="70"/>
                  </a:lnTo>
                  <a:lnTo>
                    <a:pt x="1539" y="69"/>
                  </a:lnTo>
                  <a:lnTo>
                    <a:pt x="1540" y="69"/>
                  </a:lnTo>
                  <a:close/>
                  <a:moveTo>
                    <a:pt x="4" y="51"/>
                  </a:moveTo>
                  <a:lnTo>
                    <a:pt x="5" y="52"/>
                  </a:lnTo>
                  <a:lnTo>
                    <a:pt x="5" y="52"/>
                  </a:lnTo>
                  <a:lnTo>
                    <a:pt x="6" y="54"/>
                  </a:lnTo>
                  <a:lnTo>
                    <a:pt x="8" y="55"/>
                  </a:lnTo>
                  <a:lnTo>
                    <a:pt x="8" y="55"/>
                  </a:lnTo>
                  <a:lnTo>
                    <a:pt x="10" y="56"/>
                  </a:lnTo>
                  <a:lnTo>
                    <a:pt x="12" y="57"/>
                  </a:lnTo>
                  <a:lnTo>
                    <a:pt x="13" y="58"/>
                  </a:lnTo>
                  <a:lnTo>
                    <a:pt x="14" y="59"/>
                  </a:lnTo>
                  <a:lnTo>
                    <a:pt x="15" y="61"/>
                  </a:lnTo>
                  <a:lnTo>
                    <a:pt x="17" y="62"/>
                  </a:lnTo>
                  <a:lnTo>
                    <a:pt x="17" y="65"/>
                  </a:lnTo>
                  <a:lnTo>
                    <a:pt x="19" y="65"/>
                  </a:lnTo>
                  <a:lnTo>
                    <a:pt x="20" y="66"/>
                  </a:lnTo>
                  <a:lnTo>
                    <a:pt x="22" y="66"/>
                  </a:lnTo>
                  <a:lnTo>
                    <a:pt x="23" y="67"/>
                  </a:lnTo>
                  <a:lnTo>
                    <a:pt x="23" y="68"/>
                  </a:lnTo>
                  <a:lnTo>
                    <a:pt x="22" y="69"/>
                  </a:lnTo>
                  <a:lnTo>
                    <a:pt x="21" y="70"/>
                  </a:lnTo>
                  <a:lnTo>
                    <a:pt x="19" y="71"/>
                  </a:lnTo>
                  <a:lnTo>
                    <a:pt x="17" y="72"/>
                  </a:lnTo>
                  <a:lnTo>
                    <a:pt x="16" y="74"/>
                  </a:lnTo>
                  <a:lnTo>
                    <a:pt x="16" y="77"/>
                  </a:lnTo>
                  <a:lnTo>
                    <a:pt x="15" y="78"/>
                  </a:lnTo>
                  <a:lnTo>
                    <a:pt x="15" y="78"/>
                  </a:lnTo>
                  <a:lnTo>
                    <a:pt x="14" y="76"/>
                  </a:lnTo>
                  <a:lnTo>
                    <a:pt x="13" y="72"/>
                  </a:lnTo>
                  <a:lnTo>
                    <a:pt x="13" y="70"/>
                  </a:lnTo>
                  <a:lnTo>
                    <a:pt x="11" y="68"/>
                  </a:lnTo>
                  <a:lnTo>
                    <a:pt x="10" y="67"/>
                  </a:lnTo>
                  <a:lnTo>
                    <a:pt x="8" y="67"/>
                  </a:lnTo>
                  <a:lnTo>
                    <a:pt x="6" y="67"/>
                  </a:lnTo>
                  <a:lnTo>
                    <a:pt x="5" y="68"/>
                  </a:lnTo>
                  <a:lnTo>
                    <a:pt x="3" y="70"/>
                  </a:lnTo>
                  <a:lnTo>
                    <a:pt x="1" y="69"/>
                  </a:lnTo>
                  <a:lnTo>
                    <a:pt x="0" y="65"/>
                  </a:lnTo>
                  <a:lnTo>
                    <a:pt x="1" y="58"/>
                  </a:lnTo>
                  <a:lnTo>
                    <a:pt x="3" y="52"/>
                  </a:lnTo>
                  <a:lnTo>
                    <a:pt x="4" y="51"/>
                  </a:lnTo>
                  <a:close/>
                  <a:moveTo>
                    <a:pt x="1602" y="15"/>
                  </a:moveTo>
                  <a:lnTo>
                    <a:pt x="1604" y="15"/>
                  </a:lnTo>
                  <a:lnTo>
                    <a:pt x="1605" y="16"/>
                  </a:lnTo>
                  <a:lnTo>
                    <a:pt x="1607" y="17"/>
                  </a:lnTo>
                  <a:lnTo>
                    <a:pt x="1607" y="19"/>
                  </a:lnTo>
                  <a:lnTo>
                    <a:pt x="1607" y="22"/>
                  </a:lnTo>
                  <a:lnTo>
                    <a:pt x="1606" y="24"/>
                  </a:lnTo>
                  <a:lnTo>
                    <a:pt x="1604" y="25"/>
                  </a:lnTo>
                  <a:lnTo>
                    <a:pt x="1603" y="26"/>
                  </a:lnTo>
                  <a:lnTo>
                    <a:pt x="1601" y="26"/>
                  </a:lnTo>
                  <a:lnTo>
                    <a:pt x="1598" y="26"/>
                  </a:lnTo>
                  <a:lnTo>
                    <a:pt x="1597" y="24"/>
                  </a:lnTo>
                  <a:lnTo>
                    <a:pt x="1596" y="21"/>
                  </a:lnTo>
                  <a:lnTo>
                    <a:pt x="1596" y="18"/>
                  </a:lnTo>
                  <a:lnTo>
                    <a:pt x="1597" y="16"/>
                  </a:lnTo>
                  <a:lnTo>
                    <a:pt x="1599" y="15"/>
                  </a:lnTo>
                  <a:lnTo>
                    <a:pt x="1602" y="15"/>
                  </a:lnTo>
                  <a:close/>
                  <a:moveTo>
                    <a:pt x="90" y="4"/>
                  </a:moveTo>
                  <a:lnTo>
                    <a:pt x="90" y="7"/>
                  </a:lnTo>
                  <a:lnTo>
                    <a:pt x="89" y="8"/>
                  </a:lnTo>
                  <a:lnTo>
                    <a:pt x="88" y="11"/>
                  </a:lnTo>
                  <a:lnTo>
                    <a:pt x="86" y="14"/>
                  </a:lnTo>
                  <a:lnTo>
                    <a:pt x="82" y="16"/>
                  </a:lnTo>
                  <a:lnTo>
                    <a:pt x="80" y="17"/>
                  </a:lnTo>
                  <a:lnTo>
                    <a:pt x="78" y="18"/>
                  </a:lnTo>
                  <a:lnTo>
                    <a:pt x="76" y="21"/>
                  </a:lnTo>
                  <a:lnTo>
                    <a:pt x="74" y="24"/>
                  </a:lnTo>
                  <a:lnTo>
                    <a:pt x="69" y="27"/>
                  </a:lnTo>
                  <a:lnTo>
                    <a:pt x="64" y="27"/>
                  </a:lnTo>
                  <a:lnTo>
                    <a:pt x="59" y="25"/>
                  </a:lnTo>
                  <a:lnTo>
                    <a:pt x="56" y="24"/>
                  </a:lnTo>
                  <a:lnTo>
                    <a:pt x="54" y="25"/>
                  </a:lnTo>
                  <a:lnTo>
                    <a:pt x="50" y="24"/>
                  </a:lnTo>
                  <a:lnTo>
                    <a:pt x="48" y="21"/>
                  </a:lnTo>
                  <a:lnTo>
                    <a:pt x="46" y="17"/>
                  </a:lnTo>
                  <a:lnTo>
                    <a:pt x="45" y="12"/>
                  </a:lnTo>
                  <a:lnTo>
                    <a:pt x="47" y="8"/>
                  </a:lnTo>
                  <a:lnTo>
                    <a:pt x="68" y="5"/>
                  </a:lnTo>
                  <a:lnTo>
                    <a:pt x="90" y="4"/>
                  </a:lnTo>
                  <a:close/>
                  <a:moveTo>
                    <a:pt x="92" y="0"/>
                  </a:moveTo>
                  <a:lnTo>
                    <a:pt x="95" y="0"/>
                  </a:lnTo>
                  <a:lnTo>
                    <a:pt x="95" y="1"/>
                  </a:lnTo>
                  <a:lnTo>
                    <a:pt x="95" y="2"/>
                  </a:lnTo>
                  <a:lnTo>
                    <a:pt x="110" y="2"/>
                  </a:lnTo>
                  <a:lnTo>
                    <a:pt x="155" y="7"/>
                  </a:lnTo>
                  <a:lnTo>
                    <a:pt x="200" y="18"/>
                  </a:lnTo>
                  <a:lnTo>
                    <a:pt x="248" y="36"/>
                  </a:lnTo>
                  <a:lnTo>
                    <a:pt x="296" y="57"/>
                  </a:lnTo>
                  <a:lnTo>
                    <a:pt x="347" y="83"/>
                  </a:lnTo>
                  <a:lnTo>
                    <a:pt x="399" y="114"/>
                  </a:lnTo>
                  <a:lnTo>
                    <a:pt x="456" y="149"/>
                  </a:lnTo>
                  <a:lnTo>
                    <a:pt x="515" y="188"/>
                  </a:lnTo>
                  <a:lnTo>
                    <a:pt x="579" y="230"/>
                  </a:lnTo>
                  <a:lnTo>
                    <a:pt x="646" y="274"/>
                  </a:lnTo>
                  <a:lnTo>
                    <a:pt x="717" y="320"/>
                  </a:lnTo>
                  <a:lnTo>
                    <a:pt x="789" y="366"/>
                  </a:lnTo>
                  <a:lnTo>
                    <a:pt x="866" y="412"/>
                  </a:lnTo>
                  <a:lnTo>
                    <a:pt x="947" y="458"/>
                  </a:lnTo>
                  <a:lnTo>
                    <a:pt x="1020" y="496"/>
                  </a:lnTo>
                  <a:lnTo>
                    <a:pt x="1093" y="531"/>
                  </a:lnTo>
                  <a:lnTo>
                    <a:pt x="1091" y="531"/>
                  </a:lnTo>
                  <a:lnTo>
                    <a:pt x="1088" y="532"/>
                  </a:lnTo>
                  <a:lnTo>
                    <a:pt x="1084" y="534"/>
                  </a:lnTo>
                  <a:lnTo>
                    <a:pt x="1082" y="536"/>
                  </a:lnTo>
                  <a:lnTo>
                    <a:pt x="1079" y="538"/>
                  </a:lnTo>
                  <a:lnTo>
                    <a:pt x="1077" y="540"/>
                  </a:lnTo>
                  <a:lnTo>
                    <a:pt x="1073" y="542"/>
                  </a:lnTo>
                  <a:lnTo>
                    <a:pt x="1071" y="545"/>
                  </a:lnTo>
                  <a:lnTo>
                    <a:pt x="1069" y="546"/>
                  </a:lnTo>
                  <a:lnTo>
                    <a:pt x="1066" y="547"/>
                  </a:lnTo>
                  <a:lnTo>
                    <a:pt x="1062" y="548"/>
                  </a:lnTo>
                  <a:lnTo>
                    <a:pt x="1060" y="549"/>
                  </a:lnTo>
                  <a:lnTo>
                    <a:pt x="1058" y="551"/>
                  </a:lnTo>
                  <a:lnTo>
                    <a:pt x="1056" y="553"/>
                  </a:lnTo>
                  <a:lnTo>
                    <a:pt x="1056" y="554"/>
                  </a:lnTo>
                  <a:lnTo>
                    <a:pt x="1057" y="556"/>
                  </a:lnTo>
                  <a:lnTo>
                    <a:pt x="1059" y="556"/>
                  </a:lnTo>
                  <a:lnTo>
                    <a:pt x="1061" y="556"/>
                  </a:lnTo>
                  <a:lnTo>
                    <a:pt x="1064" y="556"/>
                  </a:lnTo>
                  <a:lnTo>
                    <a:pt x="1067" y="556"/>
                  </a:lnTo>
                  <a:lnTo>
                    <a:pt x="1069" y="556"/>
                  </a:lnTo>
                  <a:lnTo>
                    <a:pt x="1071" y="556"/>
                  </a:lnTo>
                  <a:lnTo>
                    <a:pt x="1071" y="556"/>
                  </a:lnTo>
                  <a:lnTo>
                    <a:pt x="1074" y="556"/>
                  </a:lnTo>
                  <a:lnTo>
                    <a:pt x="1077" y="554"/>
                  </a:lnTo>
                  <a:lnTo>
                    <a:pt x="1080" y="553"/>
                  </a:lnTo>
                  <a:lnTo>
                    <a:pt x="1082" y="553"/>
                  </a:lnTo>
                  <a:lnTo>
                    <a:pt x="1084" y="553"/>
                  </a:lnTo>
                  <a:lnTo>
                    <a:pt x="1086" y="554"/>
                  </a:lnTo>
                  <a:lnTo>
                    <a:pt x="1086" y="557"/>
                  </a:lnTo>
                  <a:lnTo>
                    <a:pt x="1088" y="558"/>
                  </a:lnTo>
                  <a:lnTo>
                    <a:pt x="1089" y="558"/>
                  </a:lnTo>
                  <a:lnTo>
                    <a:pt x="1099" y="556"/>
                  </a:lnTo>
                  <a:lnTo>
                    <a:pt x="1107" y="551"/>
                  </a:lnTo>
                  <a:lnTo>
                    <a:pt x="1115" y="547"/>
                  </a:lnTo>
                  <a:lnTo>
                    <a:pt x="1117" y="546"/>
                  </a:lnTo>
                  <a:lnTo>
                    <a:pt x="1121" y="545"/>
                  </a:lnTo>
                  <a:lnTo>
                    <a:pt x="1122" y="545"/>
                  </a:lnTo>
                  <a:lnTo>
                    <a:pt x="1128" y="547"/>
                  </a:lnTo>
                  <a:lnTo>
                    <a:pt x="1138" y="550"/>
                  </a:lnTo>
                  <a:lnTo>
                    <a:pt x="1138" y="550"/>
                  </a:lnTo>
                  <a:lnTo>
                    <a:pt x="1139" y="550"/>
                  </a:lnTo>
                  <a:lnTo>
                    <a:pt x="1138" y="550"/>
                  </a:lnTo>
                  <a:lnTo>
                    <a:pt x="1138" y="549"/>
                  </a:lnTo>
                  <a:lnTo>
                    <a:pt x="1138" y="548"/>
                  </a:lnTo>
                  <a:lnTo>
                    <a:pt x="1141" y="549"/>
                  </a:lnTo>
                  <a:lnTo>
                    <a:pt x="1143" y="550"/>
                  </a:lnTo>
                  <a:lnTo>
                    <a:pt x="1144" y="551"/>
                  </a:lnTo>
                  <a:lnTo>
                    <a:pt x="1145" y="552"/>
                  </a:lnTo>
                  <a:lnTo>
                    <a:pt x="1146" y="553"/>
                  </a:lnTo>
                  <a:lnTo>
                    <a:pt x="1149" y="554"/>
                  </a:lnTo>
                  <a:lnTo>
                    <a:pt x="1150" y="557"/>
                  </a:lnTo>
                  <a:lnTo>
                    <a:pt x="1152" y="558"/>
                  </a:lnTo>
                  <a:lnTo>
                    <a:pt x="1155" y="560"/>
                  </a:lnTo>
                  <a:lnTo>
                    <a:pt x="1157" y="560"/>
                  </a:lnTo>
                  <a:lnTo>
                    <a:pt x="1163" y="560"/>
                  </a:lnTo>
                  <a:lnTo>
                    <a:pt x="1168" y="561"/>
                  </a:lnTo>
                  <a:lnTo>
                    <a:pt x="1167" y="562"/>
                  </a:lnTo>
                  <a:lnTo>
                    <a:pt x="1165" y="563"/>
                  </a:lnTo>
                  <a:lnTo>
                    <a:pt x="1187" y="573"/>
                  </a:lnTo>
                  <a:lnTo>
                    <a:pt x="1201" y="580"/>
                  </a:lnTo>
                  <a:lnTo>
                    <a:pt x="1197" y="580"/>
                  </a:lnTo>
                  <a:lnTo>
                    <a:pt x="1195" y="580"/>
                  </a:lnTo>
                  <a:lnTo>
                    <a:pt x="1193" y="580"/>
                  </a:lnTo>
                  <a:lnTo>
                    <a:pt x="1191" y="579"/>
                  </a:lnTo>
                  <a:lnTo>
                    <a:pt x="1189" y="579"/>
                  </a:lnTo>
                  <a:lnTo>
                    <a:pt x="1187" y="580"/>
                  </a:lnTo>
                  <a:lnTo>
                    <a:pt x="1186" y="581"/>
                  </a:lnTo>
                  <a:lnTo>
                    <a:pt x="1183" y="582"/>
                  </a:lnTo>
                  <a:lnTo>
                    <a:pt x="1181" y="581"/>
                  </a:lnTo>
                  <a:lnTo>
                    <a:pt x="1177" y="583"/>
                  </a:lnTo>
                  <a:lnTo>
                    <a:pt x="1170" y="587"/>
                  </a:lnTo>
                  <a:lnTo>
                    <a:pt x="1165" y="592"/>
                  </a:lnTo>
                  <a:lnTo>
                    <a:pt x="1160" y="596"/>
                  </a:lnTo>
                  <a:lnTo>
                    <a:pt x="1157" y="600"/>
                  </a:lnTo>
                  <a:lnTo>
                    <a:pt x="1157" y="603"/>
                  </a:lnTo>
                  <a:lnTo>
                    <a:pt x="1156" y="606"/>
                  </a:lnTo>
                  <a:lnTo>
                    <a:pt x="1156" y="609"/>
                  </a:lnTo>
                  <a:lnTo>
                    <a:pt x="1156" y="613"/>
                  </a:lnTo>
                  <a:lnTo>
                    <a:pt x="1155" y="617"/>
                  </a:lnTo>
                  <a:lnTo>
                    <a:pt x="1155" y="620"/>
                  </a:lnTo>
                  <a:lnTo>
                    <a:pt x="1154" y="623"/>
                  </a:lnTo>
                  <a:lnTo>
                    <a:pt x="1151" y="626"/>
                  </a:lnTo>
                  <a:lnTo>
                    <a:pt x="1150" y="628"/>
                  </a:lnTo>
                  <a:lnTo>
                    <a:pt x="1148" y="630"/>
                  </a:lnTo>
                  <a:lnTo>
                    <a:pt x="1141" y="645"/>
                  </a:lnTo>
                  <a:lnTo>
                    <a:pt x="1139" y="660"/>
                  </a:lnTo>
                  <a:lnTo>
                    <a:pt x="1141" y="674"/>
                  </a:lnTo>
                  <a:lnTo>
                    <a:pt x="1143" y="678"/>
                  </a:lnTo>
                  <a:lnTo>
                    <a:pt x="1145" y="683"/>
                  </a:lnTo>
                  <a:lnTo>
                    <a:pt x="1146" y="691"/>
                  </a:lnTo>
                  <a:lnTo>
                    <a:pt x="1148" y="698"/>
                  </a:lnTo>
                  <a:lnTo>
                    <a:pt x="1151" y="701"/>
                  </a:lnTo>
                  <a:lnTo>
                    <a:pt x="1155" y="701"/>
                  </a:lnTo>
                  <a:lnTo>
                    <a:pt x="1157" y="699"/>
                  </a:lnTo>
                  <a:lnTo>
                    <a:pt x="1158" y="694"/>
                  </a:lnTo>
                  <a:lnTo>
                    <a:pt x="1160" y="691"/>
                  </a:lnTo>
                  <a:lnTo>
                    <a:pt x="1161" y="688"/>
                  </a:lnTo>
                  <a:lnTo>
                    <a:pt x="1163" y="685"/>
                  </a:lnTo>
                  <a:lnTo>
                    <a:pt x="1166" y="684"/>
                  </a:lnTo>
                  <a:lnTo>
                    <a:pt x="1168" y="683"/>
                  </a:lnTo>
                  <a:lnTo>
                    <a:pt x="1170" y="681"/>
                  </a:lnTo>
                  <a:lnTo>
                    <a:pt x="1170" y="679"/>
                  </a:lnTo>
                  <a:lnTo>
                    <a:pt x="1171" y="669"/>
                  </a:lnTo>
                  <a:lnTo>
                    <a:pt x="1168" y="659"/>
                  </a:lnTo>
                  <a:lnTo>
                    <a:pt x="1168" y="646"/>
                  </a:lnTo>
                  <a:lnTo>
                    <a:pt x="1168" y="635"/>
                  </a:lnTo>
                  <a:lnTo>
                    <a:pt x="1170" y="628"/>
                  </a:lnTo>
                  <a:lnTo>
                    <a:pt x="1171" y="622"/>
                  </a:lnTo>
                  <a:lnTo>
                    <a:pt x="1173" y="615"/>
                  </a:lnTo>
                  <a:lnTo>
                    <a:pt x="1177" y="611"/>
                  </a:lnTo>
                  <a:lnTo>
                    <a:pt x="1180" y="609"/>
                  </a:lnTo>
                  <a:lnTo>
                    <a:pt x="1183" y="609"/>
                  </a:lnTo>
                  <a:lnTo>
                    <a:pt x="1187" y="609"/>
                  </a:lnTo>
                  <a:lnTo>
                    <a:pt x="1190" y="609"/>
                  </a:lnTo>
                  <a:lnTo>
                    <a:pt x="1192" y="608"/>
                  </a:lnTo>
                  <a:lnTo>
                    <a:pt x="1195" y="603"/>
                  </a:lnTo>
                  <a:lnTo>
                    <a:pt x="1199" y="595"/>
                  </a:lnTo>
                  <a:lnTo>
                    <a:pt x="1202" y="589"/>
                  </a:lnTo>
                  <a:lnTo>
                    <a:pt x="1208" y="584"/>
                  </a:lnTo>
                  <a:lnTo>
                    <a:pt x="1214" y="584"/>
                  </a:lnTo>
                  <a:lnTo>
                    <a:pt x="1217" y="585"/>
                  </a:lnTo>
                  <a:lnTo>
                    <a:pt x="1220" y="587"/>
                  </a:lnTo>
                  <a:lnTo>
                    <a:pt x="1222" y="591"/>
                  </a:lnTo>
                  <a:lnTo>
                    <a:pt x="1223" y="594"/>
                  </a:lnTo>
                  <a:lnTo>
                    <a:pt x="1225" y="596"/>
                  </a:lnTo>
                  <a:lnTo>
                    <a:pt x="1227" y="600"/>
                  </a:lnTo>
                  <a:lnTo>
                    <a:pt x="1230" y="602"/>
                  </a:lnTo>
                  <a:lnTo>
                    <a:pt x="1233" y="604"/>
                  </a:lnTo>
                  <a:lnTo>
                    <a:pt x="1235" y="605"/>
                  </a:lnTo>
                  <a:lnTo>
                    <a:pt x="1237" y="606"/>
                  </a:lnTo>
                  <a:lnTo>
                    <a:pt x="1239" y="608"/>
                  </a:lnTo>
                  <a:lnTo>
                    <a:pt x="1241" y="609"/>
                  </a:lnTo>
                  <a:lnTo>
                    <a:pt x="1241" y="613"/>
                  </a:lnTo>
                  <a:lnTo>
                    <a:pt x="1241" y="619"/>
                  </a:lnTo>
                  <a:lnTo>
                    <a:pt x="1238" y="627"/>
                  </a:lnTo>
                  <a:lnTo>
                    <a:pt x="1238" y="634"/>
                  </a:lnTo>
                  <a:lnTo>
                    <a:pt x="1241" y="639"/>
                  </a:lnTo>
                  <a:lnTo>
                    <a:pt x="1243" y="640"/>
                  </a:lnTo>
                  <a:lnTo>
                    <a:pt x="1245" y="641"/>
                  </a:lnTo>
                  <a:lnTo>
                    <a:pt x="1247" y="641"/>
                  </a:lnTo>
                  <a:lnTo>
                    <a:pt x="1249" y="641"/>
                  </a:lnTo>
                  <a:lnTo>
                    <a:pt x="1252" y="643"/>
                  </a:lnTo>
                  <a:lnTo>
                    <a:pt x="1253" y="644"/>
                  </a:lnTo>
                  <a:lnTo>
                    <a:pt x="1254" y="646"/>
                  </a:lnTo>
                  <a:lnTo>
                    <a:pt x="1256" y="648"/>
                  </a:lnTo>
                  <a:lnTo>
                    <a:pt x="1257" y="650"/>
                  </a:lnTo>
                  <a:lnTo>
                    <a:pt x="1258" y="652"/>
                  </a:lnTo>
                  <a:lnTo>
                    <a:pt x="1259" y="655"/>
                  </a:lnTo>
                  <a:lnTo>
                    <a:pt x="1261" y="657"/>
                  </a:lnTo>
                  <a:lnTo>
                    <a:pt x="1263" y="658"/>
                  </a:lnTo>
                  <a:lnTo>
                    <a:pt x="1265" y="659"/>
                  </a:lnTo>
                  <a:lnTo>
                    <a:pt x="1268" y="658"/>
                  </a:lnTo>
                  <a:lnTo>
                    <a:pt x="1269" y="652"/>
                  </a:lnTo>
                  <a:lnTo>
                    <a:pt x="1269" y="644"/>
                  </a:lnTo>
                  <a:lnTo>
                    <a:pt x="1268" y="634"/>
                  </a:lnTo>
                  <a:lnTo>
                    <a:pt x="1268" y="626"/>
                  </a:lnTo>
                  <a:lnTo>
                    <a:pt x="1267" y="622"/>
                  </a:lnTo>
                  <a:lnTo>
                    <a:pt x="1268" y="620"/>
                  </a:lnTo>
                  <a:lnTo>
                    <a:pt x="1269" y="618"/>
                  </a:lnTo>
                  <a:lnTo>
                    <a:pt x="1269" y="615"/>
                  </a:lnTo>
                  <a:lnTo>
                    <a:pt x="1269" y="613"/>
                  </a:lnTo>
                  <a:lnTo>
                    <a:pt x="1270" y="609"/>
                  </a:lnTo>
                  <a:lnTo>
                    <a:pt x="1271" y="607"/>
                  </a:lnTo>
                  <a:lnTo>
                    <a:pt x="1271" y="606"/>
                  </a:lnTo>
                  <a:lnTo>
                    <a:pt x="1272" y="605"/>
                  </a:lnTo>
                  <a:lnTo>
                    <a:pt x="1274" y="606"/>
                  </a:lnTo>
                  <a:lnTo>
                    <a:pt x="1276" y="608"/>
                  </a:lnTo>
                  <a:lnTo>
                    <a:pt x="1278" y="612"/>
                  </a:lnTo>
                  <a:lnTo>
                    <a:pt x="1280" y="615"/>
                  </a:lnTo>
                  <a:lnTo>
                    <a:pt x="1285" y="617"/>
                  </a:lnTo>
                  <a:lnTo>
                    <a:pt x="1289" y="620"/>
                  </a:lnTo>
                  <a:lnTo>
                    <a:pt x="1294" y="623"/>
                  </a:lnTo>
                  <a:lnTo>
                    <a:pt x="1299" y="624"/>
                  </a:lnTo>
                  <a:lnTo>
                    <a:pt x="1302" y="622"/>
                  </a:lnTo>
                  <a:lnTo>
                    <a:pt x="1304" y="619"/>
                  </a:lnTo>
                  <a:lnTo>
                    <a:pt x="1304" y="617"/>
                  </a:lnTo>
                  <a:lnTo>
                    <a:pt x="1304" y="617"/>
                  </a:lnTo>
                  <a:lnTo>
                    <a:pt x="1306" y="617"/>
                  </a:lnTo>
                  <a:lnTo>
                    <a:pt x="1304" y="620"/>
                  </a:lnTo>
                  <a:lnTo>
                    <a:pt x="1329" y="629"/>
                  </a:lnTo>
                  <a:lnTo>
                    <a:pt x="1347" y="636"/>
                  </a:lnTo>
                  <a:lnTo>
                    <a:pt x="1343" y="638"/>
                  </a:lnTo>
                  <a:lnTo>
                    <a:pt x="1336" y="641"/>
                  </a:lnTo>
                  <a:lnTo>
                    <a:pt x="1329" y="644"/>
                  </a:lnTo>
                  <a:lnTo>
                    <a:pt x="1322" y="646"/>
                  </a:lnTo>
                  <a:lnTo>
                    <a:pt x="1318" y="651"/>
                  </a:lnTo>
                  <a:lnTo>
                    <a:pt x="1315" y="657"/>
                  </a:lnTo>
                  <a:lnTo>
                    <a:pt x="1311" y="663"/>
                  </a:lnTo>
                  <a:lnTo>
                    <a:pt x="1306" y="667"/>
                  </a:lnTo>
                  <a:lnTo>
                    <a:pt x="1299" y="669"/>
                  </a:lnTo>
                  <a:lnTo>
                    <a:pt x="1291" y="672"/>
                  </a:lnTo>
                  <a:lnTo>
                    <a:pt x="1291" y="671"/>
                  </a:lnTo>
                  <a:lnTo>
                    <a:pt x="1289" y="671"/>
                  </a:lnTo>
                  <a:lnTo>
                    <a:pt x="1287" y="670"/>
                  </a:lnTo>
                  <a:lnTo>
                    <a:pt x="1285" y="670"/>
                  </a:lnTo>
                  <a:lnTo>
                    <a:pt x="1282" y="670"/>
                  </a:lnTo>
                  <a:lnTo>
                    <a:pt x="1279" y="672"/>
                  </a:lnTo>
                  <a:lnTo>
                    <a:pt x="1276" y="674"/>
                  </a:lnTo>
                  <a:lnTo>
                    <a:pt x="1274" y="677"/>
                  </a:lnTo>
                  <a:lnTo>
                    <a:pt x="1268" y="681"/>
                  </a:lnTo>
                  <a:lnTo>
                    <a:pt x="1261" y="684"/>
                  </a:lnTo>
                  <a:lnTo>
                    <a:pt x="1254" y="688"/>
                  </a:lnTo>
                  <a:lnTo>
                    <a:pt x="1253" y="689"/>
                  </a:lnTo>
                  <a:lnTo>
                    <a:pt x="1252" y="690"/>
                  </a:lnTo>
                  <a:lnTo>
                    <a:pt x="1250" y="692"/>
                  </a:lnTo>
                  <a:lnTo>
                    <a:pt x="1249" y="693"/>
                  </a:lnTo>
                  <a:lnTo>
                    <a:pt x="1249" y="695"/>
                  </a:lnTo>
                  <a:lnTo>
                    <a:pt x="1249" y="696"/>
                  </a:lnTo>
                  <a:lnTo>
                    <a:pt x="1252" y="698"/>
                  </a:lnTo>
                  <a:lnTo>
                    <a:pt x="1254" y="699"/>
                  </a:lnTo>
                  <a:lnTo>
                    <a:pt x="1268" y="698"/>
                  </a:lnTo>
                  <a:lnTo>
                    <a:pt x="1282" y="694"/>
                  </a:lnTo>
                  <a:lnTo>
                    <a:pt x="1296" y="690"/>
                  </a:lnTo>
                  <a:lnTo>
                    <a:pt x="1303" y="688"/>
                  </a:lnTo>
                  <a:lnTo>
                    <a:pt x="1311" y="684"/>
                  </a:lnTo>
                  <a:lnTo>
                    <a:pt x="1318" y="680"/>
                  </a:lnTo>
                  <a:lnTo>
                    <a:pt x="1322" y="673"/>
                  </a:lnTo>
                  <a:lnTo>
                    <a:pt x="1322" y="666"/>
                  </a:lnTo>
                  <a:lnTo>
                    <a:pt x="1324" y="659"/>
                  </a:lnTo>
                  <a:lnTo>
                    <a:pt x="1330" y="656"/>
                  </a:lnTo>
                  <a:lnTo>
                    <a:pt x="1337" y="654"/>
                  </a:lnTo>
                  <a:lnTo>
                    <a:pt x="1347" y="654"/>
                  </a:lnTo>
                  <a:lnTo>
                    <a:pt x="1357" y="654"/>
                  </a:lnTo>
                  <a:lnTo>
                    <a:pt x="1367" y="655"/>
                  </a:lnTo>
                  <a:lnTo>
                    <a:pt x="1376" y="654"/>
                  </a:lnTo>
                  <a:lnTo>
                    <a:pt x="1383" y="650"/>
                  </a:lnTo>
                  <a:lnTo>
                    <a:pt x="1386" y="646"/>
                  </a:lnTo>
                  <a:lnTo>
                    <a:pt x="1386" y="649"/>
                  </a:lnTo>
                  <a:lnTo>
                    <a:pt x="1437" y="666"/>
                  </a:lnTo>
                  <a:lnTo>
                    <a:pt x="1487" y="680"/>
                  </a:lnTo>
                  <a:lnTo>
                    <a:pt x="1486" y="679"/>
                  </a:lnTo>
                  <a:lnTo>
                    <a:pt x="1487" y="677"/>
                  </a:lnTo>
                  <a:lnTo>
                    <a:pt x="1487" y="677"/>
                  </a:lnTo>
                  <a:lnTo>
                    <a:pt x="1488" y="677"/>
                  </a:lnTo>
                  <a:lnTo>
                    <a:pt x="1488" y="678"/>
                  </a:lnTo>
                  <a:lnTo>
                    <a:pt x="1489" y="678"/>
                  </a:lnTo>
                  <a:lnTo>
                    <a:pt x="1490" y="679"/>
                  </a:lnTo>
                  <a:lnTo>
                    <a:pt x="1493" y="679"/>
                  </a:lnTo>
                  <a:lnTo>
                    <a:pt x="1494" y="680"/>
                  </a:lnTo>
                  <a:lnTo>
                    <a:pt x="1495" y="680"/>
                  </a:lnTo>
                  <a:lnTo>
                    <a:pt x="1495" y="681"/>
                  </a:lnTo>
                  <a:lnTo>
                    <a:pt x="1497" y="681"/>
                  </a:lnTo>
                  <a:lnTo>
                    <a:pt x="1500" y="681"/>
                  </a:lnTo>
                  <a:lnTo>
                    <a:pt x="1503" y="682"/>
                  </a:lnTo>
                  <a:lnTo>
                    <a:pt x="1506" y="682"/>
                  </a:lnTo>
                  <a:lnTo>
                    <a:pt x="1508" y="683"/>
                  </a:lnTo>
                  <a:lnTo>
                    <a:pt x="1509" y="688"/>
                  </a:lnTo>
                  <a:lnTo>
                    <a:pt x="1508" y="691"/>
                  </a:lnTo>
                  <a:lnTo>
                    <a:pt x="1504" y="693"/>
                  </a:lnTo>
                  <a:lnTo>
                    <a:pt x="1498" y="693"/>
                  </a:lnTo>
                  <a:lnTo>
                    <a:pt x="1493" y="694"/>
                  </a:lnTo>
                  <a:lnTo>
                    <a:pt x="1488" y="696"/>
                  </a:lnTo>
                  <a:lnTo>
                    <a:pt x="1485" y="696"/>
                  </a:lnTo>
                  <a:lnTo>
                    <a:pt x="1484" y="698"/>
                  </a:lnTo>
                  <a:lnTo>
                    <a:pt x="1482" y="700"/>
                  </a:lnTo>
                  <a:lnTo>
                    <a:pt x="1481" y="701"/>
                  </a:lnTo>
                  <a:lnTo>
                    <a:pt x="1479" y="703"/>
                  </a:lnTo>
                  <a:lnTo>
                    <a:pt x="1466" y="703"/>
                  </a:lnTo>
                  <a:lnTo>
                    <a:pt x="1453" y="703"/>
                  </a:lnTo>
                  <a:lnTo>
                    <a:pt x="1440" y="703"/>
                  </a:lnTo>
                  <a:lnTo>
                    <a:pt x="1438" y="704"/>
                  </a:lnTo>
                  <a:lnTo>
                    <a:pt x="1435" y="705"/>
                  </a:lnTo>
                  <a:lnTo>
                    <a:pt x="1434" y="707"/>
                  </a:lnTo>
                  <a:lnTo>
                    <a:pt x="1433" y="710"/>
                  </a:lnTo>
                  <a:lnTo>
                    <a:pt x="1434" y="712"/>
                  </a:lnTo>
                  <a:lnTo>
                    <a:pt x="1438" y="714"/>
                  </a:lnTo>
                  <a:lnTo>
                    <a:pt x="1439" y="714"/>
                  </a:lnTo>
                  <a:lnTo>
                    <a:pt x="1441" y="714"/>
                  </a:lnTo>
                  <a:lnTo>
                    <a:pt x="1444" y="714"/>
                  </a:lnTo>
                  <a:lnTo>
                    <a:pt x="1448" y="713"/>
                  </a:lnTo>
                  <a:lnTo>
                    <a:pt x="1451" y="712"/>
                  </a:lnTo>
                  <a:lnTo>
                    <a:pt x="1453" y="711"/>
                  </a:lnTo>
                  <a:lnTo>
                    <a:pt x="1455" y="710"/>
                  </a:lnTo>
                  <a:lnTo>
                    <a:pt x="1456" y="709"/>
                  </a:lnTo>
                  <a:lnTo>
                    <a:pt x="1459" y="709"/>
                  </a:lnTo>
                  <a:lnTo>
                    <a:pt x="1462" y="709"/>
                  </a:lnTo>
                  <a:lnTo>
                    <a:pt x="1464" y="709"/>
                  </a:lnTo>
                  <a:lnTo>
                    <a:pt x="1466" y="710"/>
                  </a:lnTo>
                  <a:lnTo>
                    <a:pt x="1466" y="710"/>
                  </a:lnTo>
                  <a:lnTo>
                    <a:pt x="1464" y="711"/>
                  </a:lnTo>
                  <a:lnTo>
                    <a:pt x="1462" y="712"/>
                  </a:lnTo>
                  <a:lnTo>
                    <a:pt x="1460" y="713"/>
                  </a:lnTo>
                  <a:lnTo>
                    <a:pt x="1457" y="714"/>
                  </a:lnTo>
                  <a:lnTo>
                    <a:pt x="1455" y="715"/>
                  </a:lnTo>
                  <a:lnTo>
                    <a:pt x="1455" y="716"/>
                  </a:lnTo>
                  <a:lnTo>
                    <a:pt x="1446" y="718"/>
                  </a:lnTo>
                  <a:lnTo>
                    <a:pt x="1438" y="721"/>
                  </a:lnTo>
                  <a:lnTo>
                    <a:pt x="1430" y="723"/>
                  </a:lnTo>
                  <a:lnTo>
                    <a:pt x="1427" y="727"/>
                  </a:lnTo>
                  <a:lnTo>
                    <a:pt x="1420" y="742"/>
                  </a:lnTo>
                  <a:lnTo>
                    <a:pt x="1412" y="755"/>
                  </a:lnTo>
                  <a:lnTo>
                    <a:pt x="1407" y="768"/>
                  </a:lnTo>
                  <a:lnTo>
                    <a:pt x="1405" y="772"/>
                  </a:lnTo>
                  <a:lnTo>
                    <a:pt x="1401" y="780"/>
                  </a:lnTo>
                  <a:lnTo>
                    <a:pt x="1398" y="788"/>
                  </a:lnTo>
                  <a:lnTo>
                    <a:pt x="1396" y="790"/>
                  </a:lnTo>
                  <a:lnTo>
                    <a:pt x="1391" y="789"/>
                  </a:lnTo>
                  <a:lnTo>
                    <a:pt x="1388" y="785"/>
                  </a:lnTo>
                  <a:lnTo>
                    <a:pt x="1387" y="779"/>
                  </a:lnTo>
                  <a:lnTo>
                    <a:pt x="1386" y="775"/>
                  </a:lnTo>
                  <a:lnTo>
                    <a:pt x="1385" y="770"/>
                  </a:lnTo>
                  <a:lnTo>
                    <a:pt x="1381" y="768"/>
                  </a:lnTo>
                  <a:lnTo>
                    <a:pt x="1380" y="769"/>
                  </a:lnTo>
                  <a:lnTo>
                    <a:pt x="1379" y="770"/>
                  </a:lnTo>
                  <a:lnTo>
                    <a:pt x="1379" y="772"/>
                  </a:lnTo>
                  <a:lnTo>
                    <a:pt x="1379" y="775"/>
                  </a:lnTo>
                  <a:lnTo>
                    <a:pt x="1379" y="778"/>
                  </a:lnTo>
                  <a:lnTo>
                    <a:pt x="1380" y="780"/>
                  </a:lnTo>
                  <a:lnTo>
                    <a:pt x="1381" y="783"/>
                  </a:lnTo>
                  <a:lnTo>
                    <a:pt x="1381" y="785"/>
                  </a:lnTo>
                  <a:lnTo>
                    <a:pt x="1381" y="786"/>
                  </a:lnTo>
                  <a:lnTo>
                    <a:pt x="1383" y="789"/>
                  </a:lnTo>
                  <a:lnTo>
                    <a:pt x="1383" y="792"/>
                  </a:lnTo>
                  <a:lnTo>
                    <a:pt x="1383" y="796"/>
                  </a:lnTo>
                  <a:lnTo>
                    <a:pt x="1383" y="800"/>
                  </a:lnTo>
                  <a:lnTo>
                    <a:pt x="1381" y="803"/>
                  </a:lnTo>
                  <a:lnTo>
                    <a:pt x="1384" y="810"/>
                  </a:lnTo>
                  <a:lnTo>
                    <a:pt x="1387" y="814"/>
                  </a:lnTo>
                  <a:lnTo>
                    <a:pt x="1390" y="820"/>
                  </a:lnTo>
                  <a:lnTo>
                    <a:pt x="1392" y="825"/>
                  </a:lnTo>
                  <a:lnTo>
                    <a:pt x="1390" y="832"/>
                  </a:lnTo>
                  <a:lnTo>
                    <a:pt x="1388" y="836"/>
                  </a:lnTo>
                  <a:lnTo>
                    <a:pt x="1384" y="840"/>
                  </a:lnTo>
                  <a:lnTo>
                    <a:pt x="1379" y="842"/>
                  </a:lnTo>
                  <a:lnTo>
                    <a:pt x="1376" y="844"/>
                  </a:lnTo>
                  <a:lnTo>
                    <a:pt x="1375" y="847"/>
                  </a:lnTo>
                  <a:lnTo>
                    <a:pt x="1375" y="852"/>
                  </a:lnTo>
                  <a:lnTo>
                    <a:pt x="1376" y="855"/>
                  </a:lnTo>
                  <a:lnTo>
                    <a:pt x="1375" y="856"/>
                  </a:lnTo>
                  <a:lnTo>
                    <a:pt x="1374" y="857"/>
                  </a:lnTo>
                  <a:lnTo>
                    <a:pt x="1372" y="858"/>
                  </a:lnTo>
                  <a:lnTo>
                    <a:pt x="1369" y="859"/>
                  </a:lnTo>
                  <a:lnTo>
                    <a:pt x="1368" y="859"/>
                  </a:lnTo>
                  <a:lnTo>
                    <a:pt x="1366" y="860"/>
                  </a:lnTo>
                  <a:lnTo>
                    <a:pt x="1362" y="863"/>
                  </a:lnTo>
                  <a:lnTo>
                    <a:pt x="1357" y="865"/>
                  </a:lnTo>
                  <a:lnTo>
                    <a:pt x="1353" y="867"/>
                  </a:lnTo>
                  <a:lnTo>
                    <a:pt x="1348" y="869"/>
                  </a:lnTo>
                  <a:lnTo>
                    <a:pt x="1340" y="875"/>
                  </a:lnTo>
                  <a:lnTo>
                    <a:pt x="1331" y="879"/>
                  </a:lnTo>
                  <a:lnTo>
                    <a:pt x="1321" y="885"/>
                  </a:lnTo>
                  <a:lnTo>
                    <a:pt x="1313" y="891"/>
                  </a:lnTo>
                  <a:lnTo>
                    <a:pt x="1308" y="896"/>
                  </a:lnTo>
                  <a:lnTo>
                    <a:pt x="1300" y="898"/>
                  </a:lnTo>
                  <a:lnTo>
                    <a:pt x="1293" y="900"/>
                  </a:lnTo>
                  <a:lnTo>
                    <a:pt x="1290" y="902"/>
                  </a:lnTo>
                  <a:lnTo>
                    <a:pt x="1286" y="905"/>
                  </a:lnTo>
                  <a:lnTo>
                    <a:pt x="1282" y="908"/>
                  </a:lnTo>
                  <a:lnTo>
                    <a:pt x="1280" y="910"/>
                  </a:lnTo>
                  <a:lnTo>
                    <a:pt x="1278" y="913"/>
                  </a:lnTo>
                  <a:lnTo>
                    <a:pt x="1278" y="918"/>
                  </a:lnTo>
                  <a:lnTo>
                    <a:pt x="1278" y="921"/>
                  </a:lnTo>
                  <a:lnTo>
                    <a:pt x="1278" y="924"/>
                  </a:lnTo>
                  <a:lnTo>
                    <a:pt x="1276" y="928"/>
                  </a:lnTo>
                  <a:lnTo>
                    <a:pt x="1274" y="931"/>
                  </a:lnTo>
                  <a:lnTo>
                    <a:pt x="1274" y="936"/>
                  </a:lnTo>
                  <a:lnTo>
                    <a:pt x="1275" y="942"/>
                  </a:lnTo>
                  <a:lnTo>
                    <a:pt x="1276" y="949"/>
                  </a:lnTo>
                  <a:lnTo>
                    <a:pt x="1279" y="956"/>
                  </a:lnTo>
                  <a:lnTo>
                    <a:pt x="1283" y="963"/>
                  </a:lnTo>
                  <a:lnTo>
                    <a:pt x="1287" y="971"/>
                  </a:lnTo>
                  <a:lnTo>
                    <a:pt x="1288" y="973"/>
                  </a:lnTo>
                  <a:lnTo>
                    <a:pt x="1288" y="975"/>
                  </a:lnTo>
                  <a:lnTo>
                    <a:pt x="1289" y="978"/>
                  </a:lnTo>
                  <a:lnTo>
                    <a:pt x="1289" y="980"/>
                  </a:lnTo>
                  <a:lnTo>
                    <a:pt x="1290" y="983"/>
                  </a:lnTo>
                  <a:lnTo>
                    <a:pt x="1291" y="984"/>
                  </a:lnTo>
                  <a:lnTo>
                    <a:pt x="1297" y="995"/>
                  </a:lnTo>
                  <a:lnTo>
                    <a:pt x="1298" y="1007"/>
                  </a:lnTo>
                  <a:lnTo>
                    <a:pt x="1298" y="1019"/>
                  </a:lnTo>
                  <a:lnTo>
                    <a:pt x="1299" y="1021"/>
                  </a:lnTo>
                  <a:lnTo>
                    <a:pt x="1299" y="1025"/>
                  </a:lnTo>
                  <a:lnTo>
                    <a:pt x="1298" y="1027"/>
                  </a:lnTo>
                  <a:lnTo>
                    <a:pt x="1297" y="1029"/>
                  </a:lnTo>
                  <a:lnTo>
                    <a:pt x="1293" y="1032"/>
                  </a:lnTo>
                  <a:lnTo>
                    <a:pt x="1292" y="1034"/>
                  </a:lnTo>
                  <a:lnTo>
                    <a:pt x="1290" y="1037"/>
                  </a:lnTo>
                  <a:lnTo>
                    <a:pt x="1288" y="1039"/>
                  </a:lnTo>
                  <a:lnTo>
                    <a:pt x="1286" y="1039"/>
                  </a:lnTo>
                  <a:lnTo>
                    <a:pt x="1282" y="1039"/>
                  </a:lnTo>
                  <a:lnTo>
                    <a:pt x="1278" y="1033"/>
                  </a:lnTo>
                  <a:lnTo>
                    <a:pt x="1275" y="1026"/>
                  </a:lnTo>
                  <a:lnTo>
                    <a:pt x="1271" y="1019"/>
                  </a:lnTo>
                  <a:lnTo>
                    <a:pt x="1269" y="1015"/>
                  </a:lnTo>
                  <a:lnTo>
                    <a:pt x="1265" y="1011"/>
                  </a:lnTo>
                  <a:lnTo>
                    <a:pt x="1260" y="1008"/>
                  </a:lnTo>
                  <a:lnTo>
                    <a:pt x="1257" y="1006"/>
                  </a:lnTo>
                  <a:lnTo>
                    <a:pt x="1255" y="1005"/>
                  </a:lnTo>
                  <a:lnTo>
                    <a:pt x="1253" y="1001"/>
                  </a:lnTo>
                  <a:lnTo>
                    <a:pt x="1253" y="998"/>
                  </a:lnTo>
                  <a:lnTo>
                    <a:pt x="1252" y="995"/>
                  </a:lnTo>
                  <a:lnTo>
                    <a:pt x="1250" y="990"/>
                  </a:lnTo>
                  <a:lnTo>
                    <a:pt x="1248" y="987"/>
                  </a:lnTo>
                  <a:lnTo>
                    <a:pt x="1247" y="984"/>
                  </a:lnTo>
                  <a:lnTo>
                    <a:pt x="1245" y="979"/>
                  </a:lnTo>
                  <a:lnTo>
                    <a:pt x="1245" y="977"/>
                  </a:lnTo>
                  <a:lnTo>
                    <a:pt x="1245" y="974"/>
                  </a:lnTo>
                  <a:lnTo>
                    <a:pt x="1245" y="972"/>
                  </a:lnTo>
                  <a:lnTo>
                    <a:pt x="1245" y="969"/>
                  </a:lnTo>
                  <a:lnTo>
                    <a:pt x="1245" y="966"/>
                  </a:lnTo>
                  <a:lnTo>
                    <a:pt x="1243" y="964"/>
                  </a:lnTo>
                  <a:lnTo>
                    <a:pt x="1239" y="958"/>
                  </a:lnTo>
                  <a:lnTo>
                    <a:pt x="1235" y="953"/>
                  </a:lnTo>
                  <a:lnTo>
                    <a:pt x="1231" y="950"/>
                  </a:lnTo>
                  <a:lnTo>
                    <a:pt x="1226" y="950"/>
                  </a:lnTo>
                  <a:lnTo>
                    <a:pt x="1221" y="953"/>
                  </a:lnTo>
                  <a:lnTo>
                    <a:pt x="1213" y="957"/>
                  </a:lnTo>
                  <a:lnTo>
                    <a:pt x="1204" y="957"/>
                  </a:lnTo>
                  <a:lnTo>
                    <a:pt x="1195" y="954"/>
                  </a:lnTo>
                  <a:lnTo>
                    <a:pt x="1188" y="951"/>
                  </a:lnTo>
                  <a:lnTo>
                    <a:pt x="1178" y="945"/>
                  </a:lnTo>
                  <a:lnTo>
                    <a:pt x="1167" y="943"/>
                  </a:lnTo>
                  <a:lnTo>
                    <a:pt x="1156" y="944"/>
                  </a:lnTo>
                  <a:lnTo>
                    <a:pt x="1144" y="944"/>
                  </a:lnTo>
                  <a:lnTo>
                    <a:pt x="1140" y="943"/>
                  </a:lnTo>
                  <a:lnTo>
                    <a:pt x="1133" y="941"/>
                  </a:lnTo>
                  <a:lnTo>
                    <a:pt x="1124" y="940"/>
                  </a:lnTo>
                  <a:lnTo>
                    <a:pt x="1117" y="940"/>
                  </a:lnTo>
                  <a:lnTo>
                    <a:pt x="1113" y="940"/>
                  </a:lnTo>
                  <a:lnTo>
                    <a:pt x="1114" y="941"/>
                  </a:lnTo>
                  <a:lnTo>
                    <a:pt x="1115" y="943"/>
                  </a:lnTo>
                  <a:lnTo>
                    <a:pt x="1116" y="944"/>
                  </a:lnTo>
                  <a:lnTo>
                    <a:pt x="1117" y="946"/>
                  </a:lnTo>
                  <a:lnTo>
                    <a:pt x="1119" y="949"/>
                  </a:lnTo>
                  <a:lnTo>
                    <a:pt x="1122" y="950"/>
                  </a:lnTo>
                  <a:lnTo>
                    <a:pt x="1123" y="952"/>
                  </a:lnTo>
                  <a:lnTo>
                    <a:pt x="1124" y="953"/>
                  </a:lnTo>
                  <a:lnTo>
                    <a:pt x="1124" y="954"/>
                  </a:lnTo>
                  <a:lnTo>
                    <a:pt x="1123" y="955"/>
                  </a:lnTo>
                  <a:lnTo>
                    <a:pt x="1121" y="955"/>
                  </a:lnTo>
                  <a:lnTo>
                    <a:pt x="1117" y="955"/>
                  </a:lnTo>
                  <a:lnTo>
                    <a:pt x="1113" y="956"/>
                  </a:lnTo>
                  <a:lnTo>
                    <a:pt x="1110" y="960"/>
                  </a:lnTo>
                  <a:lnTo>
                    <a:pt x="1107" y="963"/>
                  </a:lnTo>
                  <a:lnTo>
                    <a:pt x="1105" y="965"/>
                  </a:lnTo>
                  <a:lnTo>
                    <a:pt x="1100" y="964"/>
                  </a:lnTo>
                  <a:lnTo>
                    <a:pt x="1093" y="961"/>
                  </a:lnTo>
                  <a:lnTo>
                    <a:pt x="1088" y="956"/>
                  </a:lnTo>
                  <a:lnTo>
                    <a:pt x="1083" y="953"/>
                  </a:lnTo>
                  <a:lnTo>
                    <a:pt x="1077" y="951"/>
                  </a:lnTo>
                  <a:lnTo>
                    <a:pt x="1069" y="953"/>
                  </a:lnTo>
                  <a:lnTo>
                    <a:pt x="1061" y="954"/>
                  </a:lnTo>
                  <a:lnTo>
                    <a:pt x="1052" y="953"/>
                  </a:lnTo>
                  <a:lnTo>
                    <a:pt x="1043" y="951"/>
                  </a:lnTo>
                  <a:lnTo>
                    <a:pt x="1035" y="950"/>
                  </a:lnTo>
                  <a:lnTo>
                    <a:pt x="1027" y="951"/>
                  </a:lnTo>
                  <a:lnTo>
                    <a:pt x="1026" y="953"/>
                  </a:lnTo>
                  <a:lnTo>
                    <a:pt x="1025" y="955"/>
                  </a:lnTo>
                  <a:lnTo>
                    <a:pt x="1023" y="957"/>
                  </a:lnTo>
                  <a:lnTo>
                    <a:pt x="1020" y="957"/>
                  </a:lnTo>
                  <a:lnTo>
                    <a:pt x="1018" y="958"/>
                  </a:lnTo>
                  <a:lnTo>
                    <a:pt x="1016" y="960"/>
                  </a:lnTo>
                  <a:lnTo>
                    <a:pt x="1006" y="962"/>
                  </a:lnTo>
                  <a:lnTo>
                    <a:pt x="996" y="966"/>
                  </a:lnTo>
                  <a:lnTo>
                    <a:pt x="987" y="969"/>
                  </a:lnTo>
                  <a:lnTo>
                    <a:pt x="981" y="973"/>
                  </a:lnTo>
                  <a:lnTo>
                    <a:pt x="977" y="978"/>
                  </a:lnTo>
                  <a:lnTo>
                    <a:pt x="974" y="986"/>
                  </a:lnTo>
                  <a:lnTo>
                    <a:pt x="974" y="989"/>
                  </a:lnTo>
                  <a:lnTo>
                    <a:pt x="974" y="992"/>
                  </a:lnTo>
                  <a:lnTo>
                    <a:pt x="973" y="995"/>
                  </a:lnTo>
                  <a:lnTo>
                    <a:pt x="973" y="998"/>
                  </a:lnTo>
                  <a:lnTo>
                    <a:pt x="974" y="1001"/>
                  </a:lnTo>
                  <a:lnTo>
                    <a:pt x="976" y="1005"/>
                  </a:lnTo>
                  <a:lnTo>
                    <a:pt x="977" y="1008"/>
                  </a:lnTo>
                  <a:lnTo>
                    <a:pt x="980" y="1010"/>
                  </a:lnTo>
                  <a:lnTo>
                    <a:pt x="982" y="1014"/>
                  </a:lnTo>
                  <a:lnTo>
                    <a:pt x="983" y="1017"/>
                  </a:lnTo>
                  <a:lnTo>
                    <a:pt x="983" y="1027"/>
                  </a:lnTo>
                  <a:lnTo>
                    <a:pt x="981" y="1036"/>
                  </a:lnTo>
                  <a:lnTo>
                    <a:pt x="977" y="1044"/>
                  </a:lnTo>
                  <a:lnTo>
                    <a:pt x="976" y="1054"/>
                  </a:lnTo>
                  <a:lnTo>
                    <a:pt x="977" y="1061"/>
                  </a:lnTo>
                  <a:lnTo>
                    <a:pt x="980" y="1067"/>
                  </a:lnTo>
                  <a:lnTo>
                    <a:pt x="981" y="1076"/>
                  </a:lnTo>
                  <a:lnTo>
                    <a:pt x="983" y="1078"/>
                  </a:lnTo>
                  <a:lnTo>
                    <a:pt x="984" y="1080"/>
                  </a:lnTo>
                  <a:lnTo>
                    <a:pt x="986" y="1081"/>
                  </a:lnTo>
                  <a:lnTo>
                    <a:pt x="988" y="1083"/>
                  </a:lnTo>
                  <a:lnTo>
                    <a:pt x="990" y="1085"/>
                  </a:lnTo>
                  <a:lnTo>
                    <a:pt x="993" y="1088"/>
                  </a:lnTo>
                  <a:lnTo>
                    <a:pt x="994" y="1092"/>
                  </a:lnTo>
                  <a:lnTo>
                    <a:pt x="995" y="1095"/>
                  </a:lnTo>
                  <a:lnTo>
                    <a:pt x="996" y="1098"/>
                  </a:lnTo>
                  <a:lnTo>
                    <a:pt x="1001" y="1104"/>
                  </a:lnTo>
                  <a:lnTo>
                    <a:pt x="1005" y="1109"/>
                  </a:lnTo>
                  <a:lnTo>
                    <a:pt x="1009" y="1114"/>
                  </a:lnTo>
                  <a:lnTo>
                    <a:pt x="1012" y="1116"/>
                  </a:lnTo>
                  <a:lnTo>
                    <a:pt x="1014" y="1119"/>
                  </a:lnTo>
                  <a:lnTo>
                    <a:pt x="1015" y="1123"/>
                  </a:lnTo>
                  <a:lnTo>
                    <a:pt x="1016" y="1126"/>
                  </a:lnTo>
                  <a:lnTo>
                    <a:pt x="1018" y="1129"/>
                  </a:lnTo>
                  <a:lnTo>
                    <a:pt x="1023" y="1130"/>
                  </a:lnTo>
                  <a:lnTo>
                    <a:pt x="1026" y="1131"/>
                  </a:lnTo>
                  <a:lnTo>
                    <a:pt x="1029" y="1131"/>
                  </a:lnTo>
                  <a:lnTo>
                    <a:pt x="1032" y="1132"/>
                  </a:lnTo>
                  <a:lnTo>
                    <a:pt x="1036" y="1134"/>
                  </a:lnTo>
                  <a:lnTo>
                    <a:pt x="1038" y="1135"/>
                  </a:lnTo>
                  <a:lnTo>
                    <a:pt x="1040" y="1136"/>
                  </a:lnTo>
                  <a:lnTo>
                    <a:pt x="1042" y="1137"/>
                  </a:lnTo>
                  <a:lnTo>
                    <a:pt x="1046" y="1138"/>
                  </a:lnTo>
                  <a:lnTo>
                    <a:pt x="1048" y="1138"/>
                  </a:lnTo>
                  <a:lnTo>
                    <a:pt x="1049" y="1138"/>
                  </a:lnTo>
                  <a:lnTo>
                    <a:pt x="1052" y="1136"/>
                  </a:lnTo>
                  <a:lnTo>
                    <a:pt x="1055" y="1135"/>
                  </a:lnTo>
                  <a:lnTo>
                    <a:pt x="1057" y="1135"/>
                  </a:lnTo>
                  <a:lnTo>
                    <a:pt x="1059" y="1135"/>
                  </a:lnTo>
                  <a:lnTo>
                    <a:pt x="1062" y="1136"/>
                  </a:lnTo>
                  <a:lnTo>
                    <a:pt x="1075" y="1136"/>
                  </a:lnTo>
                  <a:lnTo>
                    <a:pt x="1078" y="1135"/>
                  </a:lnTo>
                  <a:lnTo>
                    <a:pt x="1080" y="1134"/>
                  </a:lnTo>
                  <a:lnTo>
                    <a:pt x="1082" y="1134"/>
                  </a:lnTo>
                  <a:lnTo>
                    <a:pt x="1085" y="1135"/>
                  </a:lnTo>
                  <a:lnTo>
                    <a:pt x="1088" y="1136"/>
                  </a:lnTo>
                  <a:lnTo>
                    <a:pt x="1089" y="1137"/>
                  </a:lnTo>
                  <a:lnTo>
                    <a:pt x="1091" y="1138"/>
                  </a:lnTo>
                  <a:lnTo>
                    <a:pt x="1093" y="1138"/>
                  </a:lnTo>
                  <a:lnTo>
                    <a:pt x="1095" y="1138"/>
                  </a:lnTo>
                  <a:lnTo>
                    <a:pt x="1099" y="1137"/>
                  </a:lnTo>
                  <a:lnTo>
                    <a:pt x="1100" y="1137"/>
                  </a:lnTo>
                  <a:lnTo>
                    <a:pt x="1101" y="1135"/>
                  </a:lnTo>
                  <a:lnTo>
                    <a:pt x="1101" y="1134"/>
                  </a:lnTo>
                  <a:lnTo>
                    <a:pt x="1101" y="1132"/>
                  </a:lnTo>
                  <a:lnTo>
                    <a:pt x="1100" y="1131"/>
                  </a:lnTo>
                  <a:lnTo>
                    <a:pt x="1101" y="1129"/>
                  </a:lnTo>
                  <a:lnTo>
                    <a:pt x="1101" y="1127"/>
                  </a:lnTo>
                  <a:lnTo>
                    <a:pt x="1102" y="1126"/>
                  </a:lnTo>
                  <a:lnTo>
                    <a:pt x="1104" y="1125"/>
                  </a:lnTo>
                  <a:lnTo>
                    <a:pt x="1106" y="1123"/>
                  </a:lnTo>
                  <a:lnTo>
                    <a:pt x="1108" y="1119"/>
                  </a:lnTo>
                  <a:lnTo>
                    <a:pt x="1110" y="1116"/>
                  </a:lnTo>
                  <a:lnTo>
                    <a:pt x="1111" y="1113"/>
                  </a:lnTo>
                  <a:lnTo>
                    <a:pt x="1111" y="1108"/>
                  </a:lnTo>
                  <a:lnTo>
                    <a:pt x="1111" y="1105"/>
                  </a:lnTo>
                  <a:lnTo>
                    <a:pt x="1114" y="1100"/>
                  </a:lnTo>
                  <a:lnTo>
                    <a:pt x="1121" y="1099"/>
                  </a:lnTo>
                  <a:lnTo>
                    <a:pt x="1128" y="1098"/>
                  </a:lnTo>
                  <a:lnTo>
                    <a:pt x="1136" y="1098"/>
                  </a:lnTo>
                  <a:lnTo>
                    <a:pt x="1141" y="1098"/>
                  </a:lnTo>
                  <a:lnTo>
                    <a:pt x="1148" y="1097"/>
                  </a:lnTo>
                  <a:lnTo>
                    <a:pt x="1156" y="1096"/>
                  </a:lnTo>
                  <a:lnTo>
                    <a:pt x="1163" y="1096"/>
                  </a:lnTo>
                  <a:lnTo>
                    <a:pt x="1171" y="1097"/>
                  </a:lnTo>
                  <a:lnTo>
                    <a:pt x="1176" y="1100"/>
                  </a:lnTo>
                  <a:lnTo>
                    <a:pt x="1177" y="1105"/>
                  </a:lnTo>
                  <a:lnTo>
                    <a:pt x="1174" y="1108"/>
                  </a:lnTo>
                  <a:lnTo>
                    <a:pt x="1172" y="1112"/>
                  </a:lnTo>
                  <a:lnTo>
                    <a:pt x="1170" y="1114"/>
                  </a:lnTo>
                  <a:lnTo>
                    <a:pt x="1168" y="1117"/>
                  </a:lnTo>
                  <a:lnTo>
                    <a:pt x="1167" y="1120"/>
                  </a:lnTo>
                  <a:lnTo>
                    <a:pt x="1166" y="1124"/>
                  </a:lnTo>
                  <a:lnTo>
                    <a:pt x="1166" y="1127"/>
                  </a:lnTo>
                  <a:lnTo>
                    <a:pt x="1165" y="1137"/>
                  </a:lnTo>
                  <a:lnTo>
                    <a:pt x="1159" y="1145"/>
                  </a:lnTo>
                  <a:lnTo>
                    <a:pt x="1150" y="1149"/>
                  </a:lnTo>
                  <a:lnTo>
                    <a:pt x="1148" y="1149"/>
                  </a:lnTo>
                  <a:lnTo>
                    <a:pt x="1145" y="1149"/>
                  </a:lnTo>
                  <a:lnTo>
                    <a:pt x="1143" y="1150"/>
                  </a:lnTo>
                  <a:lnTo>
                    <a:pt x="1140" y="1151"/>
                  </a:lnTo>
                  <a:lnTo>
                    <a:pt x="1139" y="1153"/>
                  </a:lnTo>
                  <a:lnTo>
                    <a:pt x="1141" y="1156"/>
                  </a:lnTo>
                  <a:lnTo>
                    <a:pt x="1144" y="1157"/>
                  </a:lnTo>
                  <a:lnTo>
                    <a:pt x="1146" y="1158"/>
                  </a:lnTo>
                  <a:lnTo>
                    <a:pt x="1148" y="1160"/>
                  </a:lnTo>
                  <a:lnTo>
                    <a:pt x="1150" y="1163"/>
                  </a:lnTo>
                  <a:lnTo>
                    <a:pt x="1152" y="1169"/>
                  </a:lnTo>
                  <a:lnTo>
                    <a:pt x="1155" y="1173"/>
                  </a:lnTo>
                  <a:lnTo>
                    <a:pt x="1158" y="1178"/>
                  </a:lnTo>
                  <a:lnTo>
                    <a:pt x="1163" y="1180"/>
                  </a:lnTo>
                  <a:lnTo>
                    <a:pt x="1172" y="1180"/>
                  </a:lnTo>
                  <a:lnTo>
                    <a:pt x="1181" y="1178"/>
                  </a:lnTo>
                  <a:lnTo>
                    <a:pt x="1188" y="1180"/>
                  </a:lnTo>
                  <a:lnTo>
                    <a:pt x="1197" y="1180"/>
                  </a:lnTo>
                  <a:lnTo>
                    <a:pt x="1204" y="1179"/>
                  </a:lnTo>
                  <a:lnTo>
                    <a:pt x="1212" y="1178"/>
                  </a:lnTo>
                  <a:lnTo>
                    <a:pt x="1215" y="1178"/>
                  </a:lnTo>
                  <a:lnTo>
                    <a:pt x="1219" y="1178"/>
                  </a:lnTo>
                  <a:lnTo>
                    <a:pt x="1223" y="1178"/>
                  </a:lnTo>
                  <a:lnTo>
                    <a:pt x="1226" y="1179"/>
                  </a:lnTo>
                  <a:lnTo>
                    <a:pt x="1227" y="1180"/>
                  </a:lnTo>
                  <a:lnTo>
                    <a:pt x="1230" y="1182"/>
                  </a:lnTo>
                  <a:lnTo>
                    <a:pt x="1231" y="1184"/>
                  </a:lnTo>
                  <a:lnTo>
                    <a:pt x="1232" y="1185"/>
                  </a:lnTo>
                  <a:lnTo>
                    <a:pt x="1234" y="1186"/>
                  </a:lnTo>
                  <a:lnTo>
                    <a:pt x="1236" y="1186"/>
                  </a:lnTo>
                  <a:lnTo>
                    <a:pt x="1238" y="1186"/>
                  </a:lnTo>
                  <a:lnTo>
                    <a:pt x="1241" y="1186"/>
                  </a:lnTo>
                  <a:lnTo>
                    <a:pt x="1243" y="1185"/>
                  </a:lnTo>
                  <a:lnTo>
                    <a:pt x="1248" y="1187"/>
                  </a:lnTo>
                  <a:lnTo>
                    <a:pt x="1250" y="1192"/>
                  </a:lnTo>
                  <a:lnTo>
                    <a:pt x="1250" y="1198"/>
                  </a:lnTo>
                  <a:lnTo>
                    <a:pt x="1250" y="1204"/>
                  </a:lnTo>
                  <a:lnTo>
                    <a:pt x="1249" y="1207"/>
                  </a:lnTo>
                  <a:lnTo>
                    <a:pt x="1248" y="1212"/>
                  </a:lnTo>
                  <a:lnTo>
                    <a:pt x="1247" y="1215"/>
                  </a:lnTo>
                  <a:lnTo>
                    <a:pt x="1247" y="1219"/>
                  </a:lnTo>
                  <a:lnTo>
                    <a:pt x="1245" y="1223"/>
                  </a:lnTo>
                  <a:lnTo>
                    <a:pt x="1245" y="1227"/>
                  </a:lnTo>
                  <a:lnTo>
                    <a:pt x="1244" y="1230"/>
                  </a:lnTo>
                  <a:lnTo>
                    <a:pt x="1243" y="1233"/>
                  </a:lnTo>
                  <a:lnTo>
                    <a:pt x="1242" y="1236"/>
                  </a:lnTo>
                  <a:lnTo>
                    <a:pt x="1241" y="1238"/>
                  </a:lnTo>
                  <a:lnTo>
                    <a:pt x="1241" y="1254"/>
                  </a:lnTo>
                  <a:lnTo>
                    <a:pt x="1243" y="1257"/>
                  </a:lnTo>
                  <a:lnTo>
                    <a:pt x="1245" y="1258"/>
                  </a:lnTo>
                  <a:lnTo>
                    <a:pt x="1248" y="1260"/>
                  </a:lnTo>
                  <a:lnTo>
                    <a:pt x="1252" y="1261"/>
                  </a:lnTo>
                  <a:lnTo>
                    <a:pt x="1254" y="1262"/>
                  </a:lnTo>
                  <a:lnTo>
                    <a:pt x="1255" y="1263"/>
                  </a:lnTo>
                  <a:lnTo>
                    <a:pt x="1256" y="1266"/>
                  </a:lnTo>
                  <a:lnTo>
                    <a:pt x="1258" y="1267"/>
                  </a:lnTo>
                  <a:lnTo>
                    <a:pt x="1259" y="1268"/>
                  </a:lnTo>
                  <a:lnTo>
                    <a:pt x="1263" y="1269"/>
                  </a:lnTo>
                  <a:lnTo>
                    <a:pt x="1267" y="1271"/>
                  </a:lnTo>
                  <a:lnTo>
                    <a:pt x="1271" y="1271"/>
                  </a:lnTo>
                  <a:lnTo>
                    <a:pt x="1276" y="1271"/>
                  </a:lnTo>
                  <a:lnTo>
                    <a:pt x="1288" y="1270"/>
                  </a:lnTo>
                  <a:lnTo>
                    <a:pt x="1297" y="1268"/>
                  </a:lnTo>
                  <a:lnTo>
                    <a:pt x="1304" y="1265"/>
                  </a:lnTo>
                  <a:lnTo>
                    <a:pt x="1317" y="1263"/>
                  </a:lnTo>
                  <a:lnTo>
                    <a:pt x="1328" y="1266"/>
                  </a:lnTo>
                  <a:lnTo>
                    <a:pt x="1337" y="1269"/>
                  </a:lnTo>
                  <a:lnTo>
                    <a:pt x="1339" y="1270"/>
                  </a:lnTo>
                  <a:lnTo>
                    <a:pt x="1340" y="1271"/>
                  </a:lnTo>
                  <a:lnTo>
                    <a:pt x="1342" y="1272"/>
                  </a:lnTo>
                  <a:lnTo>
                    <a:pt x="1345" y="1273"/>
                  </a:lnTo>
                  <a:lnTo>
                    <a:pt x="1347" y="1274"/>
                  </a:lnTo>
                  <a:lnTo>
                    <a:pt x="1350" y="1276"/>
                  </a:lnTo>
                  <a:lnTo>
                    <a:pt x="1352" y="1277"/>
                  </a:lnTo>
                  <a:lnTo>
                    <a:pt x="1353" y="1276"/>
                  </a:lnTo>
                  <a:lnTo>
                    <a:pt x="1357" y="1274"/>
                  </a:lnTo>
                  <a:lnTo>
                    <a:pt x="1359" y="1272"/>
                  </a:lnTo>
                  <a:lnTo>
                    <a:pt x="1363" y="1270"/>
                  </a:lnTo>
                  <a:lnTo>
                    <a:pt x="1365" y="1268"/>
                  </a:lnTo>
                  <a:lnTo>
                    <a:pt x="1368" y="1265"/>
                  </a:lnTo>
                  <a:lnTo>
                    <a:pt x="1375" y="1261"/>
                  </a:lnTo>
                  <a:lnTo>
                    <a:pt x="1377" y="1257"/>
                  </a:lnTo>
                  <a:lnTo>
                    <a:pt x="1379" y="1252"/>
                  </a:lnTo>
                  <a:lnTo>
                    <a:pt x="1381" y="1247"/>
                  </a:lnTo>
                  <a:lnTo>
                    <a:pt x="1386" y="1243"/>
                  </a:lnTo>
                  <a:lnTo>
                    <a:pt x="1388" y="1243"/>
                  </a:lnTo>
                  <a:lnTo>
                    <a:pt x="1389" y="1240"/>
                  </a:lnTo>
                  <a:lnTo>
                    <a:pt x="1391" y="1239"/>
                  </a:lnTo>
                  <a:lnTo>
                    <a:pt x="1392" y="1238"/>
                  </a:lnTo>
                  <a:lnTo>
                    <a:pt x="1395" y="1239"/>
                  </a:lnTo>
                  <a:lnTo>
                    <a:pt x="1397" y="1239"/>
                  </a:lnTo>
                  <a:lnTo>
                    <a:pt x="1398" y="1240"/>
                  </a:lnTo>
                  <a:lnTo>
                    <a:pt x="1398" y="1240"/>
                  </a:lnTo>
                  <a:lnTo>
                    <a:pt x="1400" y="1240"/>
                  </a:lnTo>
                  <a:lnTo>
                    <a:pt x="1401" y="1241"/>
                  </a:lnTo>
                  <a:lnTo>
                    <a:pt x="1402" y="1240"/>
                  </a:lnTo>
                  <a:lnTo>
                    <a:pt x="1403" y="1239"/>
                  </a:lnTo>
                  <a:lnTo>
                    <a:pt x="1405" y="1238"/>
                  </a:lnTo>
                  <a:lnTo>
                    <a:pt x="1406" y="1237"/>
                  </a:lnTo>
                  <a:lnTo>
                    <a:pt x="1407" y="1235"/>
                  </a:lnTo>
                  <a:lnTo>
                    <a:pt x="1408" y="1234"/>
                  </a:lnTo>
                  <a:lnTo>
                    <a:pt x="1430" y="1229"/>
                  </a:lnTo>
                  <a:lnTo>
                    <a:pt x="1449" y="1220"/>
                  </a:lnTo>
                  <a:lnTo>
                    <a:pt x="1450" y="1219"/>
                  </a:lnTo>
                  <a:lnTo>
                    <a:pt x="1452" y="1218"/>
                  </a:lnTo>
                  <a:lnTo>
                    <a:pt x="1454" y="1217"/>
                  </a:lnTo>
                  <a:lnTo>
                    <a:pt x="1457" y="1217"/>
                  </a:lnTo>
                  <a:lnTo>
                    <a:pt x="1460" y="1217"/>
                  </a:lnTo>
                  <a:lnTo>
                    <a:pt x="1462" y="1217"/>
                  </a:lnTo>
                  <a:lnTo>
                    <a:pt x="1463" y="1218"/>
                  </a:lnTo>
                  <a:lnTo>
                    <a:pt x="1464" y="1219"/>
                  </a:lnTo>
                  <a:lnTo>
                    <a:pt x="1464" y="1220"/>
                  </a:lnTo>
                  <a:lnTo>
                    <a:pt x="1462" y="1224"/>
                  </a:lnTo>
                  <a:lnTo>
                    <a:pt x="1460" y="1225"/>
                  </a:lnTo>
                  <a:lnTo>
                    <a:pt x="1457" y="1226"/>
                  </a:lnTo>
                  <a:lnTo>
                    <a:pt x="1454" y="1226"/>
                  </a:lnTo>
                  <a:lnTo>
                    <a:pt x="1452" y="1227"/>
                  </a:lnTo>
                  <a:lnTo>
                    <a:pt x="1450" y="1228"/>
                  </a:lnTo>
                  <a:lnTo>
                    <a:pt x="1449" y="1229"/>
                  </a:lnTo>
                  <a:lnTo>
                    <a:pt x="1446" y="1232"/>
                  </a:lnTo>
                  <a:lnTo>
                    <a:pt x="1448" y="1234"/>
                  </a:lnTo>
                  <a:lnTo>
                    <a:pt x="1448" y="1236"/>
                  </a:lnTo>
                  <a:lnTo>
                    <a:pt x="1449" y="1238"/>
                  </a:lnTo>
                  <a:lnTo>
                    <a:pt x="1450" y="1241"/>
                  </a:lnTo>
                  <a:lnTo>
                    <a:pt x="1451" y="1244"/>
                  </a:lnTo>
                  <a:lnTo>
                    <a:pt x="1451" y="1245"/>
                  </a:lnTo>
                  <a:lnTo>
                    <a:pt x="1449" y="1247"/>
                  </a:lnTo>
                  <a:lnTo>
                    <a:pt x="1446" y="1249"/>
                  </a:lnTo>
                  <a:lnTo>
                    <a:pt x="1443" y="1250"/>
                  </a:lnTo>
                  <a:lnTo>
                    <a:pt x="1440" y="1252"/>
                  </a:lnTo>
                  <a:lnTo>
                    <a:pt x="1438" y="1255"/>
                  </a:lnTo>
                  <a:lnTo>
                    <a:pt x="1438" y="1256"/>
                  </a:lnTo>
                  <a:lnTo>
                    <a:pt x="1438" y="1257"/>
                  </a:lnTo>
                  <a:lnTo>
                    <a:pt x="1439" y="1258"/>
                  </a:lnTo>
                  <a:lnTo>
                    <a:pt x="1441" y="1259"/>
                  </a:lnTo>
                  <a:lnTo>
                    <a:pt x="1442" y="1259"/>
                  </a:lnTo>
                  <a:lnTo>
                    <a:pt x="1444" y="1260"/>
                  </a:lnTo>
                  <a:lnTo>
                    <a:pt x="1445" y="1261"/>
                  </a:lnTo>
                  <a:lnTo>
                    <a:pt x="1446" y="1262"/>
                  </a:lnTo>
                  <a:lnTo>
                    <a:pt x="1446" y="1263"/>
                  </a:lnTo>
                  <a:lnTo>
                    <a:pt x="1449" y="1265"/>
                  </a:lnTo>
                  <a:lnTo>
                    <a:pt x="1450" y="1266"/>
                  </a:lnTo>
                  <a:lnTo>
                    <a:pt x="1451" y="1265"/>
                  </a:lnTo>
                  <a:lnTo>
                    <a:pt x="1453" y="1263"/>
                  </a:lnTo>
                  <a:lnTo>
                    <a:pt x="1454" y="1261"/>
                  </a:lnTo>
                  <a:lnTo>
                    <a:pt x="1455" y="1260"/>
                  </a:lnTo>
                  <a:lnTo>
                    <a:pt x="1457" y="1258"/>
                  </a:lnTo>
                  <a:lnTo>
                    <a:pt x="1459" y="1256"/>
                  </a:lnTo>
                  <a:lnTo>
                    <a:pt x="1459" y="1254"/>
                  </a:lnTo>
                  <a:lnTo>
                    <a:pt x="1457" y="1251"/>
                  </a:lnTo>
                  <a:lnTo>
                    <a:pt x="1456" y="1250"/>
                  </a:lnTo>
                  <a:lnTo>
                    <a:pt x="1455" y="1248"/>
                  </a:lnTo>
                  <a:lnTo>
                    <a:pt x="1454" y="1245"/>
                  </a:lnTo>
                  <a:lnTo>
                    <a:pt x="1453" y="1243"/>
                  </a:lnTo>
                  <a:lnTo>
                    <a:pt x="1454" y="1240"/>
                  </a:lnTo>
                  <a:lnTo>
                    <a:pt x="1455" y="1238"/>
                  </a:lnTo>
                  <a:lnTo>
                    <a:pt x="1457" y="1236"/>
                  </a:lnTo>
                  <a:lnTo>
                    <a:pt x="1465" y="1234"/>
                  </a:lnTo>
                  <a:lnTo>
                    <a:pt x="1474" y="1232"/>
                  </a:lnTo>
                  <a:lnTo>
                    <a:pt x="1484" y="1229"/>
                  </a:lnTo>
                  <a:lnTo>
                    <a:pt x="1482" y="1227"/>
                  </a:lnTo>
                  <a:lnTo>
                    <a:pt x="1481" y="1226"/>
                  </a:lnTo>
                  <a:lnTo>
                    <a:pt x="1478" y="1225"/>
                  </a:lnTo>
                  <a:lnTo>
                    <a:pt x="1477" y="1223"/>
                  </a:lnTo>
                  <a:lnTo>
                    <a:pt x="1477" y="1220"/>
                  </a:lnTo>
                  <a:lnTo>
                    <a:pt x="1478" y="1219"/>
                  </a:lnTo>
                  <a:lnTo>
                    <a:pt x="1481" y="1219"/>
                  </a:lnTo>
                  <a:lnTo>
                    <a:pt x="1483" y="1219"/>
                  </a:lnTo>
                  <a:lnTo>
                    <a:pt x="1485" y="1220"/>
                  </a:lnTo>
                  <a:lnTo>
                    <a:pt x="1486" y="1222"/>
                  </a:lnTo>
                  <a:lnTo>
                    <a:pt x="1488" y="1223"/>
                  </a:lnTo>
                  <a:lnTo>
                    <a:pt x="1487" y="1224"/>
                  </a:lnTo>
                  <a:lnTo>
                    <a:pt x="1487" y="1225"/>
                  </a:lnTo>
                  <a:lnTo>
                    <a:pt x="1486" y="1226"/>
                  </a:lnTo>
                  <a:lnTo>
                    <a:pt x="1486" y="1227"/>
                  </a:lnTo>
                  <a:lnTo>
                    <a:pt x="1486" y="1227"/>
                  </a:lnTo>
                  <a:lnTo>
                    <a:pt x="1488" y="1227"/>
                  </a:lnTo>
                  <a:lnTo>
                    <a:pt x="1499" y="1227"/>
                  </a:lnTo>
                  <a:lnTo>
                    <a:pt x="1503" y="1228"/>
                  </a:lnTo>
                  <a:lnTo>
                    <a:pt x="1505" y="1228"/>
                  </a:lnTo>
                  <a:lnTo>
                    <a:pt x="1506" y="1229"/>
                  </a:lnTo>
                  <a:lnTo>
                    <a:pt x="1507" y="1230"/>
                  </a:lnTo>
                  <a:lnTo>
                    <a:pt x="1508" y="1232"/>
                  </a:lnTo>
                  <a:lnTo>
                    <a:pt x="1508" y="1234"/>
                  </a:lnTo>
                  <a:lnTo>
                    <a:pt x="1508" y="1236"/>
                  </a:lnTo>
                  <a:lnTo>
                    <a:pt x="1508" y="1238"/>
                  </a:lnTo>
                  <a:lnTo>
                    <a:pt x="1509" y="1239"/>
                  </a:lnTo>
                  <a:lnTo>
                    <a:pt x="1511" y="1240"/>
                  </a:lnTo>
                  <a:lnTo>
                    <a:pt x="1515" y="1240"/>
                  </a:lnTo>
                  <a:lnTo>
                    <a:pt x="1521" y="1239"/>
                  </a:lnTo>
                  <a:lnTo>
                    <a:pt x="1530" y="1237"/>
                  </a:lnTo>
                  <a:lnTo>
                    <a:pt x="1539" y="1237"/>
                  </a:lnTo>
                  <a:lnTo>
                    <a:pt x="1545" y="1238"/>
                  </a:lnTo>
                  <a:lnTo>
                    <a:pt x="1547" y="1239"/>
                  </a:lnTo>
                  <a:lnTo>
                    <a:pt x="1547" y="1239"/>
                  </a:lnTo>
                  <a:lnTo>
                    <a:pt x="1547" y="1241"/>
                  </a:lnTo>
                  <a:lnTo>
                    <a:pt x="1549" y="1241"/>
                  </a:lnTo>
                  <a:lnTo>
                    <a:pt x="1550" y="1243"/>
                  </a:lnTo>
                  <a:lnTo>
                    <a:pt x="1551" y="1243"/>
                  </a:lnTo>
                  <a:lnTo>
                    <a:pt x="1552" y="1243"/>
                  </a:lnTo>
                  <a:lnTo>
                    <a:pt x="1554" y="1243"/>
                  </a:lnTo>
                  <a:lnTo>
                    <a:pt x="1563" y="1241"/>
                  </a:lnTo>
                  <a:lnTo>
                    <a:pt x="1572" y="1238"/>
                  </a:lnTo>
                  <a:lnTo>
                    <a:pt x="1574" y="1236"/>
                  </a:lnTo>
                  <a:lnTo>
                    <a:pt x="1576" y="1235"/>
                  </a:lnTo>
                  <a:lnTo>
                    <a:pt x="1580" y="1234"/>
                  </a:lnTo>
                  <a:lnTo>
                    <a:pt x="1583" y="1234"/>
                  </a:lnTo>
                  <a:lnTo>
                    <a:pt x="1586" y="1233"/>
                  </a:lnTo>
                  <a:lnTo>
                    <a:pt x="1590" y="1229"/>
                  </a:lnTo>
                  <a:lnTo>
                    <a:pt x="1592" y="1228"/>
                  </a:lnTo>
                  <a:lnTo>
                    <a:pt x="1594" y="1228"/>
                  </a:lnTo>
                  <a:lnTo>
                    <a:pt x="1596" y="1228"/>
                  </a:lnTo>
                  <a:lnTo>
                    <a:pt x="1597" y="1228"/>
                  </a:lnTo>
                  <a:lnTo>
                    <a:pt x="1598" y="1229"/>
                  </a:lnTo>
                  <a:lnTo>
                    <a:pt x="1599" y="1230"/>
                  </a:lnTo>
                  <a:lnTo>
                    <a:pt x="1599" y="1232"/>
                  </a:lnTo>
                  <a:lnTo>
                    <a:pt x="1601" y="1233"/>
                  </a:lnTo>
                  <a:lnTo>
                    <a:pt x="1602" y="1234"/>
                  </a:lnTo>
                  <a:lnTo>
                    <a:pt x="1603" y="1234"/>
                  </a:lnTo>
                  <a:lnTo>
                    <a:pt x="1604" y="1235"/>
                  </a:lnTo>
                  <a:lnTo>
                    <a:pt x="1604" y="1236"/>
                  </a:lnTo>
                  <a:lnTo>
                    <a:pt x="1604" y="1237"/>
                  </a:lnTo>
                  <a:lnTo>
                    <a:pt x="1604" y="1238"/>
                  </a:lnTo>
                  <a:lnTo>
                    <a:pt x="1604" y="1239"/>
                  </a:lnTo>
                  <a:lnTo>
                    <a:pt x="1605" y="1239"/>
                  </a:lnTo>
                  <a:lnTo>
                    <a:pt x="1607" y="1240"/>
                  </a:lnTo>
                  <a:lnTo>
                    <a:pt x="1609" y="1241"/>
                  </a:lnTo>
                  <a:lnTo>
                    <a:pt x="1613" y="1243"/>
                  </a:lnTo>
                  <a:lnTo>
                    <a:pt x="1615" y="1244"/>
                  </a:lnTo>
                  <a:lnTo>
                    <a:pt x="1618" y="1245"/>
                  </a:lnTo>
                  <a:lnTo>
                    <a:pt x="1618" y="1243"/>
                  </a:lnTo>
                  <a:lnTo>
                    <a:pt x="1619" y="1241"/>
                  </a:lnTo>
                  <a:lnTo>
                    <a:pt x="1620" y="1241"/>
                  </a:lnTo>
                  <a:lnTo>
                    <a:pt x="1621" y="1241"/>
                  </a:lnTo>
                  <a:lnTo>
                    <a:pt x="1625" y="1243"/>
                  </a:lnTo>
                  <a:lnTo>
                    <a:pt x="1626" y="1244"/>
                  </a:lnTo>
                  <a:lnTo>
                    <a:pt x="1628" y="1245"/>
                  </a:lnTo>
                  <a:lnTo>
                    <a:pt x="1629" y="1246"/>
                  </a:lnTo>
                  <a:lnTo>
                    <a:pt x="1630" y="1246"/>
                  </a:lnTo>
                  <a:lnTo>
                    <a:pt x="1631" y="1247"/>
                  </a:lnTo>
                  <a:lnTo>
                    <a:pt x="1632" y="1249"/>
                  </a:lnTo>
                  <a:lnTo>
                    <a:pt x="1631" y="1250"/>
                  </a:lnTo>
                  <a:lnTo>
                    <a:pt x="1630" y="1252"/>
                  </a:lnTo>
                  <a:lnTo>
                    <a:pt x="1628" y="1254"/>
                  </a:lnTo>
                  <a:lnTo>
                    <a:pt x="1626" y="1255"/>
                  </a:lnTo>
                  <a:lnTo>
                    <a:pt x="1624" y="1255"/>
                  </a:lnTo>
                  <a:lnTo>
                    <a:pt x="1623" y="1256"/>
                  </a:lnTo>
                  <a:lnTo>
                    <a:pt x="1621" y="1257"/>
                  </a:lnTo>
                  <a:lnTo>
                    <a:pt x="1621" y="1258"/>
                  </a:lnTo>
                  <a:lnTo>
                    <a:pt x="1621" y="1258"/>
                  </a:lnTo>
                  <a:lnTo>
                    <a:pt x="1624" y="1258"/>
                  </a:lnTo>
                  <a:lnTo>
                    <a:pt x="1625" y="1258"/>
                  </a:lnTo>
                  <a:lnTo>
                    <a:pt x="1627" y="1257"/>
                  </a:lnTo>
                  <a:lnTo>
                    <a:pt x="1628" y="1257"/>
                  </a:lnTo>
                  <a:lnTo>
                    <a:pt x="1630" y="1256"/>
                  </a:lnTo>
                  <a:lnTo>
                    <a:pt x="1631" y="1256"/>
                  </a:lnTo>
                  <a:lnTo>
                    <a:pt x="1641" y="1255"/>
                  </a:lnTo>
                  <a:lnTo>
                    <a:pt x="1651" y="1257"/>
                  </a:lnTo>
                  <a:lnTo>
                    <a:pt x="1658" y="1262"/>
                  </a:lnTo>
                  <a:lnTo>
                    <a:pt x="1659" y="1265"/>
                  </a:lnTo>
                  <a:lnTo>
                    <a:pt x="1661" y="1266"/>
                  </a:lnTo>
                  <a:lnTo>
                    <a:pt x="1662" y="1268"/>
                  </a:lnTo>
                  <a:lnTo>
                    <a:pt x="1663" y="1270"/>
                  </a:lnTo>
                  <a:lnTo>
                    <a:pt x="1664" y="1271"/>
                  </a:lnTo>
                  <a:lnTo>
                    <a:pt x="1662" y="1278"/>
                  </a:lnTo>
                  <a:lnTo>
                    <a:pt x="1664" y="1276"/>
                  </a:lnTo>
                  <a:lnTo>
                    <a:pt x="1669" y="1276"/>
                  </a:lnTo>
                  <a:lnTo>
                    <a:pt x="1673" y="1277"/>
                  </a:lnTo>
                  <a:lnTo>
                    <a:pt x="1677" y="1279"/>
                  </a:lnTo>
                  <a:lnTo>
                    <a:pt x="1680" y="1280"/>
                  </a:lnTo>
                  <a:lnTo>
                    <a:pt x="1681" y="1281"/>
                  </a:lnTo>
                  <a:lnTo>
                    <a:pt x="1682" y="1281"/>
                  </a:lnTo>
                  <a:lnTo>
                    <a:pt x="1682" y="1283"/>
                  </a:lnTo>
                  <a:lnTo>
                    <a:pt x="1684" y="1284"/>
                  </a:lnTo>
                  <a:lnTo>
                    <a:pt x="1685" y="1285"/>
                  </a:lnTo>
                  <a:lnTo>
                    <a:pt x="1688" y="1285"/>
                  </a:lnTo>
                  <a:lnTo>
                    <a:pt x="1690" y="1285"/>
                  </a:lnTo>
                  <a:lnTo>
                    <a:pt x="1693" y="1285"/>
                  </a:lnTo>
                  <a:lnTo>
                    <a:pt x="1695" y="1285"/>
                  </a:lnTo>
                  <a:lnTo>
                    <a:pt x="1697" y="1284"/>
                  </a:lnTo>
                  <a:lnTo>
                    <a:pt x="1700" y="1284"/>
                  </a:lnTo>
                  <a:lnTo>
                    <a:pt x="1717" y="1280"/>
                  </a:lnTo>
                  <a:lnTo>
                    <a:pt x="1735" y="1280"/>
                  </a:lnTo>
                  <a:lnTo>
                    <a:pt x="1739" y="1281"/>
                  </a:lnTo>
                  <a:lnTo>
                    <a:pt x="1744" y="1282"/>
                  </a:lnTo>
                  <a:lnTo>
                    <a:pt x="1748" y="1284"/>
                  </a:lnTo>
                  <a:lnTo>
                    <a:pt x="1754" y="1287"/>
                  </a:lnTo>
                  <a:lnTo>
                    <a:pt x="1759" y="1289"/>
                  </a:lnTo>
                  <a:lnTo>
                    <a:pt x="1763" y="1291"/>
                  </a:lnTo>
                  <a:lnTo>
                    <a:pt x="1765" y="1293"/>
                  </a:lnTo>
                  <a:lnTo>
                    <a:pt x="1766" y="1295"/>
                  </a:lnTo>
                  <a:lnTo>
                    <a:pt x="1767" y="1296"/>
                  </a:lnTo>
                  <a:lnTo>
                    <a:pt x="1767" y="1299"/>
                  </a:lnTo>
                  <a:lnTo>
                    <a:pt x="1768" y="1302"/>
                  </a:lnTo>
                  <a:lnTo>
                    <a:pt x="1768" y="1306"/>
                  </a:lnTo>
                  <a:lnTo>
                    <a:pt x="1768" y="1311"/>
                  </a:lnTo>
                  <a:lnTo>
                    <a:pt x="1770" y="1315"/>
                  </a:lnTo>
                  <a:lnTo>
                    <a:pt x="1771" y="1316"/>
                  </a:lnTo>
                  <a:lnTo>
                    <a:pt x="1773" y="1318"/>
                  </a:lnTo>
                  <a:lnTo>
                    <a:pt x="1774" y="1320"/>
                  </a:lnTo>
                  <a:lnTo>
                    <a:pt x="1777" y="1321"/>
                  </a:lnTo>
                  <a:lnTo>
                    <a:pt x="1778" y="1323"/>
                  </a:lnTo>
                  <a:lnTo>
                    <a:pt x="1779" y="1324"/>
                  </a:lnTo>
                  <a:lnTo>
                    <a:pt x="1779" y="1327"/>
                  </a:lnTo>
                  <a:lnTo>
                    <a:pt x="1778" y="1329"/>
                  </a:lnTo>
                  <a:lnTo>
                    <a:pt x="1777" y="1333"/>
                  </a:lnTo>
                  <a:lnTo>
                    <a:pt x="1773" y="1336"/>
                  </a:lnTo>
                  <a:lnTo>
                    <a:pt x="1771" y="1338"/>
                  </a:lnTo>
                  <a:lnTo>
                    <a:pt x="1768" y="1340"/>
                  </a:lnTo>
                  <a:lnTo>
                    <a:pt x="1766" y="1344"/>
                  </a:lnTo>
                  <a:lnTo>
                    <a:pt x="1752" y="1350"/>
                  </a:lnTo>
                  <a:lnTo>
                    <a:pt x="1751" y="1352"/>
                  </a:lnTo>
                  <a:lnTo>
                    <a:pt x="1750" y="1354"/>
                  </a:lnTo>
                  <a:lnTo>
                    <a:pt x="1749" y="1356"/>
                  </a:lnTo>
                  <a:lnTo>
                    <a:pt x="1747" y="1359"/>
                  </a:lnTo>
                  <a:lnTo>
                    <a:pt x="1744" y="1361"/>
                  </a:lnTo>
                  <a:lnTo>
                    <a:pt x="1741" y="1364"/>
                  </a:lnTo>
                  <a:lnTo>
                    <a:pt x="1739" y="1366"/>
                  </a:lnTo>
                  <a:lnTo>
                    <a:pt x="1738" y="1368"/>
                  </a:lnTo>
                  <a:lnTo>
                    <a:pt x="1737" y="1368"/>
                  </a:lnTo>
                  <a:lnTo>
                    <a:pt x="1744" y="1366"/>
                  </a:lnTo>
                  <a:lnTo>
                    <a:pt x="1749" y="1363"/>
                  </a:lnTo>
                  <a:lnTo>
                    <a:pt x="1755" y="1359"/>
                  </a:lnTo>
                  <a:lnTo>
                    <a:pt x="1756" y="1359"/>
                  </a:lnTo>
                  <a:lnTo>
                    <a:pt x="1757" y="1359"/>
                  </a:lnTo>
                  <a:lnTo>
                    <a:pt x="1757" y="1361"/>
                  </a:lnTo>
                  <a:lnTo>
                    <a:pt x="1757" y="1363"/>
                  </a:lnTo>
                  <a:lnTo>
                    <a:pt x="1758" y="1365"/>
                  </a:lnTo>
                  <a:lnTo>
                    <a:pt x="1758" y="1367"/>
                  </a:lnTo>
                  <a:lnTo>
                    <a:pt x="1758" y="1368"/>
                  </a:lnTo>
                  <a:lnTo>
                    <a:pt x="1759" y="1368"/>
                  </a:lnTo>
                  <a:lnTo>
                    <a:pt x="1763" y="1368"/>
                  </a:lnTo>
                  <a:lnTo>
                    <a:pt x="1772" y="1366"/>
                  </a:lnTo>
                  <a:lnTo>
                    <a:pt x="1779" y="1364"/>
                  </a:lnTo>
                  <a:lnTo>
                    <a:pt x="1780" y="1364"/>
                  </a:lnTo>
                  <a:lnTo>
                    <a:pt x="1781" y="1363"/>
                  </a:lnTo>
                  <a:lnTo>
                    <a:pt x="1780" y="1363"/>
                  </a:lnTo>
                  <a:lnTo>
                    <a:pt x="1779" y="1361"/>
                  </a:lnTo>
                  <a:lnTo>
                    <a:pt x="1777" y="1361"/>
                  </a:lnTo>
                  <a:lnTo>
                    <a:pt x="1773" y="1363"/>
                  </a:lnTo>
                  <a:lnTo>
                    <a:pt x="1771" y="1364"/>
                  </a:lnTo>
                  <a:lnTo>
                    <a:pt x="1768" y="1365"/>
                  </a:lnTo>
                  <a:lnTo>
                    <a:pt x="1766" y="1366"/>
                  </a:lnTo>
                  <a:lnTo>
                    <a:pt x="1763" y="1366"/>
                  </a:lnTo>
                  <a:lnTo>
                    <a:pt x="1762" y="1365"/>
                  </a:lnTo>
                  <a:lnTo>
                    <a:pt x="1761" y="1364"/>
                  </a:lnTo>
                  <a:lnTo>
                    <a:pt x="1760" y="1361"/>
                  </a:lnTo>
                  <a:lnTo>
                    <a:pt x="1760" y="1359"/>
                  </a:lnTo>
                  <a:lnTo>
                    <a:pt x="1761" y="1356"/>
                  </a:lnTo>
                  <a:lnTo>
                    <a:pt x="1762" y="1354"/>
                  </a:lnTo>
                  <a:lnTo>
                    <a:pt x="1763" y="1350"/>
                  </a:lnTo>
                  <a:lnTo>
                    <a:pt x="1769" y="1346"/>
                  </a:lnTo>
                  <a:lnTo>
                    <a:pt x="1776" y="1345"/>
                  </a:lnTo>
                  <a:lnTo>
                    <a:pt x="1781" y="1346"/>
                  </a:lnTo>
                  <a:lnTo>
                    <a:pt x="1783" y="1346"/>
                  </a:lnTo>
                  <a:lnTo>
                    <a:pt x="1785" y="1345"/>
                  </a:lnTo>
                  <a:lnTo>
                    <a:pt x="1789" y="1345"/>
                  </a:lnTo>
                  <a:lnTo>
                    <a:pt x="1791" y="1344"/>
                  </a:lnTo>
                  <a:lnTo>
                    <a:pt x="1794" y="1344"/>
                  </a:lnTo>
                  <a:lnTo>
                    <a:pt x="1795" y="1344"/>
                  </a:lnTo>
                  <a:lnTo>
                    <a:pt x="1796" y="1344"/>
                  </a:lnTo>
                  <a:lnTo>
                    <a:pt x="1796" y="1345"/>
                  </a:lnTo>
                  <a:lnTo>
                    <a:pt x="1796" y="1347"/>
                  </a:lnTo>
                  <a:lnTo>
                    <a:pt x="1794" y="1348"/>
                  </a:lnTo>
                  <a:lnTo>
                    <a:pt x="1793" y="1350"/>
                  </a:lnTo>
                  <a:lnTo>
                    <a:pt x="1791" y="1352"/>
                  </a:lnTo>
                  <a:lnTo>
                    <a:pt x="1790" y="1353"/>
                  </a:lnTo>
                  <a:lnTo>
                    <a:pt x="1790" y="1354"/>
                  </a:lnTo>
                  <a:lnTo>
                    <a:pt x="1789" y="1355"/>
                  </a:lnTo>
                  <a:lnTo>
                    <a:pt x="1788" y="1356"/>
                  </a:lnTo>
                  <a:lnTo>
                    <a:pt x="1788" y="1358"/>
                  </a:lnTo>
                  <a:lnTo>
                    <a:pt x="1787" y="1359"/>
                  </a:lnTo>
                  <a:lnTo>
                    <a:pt x="1787" y="1359"/>
                  </a:lnTo>
                  <a:lnTo>
                    <a:pt x="1788" y="1359"/>
                  </a:lnTo>
                  <a:lnTo>
                    <a:pt x="1793" y="1356"/>
                  </a:lnTo>
                  <a:lnTo>
                    <a:pt x="1798" y="1350"/>
                  </a:lnTo>
                  <a:lnTo>
                    <a:pt x="1803" y="1347"/>
                  </a:lnTo>
                  <a:lnTo>
                    <a:pt x="1812" y="1344"/>
                  </a:lnTo>
                  <a:lnTo>
                    <a:pt x="1814" y="1345"/>
                  </a:lnTo>
                  <a:lnTo>
                    <a:pt x="1816" y="1346"/>
                  </a:lnTo>
                  <a:lnTo>
                    <a:pt x="1819" y="1346"/>
                  </a:lnTo>
                  <a:lnTo>
                    <a:pt x="1827" y="1346"/>
                  </a:lnTo>
                  <a:lnTo>
                    <a:pt x="1828" y="1345"/>
                  </a:lnTo>
                  <a:lnTo>
                    <a:pt x="1831" y="1345"/>
                  </a:lnTo>
                  <a:lnTo>
                    <a:pt x="1831" y="1346"/>
                  </a:lnTo>
                  <a:lnTo>
                    <a:pt x="1832" y="1346"/>
                  </a:lnTo>
                  <a:lnTo>
                    <a:pt x="1833" y="1347"/>
                  </a:lnTo>
                  <a:lnTo>
                    <a:pt x="1835" y="1347"/>
                  </a:lnTo>
                  <a:lnTo>
                    <a:pt x="1836" y="1347"/>
                  </a:lnTo>
                  <a:lnTo>
                    <a:pt x="1838" y="1348"/>
                  </a:lnTo>
                  <a:lnTo>
                    <a:pt x="1842" y="1349"/>
                  </a:lnTo>
                  <a:lnTo>
                    <a:pt x="1845" y="1350"/>
                  </a:lnTo>
                  <a:lnTo>
                    <a:pt x="1847" y="1353"/>
                  </a:lnTo>
                  <a:lnTo>
                    <a:pt x="1849" y="1355"/>
                  </a:lnTo>
                  <a:lnTo>
                    <a:pt x="1848" y="1357"/>
                  </a:lnTo>
                  <a:lnTo>
                    <a:pt x="1847" y="1359"/>
                  </a:lnTo>
                  <a:lnTo>
                    <a:pt x="1845" y="1361"/>
                  </a:lnTo>
                  <a:lnTo>
                    <a:pt x="1844" y="1361"/>
                  </a:lnTo>
                  <a:lnTo>
                    <a:pt x="1844" y="1363"/>
                  </a:lnTo>
                  <a:lnTo>
                    <a:pt x="1844" y="1363"/>
                  </a:lnTo>
                  <a:lnTo>
                    <a:pt x="1845" y="1364"/>
                  </a:lnTo>
                  <a:lnTo>
                    <a:pt x="1845" y="1364"/>
                  </a:lnTo>
                  <a:lnTo>
                    <a:pt x="1848" y="1364"/>
                  </a:lnTo>
                  <a:lnTo>
                    <a:pt x="1850" y="1361"/>
                  </a:lnTo>
                  <a:lnTo>
                    <a:pt x="1854" y="1359"/>
                  </a:lnTo>
                  <a:lnTo>
                    <a:pt x="1856" y="1357"/>
                  </a:lnTo>
                  <a:lnTo>
                    <a:pt x="1859" y="1356"/>
                  </a:lnTo>
                  <a:lnTo>
                    <a:pt x="1863" y="1355"/>
                  </a:lnTo>
                  <a:lnTo>
                    <a:pt x="1866" y="1355"/>
                  </a:lnTo>
                  <a:lnTo>
                    <a:pt x="1868" y="1356"/>
                  </a:lnTo>
                  <a:lnTo>
                    <a:pt x="1871" y="1356"/>
                  </a:lnTo>
                  <a:lnTo>
                    <a:pt x="1874" y="1357"/>
                  </a:lnTo>
                  <a:lnTo>
                    <a:pt x="1876" y="1357"/>
                  </a:lnTo>
                  <a:lnTo>
                    <a:pt x="1878" y="1357"/>
                  </a:lnTo>
                  <a:lnTo>
                    <a:pt x="1880" y="1356"/>
                  </a:lnTo>
                  <a:lnTo>
                    <a:pt x="1882" y="1355"/>
                  </a:lnTo>
                  <a:lnTo>
                    <a:pt x="1883" y="1356"/>
                  </a:lnTo>
                  <a:lnTo>
                    <a:pt x="1886" y="1357"/>
                  </a:lnTo>
                  <a:lnTo>
                    <a:pt x="1888" y="1356"/>
                  </a:lnTo>
                  <a:lnTo>
                    <a:pt x="1891" y="1355"/>
                  </a:lnTo>
                  <a:lnTo>
                    <a:pt x="1893" y="1355"/>
                  </a:lnTo>
                  <a:lnTo>
                    <a:pt x="1896" y="1354"/>
                  </a:lnTo>
                  <a:lnTo>
                    <a:pt x="1899" y="1353"/>
                  </a:lnTo>
                  <a:lnTo>
                    <a:pt x="1902" y="1350"/>
                  </a:lnTo>
                  <a:lnTo>
                    <a:pt x="1909" y="1350"/>
                  </a:lnTo>
                  <a:lnTo>
                    <a:pt x="1912" y="1352"/>
                  </a:lnTo>
                  <a:lnTo>
                    <a:pt x="1915" y="1353"/>
                  </a:lnTo>
                  <a:lnTo>
                    <a:pt x="1918" y="1354"/>
                  </a:lnTo>
                  <a:lnTo>
                    <a:pt x="1920" y="1356"/>
                  </a:lnTo>
                  <a:lnTo>
                    <a:pt x="1922" y="1357"/>
                  </a:lnTo>
                  <a:lnTo>
                    <a:pt x="1925" y="1358"/>
                  </a:lnTo>
                  <a:lnTo>
                    <a:pt x="1930" y="1359"/>
                  </a:lnTo>
                  <a:lnTo>
                    <a:pt x="1933" y="1360"/>
                  </a:lnTo>
                  <a:lnTo>
                    <a:pt x="1935" y="1361"/>
                  </a:lnTo>
                  <a:lnTo>
                    <a:pt x="1937" y="1364"/>
                  </a:lnTo>
                  <a:lnTo>
                    <a:pt x="1942" y="1365"/>
                  </a:lnTo>
                  <a:lnTo>
                    <a:pt x="1946" y="1365"/>
                  </a:lnTo>
                  <a:lnTo>
                    <a:pt x="1952" y="1364"/>
                  </a:lnTo>
                  <a:lnTo>
                    <a:pt x="1956" y="1363"/>
                  </a:lnTo>
                  <a:lnTo>
                    <a:pt x="1961" y="1363"/>
                  </a:lnTo>
                  <a:lnTo>
                    <a:pt x="1962" y="1366"/>
                  </a:lnTo>
                  <a:lnTo>
                    <a:pt x="1962" y="1375"/>
                  </a:lnTo>
                  <a:lnTo>
                    <a:pt x="1962" y="1382"/>
                  </a:lnTo>
                  <a:lnTo>
                    <a:pt x="1958" y="1391"/>
                  </a:lnTo>
                  <a:lnTo>
                    <a:pt x="1953" y="1399"/>
                  </a:lnTo>
                  <a:lnTo>
                    <a:pt x="1933" y="1419"/>
                  </a:lnTo>
                  <a:lnTo>
                    <a:pt x="1930" y="1421"/>
                  </a:lnTo>
                  <a:lnTo>
                    <a:pt x="1926" y="1424"/>
                  </a:lnTo>
                  <a:lnTo>
                    <a:pt x="1922" y="1427"/>
                  </a:lnTo>
                  <a:lnTo>
                    <a:pt x="1920" y="1431"/>
                  </a:lnTo>
                  <a:lnTo>
                    <a:pt x="1918" y="1434"/>
                  </a:lnTo>
                  <a:lnTo>
                    <a:pt x="1915" y="1437"/>
                  </a:lnTo>
                  <a:lnTo>
                    <a:pt x="1911" y="1442"/>
                  </a:lnTo>
                  <a:lnTo>
                    <a:pt x="1907" y="1447"/>
                  </a:lnTo>
                  <a:lnTo>
                    <a:pt x="1902" y="1452"/>
                  </a:lnTo>
                  <a:lnTo>
                    <a:pt x="1898" y="1454"/>
                  </a:lnTo>
                  <a:lnTo>
                    <a:pt x="1894" y="1454"/>
                  </a:lnTo>
                  <a:lnTo>
                    <a:pt x="1891" y="1455"/>
                  </a:lnTo>
                  <a:lnTo>
                    <a:pt x="1889" y="1457"/>
                  </a:lnTo>
                  <a:lnTo>
                    <a:pt x="1887" y="1460"/>
                  </a:lnTo>
                  <a:lnTo>
                    <a:pt x="1885" y="1464"/>
                  </a:lnTo>
                  <a:lnTo>
                    <a:pt x="1883" y="1466"/>
                  </a:lnTo>
                  <a:lnTo>
                    <a:pt x="1882" y="1469"/>
                  </a:lnTo>
                  <a:lnTo>
                    <a:pt x="1882" y="1472"/>
                  </a:lnTo>
                  <a:lnTo>
                    <a:pt x="1882" y="1474"/>
                  </a:lnTo>
                  <a:lnTo>
                    <a:pt x="1882" y="1477"/>
                  </a:lnTo>
                  <a:lnTo>
                    <a:pt x="1883" y="1479"/>
                  </a:lnTo>
                  <a:lnTo>
                    <a:pt x="1883" y="1483"/>
                  </a:lnTo>
                  <a:lnTo>
                    <a:pt x="1882" y="1487"/>
                  </a:lnTo>
                  <a:lnTo>
                    <a:pt x="1880" y="1491"/>
                  </a:lnTo>
                  <a:lnTo>
                    <a:pt x="1877" y="1498"/>
                  </a:lnTo>
                  <a:lnTo>
                    <a:pt x="1874" y="1505"/>
                  </a:lnTo>
                  <a:lnTo>
                    <a:pt x="1870" y="1507"/>
                  </a:lnTo>
                  <a:lnTo>
                    <a:pt x="1868" y="1509"/>
                  </a:lnTo>
                  <a:lnTo>
                    <a:pt x="1866" y="1511"/>
                  </a:lnTo>
                  <a:lnTo>
                    <a:pt x="1865" y="1513"/>
                  </a:lnTo>
                  <a:lnTo>
                    <a:pt x="1865" y="1516"/>
                  </a:lnTo>
                  <a:lnTo>
                    <a:pt x="1865" y="1518"/>
                  </a:lnTo>
                  <a:lnTo>
                    <a:pt x="1864" y="1521"/>
                  </a:lnTo>
                  <a:lnTo>
                    <a:pt x="1860" y="1523"/>
                  </a:lnTo>
                  <a:lnTo>
                    <a:pt x="1857" y="1527"/>
                  </a:lnTo>
                  <a:lnTo>
                    <a:pt x="1854" y="1531"/>
                  </a:lnTo>
                  <a:lnTo>
                    <a:pt x="1847" y="1538"/>
                  </a:lnTo>
                  <a:lnTo>
                    <a:pt x="1845" y="1539"/>
                  </a:lnTo>
                  <a:lnTo>
                    <a:pt x="1844" y="1540"/>
                  </a:lnTo>
                  <a:lnTo>
                    <a:pt x="1844" y="1542"/>
                  </a:lnTo>
                  <a:lnTo>
                    <a:pt x="1844" y="1543"/>
                  </a:lnTo>
                  <a:lnTo>
                    <a:pt x="1843" y="1546"/>
                  </a:lnTo>
                  <a:lnTo>
                    <a:pt x="1841" y="1547"/>
                  </a:lnTo>
                  <a:lnTo>
                    <a:pt x="1838" y="1549"/>
                  </a:lnTo>
                  <a:lnTo>
                    <a:pt x="1835" y="1549"/>
                  </a:lnTo>
                  <a:lnTo>
                    <a:pt x="1832" y="1551"/>
                  </a:lnTo>
                  <a:lnTo>
                    <a:pt x="1830" y="1553"/>
                  </a:lnTo>
                  <a:lnTo>
                    <a:pt x="1827" y="1555"/>
                  </a:lnTo>
                  <a:lnTo>
                    <a:pt x="1826" y="1556"/>
                  </a:lnTo>
                  <a:lnTo>
                    <a:pt x="1824" y="1557"/>
                  </a:lnTo>
                  <a:lnTo>
                    <a:pt x="1821" y="1560"/>
                  </a:lnTo>
                  <a:lnTo>
                    <a:pt x="1819" y="1560"/>
                  </a:lnTo>
                  <a:lnTo>
                    <a:pt x="1817" y="1560"/>
                  </a:lnTo>
                  <a:lnTo>
                    <a:pt x="1815" y="1561"/>
                  </a:lnTo>
                  <a:lnTo>
                    <a:pt x="1814" y="1561"/>
                  </a:lnTo>
                  <a:lnTo>
                    <a:pt x="1814" y="1562"/>
                  </a:lnTo>
                  <a:lnTo>
                    <a:pt x="1814" y="1560"/>
                  </a:lnTo>
                  <a:lnTo>
                    <a:pt x="1814" y="1560"/>
                  </a:lnTo>
                  <a:lnTo>
                    <a:pt x="1815" y="1558"/>
                  </a:lnTo>
                  <a:lnTo>
                    <a:pt x="1815" y="1558"/>
                  </a:lnTo>
                  <a:lnTo>
                    <a:pt x="1814" y="1560"/>
                  </a:lnTo>
                  <a:lnTo>
                    <a:pt x="1813" y="1561"/>
                  </a:lnTo>
                  <a:lnTo>
                    <a:pt x="1812" y="1561"/>
                  </a:lnTo>
                  <a:lnTo>
                    <a:pt x="1811" y="1562"/>
                  </a:lnTo>
                  <a:lnTo>
                    <a:pt x="1810" y="1562"/>
                  </a:lnTo>
                  <a:lnTo>
                    <a:pt x="1806" y="1562"/>
                  </a:lnTo>
                  <a:lnTo>
                    <a:pt x="1804" y="1563"/>
                  </a:lnTo>
                  <a:lnTo>
                    <a:pt x="1802" y="1563"/>
                  </a:lnTo>
                  <a:lnTo>
                    <a:pt x="1801" y="1564"/>
                  </a:lnTo>
                  <a:lnTo>
                    <a:pt x="1801" y="1563"/>
                  </a:lnTo>
                  <a:lnTo>
                    <a:pt x="1801" y="1563"/>
                  </a:lnTo>
                  <a:lnTo>
                    <a:pt x="1802" y="1562"/>
                  </a:lnTo>
                  <a:lnTo>
                    <a:pt x="1802" y="1562"/>
                  </a:lnTo>
                  <a:lnTo>
                    <a:pt x="1801" y="1562"/>
                  </a:lnTo>
                  <a:lnTo>
                    <a:pt x="1799" y="1562"/>
                  </a:lnTo>
                  <a:lnTo>
                    <a:pt x="1798" y="1563"/>
                  </a:lnTo>
                  <a:lnTo>
                    <a:pt x="1796" y="1563"/>
                  </a:lnTo>
                  <a:lnTo>
                    <a:pt x="1796" y="1564"/>
                  </a:lnTo>
                  <a:lnTo>
                    <a:pt x="1792" y="1566"/>
                  </a:lnTo>
                  <a:lnTo>
                    <a:pt x="1790" y="1568"/>
                  </a:lnTo>
                  <a:lnTo>
                    <a:pt x="1788" y="1571"/>
                  </a:lnTo>
                  <a:lnTo>
                    <a:pt x="1787" y="1571"/>
                  </a:lnTo>
                  <a:lnTo>
                    <a:pt x="1785" y="1572"/>
                  </a:lnTo>
                  <a:lnTo>
                    <a:pt x="1784" y="1573"/>
                  </a:lnTo>
                  <a:lnTo>
                    <a:pt x="1784" y="1574"/>
                  </a:lnTo>
                  <a:lnTo>
                    <a:pt x="1783" y="1575"/>
                  </a:lnTo>
                  <a:lnTo>
                    <a:pt x="1780" y="1575"/>
                  </a:lnTo>
                  <a:lnTo>
                    <a:pt x="1778" y="1575"/>
                  </a:lnTo>
                  <a:lnTo>
                    <a:pt x="1774" y="1575"/>
                  </a:lnTo>
                  <a:lnTo>
                    <a:pt x="1772" y="1577"/>
                  </a:lnTo>
                  <a:lnTo>
                    <a:pt x="1759" y="1584"/>
                  </a:lnTo>
                  <a:lnTo>
                    <a:pt x="1750" y="1590"/>
                  </a:lnTo>
                  <a:lnTo>
                    <a:pt x="1746" y="1593"/>
                  </a:lnTo>
                  <a:lnTo>
                    <a:pt x="1744" y="1595"/>
                  </a:lnTo>
                  <a:lnTo>
                    <a:pt x="1744" y="1597"/>
                  </a:lnTo>
                  <a:lnTo>
                    <a:pt x="1743" y="1599"/>
                  </a:lnTo>
                  <a:lnTo>
                    <a:pt x="1741" y="1601"/>
                  </a:lnTo>
                  <a:lnTo>
                    <a:pt x="1740" y="1604"/>
                  </a:lnTo>
                  <a:lnTo>
                    <a:pt x="1739" y="1606"/>
                  </a:lnTo>
                  <a:lnTo>
                    <a:pt x="1739" y="1608"/>
                  </a:lnTo>
                  <a:lnTo>
                    <a:pt x="1739" y="1610"/>
                  </a:lnTo>
                  <a:lnTo>
                    <a:pt x="1739" y="1612"/>
                  </a:lnTo>
                  <a:lnTo>
                    <a:pt x="1738" y="1616"/>
                  </a:lnTo>
                  <a:lnTo>
                    <a:pt x="1737" y="1618"/>
                  </a:lnTo>
                  <a:lnTo>
                    <a:pt x="1734" y="1620"/>
                  </a:lnTo>
                  <a:lnTo>
                    <a:pt x="1730" y="1622"/>
                  </a:lnTo>
                  <a:lnTo>
                    <a:pt x="1728" y="1623"/>
                  </a:lnTo>
                  <a:lnTo>
                    <a:pt x="1726" y="1626"/>
                  </a:lnTo>
                  <a:lnTo>
                    <a:pt x="1724" y="1627"/>
                  </a:lnTo>
                  <a:lnTo>
                    <a:pt x="1722" y="1629"/>
                  </a:lnTo>
                  <a:lnTo>
                    <a:pt x="1719" y="1630"/>
                  </a:lnTo>
                  <a:lnTo>
                    <a:pt x="1717" y="1632"/>
                  </a:lnTo>
                  <a:lnTo>
                    <a:pt x="1717" y="1633"/>
                  </a:lnTo>
                  <a:lnTo>
                    <a:pt x="1716" y="1636"/>
                  </a:lnTo>
                  <a:lnTo>
                    <a:pt x="1716" y="1637"/>
                  </a:lnTo>
                  <a:lnTo>
                    <a:pt x="1715" y="1638"/>
                  </a:lnTo>
                  <a:lnTo>
                    <a:pt x="1714" y="1638"/>
                  </a:lnTo>
                  <a:lnTo>
                    <a:pt x="1713" y="1638"/>
                  </a:lnTo>
                  <a:lnTo>
                    <a:pt x="1712" y="1639"/>
                  </a:lnTo>
                  <a:lnTo>
                    <a:pt x="1712" y="1639"/>
                  </a:lnTo>
                  <a:lnTo>
                    <a:pt x="1712" y="1639"/>
                  </a:lnTo>
                  <a:lnTo>
                    <a:pt x="1712" y="1638"/>
                  </a:lnTo>
                  <a:lnTo>
                    <a:pt x="1713" y="1636"/>
                  </a:lnTo>
                  <a:lnTo>
                    <a:pt x="1710" y="1637"/>
                  </a:lnTo>
                  <a:lnTo>
                    <a:pt x="1707" y="1638"/>
                  </a:lnTo>
                  <a:lnTo>
                    <a:pt x="1705" y="1639"/>
                  </a:lnTo>
                  <a:lnTo>
                    <a:pt x="1704" y="1640"/>
                  </a:lnTo>
                  <a:lnTo>
                    <a:pt x="1701" y="1642"/>
                  </a:lnTo>
                  <a:lnTo>
                    <a:pt x="1697" y="1644"/>
                  </a:lnTo>
                  <a:lnTo>
                    <a:pt x="1695" y="1647"/>
                  </a:lnTo>
                  <a:lnTo>
                    <a:pt x="1694" y="1649"/>
                  </a:lnTo>
                  <a:lnTo>
                    <a:pt x="1694" y="1650"/>
                  </a:lnTo>
                  <a:lnTo>
                    <a:pt x="1693" y="1651"/>
                  </a:lnTo>
                  <a:lnTo>
                    <a:pt x="1692" y="1652"/>
                  </a:lnTo>
                  <a:lnTo>
                    <a:pt x="1691" y="1653"/>
                  </a:lnTo>
                  <a:lnTo>
                    <a:pt x="1690" y="1655"/>
                  </a:lnTo>
                  <a:lnTo>
                    <a:pt x="1689" y="1658"/>
                  </a:lnTo>
                  <a:lnTo>
                    <a:pt x="1688" y="1661"/>
                  </a:lnTo>
                  <a:lnTo>
                    <a:pt x="1686" y="1662"/>
                  </a:lnTo>
                  <a:lnTo>
                    <a:pt x="1684" y="1664"/>
                  </a:lnTo>
                  <a:lnTo>
                    <a:pt x="1682" y="1665"/>
                  </a:lnTo>
                  <a:lnTo>
                    <a:pt x="1680" y="1666"/>
                  </a:lnTo>
                  <a:lnTo>
                    <a:pt x="1678" y="1666"/>
                  </a:lnTo>
                  <a:lnTo>
                    <a:pt x="1674" y="1669"/>
                  </a:lnTo>
                  <a:lnTo>
                    <a:pt x="1673" y="1670"/>
                  </a:lnTo>
                  <a:lnTo>
                    <a:pt x="1672" y="1672"/>
                  </a:lnTo>
                  <a:lnTo>
                    <a:pt x="1671" y="1673"/>
                  </a:lnTo>
                  <a:lnTo>
                    <a:pt x="1656" y="1678"/>
                  </a:lnTo>
                  <a:lnTo>
                    <a:pt x="1640" y="1680"/>
                  </a:lnTo>
                  <a:lnTo>
                    <a:pt x="1638" y="1680"/>
                  </a:lnTo>
                  <a:lnTo>
                    <a:pt x="1636" y="1680"/>
                  </a:lnTo>
                  <a:lnTo>
                    <a:pt x="1635" y="1678"/>
                  </a:lnTo>
                  <a:lnTo>
                    <a:pt x="1634" y="1678"/>
                  </a:lnTo>
                  <a:lnTo>
                    <a:pt x="1631" y="1677"/>
                  </a:lnTo>
                  <a:lnTo>
                    <a:pt x="1620" y="1677"/>
                  </a:lnTo>
                  <a:lnTo>
                    <a:pt x="1618" y="1677"/>
                  </a:lnTo>
                  <a:lnTo>
                    <a:pt x="1617" y="1677"/>
                  </a:lnTo>
                  <a:lnTo>
                    <a:pt x="1617" y="1680"/>
                  </a:lnTo>
                  <a:lnTo>
                    <a:pt x="1617" y="1681"/>
                  </a:lnTo>
                  <a:lnTo>
                    <a:pt x="1618" y="1682"/>
                  </a:lnTo>
                  <a:lnTo>
                    <a:pt x="1620" y="1682"/>
                  </a:lnTo>
                  <a:lnTo>
                    <a:pt x="1623" y="1683"/>
                  </a:lnTo>
                  <a:lnTo>
                    <a:pt x="1625" y="1683"/>
                  </a:lnTo>
                  <a:lnTo>
                    <a:pt x="1627" y="1684"/>
                  </a:lnTo>
                  <a:lnTo>
                    <a:pt x="1630" y="1684"/>
                  </a:lnTo>
                  <a:lnTo>
                    <a:pt x="1631" y="1685"/>
                  </a:lnTo>
                  <a:lnTo>
                    <a:pt x="1634" y="1686"/>
                  </a:lnTo>
                  <a:lnTo>
                    <a:pt x="1632" y="1687"/>
                  </a:lnTo>
                  <a:lnTo>
                    <a:pt x="1632" y="1688"/>
                  </a:lnTo>
                  <a:lnTo>
                    <a:pt x="1632" y="1689"/>
                  </a:lnTo>
                  <a:lnTo>
                    <a:pt x="1634" y="1691"/>
                  </a:lnTo>
                  <a:lnTo>
                    <a:pt x="1635" y="1691"/>
                  </a:lnTo>
                  <a:lnTo>
                    <a:pt x="1637" y="1691"/>
                  </a:lnTo>
                  <a:lnTo>
                    <a:pt x="1638" y="1692"/>
                  </a:lnTo>
                  <a:lnTo>
                    <a:pt x="1639" y="1692"/>
                  </a:lnTo>
                  <a:lnTo>
                    <a:pt x="1640" y="1693"/>
                  </a:lnTo>
                  <a:lnTo>
                    <a:pt x="1639" y="1696"/>
                  </a:lnTo>
                  <a:lnTo>
                    <a:pt x="1637" y="1698"/>
                  </a:lnTo>
                  <a:lnTo>
                    <a:pt x="1635" y="1700"/>
                  </a:lnTo>
                  <a:lnTo>
                    <a:pt x="1631" y="1703"/>
                  </a:lnTo>
                  <a:lnTo>
                    <a:pt x="1629" y="1704"/>
                  </a:lnTo>
                  <a:lnTo>
                    <a:pt x="1623" y="1708"/>
                  </a:lnTo>
                  <a:lnTo>
                    <a:pt x="1615" y="1710"/>
                  </a:lnTo>
                  <a:lnTo>
                    <a:pt x="1607" y="1713"/>
                  </a:lnTo>
                  <a:lnTo>
                    <a:pt x="1603" y="1714"/>
                  </a:lnTo>
                  <a:lnTo>
                    <a:pt x="1598" y="1715"/>
                  </a:lnTo>
                  <a:lnTo>
                    <a:pt x="1594" y="1715"/>
                  </a:lnTo>
                  <a:lnTo>
                    <a:pt x="1583" y="1715"/>
                  </a:lnTo>
                  <a:lnTo>
                    <a:pt x="1581" y="1716"/>
                  </a:lnTo>
                  <a:lnTo>
                    <a:pt x="1580" y="1718"/>
                  </a:lnTo>
                  <a:lnTo>
                    <a:pt x="1580" y="1719"/>
                  </a:lnTo>
                  <a:lnTo>
                    <a:pt x="1580" y="1720"/>
                  </a:lnTo>
                  <a:lnTo>
                    <a:pt x="1581" y="1721"/>
                  </a:lnTo>
                  <a:lnTo>
                    <a:pt x="1581" y="1723"/>
                  </a:lnTo>
                  <a:lnTo>
                    <a:pt x="1580" y="1723"/>
                  </a:lnTo>
                  <a:lnTo>
                    <a:pt x="1580" y="1724"/>
                  </a:lnTo>
                  <a:lnTo>
                    <a:pt x="1579" y="1724"/>
                  </a:lnTo>
                  <a:lnTo>
                    <a:pt x="1576" y="1725"/>
                  </a:lnTo>
                  <a:lnTo>
                    <a:pt x="1576" y="1726"/>
                  </a:lnTo>
                  <a:lnTo>
                    <a:pt x="1576" y="1726"/>
                  </a:lnTo>
                  <a:lnTo>
                    <a:pt x="1576" y="1726"/>
                  </a:lnTo>
                  <a:lnTo>
                    <a:pt x="1577" y="1728"/>
                  </a:lnTo>
                  <a:lnTo>
                    <a:pt x="1577" y="1729"/>
                  </a:lnTo>
                  <a:lnTo>
                    <a:pt x="1576" y="1730"/>
                  </a:lnTo>
                  <a:lnTo>
                    <a:pt x="1574" y="1731"/>
                  </a:lnTo>
                  <a:lnTo>
                    <a:pt x="1572" y="1731"/>
                  </a:lnTo>
                  <a:lnTo>
                    <a:pt x="1569" y="1732"/>
                  </a:lnTo>
                  <a:lnTo>
                    <a:pt x="1565" y="1732"/>
                  </a:lnTo>
                  <a:lnTo>
                    <a:pt x="1563" y="1732"/>
                  </a:lnTo>
                  <a:lnTo>
                    <a:pt x="1561" y="1732"/>
                  </a:lnTo>
                  <a:lnTo>
                    <a:pt x="1559" y="1732"/>
                  </a:lnTo>
                  <a:lnTo>
                    <a:pt x="1555" y="1731"/>
                  </a:lnTo>
                  <a:lnTo>
                    <a:pt x="1554" y="1730"/>
                  </a:lnTo>
                  <a:lnTo>
                    <a:pt x="1551" y="1730"/>
                  </a:lnTo>
                  <a:lnTo>
                    <a:pt x="1550" y="1731"/>
                  </a:lnTo>
                  <a:lnTo>
                    <a:pt x="1549" y="1732"/>
                  </a:lnTo>
                  <a:lnTo>
                    <a:pt x="1549" y="1734"/>
                  </a:lnTo>
                  <a:lnTo>
                    <a:pt x="1549" y="1734"/>
                  </a:lnTo>
                  <a:lnTo>
                    <a:pt x="1550" y="1735"/>
                  </a:lnTo>
                  <a:lnTo>
                    <a:pt x="1550" y="1735"/>
                  </a:lnTo>
                  <a:lnTo>
                    <a:pt x="1551" y="1737"/>
                  </a:lnTo>
                  <a:lnTo>
                    <a:pt x="1552" y="1738"/>
                  </a:lnTo>
                  <a:lnTo>
                    <a:pt x="1552" y="1739"/>
                  </a:lnTo>
                  <a:lnTo>
                    <a:pt x="1554" y="1739"/>
                  </a:lnTo>
                  <a:lnTo>
                    <a:pt x="1555" y="1740"/>
                  </a:lnTo>
                  <a:lnTo>
                    <a:pt x="1557" y="1741"/>
                  </a:lnTo>
                  <a:lnTo>
                    <a:pt x="1557" y="1741"/>
                  </a:lnTo>
                  <a:lnTo>
                    <a:pt x="1557" y="1742"/>
                  </a:lnTo>
                  <a:lnTo>
                    <a:pt x="1557" y="1743"/>
                  </a:lnTo>
                  <a:lnTo>
                    <a:pt x="1555" y="1745"/>
                  </a:lnTo>
                  <a:lnTo>
                    <a:pt x="1555" y="1745"/>
                  </a:lnTo>
                  <a:lnTo>
                    <a:pt x="1557" y="1745"/>
                  </a:lnTo>
                  <a:lnTo>
                    <a:pt x="1558" y="1745"/>
                  </a:lnTo>
                  <a:lnTo>
                    <a:pt x="1559" y="1745"/>
                  </a:lnTo>
                  <a:lnTo>
                    <a:pt x="1559" y="1746"/>
                  </a:lnTo>
                  <a:lnTo>
                    <a:pt x="1559" y="1746"/>
                  </a:lnTo>
                  <a:lnTo>
                    <a:pt x="1558" y="1747"/>
                  </a:lnTo>
                  <a:lnTo>
                    <a:pt x="1557" y="1748"/>
                  </a:lnTo>
                  <a:lnTo>
                    <a:pt x="1555" y="1749"/>
                  </a:lnTo>
                  <a:lnTo>
                    <a:pt x="1554" y="1749"/>
                  </a:lnTo>
                  <a:lnTo>
                    <a:pt x="1554" y="1750"/>
                  </a:lnTo>
                  <a:lnTo>
                    <a:pt x="1554" y="1752"/>
                  </a:lnTo>
                  <a:lnTo>
                    <a:pt x="1554" y="1753"/>
                  </a:lnTo>
                  <a:lnTo>
                    <a:pt x="1554" y="1756"/>
                  </a:lnTo>
                  <a:lnTo>
                    <a:pt x="1553" y="1758"/>
                  </a:lnTo>
                  <a:lnTo>
                    <a:pt x="1552" y="1759"/>
                  </a:lnTo>
                  <a:lnTo>
                    <a:pt x="1549" y="1759"/>
                  </a:lnTo>
                  <a:lnTo>
                    <a:pt x="1547" y="1759"/>
                  </a:lnTo>
                  <a:lnTo>
                    <a:pt x="1543" y="1760"/>
                  </a:lnTo>
                  <a:lnTo>
                    <a:pt x="1541" y="1761"/>
                  </a:lnTo>
                  <a:lnTo>
                    <a:pt x="1539" y="1761"/>
                  </a:lnTo>
                  <a:lnTo>
                    <a:pt x="1539" y="1762"/>
                  </a:lnTo>
                  <a:lnTo>
                    <a:pt x="1538" y="1763"/>
                  </a:lnTo>
                  <a:lnTo>
                    <a:pt x="1537" y="1763"/>
                  </a:lnTo>
                  <a:lnTo>
                    <a:pt x="1536" y="1765"/>
                  </a:lnTo>
                  <a:lnTo>
                    <a:pt x="1536" y="1767"/>
                  </a:lnTo>
                  <a:lnTo>
                    <a:pt x="1536" y="1769"/>
                  </a:lnTo>
                  <a:lnTo>
                    <a:pt x="1537" y="1770"/>
                  </a:lnTo>
                  <a:lnTo>
                    <a:pt x="1539" y="1770"/>
                  </a:lnTo>
                  <a:lnTo>
                    <a:pt x="1540" y="1771"/>
                  </a:lnTo>
                  <a:lnTo>
                    <a:pt x="1542" y="1772"/>
                  </a:lnTo>
                  <a:lnTo>
                    <a:pt x="1545" y="1772"/>
                  </a:lnTo>
                  <a:lnTo>
                    <a:pt x="1548" y="1772"/>
                  </a:lnTo>
                  <a:lnTo>
                    <a:pt x="1550" y="1772"/>
                  </a:lnTo>
                  <a:lnTo>
                    <a:pt x="1559" y="1772"/>
                  </a:lnTo>
                  <a:lnTo>
                    <a:pt x="1560" y="1774"/>
                  </a:lnTo>
                  <a:lnTo>
                    <a:pt x="1560" y="1775"/>
                  </a:lnTo>
                  <a:lnTo>
                    <a:pt x="1560" y="1776"/>
                  </a:lnTo>
                  <a:lnTo>
                    <a:pt x="1559" y="1776"/>
                  </a:lnTo>
                  <a:lnTo>
                    <a:pt x="1557" y="1779"/>
                  </a:lnTo>
                  <a:lnTo>
                    <a:pt x="1554" y="1780"/>
                  </a:lnTo>
                  <a:lnTo>
                    <a:pt x="1552" y="1781"/>
                  </a:lnTo>
                  <a:lnTo>
                    <a:pt x="1550" y="1781"/>
                  </a:lnTo>
                  <a:lnTo>
                    <a:pt x="1550" y="1781"/>
                  </a:lnTo>
                  <a:lnTo>
                    <a:pt x="1549" y="1782"/>
                  </a:lnTo>
                  <a:lnTo>
                    <a:pt x="1548" y="1783"/>
                  </a:lnTo>
                  <a:lnTo>
                    <a:pt x="1545" y="1783"/>
                  </a:lnTo>
                  <a:lnTo>
                    <a:pt x="1545" y="1790"/>
                  </a:lnTo>
                  <a:lnTo>
                    <a:pt x="1543" y="1791"/>
                  </a:lnTo>
                  <a:lnTo>
                    <a:pt x="1541" y="1792"/>
                  </a:lnTo>
                  <a:lnTo>
                    <a:pt x="1539" y="1792"/>
                  </a:lnTo>
                  <a:lnTo>
                    <a:pt x="1536" y="1793"/>
                  </a:lnTo>
                  <a:lnTo>
                    <a:pt x="1534" y="1794"/>
                  </a:lnTo>
                  <a:lnTo>
                    <a:pt x="1536" y="1795"/>
                  </a:lnTo>
                  <a:lnTo>
                    <a:pt x="1536" y="1796"/>
                  </a:lnTo>
                  <a:lnTo>
                    <a:pt x="1537" y="1797"/>
                  </a:lnTo>
                  <a:lnTo>
                    <a:pt x="1539" y="1798"/>
                  </a:lnTo>
                  <a:lnTo>
                    <a:pt x="1541" y="1801"/>
                  </a:lnTo>
                  <a:lnTo>
                    <a:pt x="1542" y="1801"/>
                  </a:lnTo>
                  <a:lnTo>
                    <a:pt x="1544" y="1802"/>
                  </a:lnTo>
                  <a:lnTo>
                    <a:pt x="1545" y="1802"/>
                  </a:lnTo>
                  <a:lnTo>
                    <a:pt x="1547" y="1803"/>
                  </a:lnTo>
                  <a:lnTo>
                    <a:pt x="1548" y="1803"/>
                  </a:lnTo>
                  <a:lnTo>
                    <a:pt x="1547" y="1803"/>
                  </a:lnTo>
                  <a:lnTo>
                    <a:pt x="1544" y="1803"/>
                  </a:lnTo>
                  <a:lnTo>
                    <a:pt x="1543" y="1804"/>
                  </a:lnTo>
                  <a:lnTo>
                    <a:pt x="1541" y="1804"/>
                  </a:lnTo>
                  <a:lnTo>
                    <a:pt x="1541" y="1805"/>
                  </a:lnTo>
                  <a:lnTo>
                    <a:pt x="1550" y="1805"/>
                  </a:lnTo>
                  <a:lnTo>
                    <a:pt x="1532" y="1806"/>
                  </a:lnTo>
                  <a:lnTo>
                    <a:pt x="1515" y="1807"/>
                  </a:lnTo>
                  <a:lnTo>
                    <a:pt x="1510" y="1807"/>
                  </a:lnTo>
                  <a:lnTo>
                    <a:pt x="1506" y="1806"/>
                  </a:lnTo>
                  <a:lnTo>
                    <a:pt x="1501" y="1805"/>
                  </a:lnTo>
                  <a:lnTo>
                    <a:pt x="1497" y="1805"/>
                  </a:lnTo>
                  <a:lnTo>
                    <a:pt x="1498" y="1805"/>
                  </a:lnTo>
                  <a:lnTo>
                    <a:pt x="1499" y="1805"/>
                  </a:lnTo>
                  <a:lnTo>
                    <a:pt x="1501" y="1805"/>
                  </a:lnTo>
                  <a:lnTo>
                    <a:pt x="1501" y="1804"/>
                  </a:lnTo>
                  <a:lnTo>
                    <a:pt x="1501" y="1803"/>
                  </a:lnTo>
                  <a:lnTo>
                    <a:pt x="1486" y="1803"/>
                  </a:lnTo>
                  <a:lnTo>
                    <a:pt x="1485" y="1802"/>
                  </a:lnTo>
                  <a:lnTo>
                    <a:pt x="1484" y="1801"/>
                  </a:lnTo>
                  <a:lnTo>
                    <a:pt x="1483" y="1800"/>
                  </a:lnTo>
                  <a:lnTo>
                    <a:pt x="1482" y="1798"/>
                  </a:lnTo>
                  <a:lnTo>
                    <a:pt x="1482" y="1796"/>
                  </a:lnTo>
                  <a:lnTo>
                    <a:pt x="1479" y="1795"/>
                  </a:lnTo>
                  <a:lnTo>
                    <a:pt x="1478" y="1795"/>
                  </a:lnTo>
                  <a:lnTo>
                    <a:pt x="1477" y="1795"/>
                  </a:lnTo>
                  <a:lnTo>
                    <a:pt x="1477" y="1795"/>
                  </a:lnTo>
                  <a:lnTo>
                    <a:pt x="1477" y="1794"/>
                  </a:lnTo>
                  <a:lnTo>
                    <a:pt x="1477" y="1792"/>
                  </a:lnTo>
                  <a:lnTo>
                    <a:pt x="1475" y="1793"/>
                  </a:lnTo>
                  <a:lnTo>
                    <a:pt x="1474" y="1794"/>
                  </a:lnTo>
                  <a:lnTo>
                    <a:pt x="1472" y="1795"/>
                  </a:lnTo>
                  <a:lnTo>
                    <a:pt x="1471" y="1796"/>
                  </a:lnTo>
                  <a:lnTo>
                    <a:pt x="1468" y="1796"/>
                  </a:lnTo>
                  <a:lnTo>
                    <a:pt x="1466" y="1795"/>
                  </a:lnTo>
                  <a:lnTo>
                    <a:pt x="1466" y="1794"/>
                  </a:lnTo>
                  <a:lnTo>
                    <a:pt x="1466" y="1793"/>
                  </a:lnTo>
                  <a:lnTo>
                    <a:pt x="1466" y="1792"/>
                  </a:lnTo>
                  <a:lnTo>
                    <a:pt x="1464" y="1793"/>
                  </a:lnTo>
                  <a:lnTo>
                    <a:pt x="1463" y="1793"/>
                  </a:lnTo>
                  <a:lnTo>
                    <a:pt x="1462" y="1792"/>
                  </a:lnTo>
                  <a:lnTo>
                    <a:pt x="1462" y="1790"/>
                  </a:lnTo>
                  <a:lnTo>
                    <a:pt x="1468" y="1790"/>
                  </a:lnTo>
                  <a:lnTo>
                    <a:pt x="1471" y="1789"/>
                  </a:lnTo>
                  <a:lnTo>
                    <a:pt x="1472" y="1786"/>
                  </a:lnTo>
                  <a:lnTo>
                    <a:pt x="1472" y="1785"/>
                  </a:lnTo>
                  <a:lnTo>
                    <a:pt x="1471" y="1783"/>
                  </a:lnTo>
                  <a:lnTo>
                    <a:pt x="1466" y="1783"/>
                  </a:lnTo>
                  <a:lnTo>
                    <a:pt x="1465" y="1783"/>
                  </a:lnTo>
                  <a:lnTo>
                    <a:pt x="1465" y="1783"/>
                  </a:lnTo>
                  <a:lnTo>
                    <a:pt x="1465" y="1782"/>
                  </a:lnTo>
                  <a:lnTo>
                    <a:pt x="1466" y="1781"/>
                  </a:lnTo>
                  <a:lnTo>
                    <a:pt x="1462" y="1779"/>
                  </a:lnTo>
                  <a:lnTo>
                    <a:pt x="1455" y="1779"/>
                  </a:lnTo>
                  <a:lnTo>
                    <a:pt x="1453" y="1778"/>
                  </a:lnTo>
                  <a:lnTo>
                    <a:pt x="1452" y="1776"/>
                  </a:lnTo>
                  <a:lnTo>
                    <a:pt x="1451" y="1776"/>
                  </a:lnTo>
                  <a:lnTo>
                    <a:pt x="1452" y="1775"/>
                  </a:lnTo>
                  <a:lnTo>
                    <a:pt x="1453" y="1774"/>
                  </a:lnTo>
                  <a:lnTo>
                    <a:pt x="1453" y="1774"/>
                  </a:lnTo>
                  <a:lnTo>
                    <a:pt x="1453" y="1773"/>
                  </a:lnTo>
                  <a:lnTo>
                    <a:pt x="1453" y="1773"/>
                  </a:lnTo>
                  <a:lnTo>
                    <a:pt x="1455" y="1772"/>
                  </a:lnTo>
                  <a:lnTo>
                    <a:pt x="1456" y="1772"/>
                  </a:lnTo>
                  <a:lnTo>
                    <a:pt x="1456" y="1772"/>
                  </a:lnTo>
                  <a:lnTo>
                    <a:pt x="1457" y="1773"/>
                  </a:lnTo>
                  <a:lnTo>
                    <a:pt x="1460" y="1773"/>
                  </a:lnTo>
                  <a:lnTo>
                    <a:pt x="1460" y="1773"/>
                  </a:lnTo>
                  <a:lnTo>
                    <a:pt x="1461" y="1773"/>
                  </a:lnTo>
                  <a:lnTo>
                    <a:pt x="1462" y="1774"/>
                  </a:lnTo>
                  <a:lnTo>
                    <a:pt x="1464" y="1775"/>
                  </a:lnTo>
                  <a:lnTo>
                    <a:pt x="1466" y="1774"/>
                  </a:lnTo>
                  <a:lnTo>
                    <a:pt x="1464" y="1772"/>
                  </a:lnTo>
                  <a:lnTo>
                    <a:pt x="1468" y="1772"/>
                  </a:lnTo>
                  <a:lnTo>
                    <a:pt x="1468" y="1768"/>
                  </a:lnTo>
                  <a:lnTo>
                    <a:pt x="1468" y="1767"/>
                  </a:lnTo>
                  <a:lnTo>
                    <a:pt x="1468" y="1765"/>
                  </a:lnTo>
                  <a:lnTo>
                    <a:pt x="1467" y="1765"/>
                  </a:lnTo>
                  <a:lnTo>
                    <a:pt x="1466" y="1764"/>
                  </a:lnTo>
                  <a:lnTo>
                    <a:pt x="1466" y="1763"/>
                  </a:lnTo>
                  <a:lnTo>
                    <a:pt x="1465" y="1761"/>
                  </a:lnTo>
                  <a:lnTo>
                    <a:pt x="1465" y="1759"/>
                  </a:lnTo>
                  <a:lnTo>
                    <a:pt x="1465" y="1757"/>
                  </a:lnTo>
                  <a:lnTo>
                    <a:pt x="1465" y="1754"/>
                  </a:lnTo>
                  <a:lnTo>
                    <a:pt x="1466" y="1752"/>
                  </a:lnTo>
                  <a:lnTo>
                    <a:pt x="1466" y="1751"/>
                  </a:lnTo>
                  <a:lnTo>
                    <a:pt x="1466" y="1750"/>
                  </a:lnTo>
                  <a:lnTo>
                    <a:pt x="1466" y="1748"/>
                  </a:lnTo>
                  <a:lnTo>
                    <a:pt x="1466" y="1747"/>
                  </a:lnTo>
                  <a:lnTo>
                    <a:pt x="1465" y="1745"/>
                  </a:lnTo>
                  <a:lnTo>
                    <a:pt x="1464" y="1743"/>
                  </a:lnTo>
                  <a:lnTo>
                    <a:pt x="1462" y="1743"/>
                  </a:lnTo>
                  <a:lnTo>
                    <a:pt x="1459" y="1745"/>
                  </a:lnTo>
                  <a:lnTo>
                    <a:pt x="1456" y="1745"/>
                  </a:lnTo>
                  <a:lnTo>
                    <a:pt x="1455" y="1746"/>
                  </a:lnTo>
                  <a:lnTo>
                    <a:pt x="1453" y="1747"/>
                  </a:lnTo>
                  <a:lnTo>
                    <a:pt x="1451" y="1746"/>
                  </a:lnTo>
                  <a:lnTo>
                    <a:pt x="1448" y="1745"/>
                  </a:lnTo>
                  <a:lnTo>
                    <a:pt x="1445" y="1742"/>
                  </a:lnTo>
                  <a:lnTo>
                    <a:pt x="1444" y="1740"/>
                  </a:lnTo>
                  <a:lnTo>
                    <a:pt x="1443" y="1739"/>
                  </a:lnTo>
                  <a:lnTo>
                    <a:pt x="1444" y="1737"/>
                  </a:lnTo>
                  <a:lnTo>
                    <a:pt x="1444" y="1736"/>
                  </a:lnTo>
                  <a:lnTo>
                    <a:pt x="1445" y="1736"/>
                  </a:lnTo>
                  <a:lnTo>
                    <a:pt x="1446" y="1735"/>
                  </a:lnTo>
                  <a:lnTo>
                    <a:pt x="1449" y="1735"/>
                  </a:lnTo>
                  <a:lnTo>
                    <a:pt x="1449" y="1730"/>
                  </a:lnTo>
                  <a:lnTo>
                    <a:pt x="1446" y="1729"/>
                  </a:lnTo>
                  <a:lnTo>
                    <a:pt x="1445" y="1729"/>
                  </a:lnTo>
                  <a:lnTo>
                    <a:pt x="1443" y="1728"/>
                  </a:lnTo>
                  <a:lnTo>
                    <a:pt x="1442" y="1727"/>
                  </a:lnTo>
                  <a:lnTo>
                    <a:pt x="1442" y="1726"/>
                  </a:lnTo>
                  <a:lnTo>
                    <a:pt x="1440" y="1724"/>
                  </a:lnTo>
                  <a:lnTo>
                    <a:pt x="1439" y="1721"/>
                  </a:lnTo>
                  <a:lnTo>
                    <a:pt x="1437" y="1720"/>
                  </a:lnTo>
                  <a:lnTo>
                    <a:pt x="1437" y="1718"/>
                  </a:lnTo>
                  <a:lnTo>
                    <a:pt x="1438" y="1717"/>
                  </a:lnTo>
                  <a:lnTo>
                    <a:pt x="1439" y="1717"/>
                  </a:lnTo>
                  <a:lnTo>
                    <a:pt x="1439" y="1718"/>
                  </a:lnTo>
                  <a:lnTo>
                    <a:pt x="1440" y="1718"/>
                  </a:lnTo>
                  <a:lnTo>
                    <a:pt x="1441" y="1718"/>
                  </a:lnTo>
                  <a:lnTo>
                    <a:pt x="1442" y="1717"/>
                  </a:lnTo>
                  <a:lnTo>
                    <a:pt x="1442" y="1716"/>
                  </a:lnTo>
                  <a:lnTo>
                    <a:pt x="1442" y="1716"/>
                  </a:lnTo>
                  <a:lnTo>
                    <a:pt x="1442" y="1715"/>
                  </a:lnTo>
                  <a:lnTo>
                    <a:pt x="1442" y="1714"/>
                  </a:lnTo>
                  <a:lnTo>
                    <a:pt x="1442" y="1713"/>
                  </a:lnTo>
                  <a:lnTo>
                    <a:pt x="1443" y="1710"/>
                  </a:lnTo>
                  <a:lnTo>
                    <a:pt x="1443" y="1708"/>
                  </a:lnTo>
                  <a:lnTo>
                    <a:pt x="1444" y="1706"/>
                  </a:lnTo>
                  <a:lnTo>
                    <a:pt x="1445" y="1703"/>
                  </a:lnTo>
                  <a:lnTo>
                    <a:pt x="1448" y="1699"/>
                  </a:lnTo>
                  <a:lnTo>
                    <a:pt x="1449" y="1697"/>
                  </a:lnTo>
                  <a:lnTo>
                    <a:pt x="1450" y="1695"/>
                  </a:lnTo>
                  <a:lnTo>
                    <a:pt x="1450" y="1692"/>
                  </a:lnTo>
                  <a:lnTo>
                    <a:pt x="1450" y="1689"/>
                  </a:lnTo>
                  <a:lnTo>
                    <a:pt x="1451" y="1686"/>
                  </a:lnTo>
                  <a:lnTo>
                    <a:pt x="1451" y="1684"/>
                  </a:lnTo>
                  <a:lnTo>
                    <a:pt x="1450" y="1682"/>
                  </a:lnTo>
                  <a:lnTo>
                    <a:pt x="1448" y="1680"/>
                  </a:lnTo>
                  <a:lnTo>
                    <a:pt x="1445" y="1677"/>
                  </a:lnTo>
                  <a:lnTo>
                    <a:pt x="1443" y="1675"/>
                  </a:lnTo>
                  <a:lnTo>
                    <a:pt x="1442" y="1673"/>
                  </a:lnTo>
                  <a:lnTo>
                    <a:pt x="1442" y="1671"/>
                  </a:lnTo>
                  <a:lnTo>
                    <a:pt x="1443" y="1667"/>
                  </a:lnTo>
                  <a:lnTo>
                    <a:pt x="1444" y="1665"/>
                  </a:lnTo>
                  <a:lnTo>
                    <a:pt x="1446" y="1662"/>
                  </a:lnTo>
                  <a:lnTo>
                    <a:pt x="1445" y="1661"/>
                  </a:lnTo>
                  <a:lnTo>
                    <a:pt x="1444" y="1660"/>
                  </a:lnTo>
                  <a:lnTo>
                    <a:pt x="1443" y="1659"/>
                  </a:lnTo>
                  <a:lnTo>
                    <a:pt x="1443" y="1658"/>
                  </a:lnTo>
                  <a:lnTo>
                    <a:pt x="1444" y="1655"/>
                  </a:lnTo>
                  <a:lnTo>
                    <a:pt x="1444" y="1654"/>
                  </a:lnTo>
                  <a:lnTo>
                    <a:pt x="1445" y="1652"/>
                  </a:lnTo>
                  <a:lnTo>
                    <a:pt x="1445" y="1651"/>
                  </a:lnTo>
                  <a:lnTo>
                    <a:pt x="1446" y="1649"/>
                  </a:lnTo>
                  <a:lnTo>
                    <a:pt x="1446" y="1648"/>
                  </a:lnTo>
                  <a:lnTo>
                    <a:pt x="1448" y="1647"/>
                  </a:lnTo>
                  <a:lnTo>
                    <a:pt x="1448" y="1647"/>
                  </a:lnTo>
                  <a:lnTo>
                    <a:pt x="1449" y="1644"/>
                  </a:lnTo>
                  <a:lnTo>
                    <a:pt x="1449" y="1642"/>
                  </a:lnTo>
                  <a:lnTo>
                    <a:pt x="1449" y="1641"/>
                  </a:lnTo>
                  <a:lnTo>
                    <a:pt x="1450" y="1640"/>
                  </a:lnTo>
                  <a:lnTo>
                    <a:pt x="1450" y="1639"/>
                  </a:lnTo>
                  <a:lnTo>
                    <a:pt x="1451" y="1638"/>
                  </a:lnTo>
                  <a:lnTo>
                    <a:pt x="1451" y="1632"/>
                  </a:lnTo>
                  <a:lnTo>
                    <a:pt x="1451" y="1630"/>
                  </a:lnTo>
                  <a:lnTo>
                    <a:pt x="1452" y="1629"/>
                  </a:lnTo>
                  <a:lnTo>
                    <a:pt x="1452" y="1628"/>
                  </a:lnTo>
                  <a:lnTo>
                    <a:pt x="1453" y="1627"/>
                  </a:lnTo>
                  <a:lnTo>
                    <a:pt x="1452" y="1625"/>
                  </a:lnTo>
                  <a:lnTo>
                    <a:pt x="1451" y="1622"/>
                  </a:lnTo>
                  <a:lnTo>
                    <a:pt x="1451" y="1620"/>
                  </a:lnTo>
                  <a:lnTo>
                    <a:pt x="1450" y="1619"/>
                  </a:lnTo>
                  <a:lnTo>
                    <a:pt x="1450" y="1617"/>
                  </a:lnTo>
                  <a:lnTo>
                    <a:pt x="1451" y="1616"/>
                  </a:lnTo>
                  <a:lnTo>
                    <a:pt x="1451" y="1614"/>
                  </a:lnTo>
                  <a:lnTo>
                    <a:pt x="1451" y="1612"/>
                  </a:lnTo>
                  <a:lnTo>
                    <a:pt x="1449" y="1611"/>
                  </a:lnTo>
                  <a:lnTo>
                    <a:pt x="1449" y="1610"/>
                  </a:lnTo>
                  <a:lnTo>
                    <a:pt x="1450" y="1609"/>
                  </a:lnTo>
                  <a:lnTo>
                    <a:pt x="1451" y="1608"/>
                  </a:lnTo>
                  <a:lnTo>
                    <a:pt x="1452" y="1607"/>
                  </a:lnTo>
                  <a:lnTo>
                    <a:pt x="1453" y="1606"/>
                  </a:lnTo>
                  <a:lnTo>
                    <a:pt x="1452" y="1604"/>
                  </a:lnTo>
                  <a:lnTo>
                    <a:pt x="1452" y="1603"/>
                  </a:lnTo>
                  <a:lnTo>
                    <a:pt x="1452" y="1600"/>
                  </a:lnTo>
                  <a:lnTo>
                    <a:pt x="1453" y="1599"/>
                  </a:lnTo>
                  <a:lnTo>
                    <a:pt x="1454" y="1598"/>
                  </a:lnTo>
                  <a:lnTo>
                    <a:pt x="1456" y="1597"/>
                  </a:lnTo>
                  <a:lnTo>
                    <a:pt x="1456" y="1596"/>
                  </a:lnTo>
                  <a:lnTo>
                    <a:pt x="1455" y="1596"/>
                  </a:lnTo>
                  <a:lnTo>
                    <a:pt x="1455" y="1595"/>
                  </a:lnTo>
                  <a:lnTo>
                    <a:pt x="1455" y="1590"/>
                  </a:lnTo>
                  <a:lnTo>
                    <a:pt x="1454" y="1590"/>
                  </a:lnTo>
                  <a:lnTo>
                    <a:pt x="1454" y="1589"/>
                  </a:lnTo>
                  <a:lnTo>
                    <a:pt x="1453" y="1589"/>
                  </a:lnTo>
                  <a:lnTo>
                    <a:pt x="1453" y="1588"/>
                  </a:lnTo>
                  <a:lnTo>
                    <a:pt x="1453" y="1582"/>
                  </a:lnTo>
                  <a:lnTo>
                    <a:pt x="1451" y="1579"/>
                  </a:lnTo>
                  <a:lnTo>
                    <a:pt x="1450" y="1577"/>
                  </a:lnTo>
                  <a:lnTo>
                    <a:pt x="1449" y="1576"/>
                  </a:lnTo>
                  <a:lnTo>
                    <a:pt x="1449" y="1575"/>
                  </a:lnTo>
                  <a:lnTo>
                    <a:pt x="1449" y="1573"/>
                  </a:lnTo>
                  <a:lnTo>
                    <a:pt x="1449" y="1572"/>
                  </a:lnTo>
                  <a:lnTo>
                    <a:pt x="1450" y="1571"/>
                  </a:lnTo>
                  <a:lnTo>
                    <a:pt x="1450" y="1569"/>
                  </a:lnTo>
                  <a:lnTo>
                    <a:pt x="1448" y="1569"/>
                  </a:lnTo>
                  <a:lnTo>
                    <a:pt x="1446" y="1568"/>
                  </a:lnTo>
                  <a:lnTo>
                    <a:pt x="1439" y="1565"/>
                  </a:lnTo>
                  <a:lnTo>
                    <a:pt x="1432" y="1562"/>
                  </a:lnTo>
                  <a:lnTo>
                    <a:pt x="1427" y="1560"/>
                  </a:lnTo>
                  <a:lnTo>
                    <a:pt x="1422" y="1557"/>
                  </a:lnTo>
                  <a:lnTo>
                    <a:pt x="1418" y="1556"/>
                  </a:lnTo>
                  <a:lnTo>
                    <a:pt x="1413" y="1555"/>
                  </a:lnTo>
                  <a:lnTo>
                    <a:pt x="1411" y="1554"/>
                  </a:lnTo>
                  <a:lnTo>
                    <a:pt x="1409" y="1554"/>
                  </a:lnTo>
                  <a:lnTo>
                    <a:pt x="1408" y="1553"/>
                  </a:lnTo>
                  <a:lnTo>
                    <a:pt x="1406" y="1553"/>
                  </a:lnTo>
                  <a:lnTo>
                    <a:pt x="1403" y="1553"/>
                  </a:lnTo>
                  <a:lnTo>
                    <a:pt x="1392" y="1551"/>
                  </a:lnTo>
                  <a:lnTo>
                    <a:pt x="1381" y="1549"/>
                  </a:lnTo>
                  <a:lnTo>
                    <a:pt x="1379" y="1546"/>
                  </a:lnTo>
                  <a:lnTo>
                    <a:pt x="1377" y="1545"/>
                  </a:lnTo>
                  <a:lnTo>
                    <a:pt x="1376" y="1543"/>
                  </a:lnTo>
                  <a:lnTo>
                    <a:pt x="1373" y="1542"/>
                  </a:lnTo>
                  <a:lnTo>
                    <a:pt x="1370" y="1541"/>
                  </a:lnTo>
                  <a:lnTo>
                    <a:pt x="1368" y="1540"/>
                  </a:lnTo>
                  <a:lnTo>
                    <a:pt x="1366" y="1539"/>
                  </a:lnTo>
                  <a:lnTo>
                    <a:pt x="1364" y="1538"/>
                  </a:lnTo>
                  <a:lnTo>
                    <a:pt x="1362" y="1534"/>
                  </a:lnTo>
                  <a:lnTo>
                    <a:pt x="1359" y="1532"/>
                  </a:lnTo>
                  <a:lnTo>
                    <a:pt x="1357" y="1529"/>
                  </a:lnTo>
                  <a:lnTo>
                    <a:pt x="1355" y="1525"/>
                  </a:lnTo>
                  <a:lnTo>
                    <a:pt x="1353" y="1522"/>
                  </a:lnTo>
                  <a:lnTo>
                    <a:pt x="1352" y="1521"/>
                  </a:lnTo>
                  <a:lnTo>
                    <a:pt x="1351" y="1520"/>
                  </a:lnTo>
                  <a:lnTo>
                    <a:pt x="1351" y="1519"/>
                  </a:lnTo>
                  <a:lnTo>
                    <a:pt x="1348" y="1518"/>
                  </a:lnTo>
                  <a:lnTo>
                    <a:pt x="1347" y="1518"/>
                  </a:lnTo>
                  <a:lnTo>
                    <a:pt x="1346" y="1518"/>
                  </a:lnTo>
                  <a:lnTo>
                    <a:pt x="1345" y="1517"/>
                  </a:lnTo>
                  <a:lnTo>
                    <a:pt x="1344" y="1516"/>
                  </a:lnTo>
                  <a:lnTo>
                    <a:pt x="1344" y="1513"/>
                  </a:lnTo>
                  <a:lnTo>
                    <a:pt x="1343" y="1512"/>
                  </a:lnTo>
                  <a:lnTo>
                    <a:pt x="1343" y="1510"/>
                  </a:lnTo>
                  <a:lnTo>
                    <a:pt x="1342" y="1509"/>
                  </a:lnTo>
                  <a:lnTo>
                    <a:pt x="1339" y="1508"/>
                  </a:lnTo>
                  <a:lnTo>
                    <a:pt x="1336" y="1507"/>
                  </a:lnTo>
                  <a:lnTo>
                    <a:pt x="1333" y="1506"/>
                  </a:lnTo>
                  <a:lnTo>
                    <a:pt x="1331" y="1505"/>
                  </a:lnTo>
                  <a:lnTo>
                    <a:pt x="1329" y="1501"/>
                  </a:lnTo>
                  <a:lnTo>
                    <a:pt x="1326" y="1498"/>
                  </a:lnTo>
                  <a:lnTo>
                    <a:pt x="1324" y="1496"/>
                  </a:lnTo>
                  <a:lnTo>
                    <a:pt x="1323" y="1492"/>
                  </a:lnTo>
                  <a:lnTo>
                    <a:pt x="1320" y="1490"/>
                  </a:lnTo>
                  <a:lnTo>
                    <a:pt x="1318" y="1487"/>
                  </a:lnTo>
                  <a:lnTo>
                    <a:pt x="1315" y="1485"/>
                  </a:lnTo>
                  <a:lnTo>
                    <a:pt x="1313" y="1481"/>
                  </a:lnTo>
                  <a:lnTo>
                    <a:pt x="1311" y="1478"/>
                  </a:lnTo>
                  <a:lnTo>
                    <a:pt x="1309" y="1476"/>
                  </a:lnTo>
                  <a:lnTo>
                    <a:pt x="1303" y="1469"/>
                  </a:lnTo>
                  <a:lnTo>
                    <a:pt x="1298" y="1463"/>
                  </a:lnTo>
                  <a:lnTo>
                    <a:pt x="1289" y="1458"/>
                  </a:lnTo>
                  <a:lnTo>
                    <a:pt x="1287" y="1457"/>
                  </a:lnTo>
                  <a:lnTo>
                    <a:pt x="1283" y="1456"/>
                  </a:lnTo>
                  <a:lnTo>
                    <a:pt x="1280" y="1456"/>
                  </a:lnTo>
                  <a:lnTo>
                    <a:pt x="1278" y="1455"/>
                  </a:lnTo>
                  <a:lnTo>
                    <a:pt x="1276" y="1454"/>
                  </a:lnTo>
                  <a:lnTo>
                    <a:pt x="1276" y="1453"/>
                  </a:lnTo>
                  <a:lnTo>
                    <a:pt x="1276" y="1452"/>
                  </a:lnTo>
                  <a:lnTo>
                    <a:pt x="1277" y="1452"/>
                  </a:lnTo>
                  <a:lnTo>
                    <a:pt x="1278" y="1452"/>
                  </a:lnTo>
                  <a:lnTo>
                    <a:pt x="1278" y="1452"/>
                  </a:lnTo>
                  <a:lnTo>
                    <a:pt x="1279" y="1448"/>
                  </a:lnTo>
                  <a:lnTo>
                    <a:pt x="1278" y="1446"/>
                  </a:lnTo>
                  <a:lnTo>
                    <a:pt x="1277" y="1444"/>
                  </a:lnTo>
                  <a:lnTo>
                    <a:pt x="1275" y="1442"/>
                  </a:lnTo>
                  <a:lnTo>
                    <a:pt x="1271" y="1441"/>
                  </a:lnTo>
                  <a:lnTo>
                    <a:pt x="1271" y="1438"/>
                  </a:lnTo>
                  <a:lnTo>
                    <a:pt x="1271" y="1436"/>
                  </a:lnTo>
                  <a:lnTo>
                    <a:pt x="1274" y="1434"/>
                  </a:lnTo>
                  <a:lnTo>
                    <a:pt x="1276" y="1432"/>
                  </a:lnTo>
                  <a:lnTo>
                    <a:pt x="1279" y="1430"/>
                  </a:lnTo>
                  <a:lnTo>
                    <a:pt x="1282" y="1429"/>
                  </a:lnTo>
                  <a:lnTo>
                    <a:pt x="1285" y="1427"/>
                  </a:lnTo>
                  <a:lnTo>
                    <a:pt x="1288" y="1426"/>
                  </a:lnTo>
                  <a:lnTo>
                    <a:pt x="1291" y="1424"/>
                  </a:lnTo>
                  <a:lnTo>
                    <a:pt x="1293" y="1423"/>
                  </a:lnTo>
                  <a:lnTo>
                    <a:pt x="1296" y="1421"/>
                  </a:lnTo>
                  <a:lnTo>
                    <a:pt x="1297" y="1419"/>
                  </a:lnTo>
                  <a:lnTo>
                    <a:pt x="1296" y="1416"/>
                  </a:lnTo>
                  <a:lnTo>
                    <a:pt x="1293" y="1414"/>
                  </a:lnTo>
                  <a:lnTo>
                    <a:pt x="1293" y="1415"/>
                  </a:lnTo>
                  <a:lnTo>
                    <a:pt x="1292" y="1416"/>
                  </a:lnTo>
                  <a:lnTo>
                    <a:pt x="1291" y="1418"/>
                  </a:lnTo>
                  <a:lnTo>
                    <a:pt x="1290" y="1418"/>
                  </a:lnTo>
                  <a:lnTo>
                    <a:pt x="1287" y="1416"/>
                  </a:lnTo>
                  <a:lnTo>
                    <a:pt x="1286" y="1416"/>
                  </a:lnTo>
                  <a:lnTo>
                    <a:pt x="1285" y="1415"/>
                  </a:lnTo>
                  <a:lnTo>
                    <a:pt x="1283" y="1413"/>
                  </a:lnTo>
                  <a:lnTo>
                    <a:pt x="1280" y="1412"/>
                  </a:lnTo>
                  <a:lnTo>
                    <a:pt x="1279" y="1412"/>
                  </a:lnTo>
                  <a:lnTo>
                    <a:pt x="1278" y="1412"/>
                  </a:lnTo>
                  <a:lnTo>
                    <a:pt x="1278" y="1411"/>
                  </a:lnTo>
                  <a:lnTo>
                    <a:pt x="1279" y="1411"/>
                  </a:lnTo>
                  <a:lnTo>
                    <a:pt x="1279" y="1410"/>
                  </a:lnTo>
                  <a:lnTo>
                    <a:pt x="1280" y="1410"/>
                  </a:lnTo>
                  <a:lnTo>
                    <a:pt x="1280" y="1410"/>
                  </a:lnTo>
                  <a:lnTo>
                    <a:pt x="1281" y="1409"/>
                  </a:lnTo>
                  <a:lnTo>
                    <a:pt x="1281" y="1407"/>
                  </a:lnTo>
                  <a:lnTo>
                    <a:pt x="1280" y="1405"/>
                  </a:lnTo>
                  <a:lnTo>
                    <a:pt x="1278" y="1405"/>
                  </a:lnTo>
                  <a:lnTo>
                    <a:pt x="1278" y="1399"/>
                  </a:lnTo>
                  <a:lnTo>
                    <a:pt x="1278" y="1398"/>
                  </a:lnTo>
                  <a:lnTo>
                    <a:pt x="1278" y="1398"/>
                  </a:lnTo>
                  <a:lnTo>
                    <a:pt x="1279" y="1398"/>
                  </a:lnTo>
                  <a:lnTo>
                    <a:pt x="1280" y="1398"/>
                  </a:lnTo>
                  <a:lnTo>
                    <a:pt x="1281" y="1398"/>
                  </a:lnTo>
                  <a:lnTo>
                    <a:pt x="1282" y="1397"/>
                  </a:lnTo>
                  <a:lnTo>
                    <a:pt x="1283" y="1396"/>
                  </a:lnTo>
                  <a:lnTo>
                    <a:pt x="1283" y="1394"/>
                  </a:lnTo>
                  <a:lnTo>
                    <a:pt x="1285" y="1393"/>
                  </a:lnTo>
                  <a:lnTo>
                    <a:pt x="1285" y="1392"/>
                  </a:lnTo>
                  <a:lnTo>
                    <a:pt x="1286" y="1391"/>
                  </a:lnTo>
                  <a:lnTo>
                    <a:pt x="1287" y="1390"/>
                  </a:lnTo>
                  <a:lnTo>
                    <a:pt x="1288" y="1390"/>
                  </a:lnTo>
                  <a:lnTo>
                    <a:pt x="1290" y="1389"/>
                  </a:lnTo>
                  <a:lnTo>
                    <a:pt x="1291" y="1388"/>
                  </a:lnTo>
                  <a:lnTo>
                    <a:pt x="1292" y="1386"/>
                  </a:lnTo>
                  <a:lnTo>
                    <a:pt x="1292" y="1385"/>
                  </a:lnTo>
                  <a:lnTo>
                    <a:pt x="1292" y="1382"/>
                  </a:lnTo>
                  <a:lnTo>
                    <a:pt x="1291" y="1380"/>
                  </a:lnTo>
                  <a:lnTo>
                    <a:pt x="1290" y="1378"/>
                  </a:lnTo>
                  <a:lnTo>
                    <a:pt x="1290" y="1377"/>
                  </a:lnTo>
                  <a:lnTo>
                    <a:pt x="1291" y="1375"/>
                  </a:lnTo>
                  <a:lnTo>
                    <a:pt x="1298" y="1374"/>
                  </a:lnTo>
                  <a:lnTo>
                    <a:pt x="1304" y="1372"/>
                  </a:lnTo>
                  <a:lnTo>
                    <a:pt x="1309" y="1370"/>
                  </a:lnTo>
                  <a:lnTo>
                    <a:pt x="1311" y="1369"/>
                  </a:lnTo>
                  <a:lnTo>
                    <a:pt x="1311" y="1368"/>
                  </a:lnTo>
                  <a:lnTo>
                    <a:pt x="1310" y="1367"/>
                  </a:lnTo>
                  <a:lnTo>
                    <a:pt x="1310" y="1366"/>
                  </a:lnTo>
                  <a:lnTo>
                    <a:pt x="1310" y="1365"/>
                  </a:lnTo>
                  <a:lnTo>
                    <a:pt x="1311" y="1364"/>
                  </a:lnTo>
                  <a:lnTo>
                    <a:pt x="1313" y="1361"/>
                  </a:lnTo>
                  <a:lnTo>
                    <a:pt x="1315" y="1359"/>
                  </a:lnTo>
                  <a:lnTo>
                    <a:pt x="1315" y="1357"/>
                  </a:lnTo>
                  <a:lnTo>
                    <a:pt x="1318" y="1356"/>
                  </a:lnTo>
                  <a:lnTo>
                    <a:pt x="1320" y="1355"/>
                  </a:lnTo>
                  <a:lnTo>
                    <a:pt x="1322" y="1354"/>
                  </a:lnTo>
                  <a:lnTo>
                    <a:pt x="1325" y="1354"/>
                  </a:lnTo>
                  <a:lnTo>
                    <a:pt x="1328" y="1354"/>
                  </a:lnTo>
                  <a:lnTo>
                    <a:pt x="1330" y="1354"/>
                  </a:lnTo>
                  <a:lnTo>
                    <a:pt x="1331" y="1353"/>
                  </a:lnTo>
                  <a:lnTo>
                    <a:pt x="1333" y="1350"/>
                  </a:lnTo>
                  <a:lnTo>
                    <a:pt x="1334" y="1348"/>
                  </a:lnTo>
                  <a:lnTo>
                    <a:pt x="1335" y="1347"/>
                  </a:lnTo>
                  <a:lnTo>
                    <a:pt x="1337" y="1345"/>
                  </a:lnTo>
                  <a:lnTo>
                    <a:pt x="1340" y="1344"/>
                  </a:lnTo>
                  <a:lnTo>
                    <a:pt x="1342" y="1342"/>
                  </a:lnTo>
                  <a:lnTo>
                    <a:pt x="1343" y="1339"/>
                  </a:lnTo>
                  <a:lnTo>
                    <a:pt x="1343" y="1336"/>
                  </a:lnTo>
                  <a:lnTo>
                    <a:pt x="1342" y="1333"/>
                  </a:lnTo>
                  <a:lnTo>
                    <a:pt x="1341" y="1332"/>
                  </a:lnTo>
                  <a:lnTo>
                    <a:pt x="1340" y="1329"/>
                  </a:lnTo>
                  <a:lnTo>
                    <a:pt x="1340" y="1328"/>
                  </a:lnTo>
                  <a:lnTo>
                    <a:pt x="1340" y="1326"/>
                  </a:lnTo>
                  <a:lnTo>
                    <a:pt x="1341" y="1323"/>
                  </a:lnTo>
                  <a:lnTo>
                    <a:pt x="1342" y="1321"/>
                  </a:lnTo>
                  <a:lnTo>
                    <a:pt x="1343" y="1318"/>
                  </a:lnTo>
                  <a:lnTo>
                    <a:pt x="1344" y="1315"/>
                  </a:lnTo>
                  <a:lnTo>
                    <a:pt x="1344" y="1314"/>
                  </a:lnTo>
                  <a:lnTo>
                    <a:pt x="1343" y="1313"/>
                  </a:lnTo>
                  <a:lnTo>
                    <a:pt x="1342" y="1311"/>
                  </a:lnTo>
                  <a:lnTo>
                    <a:pt x="1342" y="1309"/>
                  </a:lnTo>
                  <a:lnTo>
                    <a:pt x="1342" y="1306"/>
                  </a:lnTo>
                  <a:lnTo>
                    <a:pt x="1343" y="1305"/>
                  </a:lnTo>
                  <a:lnTo>
                    <a:pt x="1344" y="1304"/>
                  </a:lnTo>
                  <a:lnTo>
                    <a:pt x="1343" y="1303"/>
                  </a:lnTo>
                  <a:lnTo>
                    <a:pt x="1342" y="1302"/>
                  </a:lnTo>
                  <a:lnTo>
                    <a:pt x="1340" y="1300"/>
                  </a:lnTo>
                  <a:lnTo>
                    <a:pt x="1339" y="1299"/>
                  </a:lnTo>
                  <a:lnTo>
                    <a:pt x="1336" y="1296"/>
                  </a:lnTo>
                  <a:lnTo>
                    <a:pt x="1335" y="1294"/>
                  </a:lnTo>
                  <a:lnTo>
                    <a:pt x="1333" y="1291"/>
                  </a:lnTo>
                  <a:lnTo>
                    <a:pt x="1331" y="1289"/>
                  </a:lnTo>
                  <a:lnTo>
                    <a:pt x="1329" y="1288"/>
                  </a:lnTo>
                  <a:lnTo>
                    <a:pt x="1324" y="1287"/>
                  </a:lnTo>
                  <a:lnTo>
                    <a:pt x="1320" y="1288"/>
                  </a:lnTo>
                  <a:lnTo>
                    <a:pt x="1317" y="1288"/>
                  </a:lnTo>
                  <a:lnTo>
                    <a:pt x="1312" y="1289"/>
                  </a:lnTo>
                  <a:lnTo>
                    <a:pt x="1309" y="1289"/>
                  </a:lnTo>
                  <a:lnTo>
                    <a:pt x="1308" y="1289"/>
                  </a:lnTo>
                  <a:lnTo>
                    <a:pt x="1307" y="1288"/>
                  </a:lnTo>
                  <a:lnTo>
                    <a:pt x="1304" y="1287"/>
                  </a:lnTo>
                  <a:lnTo>
                    <a:pt x="1303" y="1287"/>
                  </a:lnTo>
                  <a:lnTo>
                    <a:pt x="1300" y="1287"/>
                  </a:lnTo>
                  <a:lnTo>
                    <a:pt x="1289" y="1289"/>
                  </a:lnTo>
                  <a:lnTo>
                    <a:pt x="1278" y="1292"/>
                  </a:lnTo>
                  <a:lnTo>
                    <a:pt x="1267" y="1293"/>
                  </a:lnTo>
                  <a:lnTo>
                    <a:pt x="1260" y="1293"/>
                  </a:lnTo>
                  <a:lnTo>
                    <a:pt x="1254" y="1291"/>
                  </a:lnTo>
                  <a:lnTo>
                    <a:pt x="1247" y="1289"/>
                  </a:lnTo>
                  <a:lnTo>
                    <a:pt x="1236" y="1290"/>
                  </a:lnTo>
                  <a:lnTo>
                    <a:pt x="1225" y="1291"/>
                  </a:lnTo>
                  <a:lnTo>
                    <a:pt x="1219" y="1291"/>
                  </a:lnTo>
                  <a:lnTo>
                    <a:pt x="1210" y="1291"/>
                  </a:lnTo>
                  <a:lnTo>
                    <a:pt x="1201" y="1290"/>
                  </a:lnTo>
                  <a:lnTo>
                    <a:pt x="1194" y="1288"/>
                  </a:lnTo>
                  <a:lnTo>
                    <a:pt x="1190" y="1284"/>
                  </a:lnTo>
                  <a:lnTo>
                    <a:pt x="1191" y="1281"/>
                  </a:lnTo>
                  <a:lnTo>
                    <a:pt x="1191" y="1279"/>
                  </a:lnTo>
                  <a:lnTo>
                    <a:pt x="1193" y="1277"/>
                  </a:lnTo>
                  <a:lnTo>
                    <a:pt x="1194" y="1274"/>
                  </a:lnTo>
                  <a:lnTo>
                    <a:pt x="1197" y="1271"/>
                  </a:lnTo>
                  <a:lnTo>
                    <a:pt x="1198" y="1270"/>
                  </a:lnTo>
                  <a:lnTo>
                    <a:pt x="1198" y="1267"/>
                  </a:lnTo>
                  <a:lnTo>
                    <a:pt x="1198" y="1265"/>
                  </a:lnTo>
                  <a:lnTo>
                    <a:pt x="1198" y="1262"/>
                  </a:lnTo>
                  <a:lnTo>
                    <a:pt x="1197" y="1260"/>
                  </a:lnTo>
                  <a:lnTo>
                    <a:pt x="1197" y="1258"/>
                  </a:lnTo>
                  <a:lnTo>
                    <a:pt x="1195" y="1255"/>
                  </a:lnTo>
                  <a:lnTo>
                    <a:pt x="1197" y="1251"/>
                  </a:lnTo>
                  <a:lnTo>
                    <a:pt x="1197" y="1248"/>
                  </a:lnTo>
                  <a:lnTo>
                    <a:pt x="1197" y="1245"/>
                  </a:lnTo>
                  <a:lnTo>
                    <a:pt x="1197" y="1244"/>
                  </a:lnTo>
                  <a:lnTo>
                    <a:pt x="1194" y="1241"/>
                  </a:lnTo>
                  <a:lnTo>
                    <a:pt x="1191" y="1240"/>
                  </a:lnTo>
                  <a:lnTo>
                    <a:pt x="1188" y="1238"/>
                  </a:lnTo>
                  <a:lnTo>
                    <a:pt x="1177" y="1229"/>
                  </a:lnTo>
                  <a:lnTo>
                    <a:pt x="1166" y="1220"/>
                  </a:lnTo>
                  <a:lnTo>
                    <a:pt x="1160" y="1220"/>
                  </a:lnTo>
                  <a:lnTo>
                    <a:pt x="1154" y="1222"/>
                  </a:lnTo>
                  <a:lnTo>
                    <a:pt x="1147" y="1224"/>
                  </a:lnTo>
                  <a:lnTo>
                    <a:pt x="1139" y="1223"/>
                  </a:lnTo>
                  <a:lnTo>
                    <a:pt x="1130" y="1219"/>
                  </a:lnTo>
                  <a:lnTo>
                    <a:pt x="1122" y="1216"/>
                  </a:lnTo>
                  <a:lnTo>
                    <a:pt x="1111" y="1214"/>
                  </a:lnTo>
                  <a:lnTo>
                    <a:pt x="1105" y="1213"/>
                  </a:lnTo>
                  <a:lnTo>
                    <a:pt x="1099" y="1212"/>
                  </a:lnTo>
                  <a:lnTo>
                    <a:pt x="1093" y="1209"/>
                  </a:lnTo>
                  <a:lnTo>
                    <a:pt x="1091" y="1205"/>
                  </a:lnTo>
                  <a:lnTo>
                    <a:pt x="1092" y="1203"/>
                  </a:lnTo>
                  <a:lnTo>
                    <a:pt x="1092" y="1201"/>
                  </a:lnTo>
                  <a:lnTo>
                    <a:pt x="1093" y="1198"/>
                  </a:lnTo>
                  <a:lnTo>
                    <a:pt x="1092" y="1196"/>
                  </a:lnTo>
                  <a:lnTo>
                    <a:pt x="1092" y="1194"/>
                  </a:lnTo>
                  <a:lnTo>
                    <a:pt x="1089" y="1193"/>
                  </a:lnTo>
                  <a:lnTo>
                    <a:pt x="1084" y="1189"/>
                  </a:lnTo>
                  <a:lnTo>
                    <a:pt x="1080" y="1186"/>
                  </a:lnTo>
                  <a:lnTo>
                    <a:pt x="1075" y="1184"/>
                  </a:lnTo>
                  <a:lnTo>
                    <a:pt x="1066" y="1183"/>
                  </a:lnTo>
                  <a:lnTo>
                    <a:pt x="1055" y="1183"/>
                  </a:lnTo>
                  <a:lnTo>
                    <a:pt x="1045" y="1184"/>
                  </a:lnTo>
                  <a:lnTo>
                    <a:pt x="1042" y="1184"/>
                  </a:lnTo>
                  <a:lnTo>
                    <a:pt x="1041" y="1185"/>
                  </a:lnTo>
                  <a:lnTo>
                    <a:pt x="1040" y="1186"/>
                  </a:lnTo>
                  <a:lnTo>
                    <a:pt x="1040" y="1187"/>
                  </a:lnTo>
                  <a:lnTo>
                    <a:pt x="1041" y="1189"/>
                  </a:lnTo>
                  <a:lnTo>
                    <a:pt x="1041" y="1191"/>
                  </a:lnTo>
                  <a:lnTo>
                    <a:pt x="1041" y="1192"/>
                  </a:lnTo>
                  <a:lnTo>
                    <a:pt x="1041" y="1193"/>
                  </a:lnTo>
                  <a:lnTo>
                    <a:pt x="1041" y="1194"/>
                  </a:lnTo>
                  <a:lnTo>
                    <a:pt x="1040" y="1194"/>
                  </a:lnTo>
                  <a:lnTo>
                    <a:pt x="1039" y="1194"/>
                  </a:lnTo>
                  <a:lnTo>
                    <a:pt x="1036" y="1193"/>
                  </a:lnTo>
                  <a:lnTo>
                    <a:pt x="1027" y="1186"/>
                  </a:lnTo>
                  <a:lnTo>
                    <a:pt x="1017" y="1181"/>
                  </a:lnTo>
                  <a:lnTo>
                    <a:pt x="1007" y="1175"/>
                  </a:lnTo>
                  <a:lnTo>
                    <a:pt x="993" y="1168"/>
                  </a:lnTo>
                  <a:lnTo>
                    <a:pt x="979" y="1163"/>
                  </a:lnTo>
                  <a:lnTo>
                    <a:pt x="963" y="1160"/>
                  </a:lnTo>
                  <a:lnTo>
                    <a:pt x="943" y="1153"/>
                  </a:lnTo>
                  <a:lnTo>
                    <a:pt x="926" y="1145"/>
                  </a:lnTo>
                  <a:lnTo>
                    <a:pt x="915" y="1138"/>
                  </a:lnTo>
                  <a:lnTo>
                    <a:pt x="906" y="1131"/>
                  </a:lnTo>
                  <a:lnTo>
                    <a:pt x="896" y="1127"/>
                  </a:lnTo>
                  <a:lnTo>
                    <a:pt x="886" y="1123"/>
                  </a:lnTo>
                  <a:lnTo>
                    <a:pt x="871" y="1113"/>
                  </a:lnTo>
                  <a:lnTo>
                    <a:pt x="855" y="1103"/>
                  </a:lnTo>
                  <a:lnTo>
                    <a:pt x="853" y="1099"/>
                  </a:lnTo>
                  <a:lnTo>
                    <a:pt x="850" y="1097"/>
                  </a:lnTo>
                  <a:lnTo>
                    <a:pt x="848" y="1095"/>
                  </a:lnTo>
                  <a:lnTo>
                    <a:pt x="845" y="1093"/>
                  </a:lnTo>
                  <a:lnTo>
                    <a:pt x="844" y="1092"/>
                  </a:lnTo>
                  <a:lnTo>
                    <a:pt x="845" y="1088"/>
                  </a:lnTo>
                  <a:lnTo>
                    <a:pt x="846" y="1085"/>
                  </a:lnTo>
                  <a:lnTo>
                    <a:pt x="848" y="1083"/>
                  </a:lnTo>
                  <a:lnTo>
                    <a:pt x="849" y="1081"/>
                  </a:lnTo>
                  <a:lnTo>
                    <a:pt x="849" y="1078"/>
                  </a:lnTo>
                  <a:lnTo>
                    <a:pt x="844" y="1067"/>
                  </a:lnTo>
                  <a:lnTo>
                    <a:pt x="838" y="1058"/>
                  </a:lnTo>
                  <a:lnTo>
                    <a:pt x="829" y="1050"/>
                  </a:lnTo>
                  <a:lnTo>
                    <a:pt x="824" y="1043"/>
                  </a:lnTo>
                  <a:lnTo>
                    <a:pt x="820" y="1039"/>
                  </a:lnTo>
                  <a:lnTo>
                    <a:pt x="816" y="1034"/>
                  </a:lnTo>
                  <a:lnTo>
                    <a:pt x="810" y="1030"/>
                  </a:lnTo>
                  <a:lnTo>
                    <a:pt x="805" y="1026"/>
                  </a:lnTo>
                  <a:lnTo>
                    <a:pt x="798" y="1021"/>
                  </a:lnTo>
                  <a:lnTo>
                    <a:pt x="788" y="1010"/>
                  </a:lnTo>
                  <a:lnTo>
                    <a:pt x="778" y="1001"/>
                  </a:lnTo>
                  <a:lnTo>
                    <a:pt x="772" y="997"/>
                  </a:lnTo>
                  <a:lnTo>
                    <a:pt x="767" y="990"/>
                  </a:lnTo>
                  <a:lnTo>
                    <a:pt x="764" y="983"/>
                  </a:lnTo>
                  <a:lnTo>
                    <a:pt x="761" y="977"/>
                  </a:lnTo>
                  <a:lnTo>
                    <a:pt x="752" y="967"/>
                  </a:lnTo>
                  <a:lnTo>
                    <a:pt x="742" y="960"/>
                  </a:lnTo>
                  <a:lnTo>
                    <a:pt x="732" y="951"/>
                  </a:lnTo>
                  <a:lnTo>
                    <a:pt x="728" y="946"/>
                  </a:lnTo>
                  <a:lnTo>
                    <a:pt x="723" y="942"/>
                  </a:lnTo>
                  <a:lnTo>
                    <a:pt x="719" y="939"/>
                  </a:lnTo>
                  <a:lnTo>
                    <a:pt x="714" y="935"/>
                  </a:lnTo>
                  <a:lnTo>
                    <a:pt x="711" y="931"/>
                  </a:lnTo>
                  <a:lnTo>
                    <a:pt x="708" y="927"/>
                  </a:lnTo>
                  <a:lnTo>
                    <a:pt x="706" y="920"/>
                  </a:lnTo>
                  <a:lnTo>
                    <a:pt x="698" y="903"/>
                  </a:lnTo>
                  <a:lnTo>
                    <a:pt x="686" y="889"/>
                  </a:lnTo>
                  <a:lnTo>
                    <a:pt x="685" y="887"/>
                  </a:lnTo>
                  <a:lnTo>
                    <a:pt x="682" y="885"/>
                  </a:lnTo>
                  <a:lnTo>
                    <a:pt x="680" y="883"/>
                  </a:lnTo>
                  <a:lnTo>
                    <a:pt x="678" y="881"/>
                  </a:lnTo>
                  <a:lnTo>
                    <a:pt x="677" y="879"/>
                  </a:lnTo>
                  <a:lnTo>
                    <a:pt x="675" y="878"/>
                  </a:lnTo>
                  <a:lnTo>
                    <a:pt x="672" y="878"/>
                  </a:lnTo>
                  <a:lnTo>
                    <a:pt x="671" y="878"/>
                  </a:lnTo>
                  <a:lnTo>
                    <a:pt x="670" y="880"/>
                  </a:lnTo>
                  <a:lnTo>
                    <a:pt x="670" y="883"/>
                  </a:lnTo>
                  <a:lnTo>
                    <a:pt x="674" y="895"/>
                  </a:lnTo>
                  <a:lnTo>
                    <a:pt x="672" y="905"/>
                  </a:lnTo>
                  <a:lnTo>
                    <a:pt x="672" y="908"/>
                  </a:lnTo>
                  <a:lnTo>
                    <a:pt x="672" y="910"/>
                  </a:lnTo>
                  <a:lnTo>
                    <a:pt x="674" y="912"/>
                  </a:lnTo>
                  <a:lnTo>
                    <a:pt x="676" y="916"/>
                  </a:lnTo>
                  <a:lnTo>
                    <a:pt x="679" y="918"/>
                  </a:lnTo>
                  <a:lnTo>
                    <a:pt x="687" y="923"/>
                  </a:lnTo>
                  <a:lnTo>
                    <a:pt x="695" y="929"/>
                  </a:lnTo>
                  <a:lnTo>
                    <a:pt x="699" y="934"/>
                  </a:lnTo>
                  <a:lnTo>
                    <a:pt x="701" y="942"/>
                  </a:lnTo>
                  <a:lnTo>
                    <a:pt x="704" y="946"/>
                  </a:lnTo>
                  <a:lnTo>
                    <a:pt x="708" y="951"/>
                  </a:lnTo>
                  <a:lnTo>
                    <a:pt x="712" y="955"/>
                  </a:lnTo>
                  <a:lnTo>
                    <a:pt x="717" y="961"/>
                  </a:lnTo>
                  <a:lnTo>
                    <a:pt x="721" y="966"/>
                  </a:lnTo>
                  <a:lnTo>
                    <a:pt x="725" y="973"/>
                  </a:lnTo>
                  <a:lnTo>
                    <a:pt x="730" y="978"/>
                  </a:lnTo>
                  <a:lnTo>
                    <a:pt x="734" y="984"/>
                  </a:lnTo>
                  <a:lnTo>
                    <a:pt x="739" y="988"/>
                  </a:lnTo>
                  <a:lnTo>
                    <a:pt x="741" y="992"/>
                  </a:lnTo>
                  <a:lnTo>
                    <a:pt x="742" y="995"/>
                  </a:lnTo>
                  <a:lnTo>
                    <a:pt x="744" y="997"/>
                  </a:lnTo>
                  <a:lnTo>
                    <a:pt x="745" y="999"/>
                  </a:lnTo>
                  <a:lnTo>
                    <a:pt x="747" y="1001"/>
                  </a:lnTo>
                  <a:lnTo>
                    <a:pt x="751" y="1005"/>
                  </a:lnTo>
                  <a:lnTo>
                    <a:pt x="753" y="1009"/>
                  </a:lnTo>
                  <a:lnTo>
                    <a:pt x="755" y="1014"/>
                  </a:lnTo>
                  <a:lnTo>
                    <a:pt x="756" y="1017"/>
                  </a:lnTo>
                  <a:lnTo>
                    <a:pt x="758" y="1019"/>
                  </a:lnTo>
                  <a:lnTo>
                    <a:pt x="761" y="1020"/>
                  </a:lnTo>
                  <a:lnTo>
                    <a:pt x="763" y="1022"/>
                  </a:lnTo>
                  <a:lnTo>
                    <a:pt x="765" y="1023"/>
                  </a:lnTo>
                  <a:lnTo>
                    <a:pt x="767" y="1026"/>
                  </a:lnTo>
                  <a:lnTo>
                    <a:pt x="770" y="1029"/>
                  </a:lnTo>
                  <a:lnTo>
                    <a:pt x="774" y="1033"/>
                  </a:lnTo>
                  <a:lnTo>
                    <a:pt x="776" y="1038"/>
                  </a:lnTo>
                  <a:lnTo>
                    <a:pt x="778" y="1041"/>
                  </a:lnTo>
                  <a:lnTo>
                    <a:pt x="778" y="1042"/>
                  </a:lnTo>
                  <a:lnTo>
                    <a:pt x="777" y="1043"/>
                  </a:lnTo>
                  <a:lnTo>
                    <a:pt x="776" y="1043"/>
                  </a:lnTo>
                  <a:lnTo>
                    <a:pt x="775" y="1043"/>
                  </a:lnTo>
                  <a:lnTo>
                    <a:pt x="773" y="1043"/>
                  </a:lnTo>
                  <a:lnTo>
                    <a:pt x="772" y="1043"/>
                  </a:lnTo>
                  <a:lnTo>
                    <a:pt x="768" y="1041"/>
                  </a:lnTo>
                  <a:lnTo>
                    <a:pt x="766" y="1039"/>
                  </a:lnTo>
                  <a:lnTo>
                    <a:pt x="764" y="1037"/>
                  </a:lnTo>
                  <a:lnTo>
                    <a:pt x="762" y="1033"/>
                  </a:lnTo>
                  <a:lnTo>
                    <a:pt x="761" y="1032"/>
                  </a:lnTo>
                  <a:lnTo>
                    <a:pt x="758" y="1030"/>
                  </a:lnTo>
                  <a:lnTo>
                    <a:pt x="755" y="1028"/>
                  </a:lnTo>
                  <a:lnTo>
                    <a:pt x="752" y="1026"/>
                  </a:lnTo>
                  <a:lnTo>
                    <a:pt x="750" y="1023"/>
                  </a:lnTo>
                  <a:lnTo>
                    <a:pt x="747" y="1021"/>
                  </a:lnTo>
                  <a:lnTo>
                    <a:pt x="745" y="1018"/>
                  </a:lnTo>
                  <a:lnTo>
                    <a:pt x="742" y="1016"/>
                  </a:lnTo>
                  <a:lnTo>
                    <a:pt x="739" y="1012"/>
                  </a:lnTo>
                  <a:lnTo>
                    <a:pt x="735" y="1011"/>
                  </a:lnTo>
                  <a:lnTo>
                    <a:pt x="732" y="1010"/>
                  </a:lnTo>
                  <a:lnTo>
                    <a:pt x="729" y="1010"/>
                  </a:lnTo>
                  <a:lnTo>
                    <a:pt x="726" y="1008"/>
                  </a:lnTo>
                  <a:lnTo>
                    <a:pt x="725" y="1007"/>
                  </a:lnTo>
                  <a:lnTo>
                    <a:pt x="723" y="1004"/>
                  </a:lnTo>
                  <a:lnTo>
                    <a:pt x="722" y="996"/>
                  </a:lnTo>
                  <a:lnTo>
                    <a:pt x="722" y="988"/>
                  </a:lnTo>
                  <a:lnTo>
                    <a:pt x="719" y="983"/>
                  </a:lnTo>
                  <a:lnTo>
                    <a:pt x="712" y="977"/>
                  </a:lnTo>
                  <a:lnTo>
                    <a:pt x="707" y="973"/>
                  </a:lnTo>
                  <a:lnTo>
                    <a:pt x="699" y="971"/>
                  </a:lnTo>
                  <a:lnTo>
                    <a:pt x="692" y="967"/>
                  </a:lnTo>
                  <a:lnTo>
                    <a:pt x="688" y="962"/>
                  </a:lnTo>
                  <a:lnTo>
                    <a:pt x="686" y="955"/>
                  </a:lnTo>
                  <a:lnTo>
                    <a:pt x="687" y="949"/>
                  </a:lnTo>
                  <a:lnTo>
                    <a:pt x="687" y="942"/>
                  </a:lnTo>
                  <a:lnTo>
                    <a:pt x="684" y="935"/>
                  </a:lnTo>
                  <a:lnTo>
                    <a:pt x="679" y="932"/>
                  </a:lnTo>
                  <a:lnTo>
                    <a:pt x="674" y="928"/>
                  </a:lnTo>
                  <a:lnTo>
                    <a:pt x="669" y="923"/>
                  </a:lnTo>
                  <a:lnTo>
                    <a:pt x="666" y="920"/>
                  </a:lnTo>
                  <a:lnTo>
                    <a:pt x="664" y="918"/>
                  </a:lnTo>
                  <a:lnTo>
                    <a:pt x="661" y="916"/>
                  </a:lnTo>
                  <a:lnTo>
                    <a:pt x="660" y="913"/>
                  </a:lnTo>
                  <a:lnTo>
                    <a:pt x="658" y="910"/>
                  </a:lnTo>
                  <a:lnTo>
                    <a:pt x="657" y="907"/>
                  </a:lnTo>
                  <a:lnTo>
                    <a:pt x="650" y="897"/>
                  </a:lnTo>
                  <a:lnTo>
                    <a:pt x="643" y="887"/>
                  </a:lnTo>
                  <a:lnTo>
                    <a:pt x="635" y="876"/>
                  </a:lnTo>
                  <a:lnTo>
                    <a:pt x="621" y="856"/>
                  </a:lnTo>
                  <a:lnTo>
                    <a:pt x="609" y="836"/>
                  </a:lnTo>
                  <a:lnTo>
                    <a:pt x="601" y="827"/>
                  </a:lnTo>
                  <a:lnTo>
                    <a:pt x="591" y="821"/>
                  </a:lnTo>
                  <a:lnTo>
                    <a:pt x="582" y="814"/>
                  </a:lnTo>
                  <a:lnTo>
                    <a:pt x="569" y="804"/>
                  </a:lnTo>
                  <a:lnTo>
                    <a:pt x="557" y="792"/>
                  </a:lnTo>
                  <a:lnTo>
                    <a:pt x="546" y="777"/>
                  </a:lnTo>
                  <a:lnTo>
                    <a:pt x="538" y="760"/>
                  </a:lnTo>
                  <a:lnTo>
                    <a:pt x="532" y="745"/>
                  </a:lnTo>
                  <a:lnTo>
                    <a:pt x="527" y="735"/>
                  </a:lnTo>
                  <a:lnTo>
                    <a:pt x="523" y="725"/>
                  </a:lnTo>
                  <a:lnTo>
                    <a:pt x="522" y="721"/>
                  </a:lnTo>
                  <a:lnTo>
                    <a:pt x="519" y="718"/>
                  </a:lnTo>
                  <a:lnTo>
                    <a:pt x="517" y="715"/>
                  </a:lnTo>
                  <a:lnTo>
                    <a:pt x="514" y="713"/>
                  </a:lnTo>
                  <a:lnTo>
                    <a:pt x="512" y="710"/>
                  </a:lnTo>
                  <a:lnTo>
                    <a:pt x="510" y="704"/>
                  </a:lnTo>
                  <a:lnTo>
                    <a:pt x="507" y="699"/>
                  </a:lnTo>
                  <a:lnTo>
                    <a:pt x="505" y="692"/>
                  </a:lnTo>
                  <a:lnTo>
                    <a:pt x="504" y="689"/>
                  </a:lnTo>
                  <a:lnTo>
                    <a:pt x="502" y="687"/>
                  </a:lnTo>
                  <a:lnTo>
                    <a:pt x="500" y="683"/>
                  </a:lnTo>
                  <a:lnTo>
                    <a:pt x="499" y="680"/>
                  </a:lnTo>
                  <a:lnTo>
                    <a:pt x="499" y="677"/>
                  </a:lnTo>
                  <a:lnTo>
                    <a:pt x="497" y="668"/>
                  </a:lnTo>
                  <a:lnTo>
                    <a:pt x="497" y="661"/>
                  </a:lnTo>
                  <a:lnTo>
                    <a:pt x="499" y="655"/>
                  </a:lnTo>
                  <a:lnTo>
                    <a:pt x="497" y="645"/>
                  </a:lnTo>
                  <a:lnTo>
                    <a:pt x="496" y="635"/>
                  </a:lnTo>
                  <a:lnTo>
                    <a:pt x="490" y="615"/>
                  </a:lnTo>
                  <a:lnTo>
                    <a:pt x="490" y="606"/>
                  </a:lnTo>
                  <a:lnTo>
                    <a:pt x="491" y="600"/>
                  </a:lnTo>
                  <a:lnTo>
                    <a:pt x="492" y="593"/>
                  </a:lnTo>
                  <a:lnTo>
                    <a:pt x="493" y="574"/>
                  </a:lnTo>
                  <a:lnTo>
                    <a:pt x="492" y="556"/>
                  </a:lnTo>
                  <a:lnTo>
                    <a:pt x="490" y="538"/>
                  </a:lnTo>
                  <a:lnTo>
                    <a:pt x="490" y="516"/>
                  </a:lnTo>
                  <a:lnTo>
                    <a:pt x="488" y="512"/>
                  </a:lnTo>
                  <a:lnTo>
                    <a:pt x="486" y="508"/>
                  </a:lnTo>
                  <a:lnTo>
                    <a:pt x="484" y="506"/>
                  </a:lnTo>
                  <a:lnTo>
                    <a:pt x="483" y="503"/>
                  </a:lnTo>
                  <a:lnTo>
                    <a:pt x="481" y="498"/>
                  </a:lnTo>
                  <a:lnTo>
                    <a:pt x="480" y="492"/>
                  </a:lnTo>
                  <a:lnTo>
                    <a:pt x="478" y="484"/>
                  </a:lnTo>
                  <a:lnTo>
                    <a:pt x="479" y="478"/>
                  </a:lnTo>
                  <a:lnTo>
                    <a:pt x="481" y="476"/>
                  </a:lnTo>
                  <a:lnTo>
                    <a:pt x="488" y="478"/>
                  </a:lnTo>
                  <a:lnTo>
                    <a:pt x="494" y="484"/>
                  </a:lnTo>
                  <a:lnTo>
                    <a:pt x="501" y="487"/>
                  </a:lnTo>
                  <a:lnTo>
                    <a:pt x="504" y="487"/>
                  </a:lnTo>
                  <a:lnTo>
                    <a:pt x="506" y="487"/>
                  </a:lnTo>
                  <a:lnTo>
                    <a:pt x="508" y="485"/>
                  </a:lnTo>
                  <a:lnTo>
                    <a:pt x="510" y="482"/>
                  </a:lnTo>
                  <a:lnTo>
                    <a:pt x="510" y="478"/>
                  </a:lnTo>
                  <a:lnTo>
                    <a:pt x="508" y="474"/>
                  </a:lnTo>
                  <a:lnTo>
                    <a:pt x="507" y="470"/>
                  </a:lnTo>
                  <a:lnTo>
                    <a:pt x="504" y="466"/>
                  </a:lnTo>
                  <a:lnTo>
                    <a:pt x="499" y="465"/>
                  </a:lnTo>
                  <a:lnTo>
                    <a:pt x="492" y="465"/>
                  </a:lnTo>
                  <a:lnTo>
                    <a:pt x="488" y="465"/>
                  </a:lnTo>
                  <a:lnTo>
                    <a:pt x="482" y="466"/>
                  </a:lnTo>
                  <a:lnTo>
                    <a:pt x="477" y="470"/>
                  </a:lnTo>
                  <a:lnTo>
                    <a:pt x="472" y="471"/>
                  </a:lnTo>
                  <a:lnTo>
                    <a:pt x="468" y="470"/>
                  </a:lnTo>
                  <a:lnTo>
                    <a:pt x="463" y="463"/>
                  </a:lnTo>
                  <a:lnTo>
                    <a:pt x="452" y="449"/>
                  </a:lnTo>
                  <a:lnTo>
                    <a:pt x="441" y="437"/>
                  </a:lnTo>
                  <a:lnTo>
                    <a:pt x="435" y="429"/>
                  </a:lnTo>
                  <a:lnTo>
                    <a:pt x="431" y="420"/>
                  </a:lnTo>
                  <a:lnTo>
                    <a:pt x="430" y="410"/>
                  </a:lnTo>
                  <a:lnTo>
                    <a:pt x="433" y="399"/>
                  </a:lnTo>
                  <a:lnTo>
                    <a:pt x="434" y="396"/>
                  </a:lnTo>
                  <a:lnTo>
                    <a:pt x="434" y="393"/>
                  </a:lnTo>
                  <a:lnTo>
                    <a:pt x="433" y="389"/>
                  </a:lnTo>
                  <a:lnTo>
                    <a:pt x="431" y="386"/>
                  </a:lnTo>
                  <a:lnTo>
                    <a:pt x="430" y="382"/>
                  </a:lnTo>
                  <a:lnTo>
                    <a:pt x="430" y="373"/>
                  </a:lnTo>
                  <a:lnTo>
                    <a:pt x="430" y="372"/>
                  </a:lnTo>
                  <a:lnTo>
                    <a:pt x="431" y="371"/>
                  </a:lnTo>
                  <a:lnTo>
                    <a:pt x="433" y="371"/>
                  </a:lnTo>
                  <a:lnTo>
                    <a:pt x="433" y="368"/>
                  </a:lnTo>
                  <a:lnTo>
                    <a:pt x="434" y="366"/>
                  </a:lnTo>
                  <a:lnTo>
                    <a:pt x="434" y="365"/>
                  </a:lnTo>
                  <a:lnTo>
                    <a:pt x="431" y="363"/>
                  </a:lnTo>
                  <a:lnTo>
                    <a:pt x="429" y="361"/>
                  </a:lnTo>
                  <a:lnTo>
                    <a:pt x="427" y="360"/>
                  </a:lnTo>
                  <a:lnTo>
                    <a:pt x="426" y="357"/>
                  </a:lnTo>
                  <a:lnTo>
                    <a:pt x="424" y="354"/>
                  </a:lnTo>
                  <a:lnTo>
                    <a:pt x="423" y="350"/>
                  </a:lnTo>
                  <a:lnTo>
                    <a:pt x="420" y="346"/>
                  </a:lnTo>
                  <a:lnTo>
                    <a:pt x="419" y="343"/>
                  </a:lnTo>
                  <a:lnTo>
                    <a:pt x="419" y="339"/>
                  </a:lnTo>
                  <a:lnTo>
                    <a:pt x="419" y="332"/>
                  </a:lnTo>
                  <a:lnTo>
                    <a:pt x="418" y="324"/>
                  </a:lnTo>
                  <a:lnTo>
                    <a:pt x="418" y="319"/>
                  </a:lnTo>
                  <a:lnTo>
                    <a:pt x="417" y="317"/>
                  </a:lnTo>
                  <a:lnTo>
                    <a:pt x="416" y="318"/>
                  </a:lnTo>
                  <a:lnTo>
                    <a:pt x="415" y="320"/>
                  </a:lnTo>
                  <a:lnTo>
                    <a:pt x="415" y="322"/>
                  </a:lnTo>
                  <a:lnTo>
                    <a:pt x="414" y="324"/>
                  </a:lnTo>
                  <a:lnTo>
                    <a:pt x="413" y="327"/>
                  </a:lnTo>
                  <a:lnTo>
                    <a:pt x="410" y="328"/>
                  </a:lnTo>
                  <a:lnTo>
                    <a:pt x="409" y="328"/>
                  </a:lnTo>
                  <a:lnTo>
                    <a:pt x="407" y="328"/>
                  </a:lnTo>
                  <a:lnTo>
                    <a:pt x="405" y="328"/>
                  </a:lnTo>
                  <a:lnTo>
                    <a:pt x="403" y="328"/>
                  </a:lnTo>
                  <a:lnTo>
                    <a:pt x="401" y="327"/>
                  </a:lnTo>
                  <a:lnTo>
                    <a:pt x="399" y="325"/>
                  </a:lnTo>
                  <a:lnTo>
                    <a:pt x="398" y="328"/>
                  </a:lnTo>
                  <a:lnTo>
                    <a:pt x="396" y="330"/>
                  </a:lnTo>
                  <a:lnTo>
                    <a:pt x="396" y="330"/>
                  </a:lnTo>
                  <a:lnTo>
                    <a:pt x="395" y="330"/>
                  </a:lnTo>
                  <a:lnTo>
                    <a:pt x="395" y="329"/>
                  </a:lnTo>
                  <a:lnTo>
                    <a:pt x="395" y="327"/>
                  </a:lnTo>
                  <a:lnTo>
                    <a:pt x="395" y="324"/>
                  </a:lnTo>
                  <a:lnTo>
                    <a:pt x="395" y="321"/>
                  </a:lnTo>
                  <a:lnTo>
                    <a:pt x="395" y="319"/>
                  </a:lnTo>
                  <a:lnTo>
                    <a:pt x="395" y="317"/>
                  </a:lnTo>
                  <a:lnTo>
                    <a:pt x="395" y="313"/>
                  </a:lnTo>
                  <a:lnTo>
                    <a:pt x="395" y="312"/>
                  </a:lnTo>
                  <a:lnTo>
                    <a:pt x="393" y="309"/>
                  </a:lnTo>
                  <a:lnTo>
                    <a:pt x="392" y="306"/>
                  </a:lnTo>
                  <a:lnTo>
                    <a:pt x="390" y="305"/>
                  </a:lnTo>
                  <a:lnTo>
                    <a:pt x="387" y="302"/>
                  </a:lnTo>
                  <a:lnTo>
                    <a:pt x="386" y="299"/>
                  </a:lnTo>
                  <a:lnTo>
                    <a:pt x="387" y="296"/>
                  </a:lnTo>
                  <a:lnTo>
                    <a:pt x="388" y="292"/>
                  </a:lnTo>
                  <a:lnTo>
                    <a:pt x="391" y="289"/>
                  </a:lnTo>
                  <a:lnTo>
                    <a:pt x="393" y="286"/>
                  </a:lnTo>
                  <a:lnTo>
                    <a:pt x="394" y="284"/>
                  </a:lnTo>
                  <a:lnTo>
                    <a:pt x="394" y="281"/>
                  </a:lnTo>
                  <a:lnTo>
                    <a:pt x="393" y="279"/>
                  </a:lnTo>
                  <a:lnTo>
                    <a:pt x="392" y="277"/>
                  </a:lnTo>
                  <a:lnTo>
                    <a:pt x="391" y="275"/>
                  </a:lnTo>
                  <a:lnTo>
                    <a:pt x="388" y="269"/>
                  </a:lnTo>
                  <a:lnTo>
                    <a:pt x="386" y="264"/>
                  </a:lnTo>
                  <a:lnTo>
                    <a:pt x="384" y="259"/>
                  </a:lnTo>
                  <a:lnTo>
                    <a:pt x="382" y="255"/>
                  </a:lnTo>
                  <a:lnTo>
                    <a:pt x="380" y="253"/>
                  </a:lnTo>
                  <a:lnTo>
                    <a:pt x="380" y="251"/>
                  </a:lnTo>
                  <a:lnTo>
                    <a:pt x="379" y="247"/>
                  </a:lnTo>
                  <a:lnTo>
                    <a:pt x="379" y="245"/>
                  </a:lnTo>
                  <a:lnTo>
                    <a:pt x="379" y="243"/>
                  </a:lnTo>
                  <a:lnTo>
                    <a:pt x="379" y="241"/>
                  </a:lnTo>
                  <a:lnTo>
                    <a:pt x="377" y="240"/>
                  </a:lnTo>
                  <a:lnTo>
                    <a:pt x="376" y="237"/>
                  </a:lnTo>
                  <a:lnTo>
                    <a:pt x="375" y="235"/>
                  </a:lnTo>
                  <a:lnTo>
                    <a:pt x="373" y="235"/>
                  </a:lnTo>
                  <a:lnTo>
                    <a:pt x="372" y="233"/>
                  </a:lnTo>
                  <a:lnTo>
                    <a:pt x="371" y="231"/>
                  </a:lnTo>
                  <a:lnTo>
                    <a:pt x="370" y="230"/>
                  </a:lnTo>
                  <a:lnTo>
                    <a:pt x="369" y="227"/>
                  </a:lnTo>
                  <a:lnTo>
                    <a:pt x="368" y="226"/>
                  </a:lnTo>
                  <a:lnTo>
                    <a:pt x="366" y="226"/>
                  </a:lnTo>
                  <a:lnTo>
                    <a:pt x="365" y="227"/>
                  </a:lnTo>
                  <a:lnTo>
                    <a:pt x="364" y="231"/>
                  </a:lnTo>
                  <a:lnTo>
                    <a:pt x="364" y="232"/>
                  </a:lnTo>
                  <a:lnTo>
                    <a:pt x="363" y="234"/>
                  </a:lnTo>
                  <a:lnTo>
                    <a:pt x="362" y="237"/>
                  </a:lnTo>
                  <a:lnTo>
                    <a:pt x="361" y="240"/>
                  </a:lnTo>
                  <a:lnTo>
                    <a:pt x="360" y="243"/>
                  </a:lnTo>
                  <a:lnTo>
                    <a:pt x="359" y="244"/>
                  </a:lnTo>
                  <a:lnTo>
                    <a:pt x="358" y="244"/>
                  </a:lnTo>
                  <a:lnTo>
                    <a:pt x="355" y="240"/>
                  </a:lnTo>
                  <a:lnTo>
                    <a:pt x="353" y="234"/>
                  </a:lnTo>
                  <a:lnTo>
                    <a:pt x="353" y="226"/>
                  </a:lnTo>
                  <a:lnTo>
                    <a:pt x="353" y="222"/>
                  </a:lnTo>
                  <a:lnTo>
                    <a:pt x="354" y="220"/>
                  </a:lnTo>
                  <a:lnTo>
                    <a:pt x="355" y="218"/>
                  </a:lnTo>
                  <a:lnTo>
                    <a:pt x="357" y="216"/>
                  </a:lnTo>
                  <a:lnTo>
                    <a:pt x="358" y="214"/>
                  </a:lnTo>
                  <a:lnTo>
                    <a:pt x="358" y="211"/>
                  </a:lnTo>
                  <a:lnTo>
                    <a:pt x="358" y="209"/>
                  </a:lnTo>
                  <a:lnTo>
                    <a:pt x="358" y="205"/>
                  </a:lnTo>
                  <a:lnTo>
                    <a:pt x="357" y="201"/>
                  </a:lnTo>
                  <a:lnTo>
                    <a:pt x="354" y="197"/>
                  </a:lnTo>
                  <a:lnTo>
                    <a:pt x="353" y="193"/>
                  </a:lnTo>
                  <a:lnTo>
                    <a:pt x="351" y="190"/>
                  </a:lnTo>
                  <a:lnTo>
                    <a:pt x="350" y="189"/>
                  </a:lnTo>
                  <a:lnTo>
                    <a:pt x="348" y="187"/>
                  </a:lnTo>
                  <a:lnTo>
                    <a:pt x="347" y="185"/>
                  </a:lnTo>
                  <a:lnTo>
                    <a:pt x="347" y="183"/>
                  </a:lnTo>
                  <a:lnTo>
                    <a:pt x="347" y="181"/>
                  </a:lnTo>
                  <a:lnTo>
                    <a:pt x="348" y="180"/>
                  </a:lnTo>
                  <a:lnTo>
                    <a:pt x="348" y="178"/>
                  </a:lnTo>
                  <a:lnTo>
                    <a:pt x="347" y="176"/>
                  </a:lnTo>
                  <a:lnTo>
                    <a:pt x="344" y="175"/>
                  </a:lnTo>
                  <a:lnTo>
                    <a:pt x="343" y="176"/>
                  </a:lnTo>
                  <a:lnTo>
                    <a:pt x="341" y="177"/>
                  </a:lnTo>
                  <a:lnTo>
                    <a:pt x="339" y="177"/>
                  </a:lnTo>
                  <a:lnTo>
                    <a:pt x="338" y="178"/>
                  </a:lnTo>
                  <a:lnTo>
                    <a:pt x="333" y="178"/>
                  </a:lnTo>
                  <a:lnTo>
                    <a:pt x="332" y="177"/>
                  </a:lnTo>
                  <a:lnTo>
                    <a:pt x="331" y="176"/>
                  </a:lnTo>
                  <a:lnTo>
                    <a:pt x="331" y="175"/>
                  </a:lnTo>
                  <a:lnTo>
                    <a:pt x="331" y="174"/>
                  </a:lnTo>
                  <a:lnTo>
                    <a:pt x="331" y="174"/>
                  </a:lnTo>
                  <a:lnTo>
                    <a:pt x="329" y="176"/>
                  </a:lnTo>
                  <a:lnTo>
                    <a:pt x="327" y="177"/>
                  </a:lnTo>
                  <a:lnTo>
                    <a:pt x="325" y="178"/>
                  </a:lnTo>
                  <a:lnTo>
                    <a:pt x="324" y="178"/>
                  </a:lnTo>
                  <a:lnTo>
                    <a:pt x="322" y="176"/>
                  </a:lnTo>
                  <a:lnTo>
                    <a:pt x="320" y="172"/>
                  </a:lnTo>
                  <a:lnTo>
                    <a:pt x="318" y="169"/>
                  </a:lnTo>
                  <a:lnTo>
                    <a:pt x="318" y="165"/>
                  </a:lnTo>
                  <a:lnTo>
                    <a:pt x="318" y="160"/>
                  </a:lnTo>
                  <a:lnTo>
                    <a:pt x="317" y="158"/>
                  </a:lnTo>
                  <a:lnTo>
                    <a:pt x="316" y="157"/>
                  </a:lnTo>
                  <a:lnTo>
                    <a:pt x="315" y="156"/>
                  </a:lnTo>
                  <a:lnTo>
                    <a:pt x="313" y="155"/>
                  </a:lnTo>
                  <a:lnTo>
                    <a:pt x="311" y="154"/>
                  </a:lnTo>
                  <a:lnTo>
                    <a:pt x="307" y="148"/>
                  </a:lnTo>
                  <a:lnTo>
                    <a:pt x="305" y="141"/>
                  </a:lnTo>
                  <a:lnTo>
                    <a:pt x="301" y="134"/>
                  </a:lnTo>
                  <a:lnTo>
                    <a:pt x="298" y="129"/>
                  </a:lnTo>
                  <a:lnTo>
                    <a:pt x="297" y="129"/>
                  </a:lnTo>
                  <a:lnTo>
                    <a:pt x="297" y="127"/>
                  </a:lnTo>
                  <a:lnTo>
                    <a:pt x="297" y="126"/>
                  </a:lnTo>
                  <a:lnTo>
                    <a:pt x="297" y="123"/>
                  </a:lnTo>
                  <a:lnTo>
                    <a:pt x="296" y="121"/>
                  </a:lnTo>
                  <a:lnTo>
                    <a:pt x="296" y="120"/>
                  </a:lnTo>
                  <a:lnTo>
                    <a:pt x="296" y="117"/>
                  </a:lnTo>
                  <a:lnTo>
                    <a:pt x="296" y="116"/>
                  </a:lnTo>
                  <a:lnTo>
                    <a:pt x="295" y="114"/>
                  </a:lnTo>
                  <a:lnTo>
                    <a:pt x="295" y="114"/>
                  </a:lnTo>
                  <a:lnTo>
                    <a:pt x="294" y="114"/>
                  </a:lnTo>
                  <a:lnTo>
                    <a:pt x="289" y="116"/>
                  </a:lnTo>
                  <a:lnTo>
                    <a:pt x="286" y="123"/>
                  </a:lnTo>
                  <a:lnTo>
                    <a:pt x="284" y="129"/>
                  </a:lnTo>
                  <a:lnTo>
                    <a:pt x="283" y="136"/>
                  </a:lnTo>
                  <a:lnTo>
                    <a:pt x="281" y="139"/>
                  </a:lnTo>
                  <a:lnTo>
                    <a:pt x="279" y="142"/>
                  </a:lnTo>
                  <a:lnTo>
                    <a:pt x="277" y="143"/>
                  </a:lnTo>
                  <a:lnTo>
                    <a:pt x="276" y="143"/>
                  </a:lnTo>
                  <a:lnTo>
                    <a:pt x="274" y="142"/>
                  </a:lnTo>
                  <a:lnTo>
                    <a:pt x="272" y="141"/>
                  </a:lnTo>
                  <a:lnTo>
                    <a:pt x="270" y="138"/>
                  </a:lnTo>
                  <a:lnTo>
                    <a:pt x="268" y="136"/>
                  </a:lnTo>
                  <a:lnTo>
                    <a:pt x="266" y="135"/>
                  </a:lnTo>
                  <a:lnTo>
                    <a:pt x="265" y="134"/>
                  </a:lnTo>
                  <a:lnTo>
                    <a:pt x="257" y="131"/>
                  </a:lnTo>
                  <a:lnTo>
                    <a:pt x="249" y="129"/>
                  </a:lnTo>
                  <a:lnTo>
                    <a:pt x="241" y="134"/>
                  </a:lnTo>
                  <a:lnTo>
                    <a:pt x="239" y="135"/>
                  </a:lnTo>
                  <a:lnTo>
                    <a:pt x="238" y="135"/>
                  </a:lnTo>
                  <a:lnTo>
                    <a:pt x="237" y="134"/>
                  </a:lnTo>
                  <a:lnTo>
                    <a:pt x="235" y="132"/>
                  </a:lnTo>
                  <a:lnTo>
                    <a:pt x="234" y="129"/>
                  </a:lnTo>
                  <a:lnTo>
                    <a:pt x="233" y="127"/>
                  </a:lnTo>
                  <a:lnTo>
                    <a:pt x="232" y="124"/>
                  </a:lnTo>
                  <a:lnTo>
                    <a:pt x="231" y="122"/>
                  </a:lnTo>
                  <a:lnTo>
                    <a:pt x="229" y="120"/>
                  </a:lnTo>
                  <a:lnTo>
                    <a:pt x="228" y="118"/>
                  </a:lnTo>
                  <a:lnTo>
                    <a:pt x="226" y="118"/>
                  </a:lnTo>
                  <a:lnTo>
                    <a:pt x="224" y="120"/>
                  </a:lnTo>
                  <a:lnTo>
                    <a:pt x="222" y="120"/>
                  </a:lnTo>
                  <a:lnTo>
                    <a:pt x="221" y="118"/>
                  </a:lnTo>
                  <a:lnTo>
                    <a:pt x="220" y="117"/>
                  </a:lnTo>
                  <a:lnTo>
                    <a:pt x="219" y="116"/>
                  </a:lnTo>
                  <a:lnTo>
                    <a:pt x="218" y="114"/>
                  </a:lnTo>
                  <a:lnTo>
                    <a:pt x="218" y="112"/>
                  </a:lnTo>
                  <a:lnTo>
                    <a:pt x="217" y="110"/>
                  </a:lnTo>
                  <a:lnTo>
                    <a:pt x="212" y="109"/>
                  </a:lnTo>
                  <a:lnTo>
                    <a:pt x="207" y="109"/>
                  </a:lnTo>
                  <a:lnTo>
                    <a:pt x="202" y="111"/>
                  </a:lnTo>
                  <a:lnTo>
                    <a:pt x="199" y="114"/>
                  </a:lnTo>
                  <a:lnTo>
                    <a:pt x="198" y="117"/>
                  </a:lnTo>
                  <a:lnTo>
                    <a:pt x="198" y="120"/>
                  </a:lnTo>
                  <a:lnTo>
                    <a:pt x="199" y="122"/>
                  </a:lnTo>
                  <a:lnTo>
                    <a:pt x="200" y="124"/>
                  </a:lnTo>
                  <a:lnTo>
                    <a:pt x="201" y="125"/>
                  </a:lnTo>
                  <a:lnTo>
                    <a:pt x="202" y="127"/>
                  </a:lnTo>
                  <a:lnTo>
                    <a:pt x="202" y="129"/>
                  </a:lnTo>
                  <a:lnTo>
                    <a:pt x="201" y="132"/>
                  </a:lnTo>
                  <a:lnTo>
                    <a:pt x="200" y="134"/>
                  </a:lnTo>
                  <a:lnTo>
                    <a:pt x="199" y="136"/>
                  </a:lnTo>
                  <a:lnTo>
                    <a:pt x="198" y="137"/>
                  </a:lnTo>
                  <a:lnTo>
                    <a:pt x="196" y="138"/>
                  </a:lnTo>
                  <a:lnTo>
                    <a:pt x="195" y="138"/>
                  </a:lnTo>
                  <a:lnTo>
                    <a:pt x="191" y="141"/>
                  </a:lnTo>
                  <a:lnTo>
                    <a:pt x="189" y="143"/>
                  </a:lnTo>
                  <a:lnTo>
                    <a:pt x="187" y="145"/>
                  </a:lnTo>
                  <a:lnTo>
                    <a:pt x="186" y="147"/>
                  </a:lnTo>
                  <a:lnTo>
                    <a:pt x="184" y="150"/>
                  </a:lnTo>
                  <a:lnTo>
                    <a:pt x="182" y="153"/>
                  </a:lnTo>
                  <a:lnTo>
                    <a:pt x="179" y="154"/>
                  </a:lnTo>
                  <a:lnTo>
                    <a:pt x="177" y="156"/>
                  </a:lnTo>
                  <a:lnTo>
                    <a:pt x="175" y="157"/>
                  </a:lnTo>
                  <a:lnTo>
                    <a:pt x="173" y="159"/>
                  </a:lnTo>
                  <a:lnTo>
                    <a:pt x="170" y="160"/>
                  </a:lnTo>
                  <a:lnTo>
                    <a:pt x="168" y="161"/>
                  </a:lnTo>
                  <a:lnTo>
                    <a:pt x="166" y="163"/>
                  </a:lnTo>
                  <a:lnTo>
                    <a:pt x="165" y="163"/>
                  </a:lnTo>
                  <a:lnTo>
                    <a:pt x="165" y="161"/>
                  </a:lnTo>
                  <a:lnTo>
                    <a:pt x="165" y="159"/>
                  </a:lnTo>
                  <a:lnTo>
                    <a:pt x="165" y="157"/>
                  </a:lnTo>
                  <a:lnTo>
                    <a:pt x="165" y="154"/>
                  </a:lnTo>
                  <a:lnTo>
                    <a:pt x="165" y="150"/>
                  </a:lnTo>
                  <a:lnTo>
                    <a:pt x="166" y="148"/>
                  </a:lnTo>
                  <a:lnTo>
                    <a:pt x="166" y="146"/>
                  </a:lnTo>
                  <a:lnTo>
                    <a:pt x="166" y="145"/>
                  </a:lnTo>
                  <a:lnTo>
                    <a:pt x="166" y="143"/>
                  </a:lnTo>
                  <a:lnTo>
                    <a:pt x="165" y="142"/>
                  </a:lnTo>
                  <a:lnTo>
                    <a:pt x="164" y="141"/>
                  </a:lnTo>
                  <a:lnTo>
                    <a:pt x="164" y="139"/>
                  </a:lnTo>
                  <a:lnTo>
                    <a:pt x="163" y="138"/>
                  </a:lnTo>
                  <a:lnTo>
                    <a:pt x="163" y="136"/>
                  </a:lnTo>
                  <a:lnTo>
                    <a:pt x="164" y="134"/>
                  </a:lnTo>
                  <a:lnTo>
                    <a:pt x="166" y="129"/>
                  </a:lnTo>
                  <a:lnTo>
                    <a:pt x="168" y="124"/>
                  </a:lnTo>
                  <a:lnTo>
                    <a:pt x="170" y="118"/>
                  </a:lnTo>
                  <a:lnTo>
                    <a:pt x="170" y="115"/>
                  </a:lnTo>
                  <a:lnTo>
                    <a:pt x="172" y="113"/>
                  </a:lnTo>
                  <a:lnTo>
                    <a:pt x="173" y="112"/>
                  </a:lnTo>
                  <a:lnTo>
                    <a:pt x="175" y="112"/>
                  </a:lnTo>
                  <a:lnTo>
                    <a:pt x="177" y="112"/>
                  </a:lnTo>
                  <a:lnTo>
                    <a:pt x="178" y="111"/>
                  </a:lnTo>
                  <a:lnTo>
                    <a:pt x="179" y="109"/>
                  </a:lnTo>
                  <a:lnTo>
                    <a:pt x="180" y="106"/>
                  </a:lnTo>
                  <a:lnTo>
                    <a:pt x="182" y="103"/>
                  </a:lnTo>
                  <a:lnTo>
                    <a:pt x="182" y="100"/>
                  </a:lnTo>
                  <a:lnTo>
                    <a:pt x="182" y="99"/>
                  </a:lnTo>
                  <a:lnTo>
                    <a:pt x="180" y="98"/>
                  </a:lnTo>
                  <a:lnTo>
                    <a:pt x="179" y="96"/>
                  </a:lnTo>
                  <a:lnTo>
                    <a:pt x="177" y="98"/>
                  </a:lnTo>
                  <a:lnTo>
                    <a:pt x="175" y="99"/>
                  </a:lnTo>
                  <a:lnTo>
                    <a:pt x="174" y="100"/>
                  </a:lnTo>
                  <a:lnTo>
                    <a:pt x="172" y="102"/>
                  </a:lnTo>
                  <a:lnTo>
                    <a:pt x="170" y="104"/>
                  </a:lnTo>
                  <a:lnTo>
                    <a:pt x="168" y="105"/>
                  </a:lnTo>
                  <a:lnTo>
                    <a:pt x="168" y="107"/>
                  </a:lnTo>
                  <a:lnTo>
                    <a:pt x="162" y="121"/>
                  </a:lnTo>
                  <a:lnTo>
                    <a:pt x="158" y="123"/>
                  </a:lnTo>
                  <a:lnTo>
                    <a:pt x="157" y="124"/>
                  </a:lnTo>
                  <a:lnTo>
                    <a:pt x="157" y="126"/>
                  </a:lnTo>
                  <a:lnTo>
                    <a:pt x="157" y="129"/>
                  </a:lnTo>
                  <a:lnTo>
                    <a:pt x="157" y="135"/>
                  </a:lnTo>
                  <a:lnTo>
                    <a:pt x="156" y="141"/>
                  </a:lnTo>
                  <a:lnTo>
                    <a:pt x="155" y="145"/>
                  </a:lnTo>
                  <a:lnTo>
                    <a:pt x="153" y="147"/>
                  </a:lnTo>
                  <a:lnTo>
                    <a:pt x="152" y="148"/>
                  </a:lnTo>
                  <a:lnTo>
                    <a:pt x="150" y="148"/>
                  </a:lnTo>
                  <a:lnTo>
                    <a:pt x="147" y="149"/>
                  </a:lnTo>
                  <a:lnTo>
                    <a:pt x="146" y="152"/>
                  </a:lnTo>
                  <a:lnTo>
                    <a:pt x="144" y="155"/>
                  </a:lnTo>
                  <a:lnTo>
                    <a:pt x="144" y="157"/>
                  </a:lnTo>
                  <a:lnTo>
                    <a:pt x="144" y="159"/>
                  </a:lnTo>
                  <a:lnTo>
                    <a:pt x="144" y="160"/>
                  </a:lnTo>
                  <a:lnTo>
                    <a:pt x="145" y="161"/>
                  </a:lnTo>
                  <a:lnTo>
                    <a:pt x="145" y="163"/>
                  </a:lnTo>
                  <a:lnTo>
                    <a:pt x="146" y="165"/>
                  </a:lnTo>
                  <a:lnTo>
                    <a:pt x="145" y="168"/>
                  </a:lnTo>
                  <a:lnTo>
                    <a:pt x="144" y="169"/>
                  </a:lnTo>
                  <a:lnTo>
                    <a:pt x="143" y="171"/>
                  </a:lnTo>
                  <a:lnTo>
                    <a:pt x="142" y="171"/>
                  </a:lnTo>
                  <a:lnTo>
                    <a:pt x="140" y="170"/>
                  </a:lnTo>
                  <a:lnTo>
                    <a:pt x="137" y="169"/>
                  </a:lnTo>
                  <a:lnTo>
                    <a:pt x="135" y="169"/>
                  </a:lnTo>
                  <a:lnTo>
                    <a:pt x="134" y="171"/>
                  </a:lnTo>
                  <a:lnTo>
                    <a:pt x="134" y="174"/>
                  </a:lnTo>
                  <a:lnTo>
                    <a:pt x="135" y="176"/>
                  </a:lnTo>
                  <a:lnTo>
                    <a:pt x="136" y="177"/>
                  </a:lnTo>
                  <a:lnTo>
                    <a:pt x="137" y="178"/>
                  </a:lnTo>
                  <a:lnTo>
                    <a:pt x="139" y="179"/>
                  </a:lnTo>
                  <a:lnTo>
                    <a:pt x="141" y="181"/>
                  </a:lnTo>
                  <a:lnTo>
                    <a:pt x="142" y="182"/>
                  </a:lnTo>
                  <a:lnTo>
                    <a:pt x="142" y="185"/>
                  </a:lnTo>
                  <a:lnTo>
                    <a:pt x="143" y="186"/>
                  </a:lnTo>
                  <a:lnTo>
                    <a:pt x="142" y="189"/>
                  </a:lnTo>
                  <a:lnTo>
                    <a:pt x="142" y="191"/>
                  </a:lnTo>
                  <a:lnTo>
                    <a:pt x="140" y="196"/>
                  </a:lnTo>
                  <a:lnTo>
                    <a:pt x="139" y="200"/>
                  </a:lnTo>
                  <a:lnTo>
                    <a:pt x="136" y="203"/>
                  </a:lnTo>
                  <a:lnTo>
                    <a:pt x="134" y="205"/>
                  </a:lnTo>
                  <a:lnTo>
                    <a:pt x="131" y="208"/>
                  </a:lnTo>
                  <a:lnTo>
                    <a:pt x="129" y="210"/>
                  </a:lnTo>
                  <a:lnTo>
                    <a:pt x="126" y="211"/>
                  </a:lnTo>
                  <a:lnTo>
                    <a:pt x="124" y="213"/>
                  </a:lnTo>
                  <a:lnTo>
                    <a:pt x="118" y="219"/>
                  </a:lnTo>
                  <a:lnTo>
                    <a:pt x="113" y="227"/>
                  </a:lnTo>
                  <a:lnTo>
                    <a:pt x="109" y="237"/>
                  </a:lnTo>
                  <a:lnTo>
                    <a:pt x="108" y="240"/>
                  </a:lnTo>
                  <a:lnTo>
                    <a:pt x="107" y="242"/>
                  </a:lnTo>
                  <a:lnTo>
                    <a:pt x="107" y="244"/>
                  </a:lnTo>
                  <a:lnTo>
                    <a:pt x="107" y="246"/>
                  </a:lnTo>
                  <a:lnTo>
                    <a:pt x="103" y="247"/>
                  </a:lnTo>
                  <a:lnTo>
                    <a:pt x="101" y="248"/>
                  </a:lnTo>
                  <a:lnTo>
                    <a:pt x="99" y="249"/>
                  </a:lnTo>
                  <a:lnTo>
                    <a:pt x="98" y="253"/>
                  </a:lnTo>
                  <a:lnTo>
                    <a:pt x="96" y="258"/>
                  </a:lnTo>
                  <a:lnTo>
                    <a:pt x="92" y="264"/>
                  </a:lnTo>
                  <a:lnTo>
                    <a:pt x="90" y="267"/>
                  </a:lnTo>
                  <a:lnTo>
                    <a:pt x="87" y="270"/>
                  </a:lnTo>
                  <a:lnTo>
                    <a:pt x="85" y="272"/>
                  </a:lnTo>
                  <a:lnTo>
                    <a:pt x="82" y="273"/>
                  </a:lnTo>
                  <a:lnTo>
                    <a:pt x="80" y="272"/>
                  </a:lnTo>
                  <a:lnTo>
                    <a:pt x="79" y="270"/>
                  </a:lnTo>
                  <a:lnTo>
                    <a:pt x="78" y="267"/>
                  </a:lnTo>
                  <a:lnTo>
                    <a:pt x="78" y="264"/>
                  </a:lnTo>
                  <a:lnTo>
                    <a:pt x="78" y="261"/>
                  </a:lnTo>
                  <a:lnTo>
                    <a:pt x="78" y="257"/>
                  </a:lnTo>
                  <a:lnTo>
                    <a:pt x="79" y="255"/>
                  </a:lnTo>
                  <a:lnTo>
                    <a:pt x="80" y="253"/>
                  </a:lnTo>
                  <a:lnTo>
                    <a:pt x="81" y="252"/>
                  </a:lnTo>
                  <a:lnTo>
                    <a:pt x="82" y="252"/>
                  </a:lnTo>
                  <a:lnTo>
                    <a:pt x="84" y="251"/>
                  </a:lnTo>
                  <a:lnTo>
                    <a:pt x="85" y="249"/>
                  </a:lnTo>
                  <a:lnTo>
                    <a:pt x="87" y="248"/>
                  </a:lnTo>
                  <a:lnTo>
                    <a:pt x="88" y="246"/>
                  </a:lnTo>
                  <a:lnTo>
                    <a:pt x="88" y="244"/>
                  </a:lnTo>
                  <a:lnTo>
                    <a:pt x="89" y="243"/>
                  </a:lnTo>
                  <a:lnTo>
                    <a:pt x="90" y="242"/>
                  </a:lnTo>
                  <a:lnTo>
                    <a:pt x="91" y="240"/>
                  </a:lnTo>
                  <a:lnTo>
                    <a:pt x="92" y="237"/>
                  </a:lnTo>
                  <a:lnTo>
                    <a:pt x="93" y="236"/>
                  </a:lnTo>
                  <a:lnTo>
                    <a:pt x="95" y="233"/>
                  </a:lnTo>
                  <a:lnTo>
                    <a:pt x="95" y="231"/>
                  </a:lnTo>
                  <a:lnTo>
                    <a:pt x="96" y="229"/>
                  </a:lnTo>
                  <a:lnTo>
                    <a:pt x="96" y="226"/>
                  </a:lnTo>
                  <a:lnTo>
                    <a:pt x="97" y="225"/>
                  </a:lnTo>
                  <a:lnTo>
                    <a:pt x="99" y="224"/>
                  </a:lnTo>
                  <a:lnTo>
                    <a:pt x="100" y="223"/>
                  </a:lnTo>
                  <a:lnTo>
                    <a:pt x="102" y="222"/>
                  </a:lnTo>
                  <a:lnTo>
                    <a:pt x="102" y="219"/>
                  </a:lnTo>
                  <a:lnTo>
                    <a:pt x="103" y="215"/>
                  </a:lnTo>
                  <a:lnTo>
                    <a:pt x="103" y="213"/>
                  </a:lnTo>
                  <a:lnTo>
                    <a:pt x="104" y="211"/>
                  </a:lnTo>
                  <a:lnTo>
                    <a:pt x="104" y="203"/>
                  </a:lnTo>
                  <a:lnTo>
                    <a:pt x="107" y="197"/>
                  </a:lnTo>
                  <a:lnTo>
                    <a:pt x="109" y="191"/>
                  </a:lnTo>
                  <a:lnTo>
                    <a:pt x="109" y="189"/>
                  </a:lnTo>
                  <a:lnTo>
                    <a:pt x="109" y="187"/>
                  </a:lnTo>
                  <a:lnTo>
                    <a:pt x="110" y="185"/>
                  </a:lnTo>
                  <a:lnTo>
                    <a:pt x="111" y="181"/>
                  </a:lnTo>
                  <a:lnTo>
                    <a:pt x="111" y="180"/>
                  </a:lnTo>
                  <a:lnTo>
                    <a:pt x="109" y="179"/>
                  </a:lnTo>
                  <a:lnTo>
                    <a:pt x="108" y="179"/>
                  </a:lnTo>
                  <a:lnTo>
                    <a:pt x="107" y="180"/>
                  </a:lnTo>
                  <a:lnTo>
                    <a:pt x="107" y="180"/>
                  </a:lnTo>
                  <a:lnTo>
                    <a:pt x="106" y="182"/>
                  </a:lnTo>
                  <a:lnTo>
                    <a:pt x="104" y="185"/>
                  </a:lnTo>
                  <a:lnTo>
                    <a:pt x="103" y="187"/>
                  </a:lnTo>
                  <a:lnTo>
                    <a:pt x="102" y="187"/>
                  </a:lnTo>
                  <a:lnTo>
                    <a:pt x="101" y="187"/>
                  </a:lnTo>
                  <a:lnTo>
                    <a:pt x="100" y="185"/>
                  </a:lnTo>
                  <a:lnTo>
                    <a:pt x="100" y="183"/>
                  </a:lnTo>
                  <a:lnTo>
                    <a:pt x="100" y="182"/>
                  </a:lnTo>
                  <a:lnTo>
                    <a:pt x="99" y="180"/>
                  </a:lnTo>
                  <a:lnTo>
                    <a:pt x="99" y="179"/>
                  </a:lnTo>
                  <a:lnTo>
                    <a:pt x="99" y="178"/>
                  </a:lnTo>
                  <a:lnTo>
                    <a:pt x="98" y="178"/>
                  </a:lnTo>
                  <a:lnTo>
                    <a:pt x="97" y="179"/>
                  </a:lnTo>
                  <a:lnTo>
                    <a:pt x="96" y="180"/>
                  </a:lnTo>
                  <a:lnTo>
                    <a:pt x="95" y="182"/>
                  </a:lnTo>
                  <a:lnTo>
                    <a:pt x="93" y="185"/>
                  </a:lnTo>
                  <a:lnTo>
                    <a:pt x="93" y="187"/>
                  </a:lnTo>
                  <a:lnTo>
                    <a:pt x="92" y="188"/>
                  </a:lnTo>
                  <a:lnTo>
                    <a:pt x="92" y="190"/>
                  </a:lnTo>
                  <a:lnTo>
                    <a:pt x="92" y="192"/>
                  </a:lnTo>
                  <a:lnTo>
                    <a:pt x="91" y="193"/>
                  </a:lnTo>
                  <a:lnTo>
                    <a:pt x="91" y="196"/>
                  </a:lnTo>
                  <a:lnTo>
                    <a:pt x="90" y="197"/>
                  </a:lnTo>
                  <a:lnTo>
                    <a:pt x="90" y="197"/>
                  </a:lnTo>
                  <a:lnTo>
                    <a:pt x="89" y="197"/>
                  </a:lnTo>
                  <a:lnTo>
                    <a:pt x="88" y="196"/>
                  </a:lnTo>
                  <a:lnTo>
                    <a:pt x="87" y="193"/>
                  </a:lnTo>
                  <a:lnTo>
                    <a:pt x="87" y="192"/>
                  </a:lnTo>
                  <a:lnTo>
                    <a:pt x="87" y="191"/>
                  </a:lnTo>
                  <a:lnTo>
                    <a:pt x="86" y="189"/>
                  </a:lnTo>
                  <a:lnTo>
                    <a:pt x="85" y="186"/>
                  </a:lnTo>
                  <a:lnTo>
                    <a:pt x="82" y="183"/>
                  </a:lnTo>
                  <a:lnTo>
                    <a:pt x="80" y="182"/>
                  </a:lnTo>
                  <a:lnTo>
                    <a:pt x="79" y="181"/>
                  </a:lnTo>
                  <a:lnTo>
                    <a:pt x="77" y="181"/>
                  </a:lnTo>
                  <a:lnTo>
                    <a:pt x="75" y="183"/>
                  </a:lnTo>
                  <a:lnTo>
                    <a:pt x="74" y="187"/>
                  </a:lnTo>
                  <a:lnTo>
                    <a:pt x="71" y="189"/>
                  </a:lnTo>
                  <a:lnTo>
                    <a:pt x="70" y="191"/>
                  </a:lnTo>
                  <a:lnTo>
                    <a:pt x="69" y="192"/>
                  </a:lnTo>
                  <a:lnTo>
                    <a:pt x="69" y="193"/>
                  </a:lnTo>
                  <a:lnTo>
                    <a:pt x="67" y="193"/>
                  </a:lnTo>
                  <a:lnTo>
                    <a:pt x="67" y="193"/>
                  </a:lnTo>
                  <a:lnTo>
                    <a:pt x="66" y="192"/>
                  </a:lnTo>
                  <a:lnTo>
                    <a:pt x="66" y="191"/>
                  </a:lnTo>
                  <a:lnTo>
                    <a:pt x="66" y="189"/>
                  </a:lnTo>
                  <a:lnTo>
                    <a:pt x="67" y="188"/>
                  </a:lnTo>
                  <a:lnTo>
                    <a:pt x="67" y="187"/>
                  </a:lnTo>
                  <a:lnTo>
                    <a:pt x="67" y="183"/>
                  </a:lnTo>
                  <a:lnTo>
                    <a:pt x="67" y="181"/>
                  </a:lnTo>
                  <a:lnTo>
                    <a:pt x="67" y="179"/>
                  </a:lnTo>
                  <a:lnTo>
                    <a:pt x="66" y="177"/>
                  </a:lnTo>
                  <a:lnTo>
                    <a:pt x="66" y="175"/>
                  </a:lnTo>
                  <a:lnTo>
                    <a:pt x="67" y="171"/>
                  </a:lnTo>
                  <a:lnTo>
                    <a:pt x="68" y="168"/>
                  </a:lnTo>
                  <a:lnTo>
                    <a:pt x="68" y="165"/>
                  </a:lnTo>
                  <a:lnTo>
                    <a:pt x="68" y="163"/>
                  </a:lnTo>
                  <a:lnTo>
                    <a:pt x="68" y="160"/>
                  </a:lnTo>
                  <a:lnTo>
                    <a:pt x="67" y="158"/>
                  </a:lnTo>
                  <a:lnTo>
                    <a:pt x="67" y="156"/>
                  </a:lnTo>
                  <a:lnTo>
                    <a:pt x="66" y="154"/>
                  </a:lnTo>
                  <a:lnTo>
                    <a:pt x="65" y="152"/>
                  </a:lnTo>
                  <a:lnTo>
                    <a:pt x="65" y="150"/>
                  </a:lnTo>
                  <a:lnTo>
                    <a:pt x="64" y="150"/>
                  </a:lnTo>
                  <a:lnTo>
                    <a:pt x="63" y="152"/>
                  </a:lnTo>
                  <a:lnTo>
                    <a:pt x="62" y="154"/>
                  </a:lnTo>
                  <a:lnTo>
                    <a:pt x="60" y="156"/>
                  </a:lnTo>
                  <a:lnTo>
                    <a:pt x="59" y="158"/>
                  </a:lnTo>
                  <a:lnTo>
                    <a:pt x="59" y="159"/>
                  </a:lnTo>
                  <a:lnTo>
                    <a:pt x="58" y="160"/>
                  </a:lnTo>
                  <a:lnTo>
                    <a:pt x="56" y="159"/>
                  </a:lnTo>
                  <a:lnTo>
                    <a:pt x="54" y="157"/>
                  </a:lnTo>
                  <a:lnTo>
                    <a:pt x="52" y="154"/>
                  </a:lnTo>
                  <a:lnTo>
                    <a:pt x="49" y="150"/>
                  </a:lnTo>
                  <a:lnTo>
                    <a:pt x="47" y="147"/>
                  </a:lnTo>
                  <a:lnTo>
                    <a:pt x="45" y="145"/>
                  </a:lnTo>
                  <a:lnTo>
                    <a:pt x="44" y="144"/>
                  </a:lnTo>
                  <a:lnTo>
                    <a:pt x="43" y="143"/>
                  </a:lnTo>
                  <a:lnTo>
                    <a:pt x="42" y="142"/>
                  </a:lnTo>
                  <a:lnTo>
                    <a:pt x="41" y="139"/>
                  </a:lnTo>
                  <a:lnTo>
                    <a:pt x="39" y="138"/>
                  </a:lnTo>
                  <a:lnTo>
                    <a:pt x="39" y="137"/>
                  </a:lnTo>
                  <a:lnTo>
                    <a:pt x="39" y="136"/>
                  </a:lnTo>
                  <a:lnTo>
                    <a:pt x="41" y="136"/>
                  </a:lnTo>
                  <a:lnTo>
                    <a:pt x="43" y="136"/>
                  </a:lnTo>
                  <a:lnTo>
                    <a:pt x="47" y="137"/>
                  </a:lnTo>
                  <a:lnTo>
                    <a:pt x="52" y="137"/>
                  </a:lnTo>
                  <a:lnTo>
                    <a:pt x="56" y="136"/>
                  </a:lnTo>
                  <a:lnTo>
                    <a:pt x="57" y="134"/>
                  </a:lnTo>
                  <a:lnTo>
                    <a:pt x="57" y="133"/>
                  </a:lnTo>
                  <a:lnTo>
                    <a:pt x="57" y="132"/>
                  </a:lnTo>
                  <a:lnTo>
                    <a:pt x="56" y="132"/>
                  </a:lnTo>
                  <a:lnTo>
                    <a:pt x="54" y="132"/>
                  </a:lnTo>
                  <a:lnTo>
                    <a:pt x="53" y="132"/>
                  </a:lnTo>
                  <a:lnTo>
                    <a:pt x="50" y="132"/>
                  </a:lnTo>
                  <a:lnTo>
                    <a:pt x="49" y="132"/>
                  </a:lnTo>
                  <a:lnTo>
                    <a:pt x="49" y="132"/>
                  </a:lnTo>
                  <a:lnTo>
                    <a:pt x="47" y="131"/>
                  </a:lnTo>
                  <a:lnTo>
                    <a:pt x="46" y="129"/>
                  </a:lnTo>
                  <a:lnTo>
                    <a:pt x="44" y="127"/>
                  </a:lnTo>
                  <a:lnTo>
                    <a:pt x="43" y="125"/>
                  </a:lnTo>
                  <a:lnTo>
                    <a:pt x="42" y="124"/>
                  </a:lnTo>
                  <a:lnTo>
                    <a:pt x="41" y="124"/>
                  </a:lnTo>
                  <a:lnTo>
                    <a:pt x="39" y="124"/>
                  </a:lnTo>
                  <a:lnTo>
                    <a:pt x="39" y="123"/>
                  </a:lnTo>
                  <a:lnTo>
                    <a:pt x="38" y="121"/>
                  </a:lnTo>
                  <a:lnTo>
                    <a:pt x="38" y="120"/>
                  </a:lnTo>
                  <a:lnTo>
                    <a:pt x="38" y="117"/>
                  </a:lnTo>
                  <a:lnTo>
                    <a:pt x="38" y="114"/>
                  </a:lnTo>
                  <a:lnTo>
                    <a:pt x="37" y="112"/>
                  </a:lnTo>
                  <a:lnTo>
                    <a:pt x="37" y="109"/>
                  </a:lnTo>
                  <a:lnTo>
                    <a:pt x="37" y="106"/>
                  </a:lnTo>
                  <a:lnTo>
                    <a:pt x="36" y="105"/>
                  </a:lnTo>
                  <a:lnTo>
                    <a:pt x="36" y="105"/>
                  </a:lnTo>
                  <a:lnTo>
                    <a:pt x="37" y="102"/>
                  </a:lnTo>
                  <a:lnTo>
                    <a:pt x="41" y="98"/>
                  </a:lnTo>
                  <a:lnTo>
                    <a:pt x="43" y="93"/>
                  </a:lnTo>
                  <a:lnTo>
                    <a:pt x="45" y="88"/>
                  </a:lnTo>
                  <a:lnTo>
                    <a:pt x="45" y="87"/>
                  </a:lnTo>
                  <a:lnTo>
                    <a:pt x="45" y="84"/>
                  </a:lnTo>
                  <a:lnTo>
                    <a:pt x="45" y="83"/>
                  </a:lnTo>
                  <a:lnTo>
                    <a:pt x="46" y="82"/>
                  </a:lnTo>
                  <a:lnTo>
                    <a:pt x="47" y="81"/>
                  </a:lnTo>
                  <a:lnTo>
                    <a:pt x="49" y="80"/>
                  </a:lnTo>
                  <a:lnTo>
                    <a:pt x="50" y="78"/>
                  </a:lnTo>
                  <a:lnTo>
                    <a:pt x="50" y="76"/>
                  </a:lnTo>
                  <a:lnTo>
                    <a:pt x="52" y="73"/>
                  </a:lnTo>
                  <a:lnTo>
                    <a:pt x="52" y="70"/>
                  </a:lnTo>
                  <a:lnTo>
                    <a:pt x="52" y="66"/>
                  </a:lnTo>
                  <a:lnTo>
                    <a:pt x="52" y="61"/>
                  </a:lnTo>
                  <a:lnTo>
                    <a:pt x="54" y="57"/>
                  </a:lnTo>
                  <a:lnTo>
                    <a:pt x="55" y="55"/>
                  </a:lnTo>
                  <a:lnTo>
                    <a:pt x="56" y="54"/>
                  </a:lnTo>
                  <a:lnTo>
                    <a:pt x="57" y="54"/>
                  </a:lnTo>
                  <a:lnTo>
                    <a:pt x="58" y="55"/>
                  </a:lnTo>
                  <a:lnTo>
                    <a:pt x="58" y="56"/>
                  </a:lnTo>
                  <a:lnTo>
                    <a:pt x="59" y="57"/>
                  </a:lnTo>
                  <a:lnTo>
                    <a:pt x="59" y="59"/>
                  </a:lnTo>
                  <a:lnTo>
                    <a:pt x="59" y="60"/>
                  </a:lnTo>
                  <a:lnTo>
                    <a:pt x="60" y="60"/>
                  </a:lnTo>
                  <a:lnTo>
                    <a:pt x="62" y="60"/>
                  </a:lnTo>
                  <a:lnTo>
                    <a:pt x="63" y="59"/>
                  </a:lnTo>
                  <a:lnTo>
                    <a:pt x="65" y="57"/>
                  </a:lnTo>
                  <a:lnTo>
                    <a:pt x="67" y="55"/>
                  </a:lnTo>
                  <a:lnTo>
                    <a:pt x="68" y="51"/>
                  </a:lnTo>
                  <a:lnTo>
                    <a:pt x="69" y="49"/>
                  </a:lnTo>
                  <a:lnTo>
                    <a:pt x="71" y="48"/>
                  </a:lnTo>
                  <a:lnTo>
                    <a:pt x="73" y="48"/>
                  </a:lnTo>
                  <a:lnTo>
                    <a:pt x="75" y="49"/>
                  </a:lnTo>
                  <a:lnTo>
                    <a:pt x="77" y="49"/>
                  </a:lnTo>
                  <a:lnTo>
                    <a:pt x="78" y="49"/>
                  </a:lnTo>
                  <a:lnTo>
                    <a:pt x="80" y="48"/>
                  </a:lnTo>
                  <a:lnTo>
                    <a:pt x="81" y="47"/>
                  </a:lnTo>
                  <a:lnTo>
                    <a:pt x="82" y="44"/>
                  </a:lnTo>
                  <a:lnTo>
                    <a:pt x="84" y="40"/>
                  </a:lnTo>
                  <a:lnTo>
                    <a:pt x="86" y="37"/>
                  </a:lnTo>
                  <a:lnTo>
                    <a:pt x="86" y="34"/>
                  </a:lnTo>
                  <a:lnTo>
                    <a:pt x="87" y="30"/>
                  </a:lnTo>
                  <a:lnTo>
                    <a:pt x="87" y="17"/>
                  </a:lnTo>
                  <a:lnTo>
                    <a:pt x="87" y="16"/>
                  </a:lnTo>
                  <a:lnTo>
                    <a:pt x="88" y="14"/>
                  </a:lnTo>
                  <a:lnTo>
                    <a:pt x="89" y="11"/>
                  </a:lnTo>
                  <a:lnTo>
                    <a:pt x="89" y="8"/>
                  </a:lnTo>
                  <a:lnTo>
                    <a:pt x="90" y="7"/>
                  </a:lnTo>
                  <a:lnTo>
                    <a:pt x="91" y="4"/>
                  </a:lnTo>
                  <a:lnTo>
                    <a:pt x="90" y="4"/>
                  </a:lnTo>
                  <a:lnTo>
                    <a:pt x="90" y="3"/>
                  </a:lnTo>
                  <a:lnTo>
                    <a:pt x="91" y="2"/>
                  </a:lnTo>
                  <a:lnTo>
                    <a:pt x="91" y="2"/>
                  </a:lnTo>
                  <a:lnTo>
                    <a:pt x="92" y="2"/>
                  </a:lnTo>
                  <a:lnTo>
                    <a:pt x="92" y="1"/>
                  </a:lnTo>
                  <a:lnTo>
                    <a:pt x="92"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98" name="Freeform 34"/>
            <p:cNvSpPr>
              <a:spLocks noEditPoints="1"/>
            </p:cNvSpPr>
            <p:nvPr/>
          </p:nvSpPr>
          <p:spPr bwMode="auto">
            <a:xfrm>
              <a:off x="5640" y="775"/>
              <a:ext cx="364" cy="127"/>
            </a:xfrm>
            <a:custGeom>
              <a:avLst/>
              <a:gdLst>
                <a:gd name="T0" fmla="*/ 91 w 2549"/>
                <a:gd name="T1" fmla="*/ 275 h 889"/>
                <a:gd name="T2" fmla="*/ 225 w 2549"/>
                <a:gd name="T3" fmla="*/ 221 h 889"/>
                <a:gd name="T4" fmla="*/ 765 w 2549"/>
                <a:gd name="T5" fmla="*/ 187 h 889"/>
                <a:gd name="T6" fmla="*/ 835 w 2549"/>
                <a:gd name="T7" fmla="*/ 167 h 889"/>
                <a:gd name="T8" fmla="*/ 2285 w 2549"/>
                <a:gd name="T9" fmla="*/ 155 h 889"/>
                <a:gd name="T10" fmla="*/ 1753 w 2549"/>
                <a:gd name="T11" fmla="*/ 120 h 889"/>
                <a:gd name="T12" fmla="*/ 1785 w 2549"/>
                <a:gd name="T13" fmla="*/ 131 h 889"/>
                <a:gd name="T14" fmla="*/ 1835 w 2549"/>
                <a:gd name="T15" fmla="*/ 147 h 889"/>
                <a:gd name="T16" fmla="*/ 1787 w 2549"/>
                <a:gd name="T17" fmla="*/ 226 h 889"/>
                <a:gd name="T18" fmla="*/ 1752 w 2549"/>
                <a:gd name="T19" fmla="*/ 167 h 889"/>
                <a:gd name="T20" fmla="*/ 1744 w 2549"/>
                <a:gd name="T21" fmla="*/ 130 h 889"/>
                <a:gd name="T22" fmla="*/ 724 w 2549"/>
                <a:gd name="T23" fmla="*/ 88 h 889"/>
                <a:gd name="T24" fmla="*/ 724 w 2549"/>
                <a:gd name="T25" fmla="*/ 153 h 889"/>
                <a:gd name="T26" fmla="*/ 687 w 2549"/>
                <a:gd name="T27" fmla="*/ 115 h 889"/>
                <a:gd name="T28" fmla="*/ 1 w 2549"/>
                <a:gd name="T29" fmla="*/ 98 h 889"/>
                <a:gd name="T30" fmla="*/ 60 w 2549"/>
                <a:gd name="T31" fmla="*/ 120 h 889"/>
                <a:gd name="T32" fmla="*/ 89 w 2549"/>
                <a:gd name="T33" fmla="*/ 76 h 889"/>
                <a:gd name="T34" fmla="*/ 2549 w 2549"/>
                <a:gd name="T35" fmla="*/ 442 h 889"/>
                <a:gd name="T36" fmla="*/ 2216 w 2549"/>
                <a:gd name="T37" fmla="*/ 682 h 889"/>
                <a:gd name="T38" fmla="*/ 2095 w 2549"/>
                <a:gd name="T39" fmla="*/ 732 h 889"/>
                <a:gd name="T40" fmla="*/ 2058 w 2549"/>
                <a:gd name="T41" fmla="*/ 748 h 889"/>
                <a:gd name="T42" fmla="*/ 1975 w 2549"/>
                <a:gd name="T43" fmla="*/ 852 h 889"/>
                <a:gd name="T44" fmla="*/ 1983 w 2549"/>
                <a:gd name="T45" fmla="*/ 768 h 889"/>
                <a:gd name="T46" fmla="*/ 1966 w 2549"/>
                <a:gd name="T47" fmla="*/ 666 h 889"/>
                <a:gd name="T48" fmla="*/ 2014 w 2549"/>
                <a:gd name="T49" fmla="*/ 628 h 889"/>
                <a:gd name="T50" fmla="*/ 2047 w 2549"/>
                <a:gd name="T51" fmla="*/ 551 h 889"/>
                <a:gd name="T52" fmla="*/ 2076 w 2549"/>
                <a:gd name="T53" fmla="*/ 449 h 889"/>
                <a:gd name="T54" fmla="*/ 2104 w 2549"/>
                <a:gd name="T55" fmla="*/ 519 h 889"/>
                <a:gd name="T56" fmla="*/ 2139 w 2549"/>
                <a:gd name="T57" fmla="*/ 515 h 889"/>
                <a:gd name="T58" fmla="*/ 2173 w 2549"/>
                <a:gd name="T59" fmla="*/ 462 h 889"/>
                <a:gd name="T60" fmla="*/ 2186 w 2549"/>
                <a:gd name="T61" fmla="*/ 399 h 889"/>
                <a:gd name="T62" fmla="*/ 2178 w 2549"/>
                <a:gd name="T63" fmla="*/ 386 h 889"/>
                <a:gd name="T64" fmla="*/ 2147 w 2549"/>
                <a:gd name="T65" fmla="*/ 345 h 889"/>
                <a:gd name="T66" fmla="*/ 2140 w 2549"/>
                <a:gd name="T67" fmla="*/ 227 h 889"/>
                <a:gd name="T68" fmla="*/ 2133 w 2549"/>
                <a:gd name="T69" fmla="*/ 376 h 889"/>
                <a:gd name="T70" fmla="*/ 2103 w 2549"/>
                <a:gd name="T71" fmla="*/ 496 h 889"/>
                <a:gd name="T72" fmla="*/ 2095 w 2549"/>
                <a:gd name="T73" fmla="*/ 426 h 889"/>
                <a:gd name="T74" fmla="*/ 2073 w 2549"/>
                <a:gd name="T75" fmla="*/ 416 h 889"/>
                <a:gd name="T76" fmla="*/ 2025 w 2549"/>
                <a:gd name="T77" fmla="*/ 353 h 889"/>
                <a:gd name="T78" fmla="*/ 2067 w 2549"/>
                <a:gd name="T79" fmla="*/ 245 h 889"/>
                <a:gd name="T80" fmla="*/ 2082 w 2549"/>
                <a:gd name="T81" fmla="*/ 131 h 889"/>
                <a:gd name="T82" fmla="*/ 2096 w 2549"/>
                <a:gd name="T83" fmla="*/ 99 h 889"/>
                <a:gd name="T84" fmla="*/ 2110 w 2549"/>
                <a:gd name="T85" fmla="*/ 70 h 889"/>
                <a:gd name="T86" fmla="*/ 2133 w 2549"/>
                <a:gd name="T87" fmla="*/ 51 h 889"/>
                <a:gd name="T88" fmla="*/ 2161 w 2549"/>
                <a:gd name="T89" fmla="*/ 67 h 889"/>
                <a:gd name="T90" fmla="*/ 2194 w 2549"/>
                <a:gd name="T91" fmla="*/ 124 h 889"/>
                <a:gd name="T92" fmla="*/ 2249 w 2549"/>
                <a:gd name="T93" fmla="*/ 227 h 889"/>
                <a:gd name="T94" fmla="*/ 2220 w 2549"/>
                <a:gd name="T95" fmla="*/ 239 h 889"/>
                <a:gd name="T96" fmla="*/ 2241 w 2549"/>
                <a:gd name="T97" fmla="*/ 267 h 889"/>
                <a:gd name="T98" fmla="*/ 2264 w 2549"/>
                <a:gd name="T99" fmla="*/ 233 h 889"/>
                <a:gd name="T100" fmla="*/ 2271 w 2549"/>
                <a:gd name="T101" fmla="*/ 197 h 889"/>
                <a:gd name="T102" fmla="*/ 2315 w 2549"/>
                <a:gd name="T103" fmla="*/ 188 h 889"/>
                <a:gd name="T104" fmla="*/ 2346 w 2549"/>
                <a:gd name="T105" fmla="*/ 180 h 889"/>
                <a:gd name="T106" fmla="*/ 2348 w 2549"/>
                <a:gd name="T107" fmla="*/ 156 h 889"/>
                <a:gd name="T108" fmla="*/ 2369 w 2549"/>
                <a:gd name="T109" fmla="*/ 128 h 889"/>
                <a:gd name="T110" fmla="*/ 2390 w 2549"/>
                <a:gd name="T111" fmla="*/ 113 h 889"/>
                <a:gd name="T112" fmla="*/ 2398 w 2549"/>
                <a:gd name="T113" fmla="*/ 256 h 889"/>
                <a:gd name="T114" fmla="*/ 2430 w 2549"/>
                <a:gd name="T115" fmla="*/ 237 h 889"/>
                <a:gd name="T116" fmla="*/ 2405 w 2549"/>
                <a:gd name="T117" fmla="*/ 154 h 889"/>
                <a:gd name="T118" fmla="*/ 2407 w 2549"/>
                <a:gd name="T119" fmla="*/ 127 h 889"/>
                <a:gd name="T120" fmla="*/ 2412 w 2549"/>
                <a:gd name="T121" fmla="*/ 99 h 889"/>
                <a:gd name="T122" fmla="*/ 2447 w 2549"/>
                <a:gd name="T123" fmla="*/ 172 h 889"/>
                <a:gd name="T124" fmla="*/ 2437 w 2549"/>
                <a:gd name="T125" fmla="*/ 60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49" h="889">
                  <a:moveTo>
                    <a:pt x="237" y="207"/>
                  </a:moveTo>
                  <a:lnTo>
                    <a:pt x="233" y="207"/>
                  </a:lnTo>
                  <a:lnTo>
                    <a:pt x="226" y="209"/>
                  </a:lnTo>
                  <a:lnTo>
                    <a:pt x="220" y="211"/>
                  </a:lnTo>
                  <a:lnTo>
                    <a:pt x="214" y="213"/>
                  </a:lnTo>
                  <a:lnTo>
                    <a:pt x="211" y="215"/>
                  </a:lnTo>
                  <a:lnTo>
                    <a:pt x="203" y="219"/>
                  </a:lnTo>
                  <a:lnTo>
                    <a:pt x="197" y="223"/>
                  </a:lnTo>
                  <a:lnTo>
                    <a:pt x="191" y="231"/>
                  </a:lnTo>
                  <a:lnTo>
                    <a:pt x="185" y="237"/>
                  </a:lnTo>
                  <a:lnTo>
                    <a:pt x="177" y="244"/>
                  </a:lnTo>
                  <a:lnTo>
                    <a:pt x="169" y="246"/>
                  </a:lnTo>
                  <a:lnTo>
                    <a:pt x="166" y="244"/>
                  </a:lnTo>
                  <a:lnTo>
                    <a:pt x="164" y="242"/>
                  </a:lnTo>
                  <a:lnTo>
                    <a:pt x="161" y="240"/>
                  </a:lnTo>
                  <a:lnTo>
                    <a:pt x="160" y="236"/>
                  </a:lnTo>
                  <a:lnTo>
                    <a:pt x="158" y="233"/>
                  </a:lnTo>
                  <a:lnTo>
                    <a:pt x="156" y="231"/>
                  </a:lnTo>
                  <a:lnTo>
                    <a:pt x="154" y="230"/>
                  </a:lnTo>
                  <a:lnTo>
                    <a:pt x="151" y="229"/>
                  </a:lnTo>
                  <a:lnTo>
                    <a:pt x="149" y="230"/>
                  </a:lnTo>
                  <a:lnTo>
                    <a:pt x="147" y="231"/>
                  </a:lnTo>
                  <a:lnTo>
                    <a:pt x="146" y="233"/>
                  </a:lnTo>
                  <a:lnTo>
                    <a:pt x="146" y="236"/>
                  </a:lnTo>
                  <a:lnTo>
                    <a:pt x="147" y="240"/>
                  </a:lnTo>
                  <a:lnTo>
                    <a:pt x="149" y="243"/>
                  </a:lnTo>
                  <a:lnTo>
                    <a:pt x="149" y="245"/>
                  </a:lnTo>
                  <a:lnTo>
                    <a:pt x="149" y="247"/>
                  </a:lnTo>
                  <a:lnTo>
                    <a:pt x="148" y="250"/>
                  </a:lnTo>
                  <a:lnTo>
                    <a:pt x="146" y="252"/>
                  </a:lnTo>
                  <a:lnTo>
                    <a:pt x="143" y="255"/>
                  </a:lnTo>
                  <a:lnTo>
                    <a:pt x="139" y="259"/>
                  </a:lnTo>
                  <a:lnTo>
                    <a:pt x="136" y="264"/>
                  </a:lnTo>
                  <a:lnTo>
                    <a:pt x="132" y="268"/>
                  </a:lnTo>
                  <a:lnTo>
                    <a:pt x="129" y="272"/>
                  </a:lnTo>
                  <a:lnTo>
                    <a:pt x="127" y="275"/>
                  </a:lnTo>
                  <a:lnTo>
                    <a:pt x="125" y="278"/>
                  </a:lnTo>
                  <a:lnTo>
                    <a:pt x="123" y="281"/>
                  </a:lnTo>
                  <a:lnTo>
                    <a:pt x="115" y="284"/>
                  </a:lnTo>
                  <a:lnTo>
                    <a:pt x="106" y="281"/>
                  </a:lnTo>
                  <a:lnTo>
                    <a:pt x="100" y="278"/>
                  </a:lnTo>
                  <a:lnTo>
                    <a:pt x="92" y="275"/>
                  </a:lnTo>
                  <a:lnTo>
                    <a:pt x="91" y="275"/>
                  </a:lnTo>
                  <a:lnTo>
                    <a:pt x="90" y="275"/>
                  </a:lnTo>
                  <a:lnTo>
                    <a:pt x="88" y="275"/>
                  </a:lnTo>
                  <a:lnTo>
                    <a:pt x="85" y="275"/>
                  </a:lnTo>
                  <a:lnTo>
                    <a:pt x="83" y="275"/>
                  </a:lnTo>
                  <a:lnTo>
                    <a:pt x="80" y="275"/>
                  </a:lnTo>
                  <a:lnTo>
                    <a:pt x="79" y="275"/>
                  </a:lnTo>
                  <a:lnTo>
                    <a:pt x="78" y="276"/>
                  </a:lnTo>
                  <a:lnTo>
                    <a:pt x="77" y="276"/>
                  </a:lnTo>
                  <a:lnTo>
                    <a:pt x="78" y="277"/>
                  </a:lnTo>
                  <a:lnTo>
                    <a:pt x="79" y="279"/>
                  </a:lnTo>
                  <a:lnTo>
                    <a:pt x="82" y="280"/>
                  </a:lnTo>
                  <a:lnTo>
                    <a:pt x="84" y="281"/>
                  </a:lnTo>
                  <a:lnTo>
                    <a:pt x="87" y="280"/>
                  </a:lnTo>
                  <a:lnTo>
                    <a:pt x="90" y="279"/>
                  </a:lnTo>
                  <a:lnTo>
                    <a:pt x="92" y="279"/>
                  </a:lnTo>
                  <a:lnTo>
                    <a:pt x="95" y="279"/>
                  </a:lnTo>
                  <a:lnTo>
                    <a:pt x="98" y="279"/>
                  </a:lnTo>
                  <a:lnTo>
                    <a:pt x="100" y="280"/>
                  </a:lnTo>
                  <a:lnTo>
                    <a:pt x="103" y="281"/>
                  </a:lnTo>
                  <a:lnTo>
                    <a:pt x="112" y="287"/>
                  </a:lnTo>
                  <a:lnTo>
                    <a:pt x="120" y="289"/>
                  </a:lnTo>
                  <a:lnTo>
                    <a:pt x="129" y="290"/>
                  </a:lnTo>
                  <a:lnTo>
                    <a:pt x="139" y="288"/>
                  </a:lnTo>
                  <a:lnTo>
                    <a:pt x="148" y="284"/>
                  </a:lnTo>
                  <a:lnTo>
                    <a:pt x="156" y="279"/>
                  </a:lnTo>
                  <a:lnTo>
                    <a:pt x="169" y="270"/>
                  </a:lnTo>
                  <a:lnTo>
                    <a:pt x="182" y="259"/>
                  </a:lnTo>
                  <a:lnTo>
                    <a:pt x="185" y="258"/>
                  </a:lnTo>
                  <a:lnTo>
                    <a:pt x="187" y="256"/>
                  </a:lnTo>
                  <a:lnTo>
                    <a:pt x="188" y="254"/>
                  </a:lnTo>
                  <a:lnTo>
                    <a:pt x="189" y="252"/>
                  </a:lnTo>
                  <a:lnTo>
                    <a:pt x="189" y="248"/>
                  </a:lnTo>
                  <a:lnTo>
                    <a:pt x="189" y="246"/>
                  </a:lnTo>
                  <a:lnTo>
                    <a:pt x="191" y="245"/>
                  </a:lnTo>
                  <a:lnTo>
                    <a:pt x="192" y="244"/>
                  </a:lnTo>
                  <a:lnTo>
                    <a:pt x="194" y="243"/>
                  </a:lnTo>
                  <a:lnTo>
                    <a:pt x="197" y="243"/>
                  </a:lnTo>
                  <a:lnTo>
                    <a:pt x="198" y="242"/>
                  </a:lnTo>
                  <a:lnTo>
                    <a:pt x="201" y="237"/>
                  </a:lnTo>
                  <a:lnTo>
                    <a:pt x="204" y="233"/>
                  </a:lnTo>
                  <a:lnTo>
                    <a:pt x="209" y="229"/>
                  </a:lnTo>
                  <a:lnTo>
                    <a:pt x="222" y="222"/>
                  </a:lnTo>
                  <a:lnTo>
                    <a:pt x="225" y="221"/>
                  </a:lnTo>
                  <a:lnTo>
                    <a:pt x="230" y="220"/>
                  </a:lnTo>
                  <a:lnTo>
                    <a:pt x="233" y="218"/>
                  </a:lnTo>
                  <a:lnTo>
                    <a:pt x="236" y="215"/>
                  </a:lnTo>
                  <a:lnTo>
                    <a:pt x="238" y="212"/>
                  </a:lnTo>
                  <a:lnTo>
                    <a:pt x="240" y="209"/>
                  </a:lnTo>
                  <a:lnTo>
                    <a:pt x="237" y="207"/>
                  </a:lnTo>
                  <a:close/>
                  <a:moveTo>
                    <a:pt x="1110" y="203"/>
                  </a:moveTo>
                  <a:lnTo>
                    <a:pt x="1116" y="203"/>
                  </a:lnTo>
                  <a:lnTo>
                    <a:pt x="1119" y="205"/>
                  </a:lnTo>
                  <a:lnTo>
                    <a:pt x="1120" y="210"/>
                  </a:lnTo>
                  <a:lnTo>
                    <a:pt x="1120" y="215"/>
                  </a:lnTo>
                  <a:lnTo>
                    <a:pt x="1119" y="220"/>
                  </a:lnTo>
                  <a:lnTo>
                    <a:pt x="1116" y="222"/>
                  </a:lnTo>
                  <a:lnTo>
                    <a:pt x="1113" y="220"/>
                  </a:lnTo>
                  <a:lnTo>
                    <a:pt x="1109" y="215"/>
                  </a:lnTo>
                  <a:lnTo>
                    <a:pt x="1107" y="210"/>
                  </a:lnTo>
                  <a:lnTo>
                    <a:pt x="1108" y="205"/>
                  </a:lnTo>
                  <a:lnTo>
                    <a:pt x="1110" y="203"/>
                  </a:lnTo>
                  <a:close/>
                  <a:moveTo>
                    <a:pt x="808" y="198"/>
                  </a:moveTo>
                  <a:lnTo>
                    <a:pt x="814" y="201"/>
                  </a:lnTo>
                  <a:lnTo>
                    <a:pt x="820" y="207"/>
                  </a:lnTo>
                  <a:lnTo>
                    <a:pt x="822" y="212"/>
                  </a:lnTo>
                  <a:lnTo>
                    <a:pt x="822" y="216"/>
                  </a:lnTo>
                  <a:lnTo>
                    <a:pt x="821" y="223"/>
                  </a:lnTo>
                  <a:lnTo>
                    <a:pt x="818" y="231"/>
                  </a:lnTo>
                  <a:lnTo>
                    <a:pt x="813" y="237"/>
                  </a:lnTo>
                  <a:lnTo>
                    <a:pt x="808" y="241"/>
                  </a:lnTo>
                  <a:lnTo>
                    <a:pt x="801" y="236"/>
                  </a:lnTo>
                  <a:lnTo>
                    <a:pt x="795" y="229"/>
                  </a:lnTo>
                  <a:lnTo>
                    <a:pt x="793" y="220"/>
                  </a:lnTo>
                  <a:lnTo>
                    <a:pt x="793" y="211"/>
                  </a:lnTo>
                  <a:lnTo>
                    <a:pt x="794" y="203"/>
                  </a:lnTo>
                  <a:lnTo>
                    <a:pt x="800" y="199"/>
                  </a:lnTo>
                  <a:lnTo>
                    <a:pt x="808" y="198"/>
                  </a:lnTo>
                  <a:close/>
                  <a:moveTo>
                    <a:pt x="736" y="185"/>
                  </a:moveTo>
                  <a:lnTo>
                    <a:pt x="740" y="186"/>
                  </a:lnTo>
                  <a:lnTo>
                    <a:pt x="744" y="187"/>
                  </a:lnTo>
                  <a:lnTo>
                    <a:pt x="748" y="187"/>
                  </a:lnTo>
                  <a:lnTo>
                    <a:pt x="751" y="187"/>
                  </a:lnTo>
                  <a:lnTo>
                    <a:pt x="755" y="186"/>
                  </a:lnTo>
                  <a:lnTo>
                    <a:pt x="758" y="186"/>
                  </a:lnTo>
                  <a:lnTo>
                    <a:pt x="761" y="187"/>
                  </a:lnTo>
                  <a:lnTo>
                    <a:pt x="765" y="187"/>
                  </a:lnTo>
                  <a:lnTo>
                    <a:pt x="765" y="194"/>
                  </a:lnTo>
                  <a:lnTo>
                    <a:pt x="761" y="199"/>
                  </a:lnTo>
                  <a:lnTo>
                    <a:pt x="755" y="202"/>
                  </a:lnTo>
                  <a:lnTo>
                    <a:pt x="748" y="205"/>
                  </a:lnTo>
                  <a:lnTo>
                    <a:pt x="743" y="208"/>
                  </a:lnTo>
                  <a:lnTo>
                    <a:pt x="742" y="210"/>
                  </a:lnTo>
                  <a:lnTo>
                    <a:pt x="740" y="213"/>
                  </a:lnTo>
                  <a:lnTo>
                    <a:pt x="738" y="216"/>
                  </a:lnTo>
                  <a:lnTo>
                    <a:pt x="736" y="219"/>
                  </a:lnTo>
                  <a:lnTo>
                    <a:pt x="734" y="221"/>
                  </a:lnTo>
                  <a:lnTo>
                    <a:pt x="732" y="222"/>
                  </a:lnTo>
                  <a:lnTo>
                    <a:pt x="729" y="221"/>
                  </a:lnTo>
                  <a:lnTo>
                    <a:pt x="728" y="219"/>
                  </a:lnTo>
                  <a:lnTo>
                    <a:pt x="727" y="216"/>
                  </a:lnTo>
                  <a:lnTo>
                    <a:pt x="725" y="213"/>
                  </a:lnTo>
                  <a:lnTo>
                    <a:pt x="724" y="210"/>
                  </a:lnTo>
                  <a:lnTo>
                    <a:pt x="723" y="208"/>
                  </a:lnTo>
                  <a:lnTo>
                    <a:pt x="724" y="203"/>
                  </a:lnTo>
                  <a:lnTo>
                    <a:pt x="725" y="199"/>
                  </a:lnTo>
                  <a:lnTo>
                    <a:pt x="727" y="196"/>
                  </a:lnTo>
                  <a:lnTo>
                    <a:pt x="729" y="191"/>
                  </a:lnTo>
                  <a:lnTo>
                    <a:pt x="732" y="191"/>
                  </a:lnTo>
                  <a:lnTo>
                    <a:pt x="733" y="189"/>
                  </a:lnTo>
                  <a:lnTo>
                    <a:pt x="734" y="187"/>
                  </a:lnTo>
                  <a:lnTo>
                    <a:pt x="735" y="186"/>
                  </a:lnTo>
                  <a:lnTo>
                    <a:pt x="736" y="185"/>
                  </a:lnTo>
                  <a:close/>
                  <a:moveTo>
                    <a:pt x="845" y="159"/>
                  </a:moveTo>
                  <a:lnTo>
                    <a:pt x="846" y="160"/>
                  </a:lnTo>
                  <a:lnTo>
                    <a:pt x="848" y="161"/>
                  </a:lnTo>
                  <a:lnTo>
                    <a:pt x="851" y="164"/>
                  </a:lnTo>
                  <a:lnTo>
                    <a:pt x="853" y="167"/>
                  </a:lnTo>
                  <a:lnTo>
                    <a:pt x="853" y="169"/>
                  </a:lnTo>
                  <a:lnTo>
                    <a:pt x="853" y="171"/>
                  </a:lnTo>
                  <a:lnTo>
                    <a:pt x="851" y="174"/>
                  </a:lnTo>
                  <a:lnTo>
                    <a:pt x="849" y="175"/>
                  </a:lnTo>
                  <a:lnTo>
                    <a:pt x="847" y="176"/>
                  </a:lnTo>
                  <a:lnTo>
                    <a:pt x="844" y="177"/>
                  </a:lnTo>
                  <a:lnTo>
                    <a:pt x="842" y="176"/>
                  </a:lnTo>
                  <a:lnTo>
                    <a:pt x="840" y="175"/>
                  </a:lnTo>
                  <a:lnTo>
                    <a:pt x="837" y="172"/>
                  </a:lnTo>
                  <a:lnTo>
                    <a:pt x="836" y="169"/>
                  </a:lnTo>
                  <a:lnTo>
                    <a:pt x="835" y="168"/>
                  </a:lnTo>
                  <a:lnTo>
                    <a:pt x="835" y="167"/>
                  </a:lnTo>
                  <a:lnTo>
                    <a:pt x="835" y="165"/>
                  </a:lnTo>
                  <a:lnTo>
                    <a:pt x="835" y="163"/>
                  </a:lnTo>
                  <a:lnTo>
                    <a:pt x="836" y="161"/>
                  </a:lnTo>
                  <a:lnTo>
                    <a:pt x="837" y="160"/>
                  </a:lnTo>
                  <a:lnTo>
                    <a:pt x="838" y="161"/>
                  </a:lnTo>
                  <a:lnTo>
                    <a:pt x="841" y="161"/>
                  </a:lnTo>
                  <a:lnTo>
                    <a:pt x="842" y="161"/>
                  </a:lnTo>
                  <a:lnTo>
                    <a:pt x="843" y="160"/>
                  </a:lnTo>
                  <a:lnTo>
                    <a:pt x="843" y="160"/>
                  </a:lnTo>
                  <a:lnTo>
                    <a:pt x="844" y="159"/>
                  </a:lnTo>
                  <a:lnTo>
                    <a:pt x="845" y="159"/>
                  </a:lnTo>
                  <a:close/>
                  <a:moveTo>
                    <a:pt x="865" y="149"/>
                  </a:moveTo>
                  <a:lnTo>
                    <a:pt x="868" y="149"/>
                  </a:lnTo>
                  <a:lnTo>
                    <a:pt x="871" y="150"/>
                  </a:lnTo>
                  <a:lnTo>
                    <a:pt x="874" y="153"/>
                  </a:lnTo>
                  <a:lnTo>
                    <a:pt x="876" y="154"/>
                  </a:lnTo>
                  <a:lnTo>
                    <a:pt x="878" y="156"/>
                  </a:lnTo>
                  <a:lnTo>
                    <a:pt x="878" y="158"/>
                  </a:lnTo>
                  <a:lnTo>
                    <a:pt x="878" y="160"/>
                  </a:lnTo>
                  <a:lnTo>
                    <a:pt x="876" y="161"/>
                  </a:lnTo>
                  <a:lnTo>
                    <a:pt x="873" y="163"/>
                  </a:lnTo>
                  <a:lnTo>
                    <a:pt x="870" y="163"/>
                  </a:lnTo>
                  <a:lnTo>
                    <a:pt x="867" y="161"/>
                  </a:lnTo>
                  <a:lnTo>
                    <a:pt x="865" y="160"/>
                  </a:lnTo>
                  <a:lnTo>
                    <a:pt x="863" y="159"/>
                  </a:lnTo>
                  <a:lnTo>
                    <a:pt x="862" y="158"/>
                  </a:lnTo>
                  <a:lnTo>
                    <a:pt x="860" y="156"/>
                  </a:lnTo>
                  <a:lnTo>
                    <a:pt x="860" y="155"/>
                  </a:lnTo>
                  <a:lnTo>
                    <a:pt x="859" y="154"/>
                  </a:lnTo>
                  <a:lnTo>
                    <a:pt x="858" y="153"/>
                  </a:lnTo>
                  <a:lnTo>
                    <a:pt x="857" y="152"/>
                  </a:lnTo>
                  <a:lnTo>
                    <a:pt x="858" y="150"/>
                  </a:lnTo>
                  <a:lnTo>
                    <a:pt x="859" y="149"/>
                  </a:lnTo>
                  <a:lnTo>
                    <a:pt x="862" y="149"/>
                  </a:lnTo>
                  <a:lnTo>
                    <a:pt x="865" y="149"/>
                  </a:lnTo>
                  <a:close/>
                  <a:moveTo>
                    <a:pt x="2272" y="143"/>
                  </a:moveTo>
                  <a:lnTo>
                    <a:pt x="2274" y="143"/>
                  </a:lnTo>
                  <a:lnTo>
                    <a:pt x="2276" y="144"/>
                  </a:lnTo>
                  <a:lnTo>
                    <a:pt x="2277" y="146"/>
                  </a:lnTo>
                  <a:lnTo>
                    <a:pt x="2279" y="148"/>
                  </a:lnTo>
                  <a:lnTo>
                    <a:pt x="2282" y="150"/>
                  </a:lnTo>
                  <a:lnTo>
                    <a:pt x="2284" y="153"/>
                  </a:lnTo>
                  <a:lnTo>
                    <a:pt x="2285" y="155"/>
                  </a:lnTo>
                  <a:lnTo>
                    <a:pt x="2286" y="156"/>
                  </a:lnTo>
                  <a:lnTo>
                    <a:pt x="2287" y="158"/>
                  </a:lnTo>
                  <a:lnTo>
                    <a:pt x="2287" y="159"/>
                  </a:lnTo>
                  <a:lnTo>
                    <a:pt x="2287" y="160"/>
                  </a:lnTo>
                  <a:lnTo>
                    <a:pt x="2288" y="161"/>
                  </a:lnTo>
                  <a:lnTo>
                    <a:pt x="2287" y="164"/>
                  </a:lnTo>
                  <a:lnTo>
                    <a:pt x="2286" y="166"/>
                  </a:lnTo>
                  <a:lnTo>
                    <a:pt x="2285" y="167"/>
                  </a:lnTo>
                  <a:lnTo>
                    <a:pt x="2284" y="168"/>
                  </a:lnTo>
                  <a:lnTo>
                    <a:pt x="2282" y="169"/>
                  </a:lnTo>
                  <a:lnTo>
                    <a:pt x="2281" y="170"/>
                  </a:lnTo>
                  <a:lnTo>
                    <a:pt x="2279" y="172"/>
                  </a:lnTo>
                  <a:lnTo>
                    <a:pt x="2279" y="172"/>
                  </a:lnTo>
                  <a:lnTo>
                    <a:pt x="2277" y="172"/>
                  </a:lnTo>
                  <a:lnTo>
                    <a:pt x="2276" y="171"/>
                  </a:lnTo>
                  <a:lnTo>
                    <a:pt x="2274" y="169"/>
                  </a:lnTo>
                  <a:lnTo>
                    <a:pt x="2273" y="167"/>
                  </a:lnTo>
                  <a:lnTo>
                    <a:pt x="2271" y="163"/>
                  </a:lnTo>
                  <a:lnTo>
                    <a:pt x="2271" y="143"/>
                  </a:lnTo>
                  <a:lnTo>
                    <a:pt x="2272" y="143"/>
                  </a:lnTo>
                  <a:close/>
                  <a:moveTo>
                    <a:pt x="847" y="132"/>
                  </a:moveTo>
                  <a:lnTo>
                    <a:pt x="849" y="132"/>
                  </a:lnTo>
                  <a:lnTo>
                    <a:pt x="853" y="133"/>
                  </a:lnTo>
                  <a:lnTo>
                    <a:pt x="855" y="134"/>
                  </a:lnTo>
                  <a:lnTo>
                    <a:pt x="856" y="135"/>
                  </a:lnTo>
                  <a:lnTo>
                    <a:pt x="856" y="136"/>
                  </a:lnTo>
                  <a:lnTo>
                    <a:pt x="855" y="136"/>
                  </a:lnTo>
                  <a:lnTo>
                    <a:pt x="853" y="137"/>
                  </a:lnTo>
                  <a:lnTo>
                    <a:pt x="851" y="137"/>
                  </a:lnTo>
                  <a:lnTo>
                    <a:pt x="848" y="138"/>
                  </a:lnTo>
                  <a:lnTo>
                    <a:pt x="846" y="138"/>
                  </a:lnTo>
                  <a:lnTo>
                    <a:pt x="843" y="137"/>
                  </a:lnTo>
                  <a:lnTo>
                    <a:pt x="841" y="136"/>
                  </a:lnTo>
                  <a:lnTo>
                    <a:pt x="841" y="135"/>
                  </a:lnTo>
                  <a:lnTo>
                    <a:pt x="841" y="134"/>
                  </a:lnTo>
                  <a:lnTo>
                    <a:pt x="843" y="133"/>
                  </a:lnTo>
                  <a:lnTo>
                    <a:pt x="844" y="132"/>
                  </a:lnTo>
                  <a:lnTo>
                    <a:pt x="847" y="132"/>
                  </a:lnTo>
                  <a:close/>
                  <a:moveTo>
                    <a:pt x="1746" y="114"/>
                  </a:moveTo>
                  <a:lnTo>
                    <a:pt x="1747" y="115"/>
                  </a:lnTo>
                  <a:lnTo>
                    <a:pt x="1749" y="116"/>
                  </a:lnTo>
                  <a:lnTo>
                    <a:pt x="1751" y="117"/>
                  </a:lnTo>
                  <a:lnTo>
                    <a:pt x="1753" y="120"/>
                  </a:lnTo>
                  <a:lnTo>
                    <a:pt x="1755" y="122"/>
                  </a:lnTo>
                  <a:lnTo>
                    <a:pt x="1759" y="124"/>
                  </a:lnTo>
                  <a:lnTo>
                    <a:pt x="1760" y="126"/>
                  </a:lnTo>
                  <a:lnTo>
                    <a:pt x="1761" y="128"/>
                  </a:lnTo>
                  <a:lnTo>
                    <a:pt x="1762" y="132"/>
                  </a:lnTo>
                  <a:lnTo>
                    <a:pt x="1763" y="134"/>
                  </a:lnTo>
                  <a:lnTo>
                    <a:pt x="1764" y="135"/>
                  </a:lnTo>
                  <a:lnTo>
                    <a:pt x="1766" y="137"/>
                  </a:lnTo>
                  <a:lnTo>
                    <a:pt x="1768" y="139"/>
                  </a:lnTo>
                  <a:lnTo>
                    <a:pt x="1768" y="141"/>
                  </a:lnTo>
                  <a:lnTo>
                    <a:pt x="1766" y="143"/>
                  </a:lnTo>
                  <a:lnTo>
                    <a:pt x="1766" y="144"/>
                  </a:lnTo>
                  <a:lnTo>
                    <a:pt x="1765" y="145"/>
                  </a:lnTo>
                  <a:lnTo>
                    <a:pt x="1765" y="146"/>
                  </a:lnTo>
                  <a:lnTo>
                    <a:pt x="1766" y="148"/>
                  </a:lnTo>
                  <a:lnTo>
                    <a:pt x="1768" y="149"/>
                  </a:lnTo>
                  <a:lnTo>
                    <a:pt x="1769" y="149"/>
                  </a:lnTo>
                  <a:lnTo>
                    <a:pt x="1770" y="148"/>
                  </a:lnTo>
                  <a:lnTo>
                    <a:pt x="1771" y="148"/>
                  </a:lnTo>
                  <a:lnTo>
                    <a:pt x="1772" y="147"/>
                  </a:lnTo>
                  <a:lnTo>
                    <a:pt x="1772" y="146"/>
                  </a:lnTo>
                  <a:lnTo>
                    <a:pt x="1772" y="144"/>
                  </a:lnTo>
                  <a:lnTo>
                    <a:pt x="1772" y="141"/>
                  </a:lnTo>
                  <a:lnTo>
                    <a:pt x="1772" y="137"/>
                  </a:lnTo>
                  <a:lnTo>
                    <a:pt x="1773" y="134"/>
                  </a:lnTo>
                  <a:lnTo>
                    <a:pt x="1774" y="133"/>
                  </a:lnTo>
                  <a:lnTo>
                    <a:pt x="1775" y="133"/>
                  </a:lnTo>
                  <a:lnTo>
                    <a:pt x="1776" y="134"/>
                  </a:lnTo>
                  <a:lnTo>
                    <a:pt x="1777" y="136"/>
                  </a:lnTo>
                  <a:lnTo>
                    <a:pt x="1779" y="138"/>
                  </a:lnTo>
                  <a:lnTo>
                    <a:pt x="1780" y="141"/>
                  </a:lnTo>
                  <a:lnTo>
                    <a:pt x="1781" y="142"/>
                  </a:lnTo>
                  <a:lnTo>
                    <a:pt x="1782" y="143"/>
                  </a:lnTo>
                  <a:lnTo>
                    <a:pt x="1783" y="144"/>
                  </a:lnTo>
                  <a:lnTo>
                    <a:pt x="1783" y="143"/>
                  </a:lnTo>
                  <a:lnTo>
                    <a:pt x="1783" y="142"/>
                  </a:lnTo>
                  <a:lnTo>
                    <a:pt x="1783" y="139"/>
                  </a:lnTo>
                  <a:lnTo>
                    <a:pt x="1783" y="137"/>
                  </a:lnTo>
                  <a:lnTo>
                    <a:pt x="1783" y="135"/>
                  </a:lnTo>
                  <a:lnTo>
                    <a:pt x="1783" y="133"/>
                  </a:lnTo>
                  <a:lnTo>
                    <a:pt x="1783" y="132"/>
                  </a:lnTo>
                  <a:lnTo>
                    <a:pt x="1784" y="131"/>
                  </a:lnTo>
                  <a:lnTo>
                    <a:pt x="1785" y="131"/>
                  </a:lnTo>
                  <a:lnTo>
                    <a:pt x="1787" y="130"/>
                  </a:lnTo>
                  <a:lnTo>
                    <a:pt x="1790" y="131"/>
                  </a:lnTo>
                  <a:lnTo>
                    <a:pt x="1791" y="132"/>
                  </a:lnTo>
                  <a:lnTo>
                    <a:pt x="1792" y="134"/>
                  </a:lnTo>
                  <a:lnTo>
                    <a:pt x="1793" y="136"/>
                  </a:lnTo>
                  <a:lnTo>
                    <a:pt x="1794" y="137"/>
                  </a:lnTo>
                  <a:lnTo>
                    <a:pt x="1795" y="139"/>
                  </a:lnTo>
                  <a:lnTo>
                    <a:pt x="1797" y="138"/>
                  </a:lnTo>
                  <a:lnTo>
                    <a:pt x="1800" y="137"/>
                  </a:lnTo>
                  <a:lnTo>
                    <a:pt x="1801" y="136"/>
                  </a:lnTo>
                  <a:lnTo>
                    <a:pt x="1803" y="135"/>
                  </a:lnTo>
                  <a:lnTo>
                    <a:pt x="1804" y="135"/>
                  </a:lnTo>
                  <a:lnTo>
                    <a:pt x="1806" y="135"/>
                  </a:lnTo>
                  <a:lnTo>
                    <a:pt x="1808" y="136"/>
                  </a:lnTo>
                  <a:lnTo>
                    <a:pt x="1811" y="136"/>
                  </a:lnTo>
                  <a:lnTo>
                    <a:pt x="1813" y="137"/>
                  </a:lnTo>
                  <a:lnTo>
                    <a:pt x="1814" y="135"/>
                  </a:lnTo>
                  <a:lnTo>
                    <a:pt x="1815" y="133"/>
                  </a:lnTo>
                  <a:lnTo>
                    <a:pt x="1816" y="130"/>
                  </a:lnTo>
                  <a:lnTo>
                    <a:pt x="1816" y="127"/>
                  </a:lnTo>
                  <a:lnTo>
                    <a:pt x="1817" y="126"/>
                  </a:lnTo>
                  <a:lnTo>
                    <a:pt x="1819" y="126"/>
                  </a:lnTo>
                  <a:lnTo>
                    <a:pt x="1823" y="128"/>
                  </a:lnTo>
                  <a:lnTo>
                    <a:pt x="1825" y="131"/>
                  </a:lnTo>
                  <a:lnTo>
                    <a:pt x="1826" y="133"/>
                  </a:lnTo>
                  <a:lnTo>
                    <a:pt x="1827" y="135"/>
                  </a:lnTo>
                  <a:lnTo>
                    <a:pt x="1828" y="136"/>
                  </a:lnTo>
                  <a:lnTo>
                    <a:pt x="1829" y="136"/>
                  </a:lnTo>
                  <a:lnTo>
                    <a:pt x="1830" y="136"/>
                  </a:lnTo>
                  <a:lnTo>
                    <a:pt x="1831" y="136"/>
                  </a:lnTo>
                  <a:lnTo>
                    <a:pt x="1834" y="135"/>
                  </a:lnTo>
                  <a:lnTo>
                    <a:pt x="1835" y="134"/>
                  </a:lnTo>
                  <a:lnTo>
                    <a:pt x="1836" y="134"/>
                  </a:lnTo>
                  <a:lnTo>
                    <a:pt x="1836" y="134"/>
                  </a:lnTo>
                  <a:lnTo>
                    <a:pt x="1836" y="135"/>
                  </a:lnTo>
                  <a:lnTo>
                    <a:pt x="1836" y="137"/>
                  </a:lnTo>
                  <a:lnTo>
                    <a:pt x="1836" y="138"/>
                  </a:lnTo>
                  <a:lnTo>
                    <a:pt x="1836" y="141"/>
                  </a:lnTo>
                  <a:lnTo>
                    <a:pt x="1836" y="142"/>
                  </a:lnTo>
                  <a:lnTo>
                    <a:pt x="1835" y="142"/>
                  </a:lnTo>
                  <a:lnTo>
                    <a:pt x="1834" y="143"/>
                  </a:lnTo>
                  <a:lnTo>
                    <a:pt x="1834" y="145"/>
                  </a:lnTo>
                  <a:lnTo>
                    <a:pt x="1835" y="147"/>
                  </a:lnTo>
                  <a:lnTo>
                    <a:pt x="1836" y="150"/>
                  </a:lnTo>
                  <a:lnTo>
                    <a:pt x="1838" y="154"/>
                  </a:lnTo>
                  <a:lnTo>
                    <a:pt x="1840" y="157"/>
                  </a:lnTo>
                  <a:lnTo>
                    <a:pt x="1842" y="160"/>
                  </a:lnTo>
                  <a:lnTo>
                    <a:pt x="1846" y="164"/>
                  </a:lnTo>
                  <a:lnTo>
                    <a:pt x="1847" y="168"/>
                  </a:lnTo>
                  <a:lnTo>
                    <a:pt x="1849" y="170"/>
                  </a:lnTo>
                  <a:lnTo>
                    <a:pt x="1850" y="172"/>
                  </a:lnTo>
                  <a:lnTo>
                    <a:pt x="1852" y="175"/>
                  </a:lnTo>
                  <a:lnTo>
                    <a:pt x="1853" y="177"/>
                  </a:lnTo>
                  <a:lnTo>
                    <a:pt x="1853" y="181"/>
                  </a:lnTo>
                  <a:lnTo>
                    <a:pt x="1853" y="183"/>
                  </a:lnTo>
                  <a:lnTo>
                    <a:pt x="1852" y="187"/>
                  </a:lnTo>
                  <a:lnTo>
                    <a:pt x="1851" y="189"/>
                  </a:lnTo>
                  <a:lnTo>
                    <a:pt x="1849" y="192"/>
                  </a:lnTo>
                  <a:lnTo>
                    <a:pt x="1849" y="193"/>
                  </a:lnTo>
                  <a:lnTo>
                    <a:pt x="1849" y="196"/>
                  </a:lnTo>
                  <a:lnTo>
                    <a:pt x="1849" y="199"/>
                  </a:lnTo>
                  <a:lnTo>
                    <a:pt x="1848" y="201"/>
                  </a:lnTo>
                  <a:lnTo>
                    <a:pt x="1847" y="203"/>
                  </a:lnTo>
                  <a:lnTo>
                    <a:pt x="1846" y="205"/>
                  </a:lnTo>
                  <a:lnTo>
                    <a:pt x="1844" y="207"/>
                  </a:lnTo>
                  <a:lnTo>
                    <a:pt x="1841" y="207"/>
                  </a:lnTo>
                  <a:lnTo>
                    <a:pt x="1838" y="208"/>
                  </a:lnTo>
                  <a:lnTo>
                    <a:pt x="1836" y="208"/>
                  </a:lnTo>
                  <a:lnTo>
                    <a:pt x="1834" y="210"/>
                  </a:lnTo>
                  <a:lnTo>
                    <a:pt x="1833" y="212"/>
                  </a:lnTo>
                  <a:lnTo>
                    <a:pt x="1831" y="214"/>
                  </a:lnTo>
                  <a:lnTo>
                    <a:pt x="1829" y="214"/>
                  </a:lnTo>
                  <a:lnTo>
                    <a:pt x="1827" y="216"/>
                  </a:lnTo>
                  <a:lnTo>
                    <a:pt x="1825" y="219"/>
                  </a:lnTo>
                  <a:lnTo>
                    <a:pt x="1822" y="219"/>
                  </a:lnTo>
                  <a:lnTo>
                    <a:pt x="1819" y="220"/>
                  </a:lnTo>
                  <a:lnTo>
                    <a:pt x="1817" y="221"/>
                  </a:lnTo>
                  <a:lnTo>
                    <a:pt x="1814" y="222"/>
                  </a:lnTo>
                  <a:lnTo>
                    <a:pt x="1813" y="224"/>
                  </a:lnTo>
                  <a:lnTo>
                    <a:pt x="1811" y="227"/>
                  </a:lnTo>
                  <a:lnTo>
                    <a:pt x="1809" y="233"/>
                  </a:lnTo>
                  <a:lnTo>
                    <a:pt x="1806" y="236"/>
                  </a:lnTo>
                  <a:lnTo>
                    <a:pt x="1802" y="237"/>
                  </a:lnTo>
                  <a:lnTo>
                    <a:pt x="1796" y="234"/>
                  </a:lnTo>
                  <a:lnTo>
                    <a:pt x="1791" y="230"/>
                  </a:lnTo>
                  <a:lnTo>
                    <a:pt x="1787" y="226"/>
                  </a:lnTo>
                  <a:lnTo>
                    <a:pt x="1785" y="223"/>
                  </a:lnTo>
                  <a:lnTo>
                    <a:pt x="1783" y="221"/>
                  </a:lnTo>
                  <a:lnTo>
                    <a:pt x="1780" y="218"/>
                  </a:lnTo>
                  <a:lnTo>
                    <a:pt x="1776" y="216"/>
                  </a:lnTo>
                  <a:lnTo>
                    <a:pt x="1773" y="216"/>
                  </a:lnTo>
                  <a:lnTo>
                    <a:pt x="1770" y="219"/>
                  </a:lnTo>
                  <a:lnTo>
                    <a:pt x="1766" y="220"/>
                  </a:lnTo>
                  <a:lnTo>
                    <a:pt x="1763" y="221"/>
                  </a:lnTo>
                  <a:lnTo>
                    <a:pt x="1761" y="219"/>
                  </a:lnTo>
                  <a:lnTo>
                    <a:pt x="1759" y="218"/>
                  </a:lnTo>
                  <a:lnTo>
                    <a:pt x="1757" y="215"/>
                  </a:lnTo>
                  <a:lnTo>
                    <a:pt x="1754" y="213"/>
                  </a:lnTo>
                  <a:lnTo>
                    <a:pt x="1752" y="210"/>
                  </a:lnTo>
                  <a:lnTo>
                    <a:pt x="1751" y="208"/>
                  </a:lnTo>
                  <a:lnTo>
                    <a:pt x="1751" y="204"/>
                  </a:lnTo>
                  <a:lnTo>
                    <a:pt x="1751" y="201"/>
                  </a:lnTo>
                  <a:lnTo>
                    <a:pt x="1752" y="199"/>
                  </a:lnTo>
                  <a:lnTo>
                    <a:pt x="1753" y="199"/>
                  </a:lnTo>
                  <a:lnTo>
                    <a:pt x="1755" y="198"/>
                  </a:lnTo>
                  <a:lnTo>
                    <a:pt x="1758" y="198"/>
                  </a:lnTo>
                  <a:lnTo>
                    <a:pt x="1759" y="199"/>
                  </a:lnTo>
                  <a:lnTo>
                    <a:pt x="1761" y="199"/>
                  </a:lnTo>
                  <a:lnTo>
                    <a:pt x="1762" y="199"/>
                  </a:lnTo>
                  <a:lnTo>
                    <a:pt x="1762" y="198"/>
                  </a:lnTo>
                  <a:lnTo>
                    <a:pt x="1763" y="197"/>
                  </a:lnTo>
                  <a:lnTo>
                    <a:pt x="1762" y="192"/>
                  </a:lnTo>
                  <a:lnTo>
                    <a:pt x="1761" y="189"/>
                  </a:lnTo>
                  <a:lnTo>
                    <a:pt x="1759" y="187"/>
                  </a:lnTo>
                  <a:lnTo>
                    <a:pt x="1757" y="185"/>
                  </a:lnTo>
                  <a:lnTo>
                    <a:pt x="1753" y="183"/>
                  </a:lnTo>
                  <a:lnTo>
                    <a:pt x="1749" y="181"/>
                  </a:lnTo>
                  <a:lnTo>
                    <a:pt x="1744" y="181"/>
                  </a:lnTo>
                  <a:lnTo>
                    <a:pt x="1740" y="181"/>
                  </a:lnTo>
                  <a:lnTo>
                    <a:pt x="1737" y="179"/>
                  </a:lnTo>
                  <a:lnTo>
                    <a:pt x="1736" y="176"/>
                  </a:lnTo>
                  <a:lnTo>
                    <a:pt x="1735" y="174"/>
                  </a:lnTo>
                  <a:lnTo>
                    <a:pt x="1736" y="170"/>
                  </a:lnTo>
                  <a:lnTo>
                    <a:pt x="1738" y="168"/>
                  </a:lnTo>
                  <a:lnTo>
                    <a:pt x="1740" y="167"/>
                  </a:lnTo>
                  <a:lnTo>
                    <a:pt x="1742" y="167"/>
                  </a:lnTo>
                  <a:lnTo>
                    <a:pt x="1746" y="167"/>
                  </a:lnTo>
                  <a:lnTo>
                    <a:pt x="1749" y="168"/>
                  </a:lnTo>
                  <a:lnTo>
                    <a:pt x="1752" y="167"/>
                  </a:lnTo>
                  <a:lnTo>
                    <a:pt x="1754" y="167"/>
                  </a:lnTo>
                  <a:lnTo>
                    <a:pt x="1757" y="165"/>
                  </a:lnTo>
                  <a:lnTo>
                    <a:pt x="1758" y="164"/>
                  </a:lnTo>
                  <a:lnTo>
                    <a:pt x="1759" y="161"/>
                  </a:lnTo>
                  <a:lnTo>
                    <a:pt x="1759" y="158"/>
                  </a:lnTo>
                  <a:lnTo>
                    <a:pt x="1758" y="155"/>
                  </a:lnTo>
                  <a:lnTo>
                    <a:pt x="1755" y="153"/>
                  </a:lnTo>
                  <a:lnTo>
                    <a:pt x="1753" y="150"/>
                  </a:lnTo>
                  <a:lnTo>
                    <a:pt x="1750" y="148"/>
                  </a:lnTo>
                  <a:lnTo>
                    <a:pt x="1747" y="147"/>
                  </a:lnTo>
                  <a:lnTo>
                    <a:pt x="1744" y="146"/>
                  </a:lnTo>
                  <a:lnTo>
                    <a:pt x="1742" y="146"/>
                  </a:lnTo>
                  <a:lnTo>
                    <a:pt x="1741" y="146"/>
                  </a:lnTo>
                  <a:lnTo>
                    <a:pt x="1739" y="147"/>
                  </a:lnTo>
                  <a:lnTo>
                    <a:pt x="1737" y="148"/>
                  </a:lnTo>
                  <a:lnTo>
                    <a:pt x="1736" y="150"/>
                  </a:lnTo>
                  <a:lnTo>
                    <a:pt x="1733" y="152"/>
                  </a:lnTo>
                  <a:lnTo>
                    <a:pt x="1731" y="152"/>
                  </a:lnTo>
                  <a:lnTo>
                    <a:pt x="1730" y="150"/>
                  </a:lnTo>
                  <a:lnTo>
                    <a:pt x="1728" y="149"/>
                  </a:lnTo>
                  <a:lnTo>
                    <a:pt x="1727" y="146"/>
                  </a:lnTo>
                  <a:lnTo>
                    <a:pt x="1726" y="144"/>
                  </a:lnTo>
                  <a:lnTo>
                    <a:pt x="1727" y="143"/>
                  </a:lnTo>
                  <a:lnTo>
                    <a:pt x="1727" y="142"/>
                  </a:lnTo>
                  <a:lnTo>
                    <a:pt x="1728" y="142"/>
                  </a:lnTo>
                  <a:lnTo>
                    <a:pt x="1730" y="141"/>
                  </a:lnTo>
                  <a:lnTo>
                    <a:pt x="1730" y="139"/>
                  </a:lnTo>
                  <a:lnTo>
                    <a:pt x="1731" y="139"/>
                  </a:lnTo>
                  <a:lnTo>
                    <a:pt x="1732" y="137"/>
                  </a:lnTo>
                  <a:lnTo>
                    <a:pt x="1732" y="135"/>
                  </a:lnTo>
                  <a:lnTo>
                    <a:pt x="1733" y="132"/>
                  </a:lnTo>
                  <a:lnTo>
                    <a:pt x="1733" y="128"/>
                  </a:lnTo>
                  <a:lnTo>
                    <a:pt x="1733" y="126"/>
                  </a:lnTo>
                  <a:lnTo>
                    <a:pt x="1733" y="124"/>
                  </a:lnTo>
                  <a:lnTo>
                    <a:pt x="1735" y="123"/>
                  </a:lnTo>
                  <a:lnTo>
                    <a:pt x="1736" y="122"/>
                  </a:lnTo>
                  <a:lnTo>
                    <a:pt x="1738" y="122"/>
                  </a:lnTo>
                  <a:lnTo>
                    <a:pt x="1739" y="123"/>
                  </a:lnTo>
                  <a:lnTo>
                    <a:pt x="1740" y="126"/>
                  </a:lnTo>
                  <a:lnTo>
                    <a:pt x="1741" y="127"/>
                  </a:lnTo>
                  <a:lnTo>
                    <a:pt x="1742" y="128"/>
                  </a:lnTo>
                  <a:lnTo>
                    <a:pt x="1743" y="130"/>
                  </a:lnTo>
                  <a:lnTo>
                    <a:pt x="1744" y="130"/>
                  </a:lnTo>
                  <a:lnTo>
                    <a:pt x="1746" y="130"/>
                  </a:lnTo>
                  <a:lnTo>
                    <a:pt x="1746" y="130"/>
                  </a:lnTo>
                  <a:lnTo>
                    <a:pt x="1744" y="128"/>
                  </a:lnTo>
                  <a:lnTo>
                    <a:pt x="1744" y="126"/>
                  </a:lnTo>
                  <a:lnTo>
                    <a:pt x="1744" y="124"/>
                  </a:lnTo>
                  <a:lnTo>
                    <a:pt x="1743" y="122"/>
                  </a:lnTo>
                  <a:lnTo>
                    <a:pt x="1743" y="120"/>
                  </a:lnTo>
                  <a:lnTo>
                    <a:pt x="1743" y="117"/>
                  </a:lnTo>
                  <a:lnTo>
                    <a:pt x="1743" y="115"/>
                  </a:lnTo>
                  <a:lnTo>
                    <a:pt x="1743" y="114"/>
                  </a:lnTo>
                  <a:lnTo>
                    <a:pt x="1746" y="114"/>
                  </a:lnTo>
                  <a:close/>
                  <a:moveTo>
                    <a:pt x="2415" y="76"/>
                  </a:moveTo>
                  <a:lnTo>
                    <a:pt x="2416" y="77"/>
                  </a:lnTo>
                  <a:lnTo>
                    <a:pt x="2417" y="79"/>
                  </a:lnTo>
                  <a:lnTo>
                    <a:pt x="2417" y="81"/>
                  </a:lnTo>
                  <a:lnTo>
                    <a:pt x="2417" y="84"/>
                  </a:lnTo>
                  <a:lnTo>
                    <a:pt x="2417" y="87"/>
                  </a:lnTo>
                  <a:lnTo>
                    <a:pt x="2417" y="89"/>
                  </a:lnTo>
                  <a:lnTo>
                    <a:pt x="2416" y="90"/>
                  </a:lnTo>
                  <a:lnTo>
                    <a:pt x="2416" y="90"/>
                  </a:lnTo>
                  <a:lnTo>
                    <a:pt x="2414" y="88"/>
                  </a:lnTo>
                  <a:lnTo>
                    <a:pt x="2413" y="85"/>
                  </a:lnTo>
                  <a:lnTo>
                    <a:pt x="2413" y="83"/>
                  </a:lnTo>
                  <a:lnTo>
                    <a:pt x="2412" y="80"/>
                  </a:lnTo>
                  <a:lnTo>
                    <a:pt x="2412" y="78"/>
                  </a:lnTo>
                  <a:lnTo>
                    <a:pt x="2413" y="77"/>
                  </a:lnTo>
                  <a:lnTo>
                    <a:pt x="2414" y="76"/>
                  </a:lnTo>
                  <a:lnTo>
                    <a:pt x="2415" y="76"/>
                  </a:lnTo>
                  <a:close/>
                  <a:moveTo>
                    <a:pt x="692" y="57"/>
                  </a:moveTo>
                  <a:lnTo>
                    <a:pt x="695" y="59"/>
                  </a:lnTo>
                  <a:lnTo>
                    <a:pt x="698" y="63"/>
                  </a:lnTo>
                  <a:lnTo>
                    <a:pt x="699" y="68"/>
                  </a:lnTo>
                  <a:lnTo>
                    <a:pt x="700" y="73"/>
                  </a:lnTo>
                  <a:lnTo>
                    <a:pt x="703" y="77"/>
                  </a:lnTo>
                  <a:lnTo>
                    <a:pt x="705" y="78"/>
                  </a:lnTo>
                  <a:lnTo>
                    <a:pt x="707" y="79"/>
                  </a:lnTo>
                  <a:lnTo>
                    <a:pt x="711" y="79"/>
                  </a:lnTo>
                  <a:lnTo>
                    <a:pt x="714" y="79"/>
                  </a:lnTo>
                  <a:lnTo>
                    <a:pt x="717" y="79"/>
                  </a:lnTo>
                  <a:lnTo>
                    <a:pt x="720" y="81"/>
                  </a:lnTo>
                  <a:lnTo>
                    <a:pt x="722" y="82"/>
                  </a:lnTo>
                  <a:lnTo>
                    <a:pt x="723" y="85"/>
                  </a:lnTo>
                  <a:lnTo>
                    <a:pt x="724" y="88"/>
                  </a:lnTo>
                  <a:lnTo>
                    <a:pt x="724" y="89"/>
                  </a:lnTo>
                  <a:lnTo>
                    <a:pt x="726" y="93"/>
                  </a:lnTo>
                  <a:lnTo>
                    <a:pt x="731" y="96"/>
                  </a:lnTo>
                  <a:lnTo>
                    <a:pt x="736" y="99"/>
                  </a:lnTo>
                  <a:lnTo>
                    <a:pt x="743" y="100"/>
                  </a:lnTo>
                  <a:lnTo>
                    <a:pt x="747" y="100"/>
                  </a:lnTo>
                  <a:lnTo>
                    <a:pt x="755" y="103"/>
                  </a:lnTo>
                  <a:lnTo>
                    <a:pt x="760" y="109"/>
                  </a:lnTo>
                  <a:lnTo>
                    <a:pt x="765" y="114"/>
                  </a:lnTo>
                  <a:lnTo>
                    <a:pt x="771" y="120"/>
                  </a:lnTo>
                  <a:lnTo>
                    <a:pt x="780" y="128"/>
                  </a:lnTo>
                  <a:lnTo>
                    <a:pt x="786" y="139"/>
                  </a:lnTo>
                  <a:lnTo>
                    <a:pt x="786" y="152"/>
                  </a:lnTo>
                  <a:lnTo>
                    <a:pt x="783" y="155"/>
                  </a:lnTo>
                  <a:lnTo>
                    <a:pt x="779" y="157"/>
                  </a:lnTo>
                  <a:lnTo>
                    <a:pt x="773" y="156"/>
                  </a:lnTo>
                  <a:lnTo>
                    <a:pt x="768" y="154"/>
                  </a:lnTo>
                  <a:lnTo>
                    <a:pt x="765" y="152"/>
                  </a:lnTo>
                  <a:lnTo>
                    <a:pt x="762" y="150"/>
                  </a:lnTo>
                  <a:lnTo>
                    <a:pt x="760" y="148"/>
                  </a:lnTo>
                  <a:lnTo>
                    <a:pt x="758" y="147"/>
                  </a:lnTo>
                  <a:lnTo>
                    <a:pt x="755" y="147"/>
                  </a:lnTo>
                  <a:lnTo>
                    <a:pt x="753" y="148"/>
                  </a:lnTo>
                  <a:lnTo>
                    <a:pt x="751" y="148"/>
                  </a:lnTo>
                  <a:lnTo>
                    <a:pt x="749" y="147"/>
                  </a:lnTo>
                  <a:lnTo>
                    <a:pt x="747" y="145"/>
                  </a:lnTo>
                  <a:lnTo>
                    <a:pt x="746" y="142"/>
                  </a:lnTo>
                  <a:lnTo>
                    <a:pt x="745" y="138"/>
                  </a:lnTo>
                  <a:lnTo>
                    <a:pt x="743" y="136"/>
                  </a:lnTo>
                  <a:lnTo>
                    <a:pt x="740" y="134"/>
                  </a:lnTo>
                  <a:lnTo>
                    <a:pt x="738" y="133"/>
                  </a:lnTo>
                  <a:lnTo>
                    <a:pt x="736" y="132"/>
                  </a:lnTo>
                  <a:lnTo>
                    <a:pt x="734" y="132"/>
                  </a:lnTo>
                  <a:lnTo>
                    <a:pt x="733" y="133"/>
                  </a:lnTo>
                  <a:lnTo>
                    <a:pt x="731" y="135"/>
                  </a:lnTo>
                  <a:lnTo>
                    <a:pt x="729" y="137"/>
                  </a:lnTo>
                  <a:lnTo>
                    <a:pt x="728" y="141"/>
                  </a:lnTo>
                  <a:lnTo>
                    <a:pt x="728" y="143"/>
                  </a:lnTo>
                  <a:lnTo>
                    <a:pt x="728" y="145"/>
                  </a:lnTo>
                  <a:lnTo>
                    <a:pt x="728" y="148"/>
                  </a:lnTo>
                  <a:lnTo>
                    <a:pt x="727" y="150"/>
                  </a:lnTo>
                  <a:lnTo>
                    <a:pt x="726" y="152"/>
                  </a:lnTo>
                  <a:lnTo>
                    <a:pt x="724" y="153"/>
                  </a:lnTo>
                  <a:lnTo>
                    <a:pt x="722" y="153"/>
                  </a:lnTo>
                  <a:lnTo>
                    <a:pt x="720" y="154"/>
                  </a:lnTo>
                  <a:lnTo>
                    <a:pt x="717" y="154"/>
                  </a:lnTo>
                  <a:lnTo>
                    <a:pt x="715" y="154"/>
                  </a:lnTo>
                  <a:lnTo>
                    <a:pt x="713" y="155"/>
                  </a:lnTo>
                  <a:lnTo>
                    <a:pt x="711" y="156"/>
                  </a:lnTo>
                  <a:lnTo>
                    <a:pt x="706" y="161"/>
                  </a:lnTo>
                  <a:lnTo>
                    <a:pt x="703" y="166"/>
                  </a:lnTo>
                  <a:lnTo>
                    <a:pt x="699" y="170"/>
                  </a:lnTo>
                  <a:lnTo>
                    <a:pt x="693" y="174"/>
                  </a:lnTo>
                  <a:lnTo>
                    <a:pt x="685" y="174"/>
                  </a:lnTo>
                  <a:lnTo>
                    <a:pt x="683" y="171"/>
                  </a:lnTo>
                  <a:lnTo>
                    <a:pt x="682" y="169"/>
                  </a:lnTo>
                  <a:lnTo>
                    <a:pt x="681" y="167"/>
                  </a:lnTo>
                  <a:lnTo>
                    <a:pt x="681" y="165"/>
                  </a:lnTo>
                  <a:lnTo>
                    <a:pt x="681" y="163"/>
                  </a:lnTo>
                  <a:lnTo>
                    <a:pt x="681" y="160"/>
                  </a:lnTo>
                  <a:lnTo>
                    <a:pt x="679" y="158"/>
                  </a:lnTo>
                  <a:lnTo>
                    <a:pt x="678" y="157"/>
                  </a:lnTo>
                  <a:lnTo>
                    <a:pt x="675" y="156"/>
                  </a:lnTo>
                  <a:lnTo>
                    <a:pt x="672" y="156"/>
                  </a:lnTo>
                  <a:lnTo>
                    <a:pt x="670" y="155"/>
                  </a:lnTo>
                  <a:lnTo>
                    <a:pt x="668" y="155"/>
                  </a:lnTo>
                  <a:lnTo>
                    <a:pt x="664" y="154"/>
                  </a:lnTo>
                  <a:lnTo>
                    <a:pt x="662" y="154"/>
                  </a:lnTo>
                  <a:lnTo>
                    <a:pt x="659" y="153"/>
                  </a:lnTo>
                  <a:lnTo>
                    <a:pt x="657" y="152"/>
                  </a:lnTo>
                  <a:lnTo>
                    <a:pt x="655" y="150"/>
                  </a:lnTo>
                  <a:lnTo>
                    <a:pt x="655" y="148"/>
                  </a:lnTo>
                  <a:lnTo>
                    <a:pt x="655" y="146"/>
                  </a:lnTo>
                  <a:lnTo>
                    <a:pt x="656" y="143"/>
                  </a:lnTo>
                  <a:lnTo>
                    <a:pt x="657" y="142"/>
                  </a:lnTo>
                  <a:lnTo>
                    <a:pt x="659" y="139"/>
                  </a:lnTo>
                  <a:lnTo>
                    <a:pt x="662" y="138"/>
                  </a:lnTo>
                  <a:lnTo>
                    <a:pt x="664" y="137"/>
                  </a:lnTo>
                  <a:lnTo>
                    <a:pt x="667" y="136"/>
                  </a:lnTo>
                  <a:lnTo>
                    <a:pt x="668" y="134"/>
                  </a:lnTo>
                  <a:lnTo>
                    <a:pt x="672" y="131"/>
                  </a:lnTo>
                  <a:lnTo>
                    <a:pt x="675" y="126"/>
                  </a:lnTo>
                  <a:lnTo>
                    <a:pt x="679" y="122"/>
                  </a:lnTo>
                  <a:lnTo>
                    <a:pt x="682" y="120"/>
                  </a:lnTo>
                  <a:lnTo>
                    <a:pt x="684" y="117"/>
                  </a:lnTo>
                  <a:lnTo>
                    <a:pt x="687" y="115"/>
                  </a:lnTo>
                  <a:lnTo>
                    <a:pt x="688" y="113"/>
                  </a:lnTo>
                  <a:lnTo>
                    <a:pt x="689" y="111"/>
                  </a:lnTo>
                  <a:lnTo>
                    <a:pt x="688" y="109"/>
                  </a:lnTo>
                  <a:lnTo>
                    <a:pt x="685" y="106"/>
                  </a:lnTo>
                  <a:lnTo>
                    <a:pt x="681" y="104"/>
                  </a:lnTo>
                  <a:lnTo>
                    <a:pt x="679" y="103"/>
                  </a:lnTo>
                  <a:lnTo>
                    <a:pt x="678" y="103"/>
                  </a:lnTo>
                  <a:lnTo>
                    <a:pt x="675" y="102"/>
                  </a:lnTo>
                  <a:lnTo>
                    <a:pt x="673" y="101"/>
                  </a:lnTo>
                  <a:lnTo>
                    <a:pt x="672" y="100"/>
                  </a:lnTo>
                  <a:lnTo>
                    <a:pt x="672" y="98"/>
                  </a:lnTo>
                  <a:lnTo>
                    <a:pt x="672" y="95"/>
                  </a:lnTo>
                  <a:lnTo>
                    <a:pt x="672" y="93"/>
                  </a:lnTo>
                  <a:lnTo>
                    <a:pt x="673" y="90"/>
                  </a:lnTo>
                  <a:lnTo>
                    <a:pt x="673" y="87"/>
                  </a:lnTo>
                  <a:lnTo>
                    <a:pt x="674" y="83"/>
                  </a:lnTo>
                  <a:lnTo>
                    <a:pt x="675" y="77"/>
                  </a:lnTo>
                  <a:lnTo>
                    <a:pt x="678" y="69"/>
                  </a:lnTo>
                  <a:lnTo>
                    <a:pt x="680" y="62"/>
                  </a:lnTo>
                  <a:lnTo>
                    <a:pt x="684" y="58"/>
                  </a:lnTo>
                  <a:lnTo>
                    <a:pt x="692" y="57"/>
                  </a:lnTo>
                  <a:close/>
                  <a:moveTo>
                    <a:pt x="87" y="49"/>
                  </a:moveTo>
                  <a:lnTo>
                    <a:pt x="84" y="49"/>
                  </a:lnTo>
                  <a:lnTo>
                    <a:pt x="82" y="50"/>
                  </a:lnTo>
                  <a:lnTo>
                    <a:pt x="80" y="51"/>
                  </a:lnTo>
                  <a:lnTo>
                    <a:pt x="77" y="52"/>
                  </a:lnTo>
                  <a:lnTo>
                    <a:pt x="74" y="54"/>
                  </a:lnTo>
                  <a:lnTo>
                    <a:pt x="71" y="57"/>
                  </a:lnTo>
                  <a:lnTo>
                    <a:pt x="68" y="59"/>
                  </a:lnTo>
                  <a:lnTo>
                    <a:pt x="65" y="61"/>
                  </a:lnTo>
                  <a:lnTo>
                    <a:pt x="61" y="63"/>
                  </a:lnTo>
                  <a:lnTo>
                    <a:pt x="58" y="66"/>
                  </a:lnTo>
                  <a:lnTo>
                    <a:pt x="54" y="69"/>
                  </a:lnTo>
                  <a:lnTo>
                    <a:pt x="50" y="71"/>
                  </a:lnTo>
                  <a:lnTo>
                    <a:pt x="46" y="74"/>
                  </a:lnTo>
                  <a:lnTo>
                    <a:pt x="34" y="78"/>
                  </a:lnTo>
                  <a:lnTo>
                    <a:pt x="22" y="83"/>
                  </a:lnTo>
                  <a:lnTo>
                    <a:pt x="18" y="85"/>
                  </a:lnTo>
                  <a:lnTo>
                    <a:pt x="13" y="88"/>
                  </a:lnTo>
                  <a:lnTo>
                    <a:pt x="6" y="89"/>
                  </a:lnTo>
                  <a:lnTo>
                    <a:pt x="2" y="91"/>
                  </a:lnTo>
                  <a:lnTo>
                    <a:pt x="0" y="96"/>
                  </a:lnTo>
                  <a:lnTo>
                    <a:pt x="1" y="98"/>
                  </a:lnTo>
                  <a:lnTo>
                    <a:pt x="2" y="99"/>
                  </a:lnTo>
                  <a:lnTo>
                    <a:pt x="4" y="99"/>
                  </a:lnTo>
                  <a:lnTo>
                    <a:pt x="5" y="99"/>
                  </a:lnTo>
                  <a:lnTo>
                    <a:pt x="7" y="98"/>
                  </a:lnTo>
                  <a:lnTo>
                    <a:pt x="8" y="96"/>
                  </a:lnTo>
                  <a:lnTo>
                    <a:pt x="13" y="93"/>
                  </a:lnTo>
                  <a:lnTo>
                    <a:pt x="16" y="91"/>
                  </a:lnTo>
                  <a:lnTo>
                    <a:pt x="20" y="90"/>
                  </a:lnTo>
                  <a:lnTo>
                    <a:pt x="24" y="90"/>
                  </a:lnTo>
                  <a:lnTo>
                    <a:pt x="28" y="88"/>
                  </a:lnTo>
                  <a:lnTo>
                    <a:pt x="31" y="87"/>
                  </a:lnTo>
                  <a:lnTo>
                    <a:pt x="36" y="84"/>
                  </a:lnTo>
                  <a:lnTo>
                    <a:pt x="39" y="83"/>
                  </a:lnTo>
                  <a:lnTo>
                    <a:pt x="41" y="83"/>
                  </a:lnTo>
                  <a:lnTo>
                    <a:pt x="44" y="83"/>
                  </a:lnTo>
                  <a:lnTo>
                    <a:pt x="46" y="84"/>
                  </a:lnTo>
                  <a:lnTo>
                    <a:pt x="48" y="85"/>
                  </a:lnTo>
                  <a:lnTo>
                    <a:pt x="50" y="88"/>
                  </a:lnTo>
                  <a:lnTo>
                    <a:pt x="50" y="90"/>
                  </a:lnTo>
                  <a:lnTo>
                    <a:pt x="50" y="96"/>
                  </a:lnTo>
                  <a:lnTo>
                    <a:pt x="48" y="102"/>
                  </a:lnTo>
                  <a:lnTo>
                    <a:pt x="45" y="106"/>
                  </a:lnTo>
                  <a:lnTo>
                    <a:pt x="39" y="110"/>
                  </a:lnTo>
                  <a:lnTo>
                    <a:pt x="33" y="115"/>
                  </a:lnTo>
                  <a:lnTo>
                    <a:pt x="27" y="121"/>
                  </a:lnTo>
                  <a:lnTo>
                    <a:pt x="25" y="127"/>
                  </a:lnTo>
                  <a:lnTo>
                    <a:pt x="28" y="134"/>
                  </a:lnTo>
                  <a:lnTo>
                    <a:pt x="33" y="136"/>
                  </a:lnTo>
                  <a:lnTo>
                    <a:pt x="37" y="135"/>
                  </a:lnTo>
                  <a:lnTo>
                    <a:pt x="42" y="132"/>
                  </a:lnTo>
                  <a:lnTo>
                    <a:pt x="47" y="127"/>
                  </a:lnTo>
                  <a:lnTo>
                    <a:pt x="50" y="123"/>
                  </a:lnTo>
                  <a:lnTo>
                    <a:pt x="52" y="120"/>
                  </a:lnTo>
                  <a:lnTo>
                    <a:pt x="54" y="116"/>
                  </a:lnTo>
                  <a:lnTo>
                    <a:pt x="55" y="114"/>
                  </a:lnTo>
                  <a:lnTo>
                    <a:pt x="57" y="111"/>
                  </a:lnTo>
                  <a:lnTo>
                    <a:pt x="59" y="110"/>
                  </a:lnTo>
                  <a:lnTo>
                    <a:pt x="61" y="110"/>
                  </a:lnTo>
                  <a:lnTo>
                    <a:pt x="62" y="111"/>
                  </a:lnTo>
                  <a:lnTo>
                    <a:pt x="62" y="112"/>
                  </a:lnTo>
                  <a:lnTo>
                    <a:pt x="61" y="114"/>
                  </a:lnTo>
                  <a:lnTo>
                    <a:pt x="61" y="116"/>
                  </a:lnTo>
                  <a:lnTo>
                    <a:pt x="60" y="120"/>
                  </a:lnTo>
                  <a:lnTo>
                    <a:pt x="58" y="123"/>
                  </a:lnTo>
                  <a:lnTo>
                    <a:pt x="57" y="126"/>
                  </a:lnTo>
                  <a:lnTo>
                    <a:pt x="55" y="130"/>
                  </a:lnTo>
                  <a:lnTo>
                    <a:pt x="56" y="132"/>
                  </a:lnTo>
                  <a:lnTo>
                    <a:pt x="60" y="131"/>
                  </a:lnTo>
                  <a:lnTo>
                    <a:pt x="65" y="128"/>
                  </a:lnTo>
                  <a:lnTo>
                    <a:pt x="69" y="124"/>
                  </a:lnTo>
                  <a:lnTo>
                    <a:pt x="72" y="121"/>
                  </a:lnTo>
                  <a:lnTo>
                    <a:pt x="74" y="119"/>
                  </a:lnTo>
                  <a:lnTo>
                    <a:pt x="78" y="114"/>
                  </a:lnTo>
                  <a:lnTo>
                    <a:pt x="80" y="111"/>
                  </a:lnTo>
                  <a:lnTo>
                    <a:pt x="81" y="105"/>
                  </a:lnTo>
                  <a:lnTo>
                    <a:pt x="81" y="101"/>
                  </a:lnTo>
                  <a:lnTo>
                    <a:pt x="82" y="100"/>
                  </a:lnTo>
                  <a:lnTo>
                    <a:pt x="83" y="98"/>
                  </a:lnTo>
                  <a:lnTo>
                    <a:pt x="83" y="96"/>
                  </a:lnTo>
                  <a:lnTo>
                    <a:pt x="84" y="95"/>
                  </a:lnTo>
                  <a:lnTo>
                    <a:pt x="85" y="94"/>
                  </a:lnTo>
                  <a:lnTo>
                    <a:pt x="87" y="95"/>
                  </a:lnTo>
                  <a:lnTo>
                    <a:pt x="88" y="96"/>
                  </a:lnTo>
                  <a:lnTo>
                    <a:pt x="94" y="96"/>
                  </a:lnTo>
                  <a:lnTo>
                    <a:pt x="99" y="92"/>
                  </a:lnTo>
                  <a:lnTo>
                    <a:pt x="103" y="85"/>
                  </a:lnTo>
                  <a:lnTo>
                    <a:pt x="105" y="79"/>
                  </a:lnTo>
                  <a:lnTo>
                    <a:pt x="106" y="76"/>
                  </a:lnTo>
                  <a:lnTo>
                    <a:pt x="109" y="73"/>
                  </a:lnTo>
                  <a:lnTo>
                    <a:pt x="111" y="72"/>
                  </a:lnTo>
                  <a:lnTo>
                    <a:pt x="113" y="70"/>
                  </a:lnTo>
                  <a:lnTo>
                    <a:pt x="114" y="68"/>
                  </a:lnTo>
                  <a:lnTo>
                    <a:pt x="114" y="66"/>
                  </a:lnTo>
                  <a:lnTo>
                    <a:pt x="114" y="63"/>
                  </a:lnTo>
                  <a:lnTo>
                    <a:pt x="113" y="62"/>
                  </a:lnTo>
                  <a:lnTo>
                    <a:pt x="111" y="62"/>
                  </a:lnTo>
                  <a:lnTo>
                    <a:pt x="109" y="62"/>
                  </a:lnTo>
                  <a:lnTo>
                    <a:pt x="106" y="62"/>
                  </a:lnTo>
                  <a:lnTo>
                    <a:pt x="105" y="63"/>
                  </a:lnTo>
                  <a:lnTo>
                    <a:pt x="103" y="66"/>
                  </a:lnTo>
                  <a:lnTo>
                    <a:pt x="100" y="68"/>
                  </a:lnTo>
                  <a:lnTo>
                    <a:pt x="99" y="70"/>
                  </a:lnTo>
                  <a:lnTo>
                    <a:pt x="96" y="72"/>
                  </a:lnTo>
                  <a:lnTo>
                    <a:pt x="94" y="74"/>
                  </a:lnTo>
                  <a:lnTo>
                    <a:pt x="91" y="74"/>
                  </a:lnTo>
                  <a:lnTo>
                    <a:pt x="89" y="76"/>
                  </a:lnTo>
                  <a:lnTo>
                    <a:pt x="87" y="76"/>
                  </a:lnTo>
                  <a:lnTo>
                    <a:pt x="83" y="77"/>
                  </a:lnTo>
                  <a:lnTo>
                    <a:pt x="78" y="74"/>
                  </a:lnTo>
                  <a:lnTo>
                    <a:pt x="76" y="71"/>
                  </a:lnTo>
                  <a:lnTo>
                    <a:pt x="76" y="67"/>
                  </a:lnTo>
                  <a:lnTo>
                    <a:pt x="77" y="61"/>
                  </a:lnTo>
                  <a:lnTo>
                    <a:pt x="81" y="57"/>
                  </a:lnTo>
                  <a:lnTo>
                    <a:pt x="82" y="56"/>
                  </a:lnTo>
                  <a:lnTo>
                    <a:pt x="84" y="55"/>
                  </a:lnTo>
                  <a:lnTo>
                    <a:pt x="87" y="54"/>
                  </a:lnTo>
                  <a:lnTo>
                    <a:pt x="88" y="51"/>
                  </a:lnTo>
                  <a:lnTo>
                    <a:pt x="89" y="51"/>
                  </a:lnTo>
                  <a:lnTo>
                    <a:pt x="89" y="50"/>
                  </a:lnTo>
                  <a:lnTo>
                    <a:pt x="88" y="50"/>
                  </a:lnTo>
                  <a:lnTo>
                    <a:pt x="87" y="49"/>
                  </a:lnTo>
                  <a:close/>
                  <a:moveTo>
                    <a:pt x="2366" y="47"/>
                  </a:moveTo>
                  <a:lnTo>
                    <a:pt x="2368" y="47"/>
                  </a:lnTo>
                  <a:lnTo>
                    <a:pt x="2369" y="48"/>
                  </a:lnTo>
                  <a:lnTo>
                    <a:pt x="2369" y="51"/>
                  </a:lnTo>
                  <a:lnTo>
                    <a:pt x="2370" y="52"/>
                  </a:lnTo>
                  <a:lnTo>
                    <a:pt x="2371" y="56"/>
                  </a:lnTo>
                  <a:lnTo>
                    <a:pt x="2372" y="59"/>
                  </a:lnTo>
                  <a:lnTo>
                    <a:pt x="2373" y="62"/>
                  </a:lnTo>
                  <a:lnTo>
                    <a:pt x="2373" y="65"/>
                  </a:lnTo>
                  <a:lnTo>
                    <a:pt x="2372" y="65"/>
                  </a:lnTo>
                  <a:lnTo>
                    <a:pt x="2371" y="63"/>
                  </a:lnTo>
                  <a:lnTo>
                    <a:pt x="2370" y="63"/>
                  </a:lnTo>
                  <a:lnTo>
                    <a:pt x="2369" y="62"/>
                  </a:lnTo>
                  <a:lnTo>
                    <a:pt x="2369" y="61"/>
                  </a:lnTo>
                  <a:lnTo>
                    <a:pt x="2366" y="60"/>
                  </a:lnTo>
                  <a:lnTo>
                    <a:pt x="2365" y="58"/>
                  </a:lnTo>
                  <a:lnTo>
                    <a:pt x="2365" y="56"/>
                  </a:lnTo>
                  <a:lnTo>
                    <a:pt x="2365" y="55"/>
                  </a:lnTo>
                  <a:lnTo>
                    <a:pt x="2365" y="52"/>
                  </a:lnTo>
                  <a:lnTo>
                    <a:pt x="2366" y="51"/>
                  </a:lnTo>
                  <a:lnTo>
                    <a:pt x="2366" y="48"/>
                  </a:lnTo>
                  <a:lnTo>
                    <a:pt x="2366" y="47"/>
                  </a:lnTo>
                  <a:close/>
                  <a:moveTo>
                    <a:pt x="2468" y="0"/>
                  </a:moveTo>
                  <a:lnTo>
                    <a:pt x="2493" y="84"/>
                  </a:lnTo>
                  <a:lnTo>
                    <a:pt x="2514" y="171"/>
                  </a:lnTo>
                  <a:lnTo>
                    <a:pt x="2530" y="259"/>
                  </a:lnTo>
                  <a:lnTo>
                    <a:pt x="2543" y="350"/>
                  </a:lnTo>
                  <a:lnTo>
                    <a:pt x="2549" y="442"/>
                  </a:lnTo>
                  <a:lnTo>
                    <a:pt x="2536" y="450"/>
                  </a:lnTo>
                  <a:lnTo>
                    <a:pt x="2523" y="458"/>
                  </a:lnTo>
                  <a:lnTo>
                    <a:pt x="2471" y="493"/>
                  </a:lnTo>
                  <a:lnTo>
                    <a:pt x="2418" y="534"/>
                  </a:lnTo>
                  <a:lnTo>
                    <a:pt x="2364" y="579"/>
                  </a:lnTo>
                  <a:lnTo>
                    <a:pt x="2308" y="626"/>
                  </a:lnTo>
                  <a:lnTo>
                    <a:pt x="2249" y="674"/>
                  </a:lnTo>
                  <a:lnTo>
                    <a:pt x="2249" y="673"/>
                  </a:lnTo>
                  <a:lnTo>
                    <a:pt x="2250" y="672"/>
                  </a:lnTo>
                  <a:lnTo>
                    <a:pt x="2251" y="671"/>
                  </a:lnTo>
                  <a:lnTo>
                    <a:pt x="2251" y="670"/>
                  </a:lnTo>
                  <a:lnTo>
                    <a:pt x="2251" y="669"/>
                  </a:lnTo>
                  <a:lnTo>
                    <a:pt x="2252" y="669"/>
                  </a:lnTo>
                  <a:lnTo>
                    <a:pt x="2253" y="667"/>
                  </a:lnTo>
                  <a:lnTo>
                    <a:pt x="2253" y="666"/>
                  </a:lnTo>
                  <a:lnTo>
                    <a:pt x="2253" y="663"/>
                  </a:lnTo>
                  <a:lnTo>
                    <a:pt x="2252" y="663"/>
                  </a:lnTo>
                  <a:lnTo>
                    <a:pt x="2251" y="663"/>
                  </a:lnTo>
                  <a:lnTo>
                    <a:pt x="2250" y="665"/>
                  </a:lnTo>
                  <a:lnTo>
                    <a:pt x="2249" y="666"/>
                  </a:lnTo>
                  <a:lnTo>
                    <a:pt x="2249" y="666"/>
                  </a:lnTo>
                  <a:lnTo>
                    <a:pt x="2244" y="671"/>
                  </a:lnTo>
                  <a:lnTo>
                    <a:pt x="2240" y="677"/>
                  </a:lnTo>
                  <a:lnTo>
                    <a:pt x="2235" y="681"/>
                  </a:lnTo>
                  <a:lnTo>
                    <a:pt x="2235" y="681"/>
                  </a:lnTo>
                  <a:lnTo>
                    <a:pt x="2234" y="682"/>
                  </a:lnTo>
                  <a:lnTo>
                    <a:pt x="2234" y="684"/>
                  </a:lnTo>
                  <a:lnTo>
                    <a:pt x="2233" y="685"/>
                  </a:lnTo>
                  <a:lnTo>
                    <a:pt x="2233" y="688"/>
                  </a:lnTo>
                  <a:lnTo>
                    <a:pt x="2230" y="690"/>
                  </a:lnTo>
                  <a:lnTo>
                    <a:pt x="2226" y="692"/>
                  </a:lnTo>
                  <a:lnTo>
                    <a:pt x="2222" y="694"/>
                  </a:lnTo>
                  <a:lnTo>
                    <a:pt x="2222" y="694"/>
                  </a:lnTo>
                  <a:lnTo>
                    <a:pt x="2219" y="696"/>
                  </a:lnTo>
                  <a:lnTo>
                    <a:pt x="2218" y="696"/>
                  </a:lnTo>
                  <a:lnTo>
                    <a:pt x="2218" y="696"/>
                  </a:lnTo>
                  <a:lnTo>
                    <a:pt x="2219" y="694"/>
                  </a:lnTo>
                  <a:lnTo>
                    <a:pt x="2219" y="693"/>
                  </a:lnTo>
                  <a:lnTo>
                    <a:pt x="2218" y="691"/>
                  </a:lnTo>
                  <a:lnTo>
                    <a:pt x="2218" y="690"/>
                  </a:lnTo>
                  <a:lnTo>
                    <a:pt x="2217" y="688"/>
                  </a:lnTo>
                  <a:lnTo>
                    <a:pt x="2217" y="684"/>
                  </a:lnTo>
                  <a:lnTo>
                    <a:pt x="2216" y="682"/>
                  </a:lnTo>
                  <a:lnTo>
                    <a:pt x="2215" y="681"/>
                  </a:lnTo>
                  <a:lnTo>
                    <a:pt x="2213" y="680"/>
                  </a:lnTo>
                  <a:lnTo>
                    <a:pt x="2211" y="681"/>
                  </a:lnTo>
                  <a:lnTo>
                    <a:pt x="2209" y="684"/>
                  </a:lnTo>
                  <a:lnTo>
                    <a:pt x="2207" y="689"/>
                  </a:lnTo>
                  <a:lnTo>
                    <a:pt x="2205" y="693"/>
                  </a:lnTo>
                  <a:lnTo>
                    <a:pt x="2202" y="699"/>
                  </a:lnTo>
                  <a:lnTo>
                    <a:pt x="2201" y="702"/>
                  </a:lnTo>
                  <a:lnTo>
                    <a:pt x="2200" y="706"/>
                  </a:lnTo>
                  <a:lnTo>
                    <a:pt x="2200" y="710"/>
                  </a:lnTo>
                  <a:lnTo>
                    <a:pt x="2198" y="714"/>
                  </a:lnTo>
                  <a:lnTo>
                    <a:pt x="2185" y="723"/>
                  </a:lnTo>
                  <a:lnTo>
                    <a:pt x="2186" y="722"/>
                  </a:lnTo>
                  <a:lnTo>
                    <a:pt x="2186" y="720"/>
                  </a:lnTo>
                  <a:lnTo>
                    <a:pt x="2187" y="717"/>
                  </a:lnTo>
                  <a:lnTo>
                    <a:pt x="2187" y="715"/>
                  </a:lnTo>
                  <a:lnTo>
                    <a:pt x="2188" y="713"/>
                  </a:lnTo>
                  <a:lnTo>
                    <a:pt x="2122" y="760"/>
                  </a:lnTo>
                  <a:lnTo>
                    <a:pt x="2122" y="759"/>
                  </a:lnTo>
                  <a:lnTo>
                    <a:pt x="2122" y="758"/>
                  </a:lnTo>
                  <a:lnTo>
                    <a:pt x="2121" y="755"/>
                  </a:lnTo>
                  <a:lnTo>
                    <a:pt x="2121" y="753"/>
                  </a:lnTo>
                  <a:lnTo>
                    <a:pt x="2120" y="750"/>
                  </a:lnTo>
                  <a:lnTo>
                    <a:pt x="2118" y="750"/>
                  </a:lnTo>
                  <a:lnTo>
                    <a:pt x="2117" y="750"/>
                  </a:lnTo>
                  <a:lnTo>
                    <a:pt x="2115" y="750"/>
                  </a:lnTo>
                  <a:lnTo>
                    <a:pt x="2114" y="749"/>
                  </a:lnTo>
                  <a:lnTo>
                    <a:pt x="2113" y="747"/>
                  </a:lnTo>
                  <a:lnTo>
                    <a:pt x="2113" y="745"/>
                  </a:lnTo>
                  <a:lnTo>
                    <a:pt x="2112" y="743"/>
                  </a:lnTo>
                  <a:lnTo>
                    <a:pt x="2111" y="739"/>
                  </a:lnTo>
                  <a:lnTo>
                    <a:pt x="2111" y="737"/>
                  </a:lnTo>
                  <a:lnTo>
                    <a:pt x="2111" y="734"/>
                  </a:lnTo>
                  <a:lnTo>
                    <a:pt x="2110" y="731"/>
                  </a:lnTo>
                  <a:lnTo>
                    <a:pt x="2109" y="730"/>
                  </a:lnTo>
                  <a:lnTo>
                    <a:pt x="2107" y="728"/>
                  </a:lnTo>
                  <a:lnTo>
                    <a:pt x="2106" y="730"/>
                  </a:lnTo>
                  <a:lnTo>
                    <a:pt x="2103" y="731"/>
                  </a:lnTo>
                  <a:lnTo>
                    <a:pt x="2101" y="731"/>
                  </a:lnTo>
                  <a:lnTo>
                    <a:pt x="2100" y="732"/>
                  </a:lnTo>
                  <a:lnTo>
                    <a:pt x="2098" y="733"/>
                  </a:lnTo>
                  <a:lnTo>
                    <a:pt x="2097" y="733"/>
                  </a:lnTo>
                  <a:lnTo>
                    <a:pt x="2095" y="732"/>
                  </a:lnTo>
                  <a:lnTo>
                    <a:pt x="2093" y="730"/>
                  </a:lnTo>
                  <a:lnTo>
                    <a:pt x="2092" y="727"/>
                  </a:lnTo>
                  <a:lnTo>
                    <a:pt x="2091" y="726"/>
                  </a:lnTo>
                  <a:lnTo>
                    <a:pt x="2090" y="725"/>
                  </a:lnTo>
                  <a:lnTo>
                    <a:pt x="2089" y="725"/>
                  </a:lnTo>
                  <a:lnTo>
                    <a:pt x="2088" y="725"/>
                  </a:lnTo>
                  <a:lnTo>
                    <a:pt x="2087" y="727"/>
                  </a:lnTo>
                  <a:lnTo>
                    <a:pt x="2087" y="730"/>
                  </a:lnTo>
                  <a:lnTo>
                    <a:pt x="2087" y="732"/>
                  </a:lnTo>
                  <a:lnTo>
                    <a:pt x="2087" y="734"/>
                  </a:lnTo>
                  <a:lnTo>
                    <a:pt x="2088" y="736"/>
                  </a:lnTo>
                  <a:lnTo>
                    <a:pt x="2089" y="738"/>
                  </a:lnTo>
                  <a:lnTo>
                    <a:pt x="2091" y="741"/>
                  </a:lnTo>
                  <a:lnTo>
                    <a:pt x="2096" y="753"/>
                  </a:lnTo>
                  <a:lnTo>
                    <a:pt x="2098" y="766"/>
                  </a:lnTo>
                  <a:lnTo>
                    <a:pt x="2098" y="771"/>
                  </a:lnTo>
                  <a:lnTo>
                    <a:pt x="2099" y="775"/>
                  </a:lnTo>
                  <a:lnTo>
                    <a:pt x="2100" y="777"/>
                  </a:lnTo>
                  <a:lnTo>
                    <a:pt x="2102" y="779"/>
                  </a:lnTo>
                  <a:lnTo>
                    <a:pt x="2104" y="781"/>
                  </a:lnTo>
                  <a:lnTo>
                    <a:pt x="2102" y="782"/>
                  </a:lnTo>
                  <a:lnTo>
                    <a:pt x="2101" y="781"/>
                  </a:lnTo>
                  <a:lnTo>
                    <a:pt x="2099" y="780"/>
                  </a:lnTo>
                  <a:lnTo>
                    <a:pt x="2097" y="780"/>
                  </a:lnTo>
                  <a:lnTo>
                    <a:pt x="2097" y="779"/>
                  </a:lnTo>
                  <a:lnTo>
                    <a:pt x="2096" y="778"/>
                  </a:lnTo>
                  <a:lnTo>
                    <a:pt x="2096" y="778"/>
                  </a:lnTo>
                  <a:lnTo>
                    <a:pt x="2095" y="778"/>
                  </a:lnTo>
                  <a:lnTo>
                    <a:pt x="2086" y="782"/>
                  </a:lnTo>
                  <a:lnTo>
                    <a:pt x="2079" y="787"/>
                  </a:lnTo>
                  <a:lnTo>
                    <a:pt x="2078" y="786"/>
                  </a:lnTo>
                  <a:lnTo>
                    <a:pt x="2077" y="782"/>
                  </a:lnTo>
                  <a:lnTo>
                    <a:pt x="2076" y="779"/>
                  </a:lnTo>
                  <a:lnTo>
                    <a:pt x="2075" y="769"/>
                  </a:lnTo>
                  <a:lnTo>
                    <a:pt x="2075" y="757"/>
                  </a:lnTo>
                  <a:lnTo>
                    <a:pt x="2074" y="746"/>
                  </a:lnTo>
                  <a:lnTo>
                    <a:pt x="2071" y="745"/>
                  </a:lnTo>
                  <a:lnTo>
                    <a:pt x="2069" y="743"/>
                  </a:lnTo>
                  <a:lnTo>
                    <a:pt x="2067" y="743"/>
                  </a:lnTo>
                  <a:lnTo>
                    <a:pt x="2064" y="742"/>
                  </a:lnTo>
                  <a:lnTo>
                    <a:pt x="2062" y="743"/>
                  </a:lnTo>
                  <a:lnTo>
                    <a:pt x="2060" y="745"/>
                  </a:lnTo>
                  <a:lnTo>
                    <a:pt x="2058" y="748"/>
                  </a:lnTo>
                  <a:lnTo>
                    <a:pt x="2056" y="752"/>
                  </a:lnTo>
                  <a:lnTo>
                    <a:pt x="2054" y="755"/>
                  </a:lnTo>
                  <a:lnTo>
                    <a:pt x="2052" y="758"/>
                  </a:lnTo>
                  <a:lnTo>
                    <a:pt x="2049" y="761"/>
                  </a:lnTo>
                  <a:lnTo>
                    <a:pt x="2047" y="766"/>
                  </a:lnTo>
                  <a:lnTo>
                    <a:pt x="2045" y="770"/>
                  </a:lnTo>
                  <a:lnTo>
                    <a:pt x="2042" y="772"/>
                  </a:lnTo>
                  <a:lnTo>
                    <a:pt x="2038" y="775"/>
                  </a:lnTo>
                  <a:lnTo>
                    <a:pt x="2037" y="776"/>
                  </a:lnTo>
                  <a:lnTo>
                    <a:pt x="2036" y="775"/>
                  </a:lnTo>
                  <a:lnTo>
                    <a:pt x="2036" y="774"/>
                  </a:lnTo>
                  <a:lnTo>
                    <a:pt x="2035" y="772"/>
                  </a:lnTo>
                  <a:lnTo>
                    <a:pt x="2034" y="770"/>
                  </a:lnTo>
                  <a:lnTo>
                    <a:pt x="2032" y="769"/>
                  </a:lnTo>
                  <a:lnTo>
                    <a:pt x="2028" y="769"/>
                  </a:lnTo>
                  <a:lnTo>
                    <a:pt x="2026" y="770"/>
                  </a:lnTo>
                  <a:lnTo>
                    <a:pt x="2024" y="771"/>
                  </a:lnTo>
                  <a:lnTo>
                    <a:pt x="2021" y="775"/>
                  </a:lnTo>
                  <a:lnTo>
                    <a:pt x="2019" y="777"/>
                  </a:lnTo>
                  <a:lnTo>
                    <a:pt x="2016" y="783"/>
                  </a:lnTo>
                  <a:lnTo>
                    <a:pt x="2016" y="790"/>
                  </a:lnTo>
                  <a:lnTo>
                    <a:pt x="2016" y="797"/>
                  </a:lnTo>
                  <a:lnTo>
                    <a:pt x="2016" y="800"/>
                  </a:lnTo>
                  <a:lnTo>
                    <a:pt x="2015" y="803"/>
                  </a:lnTo>
                  <a:lnTo>
                    <a:pt x="2014" y="805"/>
                  </a:lnTo>
                  <a:lnTo>
                    <a:pt x="2013" y="808"/>
                  </a:lnTo>
                  <a:lnTo>
                    <a:pt x="2012" y="810"/>
                  </a:lnTo>
                  <a:lnTo>
                    <a:pt x="2011" y="812"/>
                  </a:lnTo>
                  <a:lnTo>
                    <a:pt x="2010" y="813"/>
                  </a:lnTo>
                  <a:lnTo>
                    <a:pt x="2008" y="813"/>
                  </a:lnTo>
                  <a:lnTo>
                    <a:pt x="2006" y="813"/>
                  </a:lnTo>
                  <a:lnTo>
                    <a:pt x="2005" y="814"/>
                  </a:lnTo>
                  <a:lnTo>
                    <a:pt x="2002" y="816"/>
                  </a:lnTo>
                  <a:lnTo>
                    <a:pt x="1999" y="819"/>
                  </a:lnTo>
                  <a:lnTo>
                    <a:pt x="1995" y="823"/>
                  </a:lnTo>
                  <a:lnTo>
                    <a:pt x="1992" y="827"/>
                  </a:lnTo>
                  <a:lnTo>
                    <a:pt x="1990" y="832"/>
                  </a:lnTo>
                  <a:lnTo>
                    <a:pt x="1989" y="836"/>
                  </a:lnTo>
                  <a:lnTo>
                    <a:pt x="1987" y="841"/>
                  </a:lnTo>
                  <a:lnTo>
                    <a:pt x="1987" y="845"/>
                  </a:lnTo>
                  <a:lnTo>
                    <a:pt x="1986" y="850"/>
                  </a:lnTo>
                  <a:lnTo>
                    <a:pt x="1973" y="855"/>
                  </a:lnTo>
                  <a:lnTo>
                    <a:pt x="1975" y="852"/>
                  </a:lnTo>
                  <a:lnTo>
                    <a:pt x="1939" y="872"/>
                  </a:lnTo>
                  <a:lnTo>
                    <a:pt x="1903" y="889"/>
                  </a:lnTo>
                  <a:lnTo>
                    <a:pt x="1903" y="888"/>
                  </a:lnTo>
                  <a:lnTo>
                    <a:pt x="1902" y="887"/>
                  </a:lnTo>
                  <a:lnTo>
                    <a:pt x="1901" y="887"/>
                  </a:lnTo>
                  <a:lnTo>
                    <a:pt x="1901" y="883"/>
                  </a:lnTo>
                  <a:lnTo>
                    <a:pt x="1901" y="878"/>
                  </a:lnTo>
                  <a:lnTo>
                    <a:pt x="1903" y="874"/>
                  </a:lnTo>
                  <a:lnTo>
                    <a:pt x="1908" y="854"/>
                  </a:lnTo>
                  <a:lnTo>
                    <a:pt x="1913" y="836"/>
                  </a:lnTo>
                  <a:lnTo>
                    <a:pt x="1914" y="825"/>
                  </a:lnTo>
                  <a:lnTo>
                    <a:pt x="1915" y="814"/>
                  </a:lnTo>
                  <a:lnTo>
                    <a:pt x="1915" y="811"/>
                  </a:lnTo>
                  <a:lnTo>
                    <a:pt x="1914" y="808"/>
                  </a:lnTo>
                  <a:lnTo>
                    <a:pt x="1914" y="803"/>
                  </a:lnTo>
                  <a:lnTo>
                    <a:pt x="1913" y="799"/>
                  </a:lnTo>
                  <a:lnTo>
                    <a:pt x="1914" y="794"/>
                  </a:lnTo>
                  <a:lnTo>
                    <a:pt x="1916" y="788"/>
                  </a:lnTo>
                  <a:lnTo>
                    <a:pt x="1918" y="780"/>
                  </a:lnTo>
                  <a:lnTo>
                    <a:pt x="1919" y="777"/>
                  </a:lnTo>
                  <a:lnTo>
                    <a:pt x="1922" y="778"/>
                  </a:lnTo>
                  <a:lnTo>
                    <a:pt x="1924" y="779"/>
                  </a:lnTo>
                  <a:lnTo>
                    <a:pt x="1925" y="780"/>
                  </a:lnTo>
                  <a:lnTo>
                    <a:pt x="1927" y="781"/>
                  </a:lnTo>
                  <a:lnTo>
                    <a:pt x="1928" y="781"/>
                  </a:lnTo>
                  <a:lnTo>
                    <a:pt x="1931" y="782"/>
                  </a:lnTo>
                  <a:lnTo>
                    <a:pt x="1933" y="782"/>
                  </a:lnTo>
                  <a:lnTo>
                    <a:pt x="1935" y="781"/>
                  </a:lnTo>
                  <a:lnTo>
                    <a:pt x="1937" y="781"/>
                  </a:lnTo>
                  <a:lnTo>
                    <a:pt x="1939" y="779"/>
                  </a:lnTo>
                  <a:lnTo>
                    <a:pt x="1944" y="777"/>
                  </a:lnTo>
                  <a:lnTo>
                    <a:pt x="1948" y="776"/>
                  </a:lnTo>
                  <a:lnTo>
                    <a:pt x="1953" y="775"/>
                  </a:lnTo>
                  <a:lnTo>
                    <a:pt x="1955" y="777"/>
                  </a:lnTo>
                  <a:lnTo>
                    <a:pt x="1958" y="777"/>
                  </a:lnTo>
                  <a:lnTo>
                    <a:pt x="1960" y="777"/>
                  </a:lnTo>
                  <a:lnTo>
                    <a:pt x="1964" y="777"/>
                  </a:lnTo>
                  <a:lnTo>
                    <a:pt x="1969" y="778"/>
                  </a:lnTo>
                  <a:lnTo>
                    <a:pt x="1975" y="779"/>
                  </a:lnTo>
                  <a:lnTo>
                    <a:pt x="1981" y="775"/>
                  </a:lnTo>
                  <a:lnTo>
                    <a:pt x="1982" y="774"/>
                  </a:lnTo>
                  <a:lnTo>
                    <a:pt x="1983" y="770"/>
                  </a:lnTo>
                  <a:lnTo>
                    <a:pt x="1983" y="768"/>
                  </a:lnTo>
                  <a:lnTo>
                    <a:pt x="1983" y="765"/>
                  </a:lnTo>
                  <a:lnTo>
                    <a:pt x="1983" y="761"/>
                  </a:lnTo>
                  <a:lnTo>
                    <a:pt x="1984" y="759"/>
                  </a:lnTo>
                  <a:lnTo>
                    <a:pt x="1986" y="757"/>
                  </a:lnTo>
                  <a:lnTo>
                    <a:pt x="1986" y="755"/>
                  </a:lnTo>
                  <a:lnTo>
                    <a:pt x="1987" y="754"/>
                  </a:lnTo>
                  <a:lnTo>
                    <a:pt x="1987" y="752"/>
                  </a:lnTo>
                  <a:lnTo>
                    <a:pt x="1988" y="749"/>
                  </a:lnTo>
                  <a:lnTo>
                    <a:pt x="1988" y="746"/>
                  </a:lnTo>
                  <a:lnTo>
                    <a:pt x="1989" y="741"/>
                  </a:lnTo>
                  <a:lnTo>
                    <a:pt x="1990" y="736"/>
                  </a:lnTo>
                  <a:lnTo>
                    <a:pt x="1991" y="732"/>
                  </a:lnTo>
                  <a:lnTo>
                    <a:pt x="1990" y="725"/>
                  </a:lnTo>
                  <a:lnTo>
                    <a:pt x="1990" y="722"/>
                  </a:lnTo>
                  <a:lnTo>
                    <a:pt x="1990" y="718"/>
                  </a:lnTo>
                  <a:lnTo>
                    <a:pt x="1989" y="716"/>
                  </a:lnTo>
                  <a:lnTo>
                    <a:pt x="1988" y="713"/>
                  </a:lnTo>
                  <a:lnTo>
                    <a:pt x="1986" y="712"/>
                  </a:lnTo>
                  <a:lnTo>
                    <a:pt x="1986" y="711"/>
                  </a:lnTo>
                  <a:lnTo>
                    <a:pt x="1986" y="710"/>
                  </a:lnTo>
                  <a:lnTo>
                    <a:pt x="1984" y="709"/>
                  </a:lnTo>
                  <a:lnTo>
                    <a:pt x="1983" y="706"/>
                  </a:lnTo>
                  <a:lnTo>
                    <a:pt x="1983" y="705"/>
                  </a:lnTo>
                  <a:lnTo>
                    <a:pt x="1983" y="703"/>
                  </a:lnTo>
                  <a:lnTo>
                    <a:pt x="1984" y="701"/>
                  </a:lnTo>
                  <a:lnTo>
                    <a:pt x="1984" y="699"/>
                  </a:lnTo>
                  <a:lnTo>
                    <a:pt x="1984" y="696"/>
                  </a:lnTo>
                  <a:lnTo>
                    <a:pt x="1983" y="694"/>
                  </a:lnTo>
                  <a:lnTo>
                    <a:pt x="1981" y="692"/>
                  </a:lnTo>
                  <a:lnTo>
                    <a:pt x="1978" y="690"/>
                  </a:lnTo>
                  <a:lnTo>
                    <a:pt x="1975" y="688"/>
                  </a:lnTo>
                  <a:lnTo>
                    <a:pt x="1972" y="687"/>
                  </a:lnTo>
                  <a:lnTo>
                    <a:pt x="1971" y="685"/>
                  </a:lnTo>
                  <a:lnTo>
                    <a:pt x="1969" y="684"/>
                  </a:lnTo>
                  <a:lnTo>
                    <a:pt x="1967" y="683"/>
                  </a:lnTo>
                  <a:lnTo>
                    <a:pt x="1966" y="681"/>
                  </a:lnTo>
                  <a:lnTo>
                    <a:pt x="1965" y="678"/>
                  </a:lnTo>
                  <a:lnTo>
                    <a:pt x="1964" y="674"/>
                  </a:lnTo>
                  <a:lnTo>
                    <a:pt x="1964" y="672"/>
                  </a:lnTo>
                  <a:lnTo>
                    <a:pt x="1964" y="670"/>
                  </a:lnTo>
                  <a:lnTo>
                    <a:pt x="1964" y="668"/>
                  </a:lnTo>
                  <a:lnTo>
                    <a:pt x="1965" y="667"/>
                  </a:lnTo>
                  <a:lnTo>
                    <a:pt x="1966" y="666"/>
                  </a:lnTo>
                  <a:lnTo>
                    <a:pt x="1967" y="663"/>
                  </a:lnTo>
                  <a:lnTo>
                    <a:pt x="1969" y="662"/>
                  </a:lnTo>
                  <a:lnTo>
                    <a:pt x="1970" y="661"/>
                  </a:lnTo>
                  <a:lnTo>
                    <a:pt x="1972" y="660"/>
                  </a:lnTo>
                  <a:lnTo>
                    <a:pt x="1975" y="661"/>
                  </a:lnTo>
                  <a:lnTo>
                    <a:pt x="1976" y="662"/>
                  </a:lnTo>
                  <a:lnTo>
                    <a:pt x="1977" y="663"/>
                  </a:lnTo>
                  <a:lnTo>
                    <a:pt x="1979" y="665"/>
                  </a:lnTo>
                  <a:lnTo>
                    <a:pt x="1980" y="665"/>
                  </a:lnTo>
                  <a:lnTo>
                    <a:pt x="1982" y="666"/>
                  </a:lnTo>
                  <a:lnTo>
                    <a:pt x="1984" y="666"/>
                  </a:lnTo>
                  <a:lnTo>
                    <a:pt x="1987" y="665"/>
                  </a:lnTo>
                  <a:lnTo>
                    <a:pt x="1988" y="663"/>
                  </a:lnTo>
                  <a:lnTo>
                    <a:pt x="1989" y="660"/>
                  </a:lnTo>
                  <a:lnTo>
                    <a:pt x="1990" y="657"/>
                  </a:lnTo>
                  <a:lnTo>
                    <a:pt x="1989" y="651"/>
                  </a:lnTo>
                  <a:lnTo>
                    <a:pt x="1987" y="647"/>
                  </a:lnTo>
                  <a:lnTo>
                    <a:pt x="1986" y="643"/>
                  </a:lnTo>
                  <a:lnTo>
                    <a:pt x="1988" y="637"/>
                  </a:lnTo>
                  <a:lnTo>
                    <a:pt x="1989" y="636"/>
                  </a:lnTo>
                  <a:lnTo>
                    <a:pt x="1991" y="637"/>
                  </a:lnTo>
                  <a:lnTo>
                    <a:pt x="1992" y="638"/>
                  </a:lnTo>
                  <a:lnTo>
                    <a:pt x="1993" y="639"/>
                  </a:lnTo>
                  <a:lnTo>
                    <a:pt x="1994" y="639"/>
                  </a:lnTo>
                  <a:lnTo>
                    <a:pt x="1997" y="639"/>
                  </a:lnTo>
                  <a:lnTo>
                    <a:pt x="1998" y="639"/>
                  </a:lnTo>
                  <a:lnTo>
                    <a:pt x="1999" y="640"/>
                  </a:lnTo>
                  <a:lnTo>
                    <a:pt x="1999" y="641"/>
                  </a:lnTo>
                  <a:lnTo>
                    <a:pt x="2000" y="644"/>
                  </a:lnTo>
                  <a:lnTo>
                    <a:pt x="2001" y="645"/>
                  </a:lnTo>
                  <a:lnTo>
                    <a:pt x="2002" y="646"/>
                  </a:lnTo>
                  <a:lnTo>
                    <a:pt x="2004" y="646"/>
                  </a:lnTo>
                  <a:lnTo>
                    <a:pt x="2005" y="644"/>
                  </a:lnTo>
                  <a:lnTo>
                    <a:pt x="2005" y="641"/>
                  </a:lnTo>
                  <a:lnTo>
                    <a:pt x="2006" y="639"/>
                  </a:lnTo>
                  <a:lnTo>
                    <a:pt x="2006" y="638"/>
                  </a:lnTo>
                  <a:lnTo>
                    <a:pt x="2008" y="638"/>
                  </a:lnTo>
                  <a:lnTo>
                    <a:pt x="2009" y="638"/>
                  </a:lnTo>
                  <a:lnTo>
                    <a:pt x="2010" y="637"/>
                  </a:lnTo>
                  <a:lnTo>
                    <a:pt x="2011" y="635"/>
                  </a:lnTo>
                  <a:lnTo>
                    <a:pt x="2012" y="633"/>
                  </a:lnTo>
                  <a:lnTo>
                    <a:pt x="2013" y="630"/>
                  </a:lnTo>
                  <a:lnTo>
                    <a:pt x="2014" y="628"/>
                  </a:lnTo>
                  <a:lnTo>
                    <a:pt x="2014" y="626"/>
                  </a:lnTo>
                  <a:lnTo>
                    <a:pt x="2015" y="624"/>
                  </a:lnTo>
                  <a:lnTo>
                    <a:pt x="2015" y="621"/>
                  </a:lnTo>
                  <a:lnTo>
                    <a:pt x="2015" y="618"/>
                  </a:lnTo>
                  <a:lnTo>
                    <a:pt x="2015" y="616"/>
                  </a:lnTo>
                  <a:lnTo>
                    <a:pt x="2016" y="615"/>
                  </a:lnTo>
                  <a:lnTo>
                    <a:pt x="2017" y="612"/>
                  </a:lnTo>
                  <a:lnTo>
                    <a:pt x="2019" y="610"/>
                  </a:lnTo>
                  <a:lnTo>
                    <a:pt x="2019" y="607"/>
                  </a:lnTo>
                  <a:lnTo>
                    <a:pt x="2019" y="604"/>
                  </a:lnTo>
                  <a:lnTo>
                    <a:pt x="2020" y="603"/>
                  </a:lnTo>
                  <a:lnTo>
                    <a:pt x="2021" y="603"/>
                  </a:lnTo>
                  <a:lnTo>
                    <a:pt x="2021" y="604"/>
                  </a:lnTo>
                  <a:lnTo>
                    <a:pt x="2022" y="605"/>
                  </a:lnTo>
                  <a:lnTo>
                    <a:pt x="2022" y="606"/>
                  </a:lnTo>
                  <a:lnTo>
                    <a:pt x="2023" y="606"/>
                  </a:lnTo>
                  <a:lnTo>
                    <a:pt x="2023" y="606"/>
                  </a:lnTo>
                  <a:lnTo>
                    <a:pt x="2024" y="605"/>
                  </a:lnTo>
                  <a:lnTo>
                    <a:pt x="2025" y="603"/>
                  </a:lnTo>
                  <a:lnTo>
                    <a:pt x="2026" y="602"/>
                  </a:lnTo>
                  <a:lnTo>
                    <a:pt x="2027" y="602"/>
                  </a:lnTo>
                  <a:lnTo>
                    <a:pt x="2027" y="602"/>
                  </a:lnTo>
                  <a:lnTo>
                    <a:pt x="2028" y="601"/>
                  </a:lnTo>
                  <a:lnTo>
                    <a:pt x="2031" y="600"/>
                  </a:lnTo>
                  <a:lnTo>
                    <a:pt x="2032" y="600"/>
                  </a:lnTo>
                  <a:lnTo>
                    <a:pt x="2032" y="596"/>
                  </a:lnTo>
                  <a:lnTo>
                    <a:pt x="2033" y="593"/>
                  </a:lnTo>
                  <a:lnTo>
                    <a:pt x="2034" y="591"/>
                  </a:lnTo>
                  <a:lnTo>
                    <a:pt x="2036" y="590"/>
                  </a:lnTo>
                  <a:lnTo>
                    <a:pt x="2036" y="587"/>
                  </a:lnTo>
                  <a:lnTo>
                    <a:pt x="2036" y="585"/>
                  </a:lnTo>
                  <a:lnTo>
                    <a:pt x="2036" y="583"/>
                  </a:lnTo>
                  <a:lnTo>
                    <a:pt x="2036" y="580"/>
                  </a:lnTo>
                  <a:lnTo>
                    <a:pt x="2037" y="579"/>
                  </a:lnTo>
                  <a:lnTo>
                    <a:pt x="2038" y="575"/>
                  </a:lnTo>
                  <a:lnTo>
                    <a:pt x="2038" y="573"/>
                  </a:lnTo>
                  <a:lnTo>
                    <a:pt x="2039" y="570"/>
                  </a:lnTo>
                  <a:lnTo>
                    <a:pt x="2041" y="567"/>
                  </a:lnTo>
                  <a:lnTo>
                    <a:pt x="2041" y="562"/>
                  </a:lnTo>
                  <a:lnTo>
                    <a:pt x="2042" y="558"/>
                  </a:lnTo>
                  <a:lnTo>
                    <a:pt x="2043" y="553"/>
                  </a:lnTo>
                  <a:lnTo>
                    <a:pt x="2045" y="552"/>
                  </a:lnTo>
                  <a:lnTo>
                    <a:pt x="2047" y="551"/>
                  </a:lnTo>
                  <a:lnTo>
                    <a:pt x="2049" y="551"/>
                  </a:lnTo>
                  <a:lnTo>
                    <a:pt x="2052" y="549"/>
                  </a:lnTo>
                  <a:lnTo>
                    <a:pt x="2053" y="549"/>
                  </a:lnTo>
                  <a:lnTo>
                    <a:pt x="2054" y="548"/>
                  </a:lnTo>
                  <a:lnTo>
                    <a:pt x="2056" y="548"/>
                  </a:lnTo>
                  <a:lnTo>
                    <a:pt x="2057" y="547"/>
                  </a:lnTo>
                  <a:lnTo>
                    <a:pt x="2058" y="545"/>
                  </a:lnTo>
                  <a:lnTo>
                    <a:pt x="2059" y="542"/>
                  </a:lnTo>
                  <a:lnTo>
                    <a:pt x="2060" y="541"/>
                  </a:lnTo>
                  <a:lnTo>
                    <a:pt x="2062" y="541"/>
                  </a:lnTo>
                  <a:lnTo>
                    <a:pt x="2063" y="540"/>
                  </a:lnTo>
                  <a:lnTo>
                    <a:pt x="2065" y="540"/>
                  </a:lnTo>
                  <a:lnTo>
                    <a:pt x="2066" y="541"/>
                  </a:lnTo>
                  <a:lnTo>
                    <a:pt x="2067" y="541"/>
                  </a:lnTo>
                  <a:lnTo>
                    <a:pt x="2068" y="541"/>
                  </a:lnTo>
                  <a:lnTo>
                    <a:pt x="2069" y="540"/>
                  </a:lnTo>
                  <a:lnTo>
                    <a:pt x="2069" y="538"/>
                  </a:lnTo>
                  <a:lnTo>
                    <a:pt x="2070" y="534"/>
                  </a:lnTo>
                  <a:lnTo>
                    <a:pt x="2071" y="529"/>
                  </a:lnTo>
                  <a:lnTo>
                    <a:pt x="2071" y="525"/>
                  </a:lnTo>
                  <a:lnTo>
                    <a:pt x="2071" y="512"/>
                  </a:lnTo>
                  <a:lnTo>
                    <a:pt x="2071" y="510"/>
                  </a:lnTo>
                  <a:lnTo>
                    <a:pt x="2070" y="508"/>
                  </a:lnTo>
                  <a:lnTo>
                    <a:pt x="2070" y="505"/>
                  </a:lnTo>
                  <a:lnTo>
                    <a:pt x="2069" y="503"/>
                  </a:lnTo>
                  <a:lnTo>
                    <a:pt x="2069" y="502"/>
                  </a:lnTo>
                  <a:lnTo>
                    <a:pt x="2068" y="499"/>
                  </a:lnTo>
                  <a:lnTo>
                    <a:pt x="2067" y="496"/>
                  </a:lnTo>
                  <a:lnTo>
                    <a:pt x="2067" y="494"/>
                  </a:lnTo>
                  <a:lnTo>
                    <a:pt x="2067" y="491"/>
                  </a:lnTo>
                  <a:lnTo>
                    <a:pt x="2067" y="484"/>
                  </a:lnTo>
                  <a:lnTo>
                    <a:pt x="2066" y="482"/>
                  </a:lnTo>
                  <a:lnTo>
                    <a:pt x="2065" y="479"/>
                  </a:lnTo>
                  <a:lnTo>
                    <a:pt x="2065" y="476"/>
                  </a:lnTo>
                  <a:lnTo>
                    <a:pt x="2065" y="473"/>
                  </a:lnTo>
                  <a:lnTo>
                    <a:pt x="2065" y="465"/>
                  </a:lnTo>
                  <a:lnTo>
                    <a:pt x="2066" y="458"/>
                  </a:lnTo>
                  <a:lnTo>
                    <a:pt x="2069" y="451"/>
                  </a:lnTo>
                  <a:lnTo>
                    <a:pt x="2070" y="449"/>
                  </a:lnTo>
                  <a:lnTo>
                    <a:pt x="2071" y="448"/>
                  </a:lnTo>
                  <a:lnTo>
                    <a:pt x="2073" y="448"/>
                  </a:lnTo>
                  <a:lnTo>
                    <a:pt x="2075" y="449"/>
                  </a:lnTo>
                  <a:lnTo>
                    <a:pt x="2076" y="449"/>
                  </a:lnTo>
                  <a:lnTo>
                    <a:pt x="2077" y="447"/>
                  </a:lnTo>
                  <a:lnTo>
                    <a:pt x="2078" y="444"/>
                  </a:lnTo>
                  <a:lnTo>
                    <a:pt x="2080" y="442"/>
                  </a:lnTo>
                  <a:lnTo>
                    <a:pt x="2081" y="442"/>
                  </a:lnTo>
                  <a:lnTo>
                    <a:pt x="2081" y="442"/>
                  </a:lnTo>
                  <a:lnTo>
                    <a:pt x="2082" y="444"/>
                  </a:lnTo>
                  <a:lnTo>
                    <a:pt x="2082" y="447"/>
                  </a:lnTo>
                  <a:lnTo>
                    <a:pt x="2082" y="449"/>
                  </a:lnTo>
                  <a:lnTo>
                    <a:pt x="2082" y="451"/>
                  </a:lnTo>
                  <a:lnTo>
                    <a:pt x="2082" y="477"/>
                  </a:lnTo>
                  <a:lnTo>
                    <a:pt x="2081" y="477"/>
                  </a:lnTo>
                  <a:lnTo>
                    <a:pt x="2081" y="479"/>
                  </a:lnTo>
                  <a:lnTo>
                    <a:pt x="2080" y="480"/>
                  </a:lnTo>
                  <a:lnTo>
                    <a:pt x="2080" y="482"/>
                  </a:lnTo>
                  <a:lnTo>
                    <a:pt x="2080" y="497"/>
                  </a:lnTo>
                  <a:lnTo>
                    <a:pt x="2080" y="501"/>
                  </a:lnTo>
                  <a:lnTo>
                    <a:pt x="2079" y="504"/>
                  </a:lnTo>
                  <a:lnTo>
                    <a:pt x="2079" y="507"/>
                  </a:lnTo>
                  <a:lnTo>
                    <a:pt x="2080" y="509"/>
                  </a:lnTo>
                  <a:lnTo>
                    <a:pt x="2080" y="514"/>
                  </a:lnTo>
                  <a:lnTo>
                    <a:pt x="2081" y="518"/>
                  </a:lnTo>
                  <a:lnTo>
                    <a:pt x="2082" y="523"/>
                  </a:lnTo>
                  <a:lnTo>
                    <a:pt x="2084" y="527"/>
                  </a:lnTo>
                  <a:lnTo>
                    <a:pt x="2085" y="530"/>
                  </a:lnTo>
                  <a:lnTo>
                    <a:pt x="2086" y="534"/>
                  </a:lnTo>
                  <a:lnTo>
                    <a:pt x="2087" y="535"/>
                  </a:lnTo>
                  <a:lnTo>
                    <a:pt x="2089" y="536"/>
                  </a:lnTo>
                  <a:lnTo>
                    <a:pt x="2091" y="534"/>
                  </a:lnTo>
                  <a:lnTo>
                    <a:pt x="2092" y="532"/>
                  </a:lnTo>
                  <a:lnTo>
                    <a:pt x="2095" y="532"/>
                  </a:lnTo>
                  <a:lnTo>
                    <a:pt x="2096" y="531"/>
                  </a:lnTo>
                  <a:lnTo>
                    <a:pt x="2097" y="529"/>
                  </a:lnTo>
                  <a:lnTo>
                    <a:pt x="2098" y="527"/>
                  </a:lnTo>
                  <a:lnTo>
                    <a:pt x="2098" y="526"/>
                  </a:lnTo>
                  <a:lnTo>
                    <a:pt x="2099" y="525"/>
                  </a:lnTo>
                  <a:lnTo>
                    <a:pt x="2099" y="525"/>
                  </a:lnTo>
                  <a:lnTo>
                    <a:pt x="2101" y="524"/>
                  </a:lnTo>
                  <a:lnTo>
                    <a:pt x="2102" y="523"/>
                  </a:lnTo>
                  <a:lnTo>
                    <a:pt x="2102" y="521"/>
                  </a:lnTo>
                  <a:lnTo>
                    <a:pt x="2102" y="520"/>
                  </a:lnTo>
                  <a:lnTo>
                    <a:pt x="2103" y="519"/>
                  </a:lnTo>
                  <a:lnTo>
                    <a:pt x="2103" y="519"/>
                  </a:lnTo>
                  <a:lnTo>
                    <a:pt x="2104" y="519"/>
                  </a:lnTo>
                  <a:lnTo>
                    <a:pt x="2104" y="520"/>
                  </a:lnTo>
                  <a:lnTo>
                    <a:pt x="2104" y="523"/>
                  </a:lnTo>
                  <a:lnTo>
                    <a:pt x="2104" y="525"/>
                  </a:lnTo>
                  <a:lnTo>
                    <a:pt x="2107" y="527"/>
                  </a:lnTo>
                  <a:lnTo>
                    <a:pt x="2107" y="530"/>
                  </a:lnTo>
                  <a:lnTo>
                    <a:pt x="2107" y="532"/>
                  </a:lnTo>
                  <a:lnTo>
                    <a:pt x="2108" y="536"/>
                  </a:lnTo>
                  <a:lnTo>
                    <a:pt x="2109" y="538"/>
                  </a:lnTo>
                  <a:lnTo>
                    <a:pt x="2110" y="540"/>
                  </a:lnTo>
                  <a:lnTo>
                    <a:pt x="2111" y="541"/>
                  </a:lnTo>
                  <a:lnTo>
                    <a:pt x="2111" y="541"/>
                  </a:lnTo>
                  <a:lnTo>
                    <a:pt x="2111" y="540"/>
                  </a:lnTo>
                  <a:lnTo>
                    <a:pt x="2111" y="538"/>
                  </a:lnTo>
                  <a:lnTo>
                    <a:pt x="2112" y="537"/>
                  </a:lnTo>
                  <a:lnTo>
                    <a:pt x="2112" y="535"/>
                  </a:lnTo>
                  <a:lnTo>
                    <a:pt x="2112" y="532"/>
                  </a:lnTo>
                  <a:lnTo>
                    <a:pt x="2113" y="531"/>
                  </a:lnTo>
                  <a:lnTo>
                    <a:pt x="2114" y="532"/>
                  </a:lnTo>
                  <a:lnTo>
                    <a:pt x="2115" y="534"/>
                  </a:lnTo>
                  <a:lnTo>
                    <a:pt x="2117" y="534"/>
                  </a:lnTo>
                  <a:lnTo>
                    <a:pt x="2118" y="534"/>
                  </a:lnTo>
                  <a:lnTo>
                    <a:pt x="2120" y="531"/>
                  </a:lnTo>
                  <a:lnTo>
                    <a:pt x="2121" y="529"/>
                  </a:lnTo>
                  <a:lnTo>
                    <a:pt x="2121" y="528"/>
                  </a:lnTo>
                  <a:lnTo>
                    <a:pt x="2122" y="527"/>
                  </a:lnTo>
                  <a:lnTo>
                    <a:pt x="2123" y="526"/>
                  </a:lnTo>
                  <a:lnTo>
                    <a:pt x="2124" y="525"/>
                  </a:lnTo>
                  <a:lnTo>
                    <a:pt x="2125" y="523"/>
                  </a:lnTo>
                  <a:lnTo>
                    <a:pt x="2125" y="521"/>
                  </a:lnTo>
                  <a:lnTo>
                    <a:pt x="2126" y="520"/>
                  </a:lnTo>
                  <a:lnTo>
                    <a:pt x="2128" y="518"/>
                  </a:lnTo>
                  <a:lnTo>
                    <a:pt x="2129" y="516"/>
                  </a:lnTo>
                  <a:lnTo>
                    <a:pt x="2130" y="515"/>
                  </a:lnTo>
                  <a:lnTo>
                    <a:pt x="2132" y="513"/>
                  </a:lnTo>
                  <a:lnTo>
                    <a:pt x="2133" y="510"/>
                  </a:lnTo>
                  <a:lnTo>
                    <a:pt x="2135" y="509"/>
                  </a:lnTo>
                  <a:lnTo>
                    <a:pt x="2135" y="510"/>
                  </a:lnTo>
                  <a:lnTo>
                    <a:pt x="2136" y="510"/>
                  </a:lnTo>
                  <a:lnTo>
                    <a:pt x="2136" y="510"/>
                  </a:lnTo>
                  <a:lnTo>
                    <a:pt x="2137" y="512"/>
                  </a:lnTo>
                  <a:lnTo>
                    <a:pt x="2137" y="513"/>
                  </a:lnTo>
                  <a:lnTo>
                    <a:pt x="2139" y="514"/>
                  </a:lnTo>
                  <a:lnTo>
                    <a:pt x="2139" y="515"/>
                  </a:lnTo>
                  <a:lnTo>
                    <a:pt x="2140" y="516"/>
                  </a:lnTo>
                  <a:lnTo>
                    <a:pt x="2141" y="518"/>
                  </a:lnTo>
                  <a:lnTo>
                    <a:pt x="2141" y="519"/>
                  </a:lnTo>
                  <a:lnTo>
                    <a:pt x="2142" y="521"/>
                  </a:lnTo>
                  <a:lnTo>
                    <a:pt x="2143" y="523"/>
                  </a:lnTo>
                  <a:lnTo>
                    <a:pt x="2144" y="523"/>
                  </a:lnTo>
                  <a:lnTo>
                    <a:pt x="2145" y="523"/>
                  </a:lnTo>
                  <a:lnTo>
                    <a:pt x="2146" y="520"/>
                  </a:lnTo>
                  <a:lnTo>
                    <a:pt x="2146" y="519"/>
                  </a:lnTo>
                  <a:lnTo>
                    <a:pt x="2147" y="516"/>
                  </a:lnTo>
                  <a:lnTo>
                    <a:pt x="2147" y="514"/>
                  </a:lnTo>
                  <a:lnTo>
                    <a:pt x="2148" y="513"/>
                  </a:lnTo>
                  <a:lnTo>
                    <a:pt x="2151" y="512"/>
                  </a:lnTo>
                  <a:lnTo>
                    <a:pt x="2153" y="510"/>
                  </a:lnTo>
                  <a:lnTo>
                    <a:pt x="2154" y="507"/>
                  </a:lnTo>
                  <a:lnTo>
                    <a:pt x="2155" y="503"/>
                  </a:lnTo>
                  <a:lnTo>
                    <a:pt x="2155" y="498"/>
                  </a:lnTo>
                  <a:lnTo>
                    <a:pt x="2154" y="495"/>
                  </a:lnTo>
                  <a:lnTo>
                    <a:pt x="2154" y="492"/>
                  </a:lnTo>
                  <a:lnTo>
                    <a:pt x="2154" y="488"/>
                  </a:lnTo>
                  <a:lnTo>
                    <a:pt x="2154" y="485"/>
                  </a:lnTo>
                  <a:lnTo>
                    <a:pt x="2154" y="482"/>
                  </a:lnTo>
                  <a:lnTo>
                    <a:pt x="2154" y="469"/>
                  </a:lnTo>
                  <a:lnTo>
                    <a:pt x="2155" y="464"/>
                  </a:lnTo>
                  <a:lnTo>
                    <a:pt x="2156" y="460"/>
                  </a:lnTo>
                  <a:lnTo>
                    <a:pt x="2156" y="455"/>
                  </a:lnTo>
                  <a:lnTo>
                    <a:pt x="2156" y="452"/>
                  </a:lnTo>
                  <a:lnTo>
                    <a:pt x="2157" y="450"/>
                  </a:lnTo>
                  <a:lnTo>
                    <a:pt x="2157" y="449"/>
                  </a:lnTo>
                  <a:lnTo>
                    <a:pt x="2158" y="448"/>
                  </a:lnTo>
                  <a:lnTo>
                    <a:pt x="2158" y="447"/>
                  </a:lnTo>
                  <a:lnTo>
                    <a:pt x="2161" y="445"/>
                  </a:lnTo>
                  <a:lnTo>
                    <a:pt x="2162" y="445"/>
                  </a:lnTo>
                  <a:lnTo>
                    <a:pt x="2163" y="445"/>
                  </a:lnTo>
                  <a:lnTo>
                    <a:pt x="2164" y="448"/>
                  </a:lnTo>
                  <a:lnTo>
                    <a:pt x="2165" y="450"/>
                  </a:lnTo>
                  <a:lnTo>
                    <a:pt x="2166" y="452"/>
                  </a:lnTo>
                  <a:lnTo>
                    <a:pt x="2167" y="455"/>
                  </a:lnTo>
                  <a:lnTo>
                    <a:pt x="2168" y="458"/>
                  </a:lnTo>
                  <a:lnTo>
                    <a:pt x="2169" y="460"/>
                  </a:lnTo>
                  <a:lnTo>
                    <a:pt x="2170" y="461"/>
                  </a:lnTo>
                  <a:lnTo>
                    <a:pt x="2172" y="462"/>
                  </a:lnTo>
                  <a:lnTo>
                    <a:pt x="2173" y="462"/>
                  </a:lnTo>
                  <a:lnTo>
                    <a:pt x="2174" y="461"/>
                  </a:lnTo>
                  <a:lnTo>
                    <a:pt x="2174" y="459"/>
                  </a:lnTo>
                  <a:lnTo>
                    <a:pt x="2174" y="455"/>
                  </a:lnTo>
                  <a:lnTo>
                    <a:pt x="2175" y="449"/>
                  </a:lnTo>
                  <a:lnTo>
                    <a:pt x="2175" y="441"/>
                  </a:lnTo>
                  <a:lnTo>
                    <a:pt x="2174" y="433"/>
                  </a:lnTo>
                  <a:lnTo>
                    <a:pt x="2174" y="431"/>
                  </a:lnTo>
                  <a:lnTo>
                    <a:pt x="2173" y="431"/>
                  </a:lnTo>
                  <a:lnTo>
                    <a:pt x="2172" y="431"/>
                  </a:lnTo>
                  <a:lnTo>
                    <a:pt x="2172" y="432"/>
                  </a:lnTo>
                  <a:lnTo>
                    <a:pt x="2170" y="433"/>
                  </a:lnTo>
                  <a:lnTo>
                    <a:pt x="2169" y="433"/>
                  </a:lnTo>
                  <a:lnTo>
                    <a:pt x="2168" y="434"/>
                  </a:lnTo>
                  <a:lnTo>
                    <a:pt x="2165" y="434"/>
                  </a:lnTo>
                  <a:lnTo>
                    <a:pt x="2163" y="434"/>
                  </a:lnTo>
                  <a:lnTo>
                    <a:pt x="2161" y="433"/>
                  </a:lnTo>
                  <a:lnTo>
                    <a:pt x="2159" y="430"/>
                  </a:lnTo>
                  <a:lnTo>
                    <a:pt x="2158" y="428"/>
                  </a:lnTo>
                  <a:lnTo>
                    <a:pt x="2158" y="425"/>
                  </a:lnTo>
                  <a:lnTo>
                    <a:pt x="2159" y="421"/>
                  </a:lnTo>
                  <a:lnTo>
                    <a:pt x="2161" y="418"/>
                  </a:lnTo>
                  <a:lnTo>
                    <a:pt x="2161" y="416"/>
                  </a:lnTo>
                  <a:lnTo>
                    <a:pt x="2161" y="414"/>
                  </a:lnTo>
                  <a:lnTo>
                    <a:pt x="2161" y="410"/>
                  </a:lnTo>
                  <a:lnTo>
                    <a:pt x="2161" y="407"/>
                  </a:lnTo>
                  <a:lnTo>
                    <a:pt x="2162" y="405"/>
                  </a:lnTo>
                  <a:lnTo>
                    <a:pt x="2162" y="405"/>
                  </a:lnTo>
                  <a:lnTo>
                    <a:pt x="2163" y="405"/>
                  </a:lnTo>
                  <a:lnTo>
                    <a:pt x="2164" y="406"/>
                  </a:lnTo>
                  <a:lnTo>
                    <a:pt x="2165" y="407"/>
                  </a:lnTo>
                  <a:lnTo>
                    <a:pt x="2167" y="406"/>
                  </a:lnTo>
                  <a:lnTo>
                    <a:pt x="2169" y="405"/>
                  </a:lnTo>
                  <a:lnTo>
                    <a:pt x="2169" y="403"/>
                  </a:lnTo>
                  <a:lnTo>
                    <a:pt x="2170" y="400"/>
                  </a:lnTo>
                  <a:lnTo>
                    <a:pt x="2172" y="399"/>
                  </a:lnTo>
                  <a:lnTo>
                    <a:pt x="2173" y="398"/>
                  </a:lnTo>
                  <a:lnTo>
                    <a:pt x="2174" y="398"/>
                  </a:lnTo>
                  <a:lnTo>
                    <a:pt x="2176" y="398"/>
                  </a:lnTo>
                  <a:lnTo>
                    <a:pt x="2178" y="397"/>
                  </a:lnTo>
                  <a:lnTo>
                    <a:pt x="2180" y="396"/>
                  </a:lnTo>
                  <a:lnTo>
                    <a:pt x="2183" y="396"/>
                  </a:lnTo>
                  <a:lnTo>
                    <a:pt x="2185" y="397"/>
                  </a:lnTo>
                  <a:lnTo>
                    <a:pt x="2186" y="399"/>
                  </a:lnTo>
                  <a:lnTo>
                    <a:pt x="2187" y="400"/>
                  </a:lnTo>
                  <a:lnTo>
                    <a:pt x="2187" y="400"/>
                  </a:lnTo>
                  <a:lnTo>
                    <a:pt x="2189" y="401"/>
                  </a:lnTo>
                  <a:lnTo>
                    <a:pt x="2190" y="400"/>
                  </a:lnTo>
                  <a:lnTo>
                    <a:pt x="2191" y="399"/>
                  </a:lnTo>
                  <a:lnTo>
                    <a:pt x="2191" y="398"/>
                  </a:lnTo>
                  <a:lnTo>
                    <a:pt x="2193" y="397"/>
                  </a:lnTo>
                  <a:lnTo>
                    <a:pt x="2194" y="396"/>
                  </a:lnTo>
                  <a:lnTo>
                    <a:pt x="2195" y="395"/>
                  </a:lnTo>
                  <a:lnTo>
                    <a:pt x="2196" y="394"/>
                  </a:lnTo>
                  <a:lnTo>
                    <a:pt x="2198" y="392"/>
                  </a:lnTo>
                  <a:lnTo>
                    <a:pt x="2199" y="392"/>
                  </a:lnTo>
                  <a:lnTo>
                    <a:pt x="2200" y="393"/>
                  </a:lnTo>
                  <a:lnTo>
                    <a:pt x="2201" y="394"/>
                  </a:lnTo>
                  <a:lnTo>
                    <a:pt x="2202" y="394"/>
                  </a:lnTo>
                  <a:lnTo>
                    <a:pt x="2204" y="394"/>
                  </a:lnTo>
                  <a:lnTo>
                    <a:pt x="2204" y="394"/>
                  </a:lnTo>
                  <a:lnTo>
                    <a:pt x="2205" y="393"/>
                  </a:lnTo>
                  <a:lnTo>
                    <a:pt x="2205" y="392"/>
                  </a:lnTo>
                  <a:lnTo>
                    <a:pt x="2205" y="389"/>
                  </a:lnTo>
                  <a:lnTo>
                    <a:pt x="2205" y="388"/>
                  </a:lnTo>
                  <a:lnTo>
                    <a:pt x="2204" y="387"/>
                  </a:lnTo>
                  <a:lnTo>
                    <a:pt x="2204" y="387"/>
                  </a:lnTo>
                  <a:lnTo>
                    <a:pt x="2202" y="387"/>
                  </a:lnTo>
                  <a:lnTo>
                    <a:pt x="2201" y="387"/>
                  </a:lnTo>
                  <a:lnTo>
                    <a:pt x="2201" y="386"/>
                  </a:lnTo>
                  <a:lnTo>
                    <a:pt x="2200" y="384"/>
                  </a:lnTo>
                  <a:lnTo>
                    <a:pt x="2199" y="383"/>
                  </a:lnTo>
                  <a:lnTo>
                    <a:pt x="2198" y="383"/>
                  </a:lnTo>
                  <a:lnTo>
                    <a:pt x="2197" y="381"/>
                  </a:lnTo>
                  <a:lnTo>
                    <a:pt x="2197" y="381"/>
                  </a:lnTo>
                  <a:lnTo>
                    <a:pt x="2197" y="381"/>
                  </a:lnTo>
                  <a:lnTo>
                    <a:pt x="2196" y="383"/>
                  </a:lnTo>
                  <a:lnTo>
                    <a:pt x="2196" y="385"/>
                  </a:lnTo>
                  <a:lnTo>
                    <a:pt x="2194" y="386"/>
                  </a:lnTo>
                  <a:lnTo>
                    <a:pt x="2193" y="387"/>
                  </a:lnTo>
                  <a:lnTo>
                    <a:pt x="2191" y="387"/>
                  </a:lnTo>
                  <a:lnTo>
                    <a:pt x="2190" y="387"/>
                  </a:lnTo>
                  <a:lnTo>
                    <a:pt x="2187" y="387"/>
                  </a:lnTo>
                  <a:lnTo>
                    <a:pt x="2185" y="386"/>
                  </a:lnTo>
                  <a:lnTo>
                    <a:pt x="2183" y="385"/>
                  </a:lnTo>
                  <a:lnTo>
                    <a:pt x="2180" y="386"/>
                  </a:lnTo>
                  <a:lnTo>
                    <a:pt x="2178" y="386"/>
                  </a:lnTo>
                  <a:lnTo>
                    <a:pt x="2176" y="387"/>
                  </a:lnTo>
                  <a:lnTo>
                    <a:pt x="2175" y="386"/>
                  </a:lnTo>
                  <a:lnTo>
                    <a:pt x="2175" y="384"/>
                  </a:lnTo>
                  <a:lnTo>
                    <a:pt x="2174" y="383"/>
                  </a:lnTo>
                  <a:lnTo>
                    <a:pt x="2173" y="382"/>
                  </a:lnTo>
                  <a:lnTo>
                    <a:pt x="2172" y="383"/>
                  </a:lnTo>
                  <a:lnTo>
                    <a:pt x="2170" y="383"/>
                  </a:lnTo>
                  <a:lnTo>
                    <a:pt x="2170" y="385"/>
                  </a:lnTo>
                  <a:lnTo>
                    <a:pt x="2169" y="386"/>
                  </a:lnTo>
                  <a:lnTo>
                    <a:pt x="2168" y="388"/>
                  </a:lnTo>
                  <a:lnTo>
                    <a:pt x="2167" y="389"/>
                  </a:lnTo>
                  <a:lnTo>
                    <a:pt x="2165" y="390"/>
                  </a:lnTo>
                  <a:lnTo>
                    <a:pt x="2163" y="392"/>
                  </a:lnTo>
                  <a:lnTo>
                    <a:pt x="2161" y="392"/>
                  </a:lnTo>
                  <a:lnTo>
                    <a:pt x="2161" y="394"/>
                  </a:lnTo>
                  <a:lnTo>
                    <a:pt x="2158" y="395"/>
                  </a:lnTo>
                  <a:lnTo>
                    <a:pt x="2156" y="396"/>
                  </a:lnTo>
                  <a:lnTo>
                    <a:pt x="2156" y="392"/>
                  </a:lnTo>
                  <a:lnTo>
                    <a:pt x="2157" y="392"/>
                  </a:lnTo>
                  <a:lnTo>
                    <a:pt x="2157" y="392"/>
                  </a:lnTo>
                  <a:lnTo>
                    <a:pt x="2158" y="390"/>
                  </a:lnTo>
                  <a:lnTo>
                    <a:pt x="2158" y="389"/>
                  </a:lnTo>
                  <a:lnTo>
                    <a:pt x="2161" y="389"/>
                  </a:lnTo>
                  <a:lnTo>
                    <a:pt x="2161" y="387"/>
                  </a:lnTo>
                  <a:lnTo>
                    <a:pt x="2161" y="386"/>
                  </a:lnTo>
                  <a:lnTo>
                    <a:pt x="2158" y="383"/>
                  </a:lnTo>
                  <a:lnTo>
                    <a:pt x="2158" y="379"/>
                  </a:lnTo>
                  <a:lnTo>
                    <a:pt x="2157" y="376"/>
                  </a:lnTo>
                  <a:lnTo>
                    <a:pt x="2155" y="374"/>
                  </a:lnTo>
                  <a:lnTo>
                    <a:pt x="2154" y="372"/>
                  </a:lnTo>
                  <a:lnTo>
                    <a:pt x="2152" y="370"/>
                  </a:lnTo>
                  <a:lnTo>
                    <a:pt x="2152" y="368"/>
                  </a:lnTo>
                  <a:lnTo>
                    <a:pt x="2152" y="367"/>
                  </a:lnTo>
                  <a:lnTo>
                    <a:pt x="2151" y="365"/>
                  </a:lnTo>
                  <a:lnTo>
                    <a:pt x="2150" y="364"/>
                  </a:lnTo>
                  <a:lnTo>
                    <a:pt x="2148" y="363"/>
                  </a:lnTo>
                  <a:lnTo>
                    <a:pt x="2147" y="361"/>
                  </a:lnTo>
                  <a:lnTo>
                    <a:pt x="2147" y="359"/>
                  </a:lnTo>
                  <a:lnTo>
                    <a:pt x="2146" y="355"/>
                  </a:lnTo>
                  <a:lnTo>
                    <a:pt x="2146" y="352"/>
                  </a:lnTo>
                  <a:lnTo>
                    <a:pt x="2146" y="350"/>
                  </a:lnTo>
                  <a:lnTo>
                    <a:pt x="2146" y="347"/>
                  </a:lnTo>
                  <a:lnTo>
                    <a:pt x="2147" y="345"/>
                  </a:lnTo>
                  <a:lnTo>
                    <a:pt x="2147" y="342"/>
                  </a:lnTo>
                  <a:lnTo>
                    <a:pt x="2148" y="339"/>
                  </a:lnTo>
                  <a:lnTo>
                    <a:pt x="2147" y="329"/>
                  </a:lnTo>
                  <a:lnTo>
                    <a:pt x="2146" y="319"/>
                  </a:lnTo>
                  <a:lnTo>
                    <a:pt x="2146" y="299"/>
                  </a:lnTo>
                  <a:lnTo>
                    <a:pt x="2152" y="292"/>
                  </a:lnTo>
                  <a:lnTo>
                    <a:pt x="2153" y="291"/>
                  </a:lnTo>
                  <a:lnTo>
                    <a:pt x="2154" y="288"/>
                  </a:lnTo>
                  <a:lnTo>
                    <a:pt x="2155" y="286"/>
                  </a:lnTo>
                  <a:lnTo>
                    <a:pt x="2155" y="283"/>
                  </a:lnTo>
                  <a:lnTo>
                    <a:pt x="2156" y="279"/>
                  </a:lnTo>
                  <a:lnTo>
                    <a:pt x="2157" y="275"/>
                  </a:lnTo>
                  <a:lnTo>
                    <a:pt x="2158" y="272"/>
                  </a:lnTo>
                  <a:lnTo>
                    <a:pt x="2158" y="267"/>
                  </a:lnTo>
                  <a:lnTo>
                    <a:pt x="2161" y="263"/>
                  </a:lnTo>
                  <a:lnTo>
                    <a:pt x="2161" y="259"/>
                  </a:lnTo>
                  <a:lnTo>
                    <a:pt x="2161" y="256"/>
                  </a:lnTo>
                  <a:lnTo>
                    <a:pt x="2161" y="254"/>
                  </a:lnTo>
                  <a:lnTo>
                    <a:pt x="2163" y="252"/>
                  </a:lnTo>
                  <a:lnTo>
                    <a:pt x="2165" y="250"/>
                  </a:lnTo>
                  <a:lnTo>
                    <a:pt x="2165" y="247"/>
                  </a:lnTo>
                  <a:lnTo>
                    <a:pt x="2166" y="239"/>
                  </a:lnTo>
                  <a:lnTo>
                    <a:pt x="2163" y="230"/>
                  </a:lnTo>
                  <a:lnTo>
                    <a:pt x="2158" y="223"/>
                  </a:lnTo>
                  <a:lnTo>
                    <a:pt x="2156" y="221"/>
                  </a:lnTo>
                  <a:lnTo>
                    <a:pt x="2154" y="219"/>
                  </a:lnTo>
                  <a:lnTo>
                    <a:pt x="2152" y="219"/>
                  </a:lnTo>
                  <a:lnTo>
                    <a:pt x="2151" y="218"/>
                  </a:lnTo>
                  <a:lnTo>
                    <a:pt x="2150" y="218"/>
                  </a:lnTo>
                  <a:lnTo>
                    <a:pt x="2147" y="218"/>
                  </a:lnTo>
                  <a:lnTo>
                    <a:pt x="2146" y="219"/>
                  </a:lnTo>
                  <a:lnTo>
                    <a:pt x="2144" y="218"/>
                  </a:lnTo>
                  <a:lnTo>
                    <a:pt x="2143" y="218"/>
                  </a:lnTo>
                  <a:lnTo>
                    <a:pt x="2143" y="219"/>
                  </a:lnTo>
                  <a:lnTo>
                    <a:pt x="2143" y="220"/>
                  </a:lnTo>
                  <a:lnTo>
                    <a:pt x="2143" y="221"/>
                  </a:lnTo>
                  <a:lnTo>
                    <a:pt x="2143" y="223"/>
                  </a:lnTo>
                  <a:lnTo>
                    <a:pt x="2144" y="225"/>
                  </a:lnTo>
                  <a:lnTo>
                    <a:pt x="2143" y="225"/>
                  </a:lnTo>
                  <a:lnTo>
                    <a:pt x="2143" y="226"/>
                  </a:lnTo>
                  <a:lnTo>
                    <a:pt x="2142" y="226"/>
                  </a:lnTo>
                  <a:lnTo>
                    <a:pt x="2141" y="226"/>
                  </a:lnTo>
                  <a:lnTo>
                    <a:pt x="2140" y="227"/>
                  </a:lnTo>
                  <a:lnTo>
                    <a:pt x="2140" y="230"/>
                  </a:lnTo>
                  <a:lnTo>
                    <a:pt x="2139" y="239"/>
                  </a:lnTo>
                  <a:lnTo>
                    <a:pt x="2141" y="247"/>
                  </a:lnTo>
                  <a:lnTo>
                    <a:pt x="2142" y="258"/>
                  </a:lnTo>
                  <a:lnTo>
                    <a:pt x="2142" y="262"/>
                  </a:lnTo>
                  <a:lnTo>
                    <a:pt x="2142" y="265"/>
                  </a:lnTo>
                  <a:lnTo>
                    <a:pt x="2141" y="268"/>
                  </a:lnTo>
                  <a:lnTo>
                    <a:pt x="2140" y="270"/>
                  </a:lnTo>
                  <a:lnTo>
                    <a:pt x="2139" y="273"/>
                  </a:lnTo>
                  <a:lnTo>
                    <a:pt x="2137" y="275"/>
                  </a:lnTo>
                  <a:lnTo>
                    <a:pt x="2136" y="279"/>
                  </a:lnTo>
                  <a:lnTo>
                    <a:pt x="2135" y="284"/>
                  </a:lnTo>
                  <a:lnTo>
                    <a:pt x="2133" y="286"/>
                  </a:lnTo>
                  <a:lnTo>
                    <a:pt x="2131" y="289"/>
                  </a:lnTo>
                  <a:lnTo>
                    <a:pt x="2129" y="292"/>
                  </a:lnTo>
                  <a:lnTo>
                    <a:pt x="2126" y="295"/>
                  </a:lnTo>
                  <a:lnTo>
                    <a:pt x="2123" y="301"/>
                  </a:lnTo>
                  <a:lnTo>
                    <a:pt x="2121" y="308"/>
                  </a:lnTo>
                  <a:lnTo>
                    <a:pt x="2122" y="317"/>
                  </a:lnTo>
                  <a:lnTo>
                    <a:pt x="2122" y="321"/>
                  </a:lnTo>
                  <a:lnTo>
                    <a:pt x="2122" y="324"/>
                  </a:lnTo>
                  <a:lnTo>
                    <a:pt x="2123" y="328"/>
                  </a:lnTo>
                  <a:lnTo>
                    <a:pt x="2122" y="331"/>
                  </a:lnTo>
                  <a:lnTo>
                    <a:pt x="2122" y="334"/>
                  </a:lnTo>
                  <a:lnTo>
                    <a:pt x="2121" y="336"/>
                  </a:lnTo>
                  <a:lnTo>
                    <a:pt x="2121" y="339"/>
                  </a:lnTo>
                  <a:lnTo>
                    <a:pt x="2121" y="342"/>
                  </a:lnTo>
                  <a:lnTo>
                    <a:pt x="2122" y="345"/>
                  </a:lnTo>
                  <a:lnTo>
                    <a:pt x="2122" y="350"/>
                  </a:lnTo>
                  <a:lnTo>
                    <a:pt x="2122" y="354"/>
                  </a:lnTo>
                  <a:lnTo>
                    <a:pt x="2124" y="359"/>
                  </a:lnTo>
                  <a:lnTo>
                    <a:pt x="2124" y="361"/>
                  </a:lnTo>
                  <a:lnTo>
                    <a:pt x="2124" y="362"/>
                  </a:lnTo>
                  <a:lnTo>
                    <a:pt x="2125" y="364"/>
                  </a:lnTo>
                  <a:lnTo>
                    <a:pt x="2126" y="365"/>
                  </a:lnTo>
                  <a:lnTo>
                    <a:pt x="2129" y="367"/>
                  </a:lnTo>
                  <a:lnTo>
                    <a:pt x="2129" y="370"/>
                  </a:lnTo>
                  <a:lnTo>
                    <a:pt x="2129" y="372"/>
                  </a:lnTo>
                  <a:lnTo>
                    <a:pt x="2131" y="374"/>
                  </a:lnTo>
                  <a:lnTo>
                    <a:pt x="2131" y="374"/>
                  </a:lnTo>
                  <a:lnTo>
                    <a:pt x="2131" y="374"/>
                  </a:lnTo>
                  <a:lnTo>
                    <a:pt x="2131" y="375"/>
                  </a:lnTo>
                  <a:lnTo>
                    <a:pt x="2133" y="376"/>
                  </a:lnTo>
                  <a:lnTo>
                    <a:pt x="2134" y="378"/>
                  </a:lnTo>
                  <a:lnTo>
                    <a:pt x="2134" y="381"/>
                  </a:lnTo>
                  <a:lnTo>
                    <a:pt x="2134" y="384"/>
                  </a:lnTo>
                  <a:lnTo>
                    <a:pt x="2135" y="386"/>
                  </a:lnTo>
                  <a:lnTo>
                    <a:pt x="2135" y="389"/>
                  </a:lnTo>
                  <a:lnTo>
                    <a:pt x="2135" y="395"/>
                  </a:lnTo>
                  <a:lnTo>
                    <a:pt x="2134" y="401"/>
                  </a:lnTo>
                  <a:lnTo>
                    <a:pt x="2133" y="408"/>
                  </a:lnTo>
                  <a:lnTo>
                    <a:pt x="2131" y="411"/>
                  </a:lnTo>
                  <a:lnTo>
                    <a:pt x="2128" y="416"/>
                  </a:lnTo>
                  <a:lnTo>
                    <a:pt x="2124" y="422"/>
                  </a:lnTo>
                  <a:lnTo>
                    <a:pt x="2124" y="431"/>
                  </a:lnTo>
                  <a:lnTo>
                    <a:pt x="2124" y="433"/>
                  </a:lnTo>
                  <a:lnTo>
                    <a:pt x="2125" y="437"/>
                  </a:lnTo>
                  <a:lnTo>
                    <a:pt x="2124" y="440"/>
                  </a:lnTo>
                  <a:lnTo>
                    <a:pt x="2124" y="443"/>
                  </a:lnTo>
                  <a:lnTo>
                    <a:pt x="2124" y="447"/>
                  </a:lnTo>
                  <a:lnTo>
                    <a:pt x="2124" y="449"/>
                  </a:lnTo>
                  <a:lnTo>
                    <a:pt x="2125" y="451"/>
                  </a:lnTo>
                  <a:lnTo>
                    <a:pt x="2125" y="453"/>
                  </a:lnTo>
                  <a:lnTo>
                    <a:pt x="2126" y="455"/>
                  </a:lnTo>
                  <a:lnTo>
                    <a:pt x="2126" y="459"/>
                  </a:lnTo>
                  <a:lnTo>
                    <a:pt x="2126" y="462"/>
                  </a:lnTo>
                  <a:lnTo>
                    <a:pt x="2126" y="465"/>
                  </a:lnTo>
                  <a:lnTo>
                    <a:pt x="2126" y="469"/>
                  </a:lnTo>
                  <a:lnTo>
                    <a:pt x="2124" y="473"/>
                  </a:lnTo>
                  <a:lnTo>
                    <a:pt x="2123" y="477"/>
                  </a:lnTo>
                  <a:lnTo>
                    <a:pt x="2122" y="482"/>
                  </a:lnTo>
                  <a:lnTo>
                    <a:pt x="2121" y="484"/>
                  </a:lnTo>
                  <a:lnTo>
                    <a:pt x="2120" y="485"/>
                  </a:lnTo>
                  <a:lnTo>
                    <a:pt x="2119" y="485"/>
                  </a:lnTo>
                  <a:lnTo>
                    <a:pt x="2118" y="484"/>
                  </a:lnTo>
                  <a:lnTo>
                    <a:pt x="2117" y="483"/>
                  </a:lnTo>
                  <a:lnTo>
                    <a:pt x="2114" y="483"/>
                  </a:lnTo>
                  <a:lnTo>
                    <a:pt x="2113" y="483"/>
                  </a:lnTo>
                  <a:lnTo>
                    <a:pt x="2113" y="484"/>
                  </a:lnTo>
                  <a:lnTo>
                    <a:pt x="2111" y="487"/>
                  </a:lnTo>
                  <a:lnTo>
                    <a:pt x="2111" y="490"/>
                  </a:lnTo>
                  <a:lnTo>
                    <a:pt x="2110" y="493"/>
                  </a:lnTo>
                  <a:lnTo>
                    <a:pt x="2109" y="495"/>
                  </a:lnTo>
                  <a:lnTo>
                    <a:pt x="2107" y="495"/>
                  </a:lnTo>
                  <a:lnTo>
                    <a:pt x="2106" y="496"/>
                  </a:lnTo>
                  <a:lnTo>
                    <a:pt x="2103" y="496"/>
                  </a:lnTo>
                  <a:lnTo>
                    <a:pt x="2102" y="497"/>
                  </a:lnTo>
                  <a:lnTo>
                    <a:pt x="2101" y="499"/>
                  </a:lnTo>
                  <a:lnTo>
                    <a:pt x="2100" y="504"/>
                  </a:lnTo>
                  <a:lnTo>
                    <a:pt x="2099" y="507"/>
                  </a:lnTo>
                  <a:lnTo>
                    <a:pt x="2098" y="512"/>
                  </a:lnTo>
                  <a:lnTo>
                    <a:pt x="2096" y="514"/>
                  </a:lnTo>
                  <a:lnTo>
                    <a:pt x="2095" y="514"/>
                  </a:lnTo>
                  <a:lnTo>
                    <a:pt x="2092" y="514"/>
                  </a:lnTo>
                  <a:lnTo>
                    <a:pt x="2091" y="514"/>
                  </a:lnTo>
                  <a:lnTo>
                    <a:pt x="2089" y="514"/>
                  </a:lnTo>
                  <a:lnTo>
                    <a:pt x="2088" y="513"/>
                  </a:lnTo>
                  <a:lnTo>
                    <a:pt x="2087" y="512"/>
                  </a:lnTo>
                  <a:lnTo>
                    <a:pt x="2086" y="510"/>
                  </a:lnTo>
                  <a:lnTo>
                    <a:pt x="2086" y="508"/>
                  </a:lnTo>
                  <a:lnTo>
                    <a:pt x="2087" y="506"/>
                  </a:lnTo>
                  <a:lnTo>
                    <a:pt x="2087" y="504"/>
                  </a:lnTo>
                  <a:lnTo>
                    <a:pt x="2088" y="502"/>
                  </a:lnTo>
                  <a:lnTo>
                    <a:pt x="2088" y="499"/>
                  </a:lnTo>
                  <a:lnTo>
                    <a:pt x="2089" y="497"/>
                  </a:lnTo>
                  <a:lnTo>
                    <a:pt x="2089" y="486"/>
                  </a:lnTo>
                  <a:lnTo>
                    <a:pt x="2089" y="484"/>
                  </a:lnTo>
                  <a:lnTo>
                    <a:pt x="2089" y="483"/>
                  </a:lnTo>
                  <a:lnTo>
                    <a:pt x="2090" y="482"/>
                  </a:lnTo>
                  <a:lnTo>
                    <a:pt x="2090" y="482"/>
                  </a:lnTo>
                  <a:lnTo>
                    <a:pt x="2091" y="482"/>
                  </a:lnTo>
                  <a:lnTo>
                    <a:pt x="2092" y="482"/>
                  </a:lnTo>
                  <a:lnTo>
                    <a:pt x="2093" y="482"/>
                  </a:lnTo>
                  <a:lnTo>
                    <a:pt x="2095" y="481"/>
                  </a:lnTo>
                  <a:lnTo>
                    <a:pt x="2096" y="479"/>
                  </a:lnTo>
                  <a:lnTo>
                    <a:pt x="2097" y="476"/>
                  </a:lnTo>
                  <a:lnTo>
                    <a:pt x="2098" y="475"/>
                  </a:lnTo>
                  <a:lnTo>
                    <a:pt x="2098" y="470"/>
                  </a:lnTo>
                  <a:lnTo>
                    <a:pt x="2097" y="463"/>
                  </a:lnTo>
                  <a:lnTo>
                    <a:pt x="2096" y="455"/>
                  </a:lnTo>
                  <a:lnTo>
                    <a:pt x="2093" y="451"/>
                  </a:lnTo>
                  <a:lnTo>
                    <a:pt x="2092" y="449"/>
                  </a:lnTo>
                  <a:lnTo>
                    <a:pt x="2092" y="447"/>
                  </a:lnTo>
                  <a:lnTo>
                    <a:pt x="2090" y="443"/>
                  </a:lnTo>
                  <a:lnTo>
                    <a:pt x="2089" y="440"/>
                  </a:lnTo>
                  <a:lnTo>
                    <a:pt x="2089" y="436"/>
                  </a:lnTo>
                  <a:lnTo>
                    <a:pt x="2091" y="431"/>
                  </a:lnTo>
                  <a:lnTo>
                    <a:pt x="2093" y="429"/>
                  </a:lnTo>
                  <a:lnTo>
                    <a:pt x="2095" y="426"/>
                  </a:lnTo>
                  <a:lnTo>
                    <a:pt x="2097" y="422"/>
                  </a:lnTo>
                  <a:lnTo>
                    <a:pt x="2099" y="420"/>
                  </a:lnTo>
                  <a:lnTo>
                    <a:pt x="2100" y="417"/>
                  </a:lnTo>
                  <a:lnTo>
                    <a:pt x="2102" y="414"/>
                  </a:lnTo>
                  <a:lnTo>
                    <a:pt x="2102" y="411"/>
                  </a:lnTo>
                  <a:lnTo>
                    <a:pt x="2101" y="409"/>
                  </a:lnTo>
                  <a:lnTo>
                    <a:pt x="2100" y="407"/>
                  </a:lnTo>
                  <a:lnTo>
                    <a:pt x="2099" y="407"/>
                  </a:lnTo>
                  <a:lnTo>
                    <a:pt x="2098" y="408"/>
                  </a:lnTo>
                  <a:lnTo>
                    <a:pt x="2098" y="409"/>
                  </a:lnTo>
                  <a:lnTo>
                    <a:pt x="2098" y="411"/>
                  </a:lnTo>
                  <a:lnTo>
                    <a:pt x="2096" y="416"/>
                  </a:lnTo>
                  <a:lnTo>
                    <a:pt x="2095" y="419"/>
                  </a:lnTo>
                  <a:lnTo>
                    <a:pt x="2092" y="421"/>
                  </a:lnTo>
                  <a:lnTo>
                    <a:pt x="2091" y="425"/>
                  </a:lnTo>
                  <a:lnTo>
                    <a:pt x="2090" y="426"/>
                  </a:lnTo>
                  <a:lnTo>
                    <a:pt x="2089" y="426"/>
                  </a:lnTo>
                  <a:lnTo>
                    <a:pt x="2088" y="426"/>
                  </a:lnTo>
                  <a:lnTo>
                    <a:pt x="2087" y="425"/>
                  </a:lnTo>
                  <a:lnTo>
                    <a:pt x="2087" y="422"/>
                  </a:lnTo>
                  <a:lnTo>
                    <a:pt x="2087" y="420"/>
                  </a:lnTo>
                  <a:lnTo>
                    <a:pt x="2086" y="418"/>
                  </a:lnTo>
                  <a:lnTo>
                    <a:pt x="2085" y="415"/>
                  </a:lnTo>
                  <a:lnTo>
                    <a:pt x="2085" y="411"/>
                  </a:lnTo>
                  <a:lnTo>
                    <a:pt x="2085" y="405"/>
                  </a:lnTo>
                  <a:lnTo>
                    <a:pt x="2085" y="397"/>
                  </a:lnTo>
                  <a:lnTo>
                    <a:pt x="2084" y="390"/>
                  </a:lnTo>
                  <a:lnTo>
                    <a:pt x="2080" y="387"/>
                  </a:lnTo>
                  <a:lnTo>
                    <a:pt x="2079" y="387"/>
                  </a:lnTo>
                  <a:lnTo>
                    <a:pt x="2079" y="387"/>
                  </a:lnTo>
                  <a:lnTo>
                    <a:pt x="2079" y="389"/>
                  </a:lnTo>
                  <a:lnTo>
                    <a:pt x="2079" y="392"/>
                  </a:lnTo>
                  <a:lnTo>
                    <a:pt x="2080" y="394"/>
                  </a:lnTo>
                  <a:lnTo>
                    <a:pt x="2080" y="396"/>
                  </a:lnTo>
                  <a:lnTo>
                    <a:pt x="2080" y="398"/>
                  </a:lnTo>
                  <a:lnTo>
                    <a:pt x="2080" y="400"/>
                  </a:lnTo>
                  <a:lnTo>
                    <a:pt x="2079" y="401"/>
                  </a:lnTo>
                  <a:lnTo>
                    <a:pt x="2078" y="403"/>
                  </a:lnTo>
                  <a:lnTo>
                    <a:pt x="2077" y="404"/>
                  </a:lnTo>
                  <a:lnTo>
                    <a:pt x="2076" y="406"/>
                  </a:lnTo>
                  <a:lnTo>
                    <a:pt x="2075" y="408"/>
                  </a:lnTo>
                  <a:lnTo>
                    <a:pt x="2074" y="411"/>
                  </a:lnTo>
                  <a:lnTo>
                    <a:pt x="2073" y="416"/>
                  </a:lnTo>
                  <a:lnTo>
                    <a:pt x="2071" y="419"/>
                  </a:lnTo>
                  <a:lnTo>
                    <a:pt x="2069" y="422"/>
                  </a:lnTo>
                  <a:lnTo>
                    <a:pt x="2068" y="422"/>
                  </a:lnTo>
                  <a:lnTo>
                    <a:pt x="2067" y="422"/>
                  </a:lnTo>
                  <a:lnTo>
                    <a:pt x="2066" y="423"/>
                  </a:lnTo>
                  <a:lnTo>
                    <a:pt x="2065" y="425"/>
                  </a:lnTo>
                  <a:lnTo>
                    <a:pt x="2063" y="427"/>
                  </a:lnTo>
                  <a:lnTo>
                    <a:pt x="2060" y="428"/>
                  </a:lnTo>
                  <a:lnTo>
                    <a:pt x="2059" y="428"/>
                  </a:lnTo>
                  <a:lnTo>
                    <a:pt x="2057" y="428"/>
                  </a:lnTo>
                  <a:lnTo>
                    <a:pt x="2054" y="427"/>
                  </a:lnTo>
                  <a:lnTo>
                    <a:pt x="2052" y="425"/>
                  </a:lnTo>
                  <a:lnTo>
                    <a:pt x="2049" y="422"/>
                  </a:lnTo>
                  <a:lnTo>
                    <a:pt x="2047" y="422"/>
                  </a:lnTo>
                  <a:lnTo>
                    <a:pt x="2047" y="422"/>
                  </a:lnTo>
                  <a:lnTo>
                    <a:pt x="2046" y="421"/>
                  </a:lnTo>
                  <a:lnTo>
                    <a:pt x="2044" y="419"/>
                  </a:lnTo>
                  <a:lnTo>
                    <a:pt x="2043" y="418"/>
                  </a:lnTo>
                  <a:lnTo>
                    <a:pt x="2044" y="406"/>
                  </a:lnTo>
                  <a:lnTo>
                    <a:pt x="2045" y="396"/>
                  </a:lnTo>
                  <a:lnTo>
                    <a:pt x="2045" y="394"/>
                  </a:lnTo>
                  <a:lnTo>
                    <a:pt x="2044" y="392"/>
                  </a:lnTo>
                  <a:lnTo>
                    <a:pt x="2043" y="389"/>
                  </a:lnTo>
                  <a:lnTo>
                    <a:pt x="2042" y="387"/>
                  </a:lnTo>
                  <a:lnTo>
                    <a:pt x="2041" y="385"/>
                  </a:lnTo>
                  <a:lnTo>
                    <a:pt x="2041" y="382"/>
                  </a:lnTo>
                  <a:lnTo>
                    <a:pt x="2041" y="378"/>
                  </a:lnTo>
                  <a:lnTo>
                    <a:pt x="2041" y="375"/>
                  </a:lnTo>
                  <a:lnTo>
                    <a:pt x="2041" y="372"/>
                  </a:lnTo>
                  <a:lnTo>
                    <a:pt x="2039" y="368"/>
                  </a:lnTo>
                  <a:lnTo>
                    <a:pt x="2039" y="365"/>
                  </a:lnTo>
                  <a:lnTo>
                    <a:pt x="2038" y="363"/>
                  </a:lnTo>
                  <a:lnTo>
                    <a:pt x="2036" y="362"/>
                  </a:lnTo>
                  <a:lnTo>
                    <a:pt x="2035" y="362"/>
                  </a:lnTo>
                  <a:lnTo>
                    <a:pt x="2033" y="363"/>
                  </a:lnTo>
                  <a:lnTo>
                    <a:pt x="2032" y="363"/>
                  </a:lnTo>
                  <a:lnTo>
                    <a:pt x="2031" y="362"/>
                  </a:lnTo>
                  <a:lnTo>
                    <a:pt x="2028" y="361"/>
                  </a:lnTo>
                  <a:lnTo>
                    <a:pt x="2026" y="360"/>
                  </a:lnTo>
                  <a:lnTo>
                    <a:pt x="2025" y="357"/>
                  </a:lnTo>
                  <a:lnTo>
                    <a:pt x="2023" y="355"/>
                  </a:lnTo>
                  <a:lnTo>
                    <a:pt x="2023" y="352"/>
                  </a:lnTo>
                  <a:lnTo>
                    <a:pt x="2025" y="353"/>
                  </a:lnTo>
                  <a:lnTo>
                    <a:pt x="2027" y="354"/>
                  </a:lnTo>
                  <a:lnTo>
                    <a:pt x="2030" y="355"/>
                  </a:lnTo>
                  <a:lnTo>
                    <a:pt x="2032" y="355"/>
                  </a:lnTo>
                  <a:lnTo>
                    <a:pt x="2034" y="355"/>
                  </a:lnTo>
                  <a:lnTo>
                    <a:pt x="2036" y="354"/>
                  </a:lnTo>
                  <a:lnTo>
                    <a:pt x="2036" y="353"/>
                  </a:lnTo>
                  <a:lnTo>
                    <a:pt x="2036" y="351"/>
                  </a:lnTo>
                  <a:lnTo>
                    <a:pt x="2036" y="347"/>
                  </a:lnTo>
                  <a:lnTo>
                    <a:pt x="2035" y="345"/>
                  </a:lnTo>
                  <a:lnTo>
                    <a:pt x="2035" y="342"/>
                  </a:lnTo>
                  <a:lnTo>
                    <a:pt x="2034" y="339"/>
                  </a:lnTo>
                  <a:lnTo>
                    <a:pt x="2034" y="336"/>
                  </a:lnTo>
                  <a:lnTo>
                    <a:pt x="2034" y="308"/>
                  </a:lnTo>
                  <a:lnTo>
                    <a:pt x="2034" y="307"/>
                  </a:lnTo>
                  <a:lnTo>
                    <a:pt x="2034" y="306"/>
                  </a:lnTo>
                  <a:lnTo>
                    <a:pt x="2034" y="306"/>
                  </a:lnTo>
                  <a:lnTo>
                    <a:pt x="2035" y="306"/>
                  </a:lnTo>
                  <a:lnTo>
                    <a:pt x="2036" y="306"/>
                  </a:lnTo>
                  <a:lnTo>
                    <a:pt x="2037" y="306"/>
                  </a:lnTo>
                  <a:lnTo>
                    <a:pt x="2038" y="305"/>
                  </a:lnTo>
                  <a:lnTo>
                    <a:pt x="2038" y="302"/>
                  </a:lnTo>
                  <a:lnTo>
                    <a:pt x="2039" y="301"/>
                  </a:lnTo>
                  <a:lnTo>
                    <a:pt x="2041" y="299"/>
                  </a:lnTo>
                  <a:lnTo>
                    <a:pt x="2042" y="295"/>
                  </a:lnTo>
                  <a:lnTo>
                    <a:pt x="2044" y="290"/>
                  </a:lnTo>
                  <a:lnTo>
                    <a:pt x="2046" y="286"/>
                  </a:lnTo>
                  <a:lnTo>
                    <a:pt x="2049" y="281"/>
                  </a:lnTo>
                  <a:lnTo>
                    <a:pt x="2052" y="281"/>
                  </a:lnTo>
                  <a:lnTo>
                    <a:pt x="2054" y="281"/>
                  </a:lnTo>
                  <a:lnTo>
                    <a:pt x="2056" y="279"/>
                  </a:lnTo>
                  <a:lnTo>
                    <a:pt x="2056" y="279"/>
                  </a:lnTo>
                  <a:lnTo>
                    <a:pt x="2056" y="277"/>
                  </a:lnTo>
                  <a:lnTo>
                    <a:pt x="2057" y="274"/>
                  </a:lnTo>
                  <a:lnTo>
                    <a:pt x="2058" y="272"/>
                  </a:lnTo>
                  <a:lnTo>
                    <a:pt x="2059" y="267"/>
                  </a:lnTo>
                  <a:lnTo>
                    <a:pt x="2060" y="264"/>
                  </a:lnTo>
                  <a:lnTo>
                    <a:pt x="2063" y="261"/>
                  </a:lnTo>
                  <a:lnTo>
                    <a:pt x="2065" y="256"/>
                  </a:lnTo>
                  <a:lnTo>
                    <a:pt x="2065" y="254"/>
                  </a:lnTo>
                  <a:lnTo>
                    <a:pt x="2065" y="252"/>
                  </a:lnTo>
                  <a:lnTo>
                    <a:pt x="2066" y="248"/>
                  </a:lnTo>
                  <a:lnTo>
                    <a:pt x="2067" y="247"/>
                  </a:lnTo>
                  <a:lnTo>
                    <a:pt x="2067" y="245"/>
                  </a:lnTo>
                  <a:lnTo>
                    <a:pt x="2068" y="243"/>
                  </a:lnTo>
                  <a:lnTo>
                    <a:pt x="2069" y="242"/>
                  </a:lnTo>
                  <a:lnTo>
                    <a:pt x="2070" y="242"/>
                  </a:lnTo>
                  <a:lnTo>
                    <a:pt x="2071" y="241"/>
                  </a:lnTo>
                  <a:lnTo>
                    <a:pt x="2073" y="235"/>
                  </a:lnTo>
                  <a:lnTo>
                    <a:pt x="2074" y="227"/>
                  </a:lnTo>
                  <a:lnTo>
                    <a:pt x="2076" y="221"/>
                  </a:lnTo>
                  <a:lnTo>
                    <a:pt x="2076" y="210"/>
                  </a:lnTo>
                  <a:lnTo>
                    <a:pt x="2076" y="207"/>
                  </a:lnTo>
                  <a:lnTo>
                    <a:pt x="2077" y="204"/>
                  </a:lnTo>
                  <a:lnTo>
                    <a:pt x="2078" y="202"/>
                  </a:lnTo>
                  <a:lnTo>
                    <a:pt x="2078" y="201"/>
                  </a:lnTo>
                  <a:lnTo>
                    <a:pt x="2079" y="199"/>
                  </a:lnTo>
                  <a:lnTo>
                    <a:pt x="2079" y="198"/>
                  </a:lnTo>
                  <a:lnTo>
                    <a:pt x="2078" y="196"/>
                  </a:lnTo>
                  <a:lnTo>
                    <a:pt x="2078" y="193"/>
                  </a:lnTo>
                  <a:lnTo>
                    <a:pt x="2078" y="192"/>
                  </a:lnTo>
                  <a:lnTo>
                    <a:pt x="2077" y="190"/>
                  </a:lnTo>
                  <a:lnTo>
                    <a:pt x="2077" y="188"/>
                  </a:lnTo>
                  <a:lnTo>
                    <a:pt x="2077" y="186"/>
                  </a:lnTo>
                  <a:lnTo>
                    <a:pt x="2078" y="185"/>
                  </a:lnTo>
                  <a:lnTo>
                    <a:pt x="2078" y="183"/>
                  </a:lnTo>
                  <a:lnTo>
                    <a:pt x="2078" y="177"/>
                  </a:lnTo>
                  <a:lnTo>
                    <a:pt x="2078" y="176"/>
                  </a:lnTo>
                  <a:lnTo>
                    <a:pt x="2079" y="176"/>
                  </a:lnTo>
                  <a:lnTo>
                    <a:pt x="2079" y="176"/>
                  </a:lnTo>
                  <a:lnTo>
                    <a:pt x="2080" y="176"/>
                  </a:lnTo>
                  <a:lnTo>
                    <a:pt x="2080" y="175"/>
                  </a:lnTo>
                  <a:lnTo>
                    <a:pt x="2080" y="166"/>
                  </a:lnTo>
                  <a:lnTo>
                    <a:pt x="2081" y="165"/>
                  </a:lnTo>
                  <a:lnTo>
                    <a:pt x="2082" y="164"/>
                  </a:lnTo>
                  <a:lnTo>
                    <a:pt x="2084" y="163"/>
                  </a:lnTo>
                  <a:lnTo>
                    <a:pt x="2085" y="161"/>
                  </a:lnTo>
                  <a:lnTo>
                    <a:pt x="2085" y="144"/>
                  </a:lnTo>
                  <a:lnTo>
                    <a:pt x="2084" y="142"/>
                  </a:lnTo>
                  <a:lnTo>
                    <a:pt x="2082" y="141"/>
                  </a:lnTo>
                  <a:lnTo>
                    <a:pt x="2082" y="139"/>
                  </a:lnTo>
                  <a:lnTo>
                    <a:pt x="2082" y="138"/>
                  </a:lnTo>
                  <a:lnTo>
                    <a:pt x="2082" y="137"/>
                  </a:lnTo>
                  <a:lnTo>
                    <a:pt x="2081" y="136"/>
                  </a:lnTo>
                  <a:lnTo>
                    <a:pt x="2081" y="134"/>
                  </a:lnTo>
                  <a:lnTo>
                    <a:pt x="2081" y="133"/>
                  </a:lnTo>
                  <a:lnTo>
                    <a:pt x="2082" y="131"/>
                  </a:lnTo>
                  <a:lnTo>
                    <a:pt x="2084" y="127"/>
                  </a:lnTo>
                  <a:lnTo>
                    <a:pt x="2084" y="124"/>
                  </a:lnTo>
                  <a:lnTo>
                    <a:pt x="2082" y="121"/>
                  </a:lnTo>
                  <a:lnTo>
                    <a:pt x="2082" y="117"/>
                  </a:lnTo>
                  <a:lnTo>
                    <a:pt x="2082" y="113"/>
                  </a:lnTo>
                  <a:lnTo>
                    <a:pt x="2084" y="114"/>
                  </a:lnTo>
                  <a:lnTo>
                    <a:pt x="2084" y="115"/>
                  </a:lnTo>
                  <a:lnTo>
                    <a:pt x="2085" y="115"/>
                  </a:lnTo>
                  <a:lnTo>
                    <a:pt x="2085" y="114"/>
                  </a:lnTo>
                  <a:lnTo>
                    <a:pt x="2085" y="111"/>
                  </a:lnTo>
                  <a:lnTo>
                    <a:pt x="2085" y="111"/>
                  </a:lnTo>
                  <a:lnTo>
                    <a:pt x="2085" y="111"/>
                  </a:lnTo>
                  <a:lnTo>
                    <a:pt x="2086" y="113"/>
                  </a:lnTo>
                  <a:lnTo>
                    <a:pt x="2086" y="114"/>
                  </a:lnTo>
                  <a:lnTo>
                    <a:pt x="2087" y="116"/>
                  </a:lnTo>
                  <a:lnTo>
                    <a:pt x="2087" y="117"/>
                  </a:lnTo>
                  <a:lnTo>
                    <a:pt x="2087" y="119"/>
                  </a:lnTo>
                  <a:lnTo>
                    <a:pt x="2088" y="120"/>
                  </a:lnTo>
                  <a:lnTo>
                    <a:pt x="2088" y="121"/>
                  </a:lnTo>
                  <a:lnTo>
                    <a:pt x="2089" y="121"/>
                  </a:lnTo>
                  <a:lnTo>
                    <a:pt x="2089" y="120"/>
                  </a:lnTo>
                  <a:lnTo>
                    <a:pt x="2089" y="113"/>
                  </a:lnTo>
                  <a:lnTo>
                    <a:pt x="2089" y="112"/>
                  </a:lnTo>
                  <a:lnTo>
                    <a:pt x="2090" y="112"/>
                  </a:lnTo>
                  <a:lnTo>
                    <a:pt x="2090" y="112"/>
                  </a:lnTo>
                  <a:lnTo>
                    <a:pt x="2091" y="113"/>
                  </a:lnTo>
                  <a:lnTo>
                    <a:pt x="2092" y="113"/>
                  </a:lnTo>
                  <a:lnTo>
                    <a:pt x="2093" y="114"/>
                  </a:lnTo>
                  <a:lnTo>
                    <a:pt x="2093" y="113"/>
                  </a:lnTo>
                  <a:lnTo>
                    <a:pt x="2093" y="112"/>
                  </a:lnTo>
                  <a:lnTo>
                    <a:pt x="2092" y="109"/>
                  </a:lnTo>
                  <a:lnTo>
                    <a:pt x="2092" y="105"/>
                  </a:lnTo>
                  <a:lnTo>
                    <a:pt x="2091" y="103"/>
                  </a:lnTo>
                  <a:lnTo>
                    <a:pt x="2091" y="101"/>
                  </a:lnTo>
                  <a:lnTo>
                    <a:pt x="2091" y="100"/>
                  </a:lnTo>
                  <a:lnTo>
                    <a:pt x="2092" y="101"/>
                  </a:lnTo>
                  <a:lnTo>
                    <a:pt x="2092" y="101"/>
                  </a:lnTo>
                  <a:lnTo>
                    <a:pt x="2093" y="102"/>
                  </a:lnTo>
                  <a:lnTo>
                    <a:pt x="2095" y="103"/>
                  </a:lnTo>
                  <a:lnTo>
                    <a:pt x="2095" y="103"/>
                  </a:lnTo>
                  <a:lnTo>
                    <a:pt x="2096" y="102"/>
                  </a:lnTo>
                  <a:lnTo>
                    <a:pt x="2096" y="100"/>
                  </a:lnTo>
                  <a:lnTo>
                    <a:pt x="2096" y="99"/>
                  </a:lnTo>
                  <a:lnTo>
                    <a:pt x="2095" y="96"/>
                  </a:lnTo>
                  <a:lnTo>
                    <a:pt x="2095" y="95"/>
                  </a:lnTo>
                  <a:lnTo>
                    <a:pt x="2095" y="93"/>
                  </a:lnTo>
                  <a:lnTo>
                    <a:pt x="2095" y="92"/>
                  </a:lnTo>
                  <a:lnTo>
                    <a:pt x="2095" y="91"/>
                  </a:lnTo>
                  <a:lnTo>
                    <a:pt x="2096" y="91"/>
                  </a:lnTo>
                  <a:lnTo>
                    <a:pt x="2097" y="92"/>
                  </a:lnTo>
                  <a:lnTo>
                    <a:pt x="2097" y="92"/>
                  </a:lnTo>
                  <a:lnTo>
                    <a:pt x="2098" y="93"/>
                  </a:lnTo>
                  <a:lnTo>
                    <a:pt x="2098" y="93"/>
                  </a:lnTo>
                  <a:lnTo>
                    <a:pt x="2098" y="91"/>
                  </a:lnTo>
                  <a:lnTo>
                    <a:pt x="2098" y="80"/>
                  </a:lnTo>
                  <a:lnTo>
                    <a:pt x="2097" y="78"/>
                  </a:lnTo>
                  <a:lnTo>
                    <a:pt x="2097" y="76"/>
                  </a:lnTo>
                  <a:lnTo>
                    <a:pt x="2096" y="73"/>
                  </a:lnTo>
                  <a:lnTo>
                    <a:pt x="2096" y="71"/>
                  </a:lnTo>
                  <a:lnTo>
                    <a:pt x="2096" y="71"/>
                  </a:lnTo>
                  <a:lnTo>
                    <a:pt x="2097" y="72"/>
                  </a:lnTo>
                  <a:lnTo>
                    <a:pt x="2098" y="73"/>
                  </a:lnTo>
                  <a:lnTo>
                    <a:pt x="2099" y="74"/>
                  </a:lnTo>
                  <a:lnTo>
                    <a:pt x="2099" y="77"/>
                  </a:lnTo>
                  <a:lnTo>
                    <a:pt x="2100" y="78"/>
                  </a:lnTo>
                  <a:lnTo>
                    <a:pt x="2101" y="80"/>
                  </a:lnTo>
                  <a:lnTo>
                    <a:pt x="2102" y="80"/>
                  </a:lnTo>
                  <a:lnTo>
                    <a:pt x="2102" y="80"/>
                  </a:lnTo>
                  <a:lnTo>
                    <a:pt x="2102" y="79"/>
                  </a:lnTo>
                  <a:lnTo>
                    <a:pt x="2102" y="78"/>
                  </a:lnTo>
                  <a:lnTo>
                    <a:pt x="2102" y="77"/>
                  </a:lnTo>
                  <a:lnTo>
                    <a:pt x="2102" y="74"/>
                  </a:lnTo>
                  <a:lnTo>
                    <a:pt x="2102" y="73"/>
                  </a:lnTo>
                  <a:lnTo>
                    <a:pt x="2103" y="73"/>
                  </a:lnTo>
                  <a:lnTo>
                    <a:pt x="2104" y="73"/>
                  </a:lnTo>
                  <a:lnTo>
                    <a:pt x="2106" y="74"/>
                  </a:lnTo>
                  <a:lnTo>
                    <a:pt x="2106" y="76"/>
                  </a:lnTo>
                  <a:lnTo>
                    <a:pt x="2107" y="76"/>
                  </a:lnTo>
                  <a:lnTo>
                    <a:pt x="2108" y="78"/>
                  </a:lnTo>
                  <a:lnTo>
                    <a:pt x="2108" y="78"/>
                  </a:lnTo>
                  <a:lnTo>
                    <a:pt x="2109" y="77"/>
                  </a:lnTo>
                  <a:lnTo>
                    <a:pt x="2109" y="76"/>
                  </a:lnTo>
                  <a:lnTo>
                    <a:pt x="2109" y="74"/>
                  </a:lnTo>
                  <a:lnTo>
                    <a:pt x="2109" y="72"/>
                  </a:lnTo>
                  <a:lnTo>
                    <a:pt x="2109" y="71"/>
                  </a:lnTo>
                  <a:lnTo>
                    <a:pt x="2110" y="70"/>
                  </a:lnTo>
                  <a:lnTo>
                    <a:pt x="2111" y="69"/>
                  </a:lnTo>
                  <a:lnTo>
                    <a:pt x="2111" y="70"/>
                  </a:lnTo>
                  <a:lnTo>
                    <a:pt x="2111" y="72"/>
                  </a:lnTo>
                  <a:lnTo>
                    <a:pt x="2112" y="73"/>
                  </a:lnTo>
                  <a:lnTo>
                    <a:pt x="2113" y="74"/>
                  </a:lnTo>
                  <a:lnTo>
                    <a:pt x="2114" y="76"/>
                  </a:lnTo>
                  <a:lnTo>
                    <a:pt x="2114" y="74"/>
                  </a:lnTo>
                  <a:lnTo>
                    <a:pt x="2115" y="73"/>
                  </a:lnTo>
                  <a:lnTo>
                    <a:pt x="2115" y="72"/>
                  </a:lnTo>
                  <a:lnTo>
                    <a:pt x="2115" y="71"/>
                  </a:lnTo>
                  <a:lnTo>
                    <a:pt x="2115" y="71"/>
                  </a:lnTo>
                  <a:lnTo>
                    <a:pt x="2117" y="71"/>
                  </a:lnTo>
                  <a:lnTo>
                    <a:pt x="2118" y="71"/>
                  </a:lnTo>
                  <a:lnTo>
                    <a:pt x="2119" y="73"/>
                  </a:lnTo>
                  <a:lnTo>
                    <a:pt x="2120" y="74"/>
                  </a:lnTo>
                  <a:lnTo>
                    <a:pt x="2121" y="76"/>
                  </a:lnTo>
                  <a:lnTo>
                    <a:pt x="2121" y="77"/>
                  </a:lnTo>
                  <a:lnTo>
                    <a:pt x="2122" y="76"/>
                  </a:lnTo>
                  <a:lnTo>
                    <a:pt x="2122" y="74"/>
                  </a:lnTo>
                  <a:lnTo>
                    <a:pt x="2123" y="73"/>
                  </a:lnTo>
                  <a:lnTo>
                    <a:pt x="2123" y="72"/>
                  </a:lnTo>
                  <a:lnTo>
                    <a:pt x="2123" y="72"/>
                  </a:lnTo>
                  <a:lnTo>
                    <a:pt x="2124" y="71"/>
                  </a:lnTo>
                  <a:lnTo>
                    <a:pt x="2125" y="71"/>
                  </a:lnTo>
                  <a:lnTo>
                    <a:pt x="2125" y="70"/>
                  </a:lnTo>
                  <a:lnTo>
                    <a:pt x="2126" y="68"/>
                  </a:lnTo>
                  <a:lnTo>
                    <a:pt x="2126" y="65"/>
                  </a:lnTo>
                  <a:lnTo>
                    <a:pt x="2125" y="63"/>
                  </a:lnTo>
                  <a:lnTo>
                    <a:pt x="2125" y="62"/>
                  </a:lnTo>
                  <a:lnTo>
                    <a:pt x="2125" y="62"/>
                  </a:lnTo>
                  <a:lnTo>
                    <a:pt x="2125" y="62"/>
                  </a:lnTo>
                  <a:lnTo>
                    <a:pt x="2126" y="62"/>
                  </a:lnTo>
                  <a:lnTo>
                    <a:pt x="2128" y="65"/>
                  </a:lnTo>
                  <a:lnTo>
                    <a:pt x="2129" y="66"/>
                  </a:lnTo>
                  <a:lnTo>
                    <a:pt x="2130" y="66"/>
                  </a:lnTo>
                  <a:lnTo>
                    <a:pt x="2130" y="65"/>
                  </a:lnTo>
                  <a:lnTo>
                    <a:pt x="2131" y="62"/>
                  </a:lnTo>
                  <a:lnTo>
                    <a:pt x="2131" y="59"/>
                  </a:lnTo>
                  <a:lnTo>
                    <a:pt x="2131" y="56"/>
                  </a:lnTo>
                  <a:lnTo>
                    <a:pt x="2131" y="54"/>
                  </a:lnTo>
                  <a:lnTo>
                    <a:pt x="2132" y="52"/>
                  </a:lnTo>
                  <a:lnTo>
                    <a:pt x="2132" y="51"/>
                  </a:lnTo>
                  <a:lnTo>
                    <a:pt x="2133" y="51"/>
                  </a:lnTo>
                  <a:lnTo>
                    <a:pt x="2134" y="52"/>
                  </a:lnTo>
                  <a:lnTo>
                    <a:pt x="2135" y="54"/>
                  </a:lnTo>
                  <a:lnTo>
                    <a:pt x="2135" y="56"/>
                  </a:lnTo>
                  <a:lnTo>
                    <a:pt x="2135" y="57"/>
                  </a:lnTo>
                  <a:lnTo>
                    <a:pt x="2136" y="58"/>
                  </a:lnTo>
                  <a:lnTo>
                    <a:pt x="2136" y="59"/>
                  </a:lnTo>
                  <a:lnTo>
                    <a:pt x="2137" y="58"/>
                  </a:lnTo>
                  <a:lnTo>
                    <a:pt x="2137" y="58"/>
                  </a:lnTo>
                  <a:lnTo>
                    <a:pt x="2137" y="57"/>
                  </a:lnTo>
                  <a:lnTo>
                    <a:pt x="2137" y="56"/>
                  </a:lnTo>
                  <a:lnTo>
                    <a:pt x="2137" y="55"/>
                  </a:lnTo>
                  <a:lnTo>
                    <a:pt x="2139" y="54"/>
                  </a:lnTo>
                  <a:lnTo>
                    <a:pt x="2140" y="54"/>
                  </a:lnTo>
                  <a:lnTo>
                    <a:pt x="2140" y="55"/>
                  </a:lnTo>
                  <a:lnTo>
                    <a:pt x="2141" y="55"/>
                  </a:lnTo>
                  <a:lnTo>
                    <a:pt x="2142" y="56"/>
                  </a:lnTo>
                  <a:lnTo>
                    <a:pt x="2143" y="57"/>
                  </a:lnTo>
                  <a:lnTo>
                    <a:pt x="2143" y="57"/>
                  </a:lnTo>
                  <a:lnTo>
                    <a:pt x="2144" y="56"/>
                  </a:lnTo>
                  <a:lnTo>
                    <a:pt x="2144" y="55"/>
                  </a:lnTo>
                  <a:lnTo>
                    <a:pt x="2144" y="55"/>
                  </a:lnTo>
                  <a:lnTo>
                    <a:pt x="2145" y="55"/>
                  </a:lnTo>
                  <a:lnTo>
                    <a:pt x="2145" y="56"/>
                  </a:lnTo>
                  <a:lnTo>
                    <a:pt x="2145" y="56"/>
                  </a:lnTo>
                  <a:lnTo>
                    <a:pt x="2146" y="56"/>
                  </a:lnTo>
                  <a:lnTo>
                    <a:pt x="2151" y="56"/>
                  </a:lnTo>
                  <a:lnTo>
                    <a:pt x="2151" y="56"/>
                  </a:lnTo>
                  <a:lnTo>
                    <a:pt x="2151" y="55"/>
                  </a:lnTo>
                  <a:lnTo>
                    <a:pt x="2151" y="54"/>
                  </a:lnTo>
                  <a:lnTo>
                    <a:pt x="2151" y="52"/>
                  </a:lnTo>
                  <a:lnTo>
                    <a:pt x="2151" y="51"/>
                  </a:lnTo>
                  <a:lnTo>
                    <a:pt x="2152" y="52"/>
                  </a:lnTo>
                  <a:lnTo>
                    <a:pt x="2153" y="55"/>
                  </a:lnTo>
                  <a:lnTo>
                    <a:pt x="2154" y="57"/>
                  </a:lnTo>
                  <a:lnTo>
                    <a:pt x="2154" y="58"/>
                  </a:lnTo>
                  <a:lnTo>
                    <a:pt x="2156" y="60"/>
                  </a:lnTo>
                  <a:lnTo>
                    <a:pt x="2157" y="60"/>
                  </a:lnTo>
                  <a:lnTo>
                    <a:pt x="2158" y="61"/>
                  </a:lnTo>
                  <a:lnTo>
                    <a:pt x="2158" y="62"/>
                  </a:lnTo>
                  <a:lnTo>
                    <a:pt x="2161" y="63"/>
                  </a:lnTo>
                  <a:lnTo>
                    <a:pt x="2161" y="65"/>
                  </a:lnTo>
                  <a:lnTo>
                    <a:pt x="2161" y="66"/>
                  </a:lnTo>
                  <a:lnTo>
                    <a:pt x="2161" y="67"/>
                  </a:lnTo>
                  <a:lnTo>
                    <a:pt x="2163" y="68"/>
                  </a:lnTo>
                  <a:lnTo>
                    <a:pt x="2164" y="68"/>
                  </a:lnTo>
                  <a:lnTo>
                    <a:pt x="2165" y="68"/>
                  </a:lnTo>
                  <a:lnTo>
                    <a:pt x="2165" y="69"/>
                  </a:lnTo>
                  <a:lnTo>
                    <a:pt x="2165" y="69"/>
                  </a:lnTo>
                  <a:lnTo>
                    <a:pt x="2167" y="72"/>
                  </a:lnTo>
                  <a:lnTo>
                    <a:pt x="2167" y="74"/>
                  </a:lnTo>
                  <a:lnTo>
                    <a:pt x="2168" y="76"/>
                  </a:lnTo>
                  <a:lnTo>
                    <a:pt x="2169" y="76"/>
                  </a:lnTo>
                  <a:lnTo>
                    <a:pt x="2172" y="78"/>
                  </a:lnTo>
                  <a:lnTo>
                    <a:pt x="2174" y="80"/>
                  </a:lnTo>
                  <a:lnTo>
                    <a:pt x="2174" y="82"/>
                  </a:lnTo>
                  <a:lnTo>
                    <a:pt x="2176" y="84"/>
                  </a:lnTo>
                  <a:lnTo>
                    <a:pt x="2177" y="85"/>
                  </a:lnTo>
                  <a:lnTo>
                    <a:pt x="2177" y="88"/>
                  </a:lnTo>
                  <a:lnTo>
                    <a:pt x="2177" y="89"/>
                  </a:lnTo>
                  <a:lnTo>
                    <a:pt x="2176" y="89"/>
                  </a:lnTo>
                  <a:lnTo>
                    <a:pt x="2176" y="90"/>
                  </a:lnTo>
                  <a:lnTo>
                    <a:pt x="2176" y="90"/>
                  </a:lnTo>
                  <a:lnTo>
                    <a:pt x="2175" y="90"/>
                  </a:lnTo>
                  <a:lnTo>
                    <a:pt x="2174" y="90"/>
                  </a:lnTo>
                  <a:lnTo>
                    <a:pt x="2172" y="91"/>
                  </a:lnTo>
                  <a:lnTo>
                    <a:pt x="2173" y="93"/>
                  </a:lnTo>
                  <a:lnTo>
                    <a:pt x="2173" y="95"/>
                  </a:lnTo>
                  <a:lnTo>
                    <a:pt x="2174" y="99"/>
                  </a:lnTo>
                  <a:lnTo>
                    <a:pt x="2174" y="102"/>
                  </a:lnTo>
                  <a:lnTo>
                    <a:pt x="2175" y="105"/>
                  </a:lnTo>
                  <a:lnTo>
                    <a:pt x="2176" y="106"/>
                  </a:lnTo>
                  <a:lnTo>
                    <a:pt x="2177" y="109"/>
                  </a:lnTo>
                  <a:lnTo>
                    <a:pt x="2178" y="110"/>
                  </a:lnTo>
                  <a:lnTo>
                    <a:pt x="2179" y="111"/>
                  </a:lnTo>
                  <a:lnTo>
                    <a:pt x="2180" y="112"/>
                  </a:lnTo>
                  <a:lnTo>
                    <a:pt x="2180" y="113"/>
                  </a:lnTo>
                  <a:lnTo>
                    <a:pt x="2183" y="115"/>
                  </a:lnTo>
                  <a:lnTo>
                    <a:pt x="2185" y="116"/>
                  </a:lnTo>
                  <a:lnTo>
                    <a:pt x="2187" y="117"/>
                  </a:lnTo>
                  <a:lnTo>
                    <a:pt x="2189" y="120"/>
                  </a:lnTo>
                  <a:lnTo>
                    <a:pt x="2190" y="122"/>
                  </a:lnTo>
                  <a:lnTo>
                    <a:pt x="2193" y="123"/>
                  </a:lnTo>
                  <a:lnTo>
                    <a:pt x="2194" y="124"/>
                  </a:lnTo>
                  <a:lnTo>
                    <a:pt x="2194" y="124"/>
                  </a:lnTo>
                  <a:lnTo>
                    <a:pt x="2194" y="125"/>
                  </a:lnTo>
                  <a:lnTo>
                    <a:pt x="2194" y="124"/>
                  </a:lnTo>
                  <a:lnTo>
                    <a:pt x="2194" y="124"/>
                  </a:lnTo>
                  <a:lnTo>
                    <a:pt x="2194" y="123"/>
                  </a:lnTo>
                  <a:lnTo>
                    <a:pt x="2193" y="122"/>
                  </a:lnTo>
                  <a:lnTo>
                    <a:pt x="2194" y="121"/>
                  </a:lnTo>
                  <a:lnTo>
                    <a:pt x="2194" y="120"/>
                  </a:lnTo>
                  <a:lnTo>
                    <a:pt x="2196" y="121"/>
                  </a:lnTo>
                  <a:lnTo>
                    <a:pt x="2196" y="122"/>
                  </a:lnTo>
                  <a:lnTo>
                    <a:pt x="2197" y="123"/>
                  </a:lnTo>
                  <a:lnTo>
                    <a:pt x="2198" y="124"/>
                  </a:lnTo>
                  <a:lnTo>
                    <a:pt x="2199" y="125"/>
                  </a:lnTo>
                  <a:lnTo>
                    <a:pt x="2199" y="126"/>
                  </a:lnTo>
                  <a:lnTo>
                    <a:pt x="2200" y="126"/>
                  </a:lnTo>
                  <a:lnTo>
                    <a:pt x="2200" y="126"/>
                  </a:lnTo>
                  <a:lnTo>
                    <a:pt x="2202" y="127"/>
                  </a:lnTo>
                  <a:lnTo>
                    <a:pt x="2205" y="128"/>
                  </a:lnTo>
                  <a:lnTo>
                    <a:pt x="2207" y="131"/>
                  </a:lnTo>
                  <a:lnTo>
                    <a:pt x="2209" y="131"/>
                  </a:lnTo>
                  <a:lnTo>
                    <a:pt x="2210" y="130"/>
                  </a:lnTo>
                  <a:lnTo>
                    <a:pt x="2212" y="130"/>
                  </a:lnTo>
                  <a:lnTo>
                    <a:pt x="2213" y="131"/>
                  </a:lnTo>
                  <a:lnTo>
                    <a:pt x="2213" y="132"/>
                  </a:lnTo>
                  <a:lnTo>
                    <a:pt x="2215" y="133"/>
                  </a:lnTo>
                  <a:lnTo>
                    <a:pt x="2216" y="134"/>
                  </a:lnTo>
                  <a:lnTo>
                    <a:pt x="2216" y="136"/>
                  </a:lnTo>
                  <a:lnTo>
                    <a:pt x="2216" y="137"/>
                  </a:lnTo>
                  <a:lnTo>
                    <a:pt x="2219" y="143"/>
                  </a:lnTo>
                  <a:lnTo>
                    <a:pt x="2221" y="147"/>
                  </a:lnTo>
                  <a:lnTo>
                    <a:pt x="2224" y="152"/>
                  </a:lnTo>
                  <a:lnTo>
                    <a:pt x="2227" y="155"/>
                  </a:lnTo>
                  <a:lnTo>
                    <a:pt x="2228" y="158"/>
                  </a:lnTo>
                  <a:lnTo>
                    <a:pt x="2229" y="160"/>
                  </a:lnTo>
                  <a:lnTo>
                    <a:pt x="2230" y="163"/>
                  </a:lnTo>
                  <a:lnTo>
                    <a:pt x="2231" y="166"/>
                  </a:lnTo>
                  <a:lnTo>
                    <a:pt x="2233" y="169"/>
                  </a:lnTo>
                  <a:lnTo>
                    <a:pt x="2235" y="172"/>
                  </a:lnTo>
                  <a:lnTo>
                    <a:pt x="2238" y="175"/>
                  </a:lnTo>
                  <a:lnTo>
                    <a:pt x="2243" y="183"/>
                  </a:lnTo>
                  <a:lnTo>
                    <a:pt x="2249" y="196"/>
                  </a:lnTo>
                  <a:lnTo>
                    <a:pt x="2252" y="208"/>
                  </a:lnTo>
                  <a:lnTo>
                    <a:pt x="2251" y="221"/>
                  </a:lnTo>
                  <a:lnTo>
                    <a:pt x="2251" y="223"/>
                  </a:lnTo>
                  <a:lnTo>
                    <a:pt x="2250" y="225"/>
                  </a:lnTo>
                  <a:lnTo>
                    <a:pt x="2249" y="227"/>
                  </a:lnTo>
                  <a:lnTo>
                    <a:pt x="2249" y="230"/>
                  </a:lnTo>
                  <a:lnTo>
                    <a:pt x="2248" y="231"/>
                  </a:lnTo>
                  <a:lnTo>
                    <a:pt x="2245" y="230"/>
                  </a:lnTo>
                  <a:lnTo>
                    <a:pt x="2244" y="230"/>
                  </a:lnTo>
                  <a:lnTo>
                    <a:pt x="2242" y="230"/>
                  </a:lnTo>
                  <a:lnTo>
                    <a:pt x="2241" y="230"/>
                  </a:lnTo>
                  <a:lnTo>
                    <a:pt x="2240" y="231"/>
                  </a:lnTo>
                  <a:lnTo>
                    <a:pt x="2240" y="232"/>
                  </a:lnTo>
                  <a:lnTo>
                    <a:pt x="2239" y="232"/>
                  </a:lnTo>
                  <a:lnTo>
                    <a:pt x="2238" y="232"/>
                  </a:lnTo>
                  <a:lnTo>
                    <a:pt x="2235" y="231"/>
                  </a:lnTo>
                  <a:lnTo>
                    <a:pt x="2233" y="230"/>
                  </a:lnTo>
                  <a:lnTo>
                    <a:pt x="2231" y="227"/>
                  </a:lnTo>
                  <a:lnTo>
                    <a:pt x="2228" y="225"/>
                  </a:lnTo>
                  <a:lnTo>
                    <a:pt x="2224" y="223"/>
                  </a:lnTo>
                  <a:lnTo>
                    <a:pt x="2222" y="221"/>
                  </a:lnTo>
                  <a:lnTo>
                    <a:pt x="2221" y="220"/>
                  </a:lnTo>
                  <a:lnTo>
                    <a:pt x="2219" y="218"/>
                  </a:lnTo>
                  <a:lnTo>
                    <a:pt x="2218" y="215"/>
                  </a:lnTo>
                  <a:lnTo>
                    <a:pt x="2216" y="212"/>
                  </a:lnTo>
                  <a:lnTo>
                    <a:pt x="2211" y="205"/>
                  </a:lnTo>
                  <a:lnTo>
                    <a:pt x="2207" y="201"/>
                  </a:lnTo>
                  <a:lnTo>
                    <a:pt x="2202" y="197"/>
                  </a:lnTo>
                  <a:lnTo>
                    <a:pt x="2201" y="196"/>
                  </a:lnTo>
                  <a:lnTo>
                    <a:pt x="2200" y="197"/>
                  </a:lnTo>
                  <a:lnTo>
                    <a:pt x="2200" y="197"/>
                  </a:lnTo>
                  <a:lnTo>
                    <a:pt x="2200" y="198"/>
                  </a:lnTo>
                  <a:lnTo>
                    <a:pt x="2200" y="200"/>
                  </a:lnTo>
                  <a:lnTo>
                    <a:pt x="2200" y="201"/>
                  </a:lnTo>
                  <a:lnTo>
                    <a:pt x="2202" y="203"/>
                  </a:lnTo>
                  <a:lnTo>
                    <a:pt x="2205" y="205"/>
                  </a:lnTo>
                  <a:lnTo>
                    <a:pt x="2205" y="208"/>
                  </a:lnTo>
                  <a:lnTo>
                    <a:pt x="2207" y="210"/>
                  </a:lnTo>
                  <a:lnTo>
                    <a:pt x="2207" y="212"/>
                  </a:lnTo>
                  <a:lnTo>
                    <a:pt x="2208" y="214"/>
                  </a:lnTo>
                  <a:lnTo>
                    <a:pt x="2209" y="216"/>
                  </a:lnTo>
                  <a:lnTo>
                    <a:pt x="2210" y="219"/>
                  </a:lnTo>
                  <a:lnTo>
                    <a:pt x="2211" y="220"/>
                  </a:lnTo>
                  <a:lnTo>
                    <a:pt x="2213" y="221"/>
                  </a:lnTo>
                  <a:lnTo>
                    <a:pt x="2216" y="225"/>
                  </a:lnTo>
                  <a:lnTo>
                    <a:pt x="2217" y="230"/>
                  </a:lnTo>
                  <a:lnTo>
                    <a:pt x="2218" y="234"/>
                  </a:lnTo>
                  <a:lnTo>
                    <a:pt x="2220" y="239"/>
                  </a:lnTo>
                  <a:lnTo>
                    <a:pt x="2220" y="243"/>
                  </a:lnTo>
                  <a:lnTo>
                    <a:pt x="2220" y="247"/>
                  </a:lnTo>
                  <a:lnTo>
                    <a:pt x="2223" y="263"/>
                  </a:lnTo>
                  <a:lnTo>
                    <a:pt x="2224" y="277"/>
                  </a:lnTo>
                  <a:lnTo>
                    <a:pt x="2226" y="279"/>
                  </a:lnTo>
                  <a:lnTo>
                    <a:pt x="2227" y="280"/>
                  </a:lnTo>
                  <a:lnTo>
                    <a:pt x="2228" y="281"/>
                  </a:lnTo>
                  <a:lnTo>
                    <a:pt x="2229" y="281"/>
                  </a:lnTo>
                  <a:lnTo>
                    <a:pt x="2229" y="281"/>
                  </a:lnTo>
                  <a:lnTo>
                    <a:pt x="2231" y="284"/>
                  </a:lnTo>
                  <a:lnTo>
                    <a:pt x="2233" y="286"/>
                  </a:lnTo>
                  <a:lnTo>
                    <a:pt x="2233" y="288"/>
                  </a:lnTo>
                  <a:lnTo>
                    <a:pt x="2235" y="291"/>
                  </a:lnTo>
                  <a:lnTo>
                    <a:pt x="2238" y="294"/>
                  </a:lnTo>
                  <a:lnTo>
                    <a:pt x="2239" y="296"/>
                  </a:lnTo>
                  <a:lnTo>
                    <a:pt x="2241" y="297"/>
                  </a:lnTo>
                  <a:lnTo>
                    <a:pt x="2242" y="298"/>
                  </a:lnTo>
                  <a:lnTo>
                    <a:pt x="2243" y="297"/>
                  </a:lnTo>
                  <a:lnTo>
                    <a:pt x="2244" y="295"/>
                  </a:lnTo>
                  <a:lnTo>
                    <a:pt x="2244" y="292"/>
                  </a:lnTo>
                  <a:lnTo>
                    <a:pt x="2244" y="288"/>
                  </a:lnTo>
                  <a:lnTo>
                    <a:pt x="2242" y="284"/>
                  </a:lnTo>
                  <a:lnTo>
                    <a:pt x="2242" y="283"/>
                  </a:lnTo>
                  <a:lnTo>
                    <a:pt x="2241" y="281"/>
                  </a:lnTo>
                  <a:lnTo>
                    <a:pt x="2240" y="281"/>
                  </a:lnTo>
                  <a:lnTo>
                    <a:pt x="2239" y="280"/>
                  </a:lnTo>
                  <a:lnTo>
                    <a:pt x="2238" y="279"/>
                  </a:lnTo>
                  <a:lnTo>
                    <a:pt x="2237" y="279"/>
                  </a:lnTo>
                  <a:lnTo>
                    <a:pt x="2237" y="278"/>
                  </a:lnTo>
                  <a:lnTo>
                    <a:pt x="2235" y="276"/>
                  </a:lnTo>
                  <a:lnTo>
                    <a:pt x="2234" y="274"/>
                  </a:lnTo>
                  <a:lnTo>
                    <a:pt x="2233" y="272"/>
                  </a:lnTo>
                  <a:lnTo>
                    <a:pt x="2233" y="269"/>
                  </a:lnTo>
                  <a:lnTo>
                    <a:pt x="2232" y="267"/>
                  </a:lnTo>
                  <a:lnTo>
                    <a:pt x="2231" y="265"/>
                  </a:lnTo>
                  <a:lnTo>
                    <a:pt x="2231" y="263"/>
                  </a:lnTo>
                  <a:lnTo>
                    <a:pt x="2232" y="259"/>
                  </a:lnTo>
                  <a:lnTo>
                    <a:pt x="2233" y="258"/>
                  </a:lnTo>
                  <a:lnTo>
                    <a:pt x="2234" y="257"/>
                  </a:lnTo>
                  <a:lnTo>
                    <a:pt x="2237" y="258"/>
                  </a:lnTo>
                  <a:lnTo>
                    <a:pt x="2239" y="259"/>
                  </a:lnTo>
                  <a:lnTo>
                    <a:pt x="2240" y="263"/>
                  </a:lnTo>
                  <a:lnTo>
                    <a:pt x="2241" y="267"/>
                  </a:lnTo>
                  <a:lnTo>
                    <a:pt x="2242" y="270"/>
                  </a:lnTo>
                  <a:lnTo>
                    <a:pt x="2243" y="272"/>
                  </a:lnTo>
                  <a:lnTo>
                    <a:pt x="2245" y="274"/>
                  </a:lnTo>
                  <a:lnTo>
                    <a:pt x="2246" y="275"/>
                  </a:lnTo>
                  <a:lnTo>
                    <a:pt x="2249" y="275"/>
                  </a:lnTo>
                  <a:lnTo>
                    <a:pt x="2250" y="276"/>
                  </a:lnTo>
                  <a:lnTo>
                    <a:pt x="2251" y="276"/>
                  </a:lnTo>
                  <a:lnTo>
                    <a:pt x="2253" y="277"/>
                  </a:lnTo>
                  <a:lnTo>
                    <a:pt x="2254" y="278"/>
                  </a:lnTo>
                  <a:lnTo>
                    <a:pt x="2255" y="279"/>
                  </a:lnTo>
                  <a:lnTo>
                    <a:pt x="2256" y="280"/>
                  </a:lnTo>
                  <a:lnTo>
                    <a:pt x="2257" y="281"/>
                  </a:lnTo>
                  <a:lnTo>
                    <a:pt x="2257" y="280"/>
                  </a:lnTo>
                  <a:lnTo>
                    <a:pt x="2257" y="279"/>
                  </a:lnTo>
                  <a:lnTo>
                    <a:pt x="2255" y="274"/>
                  </a:lnTo>
                  <a:lnTo>
                    <a:pt x="2254" y="269"/>
                  </a:lnTo>
                  <a:lnTo>
                    <a:pt x="2253" y="265"/>
                  </a:lnTo>
                  <a:lnTo>
                    <a:pt x="2252" y="261"/>
                  </a:lnTo>
                  <a:lnTo>
                    <a:pt x="2250" y="256"/>
                  </a:lnTo>
                  <a:lnTo>
                    <a:pt x="2249" y="253"/>
                  </a:lnTo>
                  <a:lnTo>
                    <a:pt x="2249" y="250"/>
                  </a:lnTo>
                  <a:lnTo>
                    <a:pt x="2249" y="247"/>
                  </a:lnTo>
                  <a:lnTo>
                    <a:pt x="2249" y="245"/>
                  </a:lnTo>
                  <a:lnTo>
                    <a:pt x="2250" y="245"/>
                  </a:lnTo>
                  <a:lnTo>
                    <a:pt x="2252" y="244"/>
                  </a:lnTo>
                  <a:lnTo>
                    <a:pt x="2253" y="243"/>
                  </a:lnTo>
                  <a:lnTo>
                    <a:pt x="2253" y="241"/>
                  </a:lnTo>
                  <a:lnTo>
                    <a:pt x="2254" y="239"/>
                  </a:lnTo>
                  <a:lnTo>
                    <a:pt x="2255" y="235"/>
                  </a:lnTo>
                  <a:lnTo>
                    <a:pt x="2255" y="234"/>
                  </a:lnTo>
                  <a:lnTo>
                    <a:pt x="2256" y="232"/>
                  </a:lnTo>
                  <a:lnTo>
                    <a:pt x="2257" y="229"/>
                  </a:lnTo>
                  <a:lnTo>
                    <a:pt x="2257" y="225"/>
                  </a:lnTo>
                  <a:lnTo>
                    <a:pt x="2257" y="224"/>
                  </a:lnTo>
                  <a:lnTo>
                    <a:pt x="2257" y="223"/>
                  </a:lnTo>
                  <a:lnTo>
                    <a:pt x="2257" y="222"/>
                  </a:lnTo>
                  <a:lnTo>
                    <a:pt x="2259" y="222"/>
                  </a:lnTo>
                  <a:lnTo>
                    <a:pt x="2260" y="223"/>
                  </a:lnTo>
                  <a:lnTo>
                    <a:pt x="2260" y="225"/>
                  </a:lnTo>
                  <a:lnTo>
                    <a:pt x="2261" y="227"/>
                  </a:lnTo>
                  <a:lnTo>
                    <a:pt x="2263" y="230"/>
                  </a:lnTo>
                  <a:lnTo>
                    <a:pt x="2264" y="232"/>
                  </a:lnTo>
                  <a:lnTo>
                    <a:pt x="2264" y="233"/>
                  </a:lnTo>
                  <a:lnTo>
                    <a:pt x="2265" y="234"/>
                  </a:lnTo>
                  <a:lnTo>
                    <a:pt x="2267" y="234"/>
                  </a:lnTo>
                  <a:lnTo>
                    <a:pt x="2268" y="236"/>
                  </a:lnTo>
                  <a:lnTo>
                    <a:pt x="2268" y="237"/>
                  </a:lnTo>
                  <a:lnTo>
                    <a:pt x="2270" y="237"/>
                  </a:lnTo>
                  <a:lnTo>
                    <a:pt x="2271" y="237"/>
                  </a:lnTo>
                  <a:lnTo>
                    <a:pt x="2271" y="236"/>
                  </a:lnTo>
                  <a:lnTo>
                    <a:pt x="2271" y="225"/>
                  </a:lnTo>
                  <a:lnTo>
                    <a:pt x="2271" y="221"/>
                  </a:lnTo>
                  <a:lnTo>
                    <a:pt x="2270" y="218"/>
                  </a:lnTo>
                  <a:lnTo>
                    <a:pt x="2267" y="213"/>
                  </a:lnTo>
                  <a:lnTo>
                    <a:pt x="2266" y="210"/>
                  </a:lnTo>
                  <a:lnTo>
                    <a:pt x="2266" y="208"/>
                  </a:lnTo>
                  <a:lnTo>
                    <a:pt x="2265" y="203"/>
                  </a:lnTo>
                  <a:lnTo>
                    <a:pt x="2264" y="199"/>
                  </a:lnTo>
                  <a:lnTo>
                    <a:pt x="2264" y="194"/>
                  </a:lnTo>
                  <a:lnTo>
                    <a:pt x="2264" y="188"/>
                  </a:lnTo>
                  <a:lnTo>
                    <a:pt x="2263" y="183"/>
                  </a:lnTo>
                  <a:lnTo>
                    <a:pt x="2262" y="179"/>
                  </a:lnTo>
                  <a:lnTo>
                    <a:pt x="2262" y="176"/>
                  </a:lnTo>
                  <a:lnTo>
                    <a:pt x="2262" y="174"/>
                  </a:lnTo>
                  <a:lnTo>
                    <a:pt x="2261" y="171"/>
                  </a:lnTo>
                  <a:lnTo>
                    <a:pt x="2260" y="168"/>
                  </a:lnTo>
                  <a:lnTo>
                    <a:pt x="2257" y="164"/>
                  </a:lnTo>
                  <a:lnTo>
                    <a:pt x="2260" y="166"/>
                  </a:lnTo>
                  <a:lnTo>
                    <a:pt x="2262" y="168"/>
                  </a:lnTo>
                  <a:lnTo>
                    <a:pt x="2264" y="169"/>
                  </a:lnTo>
                  <a:lnTo>
                    <a:pt x="2266" y="170"/>
                  </a:lnTo>
                  <a:lnTo>
                    <a:pt x="2267" y="171"/>
                  </a:lnTo>
                  <a:lnTo>
                    <a:pt x="2270" y="172"/>
                  </a:lnTo>
                  <a:lnTo>
                    <a:pt x="2271" y="174"/>
                  </a:lnTo>
                  <a:lnTo>
                    <a:pt x="2271" y="175"/>
                  </a:lnTo>
                  <a:lnTo>
                    <a:pt x="2273" y="179"/>
                  </a:lnTo>
                  <a:lnTo>
                    <a:pt x="2274" y="183"/>
                  </a:lnTo>
                  <a:lnTo>
                    <a:pt x="2275" y="188"/>
                  </a:lnTo>
                  <a:lnTo>
                    <a:pt x="2275" y="191"/>
                  </a:lnTo>
                  <a:lnTo>
                    <a:pt x="2275" y="192"/>
                  </a:lnTo>
                  <a:lnTo>
                    <a:pt x="2275" y="194"/>
                  </a:lnTo>
                  <a:lnTo>
                    <a:pt x="2274" y="194"/>
                  </a:lnTo>
                  <a:lnTo>
                    <a:pt x="2273" y="194"/>
                  </a:lnTo>
                  <a:lnTo>
                    <a:pt x="2273" y="196"/>
                  </a:lnTo>
                  <a:lnTo>
                    <a:pt x="2272" y="196"/>
                  </a:lnTo>
                  <a:lnTo>
                    <a:pt x="2271" y="197"/>
                  </a:lnTo>
                  <a:lnTo>
                    <a:pt x="2271" y="199"/>
                  </a:lnTo>
                  <a:lnTo>
                    <a:pt x="2272" y="205"/>
                  </a:lnTo>
                  <a:lnTo>
                    <a:pt x="2275" y="213"/>
                  </a:lnTo>
                  <a:lnTo>
                    <a:pt x="2277" y="219"/>
                  </a:lnTo>
                  <a:lnTo>
                    <a:pt x="2278" y="221"/>
                  </a:lnTo>
                  <a:lnTo>
                    <a:pt x="2279" y="223"/>
                  </a:lnTo>
                  <a:lnTo>
                    <a:pt x="2281" y="223"/>
                  </a:lnTo>
                  <a:lnTo>
                    <a:pt x="2283" y="223"/>
                  </a:lnTo>
                  <a:lnTo>
                    <a:pt x="2284" y="222"/>
                  </a:lnTo>
                  <a:lnTo>
                    <a:pt x="2285" y="220"/>
                  </a:lnTo>
                  <a:lnTo>
                    <a:pt x="2286" y="219"/>
                  </a:lnTo>
                  <a:lnTo>
                    <a:pt x="2287" y="215"/>
                  </a:lnTo>
                  <a:lnTo>
                    <a:pt x="2286" y="212"/>
                  </a:lnTo>
                  <a:lnTo>
                    <a:pt x="2286" y="209"/>
                  </a:lnTo>
                  <a:lnTo>
                    <a:pt x="2285" y="204"/>
                  </a:lnTo>
                  <a:lnTo>
                    <a:pt x="2286" y="201"/>
                  </a:lnTo>
                  <a:lnTo>
                    <a:pt x="2286" y="199"/>
                  </a:lnTo>
                  <a:lnTo>
                    <a:pt x="2287" y="197"/>
                  </a:lnTo>
                  <a:lnTo>
                    <a:pt x="2289" y="194"/>
                  </a:lnTo>
                  <a:lnTo>
                    <a:pt x="2292" y="193"/>
                  </a:lnTo>
                  <a:lnTo>
                    <a:pt x="2293" y="192"/>
                  </a:lnTo>
                  <a:lnTo>
                    <a:pt x="2294" y="189"/>
                  </a:lnTo>
                  <a:lnTo>
                    <a:pt x="2296" y="186"/>
                  </a:lnTo>
                  <a:lnTo>
                    <a:pt x="2298" y="185"/>
                  </a:lnTo>
                  <a:lnTo>
                    <a:pt x="2299" y="182"/>
                  </a:lnTo>
                  <a:lnTo>
                    <a:pt x="2302" y="181"/>
                  </a:lnTo>
                  <a:lnTo>
                    <a:pt x="2303" y="180"/>
                  </a:lnTo>
                  <a:lnTo>
                    <a:pt x="2305" y="179"/>
                  </a:lnTo>
                  <a:lnTo>
                    <a:pt x="2305" y="177"/>
                  </a:lnTo>
                  <a:lnTo>
                    <a:pt x="2306" y="175"/>
                  </a:lnTo>
                  <a:lnTo>
                    <a:pt x="2307" y="172"/>
                  </a:lnTo>
                  <a:lnTo>
                    <a:pt x="2308" y="170"/>
                  </a:lnTo>
                  <a:lnTo>
                    <a:pt x="2310" y="168"/>
                  </a:lnTo>
                  <a:lnTo>
                    <a:pt x="2311" y="169"/>
                  </a:lnTo>
                  <a:lnTo>
                    <a:pt x="2311" y="170"/>
                  </a:lnTo>
                  <a:lnTo>
                    <a:pt x="2313" y="172"/>
                  </a:lnTo>
                  <a:lnTo>
                    <a:pt x="2313" y="175"/>
                  </a:lnTo>
                  <a:lnTo>
                    <a:pt x="2313" y="177"/>
                  </a:lnTo>
                  <a:lnTo>
                    <a:pt x="2313" y="179"/>
                  </a:lnTo>
                  <a:lnTo>
                    <a:pt x="2313" y="181"/>
                  </a:lnTo>
                  <a:lnTo>
                    <a:pt x="2313" y="183"/>
                  </a:lnTo>
                  <a:lnTo>
                    <a:pt x="2314" y="186"/>
                  </a:lnTo>
                  <a:lnTo>
                    <a:pt x="2315" y="188"/>
                  </a:lnTo>
                  <a:lnTo>
                    <a:pt x="2315" y="189"/>
                  </a:lnTo>
                  <a:lnTo>
                    <a:pt x="2316" y="190"/>
                  </a:lnTo>
                  <a:lnTo>
                    <a:pt x="2317" y="191"/>
                  </a:lnTo>
                  <a:lnTo>
                    <a:pt x="2319" y="190"/>
                  </a:lnTo>
                  <a:lnTo>
                    <a:pt x="2319" y="183"/>
                  </a:lnTo>
                  <a:lnTo>
                    <a:pt x="2320" y="182"/>
                  </a:lnTo>
                  <a:lnTo>
                    <a:pt x="2321" y="182"/>
                  </a:lnTo>
                  <a:lnTo>
                    <a:pt x="2321" y="180"/>
                  </a:lnTo>
                  <a:lnTo>
                    <a:pt x="2321" y="179"/>
                  </a:lnTo>
                  <a:lnTo>
                    <a:pt x="2322" y="178"/>
                  </a:lnTo>
                  <a:lnTo>
                    <a:pt x="2324" y="179"/>
                  </a:lnTo>
                  <a:lnTo>
                    <a:pt x="2325" y="180"/>
                  </a:lnTo>
                  <a:lnTo>
                    <a:pt x="2327" y="181"/>
                  </a:lnTo>
                  <a:lnTo>
                    <a:pt x="2328" y="183"/>
                  </a:lnTo>
                  <a:lnTo>
                    <a:pt x="2328" y="183"/>
                  </a:lnTo>
                  <a:lnTo>
                    <a:pt x="2329" y="183"/>
                  </a:lnTo>
                  <a:lnTo>
                    <a:pt x="2329" y="182"/>
                  </a:lnTo>
                  <a:lnTo>
                    <a:pt x="2330" y="181"/>
                  </a:lnTo>
                  <a:lnTo>
                    <a:pt x="2331" y="180"/>
                  </a:lnTo>
                  <a:lnTo>
                    <a:pt x="2331" y="179"/>
                  </a:lnTo>
                  <a:lnTo>
                    <a:pt x="2332" y="177"/>
                  </a:lnTo>
                  <a:lnTo>
                    <a:pt x="2333" y="175"/>
                  </a:lnTo>
                  <a:lnTo>
                    <a:pt x="2335" y="172"/>
                  </a:lnTo>
                  <a:lnTo>
                    <a:pt x="2335" y="171"/>
                  </a:lnTo>
                  <a:lnTo>
                    <a:pt x="2336" y="171"/>
                  </a:lnTo>
                  <a:lnTo>
                    <a:pt x="2337" y="172"/>
                  </a:lnTo>
                  <a:lnTo>
                    <a:pt x="2338" y="176"/>
                  </a:lnTo>
                  <a:lnTo>
                    <a:pt x="2338" y="179"/>
                  </a:lnTo>
                  <a:lnTo>
                    <a:pt x="2338" y="182"/>
                  </a:lnTo>
                  <a:lnTo>
                    <a:pt x="2338" y="186"/>
                  </a:lnTo>
                  <a:lnTo>
                    <a:pt x="2339" y="190"/>
                  </a:lnTo>
                  <a:lnTo>
                    <a:pt x="2340" y="192"/>
                  </a:lnTo>
                  <a:lnTo>
                    <a:pt x="2341" y="193"/>
                  </a:lnTo>
                  <a:lnTo>
                    <a:pt x="2342" y="193"/>
                  </a:lnTo>
                  <a:lnTo>
                    <a:pt x="2342" y="192"/>
                  </a:lnTo>
                  <a:lnTo>
                    <a:pt x="2343" y="190"/>
                  </a:lnTo>
                  <a:lnTo>
                    <a:pt x="2343" y="188"/>
                  </a:lnTo>
                  <a:lnTo>
                    <a:pt x="2343" y="186"/>
                  </a:lnTo>
                  <a:lnTo>
                    <a:pt x="2343" y="183"/>
                  </a:lnTo>
                  <a:lnTo>
                    <a:pt x="2343" y="182"/>
                  </a:lnTo>
                  <a:lnTo>
                    <a:pt x="2344" y="181"/>
                  </a:lnTo>
                  <a:lnTo>
                    <a:pt x="2344" y="181"/>
                  </a:lnTo>
                  <a:lnTo>
                    <a:pt x="2346" y="180"/>
                  </a:lnTo>
                  <a:lnTo>
                    <a:pt x="2346" y="179"/>
                  </a:lnTo>
                  <a:lnTo>
                    <a:pt x="2346" y="177"/>
                  </a:lnTo>
                  <a:lnTo>
                    <a:pt x="2346" y="175"/>
                  </a:lnTo>
                  <a:lnTo>
                    <a:pt x="2344" y="171"/>
                  </a:lnTo>
                  <a:lnTo>
                    <a:pt x="2343" y="168"/>
                  </a:lnTo>
                  <a:lnTo>
                    <a:pt x="2342" y="166"/>
                  </a:lnTo>
                  <a:lnTo>
                    <a:pt x="2341" y="163"/>
                  </a:lnTo>
                  <a:lnTo>
                    <a:pt x="2341" y="159"/>
                  </a:lnTo>
                  <a:lnTo>
                    <a:pt x="2340" y="157"/>
                  </a:lnTo>
                  <a:lnTo>
                    <a:pt x="2340" y="156"/>
                  </a:lnTo>
                  <a:lnTo>
                    <a:pt x="2339" y="155"/>
                  </a:lnTo>
                  <a:lnTo>
                    <a:pt x="2338" y="154"/>
                  </a:lnTo>
                  <a:lnTo>
                    <a:pt x="2337" y="153"/>
                  </a:lnTo>
                  <a:lnTo>
                    <a:pt x="2337" y="153"/>
                  </a:lnTo>
                  <a:lnTo>
                    <a:pt x="2336" y="150"/>
                  </a:lnTo>
                  <a:lnTo>
                    <a:pt x="2335" y="149"/>
                  </a:lnTo>
                  <a:lnTo>
                    <a:pt x="2333" y="147"/>
                  </a:lnTo>
                  <a:lnTo>
                    <a:pt x="2332" y="146"/>
                  </a:lnTo>
                  <a:lnTo>
                    <a:pt x="2332" y="144"/>
                  </a:lnTo>
                  <a:lnTo>
                    <a:pt x="2331" y="142"/>
                  </a:lnTo>
                  <a:lnTo>
                    <a:pt x="2330" y="138"/>
                  </a:lnTo>
                  <a:lnTo>
                    <a:pt x="2330" y="136"/>
                  </a:lnTo>
                  <a:lnTo>
                    <a:pt x="2330" y="133"/>
                  </a:lnTo>
                  <a:lnTo>
                    <a:pt x="2329" y="132"/>
                  </a:lnTo>
                  <a:lnTo>
                    <a:pt x="2330" y="132"/>
                  </a:lnTo>
                  <a:lnTo>
                    <a:pt x="2330" y="132"/>
                  </a:lnTo>
                  <a:lnTo>
                    <a:pt x="2331" y="133"/>
                  </a:lnTo>
                  <a:lnTo>
                    <a:pt x="2332" y="135"/>
                  </a:lnTo>
                  <a:lnTo>
                    <a:pt x="2333" y="137"/>
                  </a:lnTo>
                  <a:lnTo>
                    <a:pt x="2335" y="138"/>
                  </a:lnTo>
                  <a:lnTo>
                    <a:pt x="2336" y="141"/>
                  </a:lnTo>
                  <a:lnTo>
                    <a:pt x="2337" y="142"/>
                  </a:lnTo>
                  <a:lnTo>
                    <a:pt x="2337" y="142"/>
                  </a:lnTo>
                  <a:lnTo>
                    <a:pt x="2337" y="144"/>
                  </a:lnTo>
                  <a:lnTo>
                    <a:pt x="2338" y="146"/>
                  </a:lnTo>
                  <a:lnTo>
                    <a:pt x="2339" y="148"/>
                  </a:lnTo>
                  <a:lnTo>
                    <a:pt x="2341" y="150"/>
                  </a:lnTo>
                  <a:lnTo>
                    <a:pt x="2341" y="152"/>
                  </a:lnTo>
                  <a:lnTo>
                    <a:pt x="2341" y="154"/>
                  </a:lnTo>
                  <a:lnTo>
                    <a:pt x="2342" y="155"/>
                  </a:lnTo>
                  <a:lnTo>
                    <a:pt x="2343" y="155"/>
                  </a:lnTo>
                  <a:lnTo>
                    <a:pt x="2346" y="155"/>
                  </a:lnTo>
                  <a:lnTo>
                    <a:pt x="2348" y="156"/>
                  </a:lnTo>
                  <a:lnTo>
                    <a:pt x="2351" y="157"/>
                  </a:lnTo>
                  <a:lnTo>
                    <a:pt x="2354" y="159"/>
                  </a:lnTo>
                  <a:lnTo>
                    <a:pt x="2359" y="164"/>
                  </a:lnTo>
                  <a:lnTo>
                    <a:pt x="2363" y="169"/>
                  </a:lnTo>
                  <a:lnTo>
                    <a:pt x="2368" y="175"/>
                  </a:lnTo>
                  <a:lnTo>
                    <a:pt x="2374" y="187"/>
                  </a:lnTo>
                  <a:lnTo>
                    <a:pt x="2381" y="197"/>
                  </a:lnTo>
                  <a:lnTo>
                    <a:pt x="2381" y="198"/>
                  </a:lnTo>
                  <a:lnTo>
                    <a:pt x="2382" y="200"/>
                  </a:lnTo>
                  <a:lnTo>
                    <a:pt x="2383" y="201"/>
                  </a:lnTo>
                  <a:lnTo>
                    <a:pt x="2384" y="202"/>
                  </a:lnTo>
                  <a:lnTo>
                    <a:pt x="2385" y="203"/>
                  </a:lnTo>
                  <a:lnTo>
                    <a:pt x="2386" y="203"/>
                  </a:lnTo>
                  <a:lnTo>
                    <a:pt x="2387" y="201"/>
                  </a:lnTo>
                  <a:lnTo>
                    <a:pt x="2387" y="197"/>
                  </a:lnTo>
                  <a:lnTo>
                    <a:pt x="2386" y="194"/>
                  </a:lnTo>
                  <a:lnTo>
                    <a:pt x="2386" y="191"/>
                  </a:lnTo>
                  <a:lnTo>
                    <a:pt x="2385" y="189"/>
                  </a:lnTo>
                  <a:lnTo>
                    <a:pt x="2383" y="188"/>
                  </a:lnTo>
                  <a:lnTo>
                    <a:pt x="2381" y="183"/>
                  </a:lnTo>
                  <a:lnTo>
                    <a:pt x="2380" y="179"/>
                  </a:lnTo>
                  <a:lnTo>
                    <a:pt x="2379" y="175"/>
                  </a:lnTo>
                  <a:lnTo>
                    <a:pt x="2377" y="171"/>
                  </a:lnTo>
                  <a:lnTo>
                    <a:pt x="2377" y="169"/>
                  </a:lnTo>
                  <a:lnTo>
                    <a:pt x="2376" y="168"/>
                  </a:lnTo>
                  <a:lnTo>
                    <a:pt x="2375" y="167"/>
                  </a:lnTo>
                  <a:lnTo>
                    <a:pt x="2374" y="167"/>
                  </a:lnTo>
                  <a:lnTo>
                    <a:pt x="2373" y="167"/>
                  </a:lnTo>
                  <a:lnTo>
                    <a:pt x="2372" y="166"/>
                  </a:lnTo>
                  <a:lnTo>
                    <a:pt x="2371" y="163"/>
                  </a:lnTo>
                  <a:lnTo>
                    <a:pt x="2370" y="160"/>
                  </a:lnTo>
                  <a:lnTo>
                    <a:pt x="2370" y="157"/>
                  </a:lnTo>
                  <a:lnTo>
                    <a:pt x="2370" y="156"/>
                  </a:lnTo>
                  <a:lnTo>
                    <a:pt x="2370" y="155"/>
                  </a:lnTo>
                  <a:lnTo>
                    <a:pt x="2371" y="154"/>
                  </a:lnTo>
                  <a:lnTo>
                    <a:pt x="2372" y="152"/>
                  </a:lnTo>
                  <a:lnTo>
                    <a:pt x="2372" y="150"/>
                  </a:lnTo>
                  <a:lnTo>
                    <a:pt x="2372" y="148"/>
                  </a:lnTo>
                  <a:lnTo>
                    <a:pt x="2372" y="146"/>
                  </a:lnTo>
                  <a:lnTo>
                    <a:pt x="2372" y="135"/>
                  </a:lnTo>
                  <a:lnTo>
                    <a:pt x="2371" y="133"/>
                  </a:lnTo>
                  <a:lnTo>
                    <a:pt x="2370" y="131"/>
                  </a:lnTo>
                  <a:lnTo>
                    <a:pt x="2369" y="128"/>
                  </a:lnTo>
                  <a:lnTo>
                    <a:pt x="2368" y="127"/>
                  </a:lnTo>
                  <a:lnTo>
                    <a:pt x="2366" y="127"/>
                  </a:lnTo>
                  <a:lnTo>
                    <a:pt x="2365" y="128"/>
                  </a:lnTo>
                  <a:lnTo>
                    <a:pt x="2365" y="117"/>
                  </a:lnTo>
                  <a:lnTo>
                    <a:pt x="2364" y="116"/>
                  </a:lnTo>
                  <a:lnTo>
                    <a:pt x="2364" y="114"/>
                  </a:lnTo>
                  <a:lnTo>
                    <a:pt x="2364" y="113"/>
                  </a:lnTo>
                  <a:lnTo>
                    <a:pt x="2364" y="112"/>
                  </a:lnTo>
                  <a:lnTo>
                    <a:pt x="2365" y="111"/>
                  </a:lnTo>
                  <a:lnTo>
                    <a:pt x="2366" y="111"/>
                  </a:lnTo>
                  <a:lnTo>
                    <a:pt x="2366" y="112"/>
                  </a:lnTo>
                  <a:lnTo>
                    <a:pt x="2368" y="112"/>
                  </a:lnTo>
                  <a:lnTo>
                    <a:pt x="2368" y="111"/>
                  </a:lnTo>
                  <a:lnTo>
                    <a:pt x="2369" y="109"/>
                  </a:lnTo>
                  <a:lnTo>
                    <a:pt x="2369" y="105"/>
                  </a:lnTo>
                  <a:lnTo>
                    <a:pt x="2370" y="104"/>
                  </a:lnTo>
                  <a:lnTo>
                    <a:pt x="2370" y="102"/>
                  </a:lnTo>
                  <a:lnTo>
                    <a:pt x="2370" y="93"/>
                  </a:lnTo>
                  <a:lnTo>
                    <a:pt x="2369" y="91"/>
                  </a:lnTo>
                  <a:lnTo>
                    <a:pt x="2369" y="89"/>
                  </a:lnTo>
                  <a:lnTo>
                    <a:pt x="2369" y="87"/>
                  </a:lnTo>
                  <a:lnTo>
                    <a:pt x="2369" y="84"/>
                  </a:lnTo>
                  <a:lnTo>
                    <a:pt x="2370" y="82"/>
                  </a:lnTo>
                  <a:lnTo>
                    <a:pt x="2370" y="69"/>
                  </a:lnTo>
                  <a:lnTo>
                    <a:pt x="2370" y="67"/>
                  </a:lnTo>
                  <a:lnTo>
                    <a:pt x="2370" y="65"/>
                  </a:lnTo>
                  <a:lnTo>
                    <a:pt x="2371" y="65"/>
                  </a:lnTo>
                  <a:lnTo>
                    <a:pt x="2371" y="65"/>
                  </a:lnTo>
                  <a:lnTo>
                    <a:pt x="2372" y="65"/>
                  </a:lnTo>
                  <a:lnTo>
                    <a:pt x="2373" y="66"/>
                  </a:lnTo>
                  <a:lnTo>
                    <a:pt x="2374" y="67"/>
                  </a:lnTo>
                  <a:lnTo>
                    <a:pt x="2375" y="68"/>
                  </a:lnTo>
                  <a:lnTo>
                    <a:pt x="2375" y="68"/>
                  </a:lnTo>
                  <a:lnTo>
                    <a:pt x="2376" y="68"/>
                  </a:lnTo>
                  <a:lnTo>
                    <a:pt x="2377" y="68"/>
                  </a:lnTo>
                  <a:lnTo>
                    <a:pt x="2379" y="67"/>
                  </a:lnTo>
                  <a:lnTo>
                    <a:pt x="2380" y="69"/>
                  </a:lnTo>
                  <a:lnTo>
                    <a:pt x="2381" y="70"/>
                  </a:lnTo>
                  <a:lnTo>
                    <a:pt x="2382" y="71"/>
                  </a:lnTo>
                  <a:lnTo>
                    <a:pt x="2383" y="71"/>
                  </a:lnTo>
                  <a:lnTo>
                    <a:pt x="2386" y="81"/>
                  </a:lnTo>
                  <a:lnTo>
                    <a:pt x="2390" y="91"/>
                  </a:lnTo>
                  <a:lnTo>
                    <a:pt x="2390" y="113"/>
                  </a:lnTo>
                  <a:lnTo>
                    <a:pt x="2388" y="116"/>
                  </a:lnTo>
                  <a:lnTo>
                    <a:pt x="2390" y="120"/>
                  </a:lnTo>
                  <a:lnTo>
                    <a:pt x="2391" y="122"/>
                  </a:lnTo>
                  <a:lnTo>
                    <a:pt x="2392" y="125"/>
                  </a:lnTo>
                  <a:lnTo>
                    <a:pt x="2393" y="127"/>
                  </a:lnTo>
                  <a:lnTo>
                    <a:pt x="2394" y="131"/>
                  </a:lnTo>
                  <a:lnTo>
                    <a:pt x="2395" y="133"/>
                  </a:lnTo>
                  <a:lnTo>
                    <a:pt x="2396" y="135"/>
                  </a:lnTo>
                  <a:lnTo>
                    <a:pt x="2397" y="137"/>
                  </a:lnTo>
                  <a:lnTo>
                    <a:pt x="2397" y="139"/>
                  </a:lnTo>
                  <a:lnTo>
                    <a:pt x="2397" y="142"/>
                  </a:lnTo>
                  <a:lnTo>
                    <a:pt x="2397" y="144"/>
                  </a:lnTo>
                  <a:lnTo>
                    <a:pt x="2397" y="146"/>
                  </a:lnTo>
                  <a:lnTo>
                    <a:pt x="2397" y="148"/>
                  </a:lnTo>
                  <a:lnTo>
                    <a:pt x="2397" y="150"/>
                  </a:lnTo>
                  <a:lnTo>
                    <a:pt x="2397" y="153"/>
                  </a:lnTo>
                  <a:lnTo>
                    <a:pt x="2399" y="166"/>
                  </a:lnTo>
                  <a:lnTo>
                    <a:pt x="2401" y="179"/>
                  </a:lnTo>
                  <a:lnTo>
                    <a:pt x="2402" y="189"/>
                  </a:lnTo>
                  <a:lnTo>
                    <a:pt x="2404" y="201"/>
                  </a:lnTo>
                  <a:lnTo>
                    <a:pt x="2405" y="203"/>
                  </a:lnTo>
                  <a:lnTo>
                    <a:pt x="2405" y="205"/>
                  </a:lnTo>
                  <a:lnTo>
                    <a:pt x="2406" y="209"/>
                  </a:lnTo>
                  <a:lnTo>
                    <a:pt x="2406" y="212"/>
                  </a:lnTo>
                  <a:lnTo>
                    <a:pt x="2408" y="215"/>
                  </a:lnTo>
                  <a:lnTo>
                    <a:pt x="2408" y="218"/>
                  </a:lnTo>
                  <a:lnTo>
                    <a:pt x="2408" y="221"/>
                  </a:lnTo>
                  <a:lnTo>
                    <a:pt x="2406" y="223"/>
                  </a:lnTo>
                  <a:lnTo>
                    <a:pt x="2407" y="226"/>
                  </a:lnTo>
                  <a:lnTo>
                    <a:pt x="2407" y="229"/>
                  </a:lnTo>
                  <a:lnTo>
                    <a:pt x="2408" y="232"/>
                  </a:lnTo>
                  <a:lnTo>
                    <a:pt x="2408" y="234"/>
                  </a:lnTo>
                  <a:lnTo>
                    <a:pt x="2408" y="236"/>
                  </a:lnTo>
                  <a:lnTo>
                    <a:pt x="2407" y="239"/>
                  </a:lnTo>
                  <a:lnTo>
                    <a:pt x="2406" y="241"/>
                  </a:lnTo>
                  <a:lnTo>
                    <a:pt x="2406" y="243"/>
                  </a:lnTo>
                  <a:lnTo>
                    <a:pt x="2405" y="246"/>
                  </a:lnTo>
                  <a:lnTo>
                    <a:pt x="2403" y="248"/>
                  </a:lnTo>
                  <a:lnTo>
                    <a:pt x="2402" y="251"/>
                  </a:lnTo>
                  <a:lnTo>
                    <a:pt x="2401" y="252"/>
                  </a:lnTo>
                  <a:lnTo>
                    <a:pt x="2399" y="252"/>
                  </a:lnTo>
                  <a:lnTo>
                    <a:pt x="2398" y="254"/>
                  </a:lnTo>
                  <a:lnTo>
                    <a:pt x="2398" y="256"/>
                  </a:lnTo>
                  <a:lnTo>
                    <a:pt x="2398" y="257"/>
                  </a:lnTo>
                  <a:lnTo>
                    <a:pt x="2399" y="259"/>
                  </a:lnTo>
                  <a:lnTo>
                    <a:pt x="2401" y="261"/>
                  </a:lnTo>
                  <a:lnTo>
                    <a:pt x="2401" y="261"/>
                  </a:lnTo>
                  <a:lnTo>
                    <a:pt x="2402" y="261"/>
                  </a:lnTo>
                  <a:lnTo>
                    <a:pt x="2403" y="262"/>
                  </a:lnTo>
                  <a:lnTo>
                    <a:pt x="2405" y="263"/>
                  </a:lnTo>
                  <a:lnTo>
                    <a:pt x="2406" y="264"/>
                  </a:lnTo>
                  <a:lnTo>
                    <a:pt x="2407" y="264"/>
                  </a:lnTo>
                  <a:lnTo>
                    <a:pt x="2408" y="264"/>
                  </a:lnTo>
                  <a:lnTo>
                    <a:pt x="2408" y="263"/>
                  </a:lnTo>
                  <a:lnTo>
                    <a:pt x="2408" y="261"/>
                  </a:lnTo>
                  <a:lnTo>
                    <a:pt x="2409" y="258"/>
                  </a:lnTo>
                  <a:lnTo>
                    <a:pt x="2410" y="256"/>
                  </a:lnTo>
                  <a:lnTo>
                    <a:pt x="2412" y="255"/>
                  </a:lnTo>
                  <a:lnTo>
                    <a:pt x="2413" y="254"/>
                  </a:lnTo>
                  <a:lnTo>
                    <a:pt x="2413" y="252"/>
                  </a:lnTo>
                  <a:lnTo>
                    <a:pt x="2414" y="245"/>
                  </a:lnTo>
                  <a:lnTo>
                    <a:pt x="2414" y="237"/>
                  </a:lnTo>
                  <a:lnTo>
                    <a:pt x="2415" y="232"/>
                  </a:lnTo>
                  <a:lnTo>
                    <a:pt x="2416" y="229"/>
                  </a:lnTo>
                  <a:lnTo>
                    <a:pt x="2416" y="225"/>
                  </a:lnTo>
                  <a:lnTo>
                    <a:pt x="2416" y="222"/>
                  </a:lnTo>
                  <a:lnTo>
                    <a:pt x="2415" y="218"/>
                  </a:lnTo>
                  <a:lnTo>
                    <a:pt x="2413" y="214"/>
                  </a:lnTo>
                  <a:lnTo>
                    <a:pt x="2413" y="211"/>
                  </a:lnTo>
                  <a:lnTo>
                    <a:pt x="2412" y="207"/>
                  </a:lnTo>
                  <a:lnTo>
                    <a:pt x="2412" y="203"/>
                  </a:lnTo>
                  <a:lnTo>
                    <a:pt x="2413" y="201"/>
                  </a:lnTo>
                  <a:lnTo>
                    <a:pt x="2414" y="198"/>
                  </a:lnTo>
                  <a:lnTo>
                    <a:pt x="2415" y="197"/>
                  </a:lnTo>
                  <a:lnTo>
                    <a:pt x="2416" y="197"/>
                  </a:lnTo>
                  <a:lnTo>
                    <a:pt x="2417" y="196"/>
                  </a:lnTo>
                  <a:lnTo>
                    <a:pt x="2418" y="196"/>
                  </a:lnTo>
                  <a:lnTo>
                    <a:pt x="2420" y="197"/>
                  </a:lnTo>
                  <a:lnTo>
                    <a:pt x="2422" y="199"/>
                  </a:lnTo>
                  <a:lnTo>
                    <a:pt x="2425" y="209"/>
                  </a:lnTo>
                  <a:lnTo>
                    <a:pt x="2426" y="221"/>
                  </a:lnTo>
                  <a:lnTo>
                    <a:pt x="2426" y="224"/>
                  </a:lnTo>
                  <a:lnTo>
                    <a:pt x="2427" y="229"/>
                  </a:lnTo>
                  <a:lnTo>
                    <a:pt x="2427" y="232"/>
                  </a:lnTo>
                  <a:lnTo>
                    <a:pt x="2428" y="236"/>
                  </a:lnTo>
                  <a:lnTo>
                    <a:pt x="2430" y="237"/>
                  </a:lnTo>
                  <a:lnTo>
                    <a:pt x="2433" y="239"/>
                  </a:lnTo>
                  <a:lnTo>
                    <a:pt x="2433" y="239"/>
                  </a:lnTo>
                  <a:lnTo>
                    <a:pt x="2434" y="237"/>
                  </a:lnTo>
                  <a:lnTo>
                    <a:pt x="2435" y="236"/>
                  </a:lnTo>
                  <a:lnTo>
                    <a:pt x="2435" y="235"/>
                  </a:lnTo>
                  <a:lnTo>
                    <a:pt x="2434" y="234"/>
                  </a:lnTo>
                  <a:lnTo>
                    <a:pt x="2433" y="234"/>
                  </a:lnTo>
                  <a:lnTo>
                    <a:pt x="2431" y="233"/>
                  </a:lnTo>
                  <a:lnTo>
                    <a:pt x="2431" y="232"/>
                  </a:lnTo>
                  <a:lnTo>
                    <a:pt x="2430" y="230"/>
                  </a:lnTo>
                  <a:lnTo>
                    <a:pt x="2429" y="226"/>
                  </a:lnTo>
                  <a:lnTo>
                    <a:pt x="2428" y="223"/>
                  </a:lnTo>
                  <a:lnTo>
                    <a:pt x="2428" y="221"/>
                  </a:lnTo>
                  <a:lnTo>
                    <a:pt x="2428" y="219"/>
                  </a:lnTo>
                  <a:lnTo>
                    <a:pt x="2429" y="219"/>
                  </a:lnTo>
                  <a:lnTo>
                    <a:pt x="2429" y="219"/>
                  </a:lnTo>
                  <a:lnTo>
                    <a:pt x="2430" y="219"/>
                  </a:lnTo>
                  <a:lnTo>
                    <a:pt x="2431" y="219"/>
                  </a:lnTo>
                  <a:lnTo>
                    <a:pt x="2433" y="219"/>
                  </a:lnTo>
                  <a:lnTo>
                    <a:pt x="2433" y="218"/>
                  </a:lnTo>
                  <a:lnTo>
                    <a:pt x="2433" y="216"/>
                  </a:lnTo>
                  <a:lnTo>
                    <a:pt x="2430" y="209"/>
                  </a:lnTo>
                  <a:lnTo>
                    <a:pt x="2428" y="202"/>
                  </a:lnTo>
                  <a:lnTo>
                    <a:pt x="2424" y="197"/>
                  </a:lnTo>
                  <a:lnTo>
                    <a:pt x="2423" y="194"/>
                  </a:lnTo>
                  <a:lnTo>
                    <a:pt x="2422" y="192"/>
                  </a:lnTo>
                  <a:lnTo>
                    <a:pt x="2420" y="190"/>
                  </a:lnTo>
                  <a:lnTo>
                    <a:pt x="2419" y="188"/>
                  </a:lnTo>
                  <a:lnTo>
                    <a:pt x="2417" y="187"/>
                  </a:lnTo>
                  <a:lnTo>
                    <a:pt x="2415" y="188"/>
                  </a:lnTo>
                  <a:lnTo>
                    <a:pt x="2415" y="188"/>
                  </a:lnTo>
                  <a:lnTo>
                    <a:pt x="2414" y="189"/>
                  </a:lnTo>
                  <a:lnTo>
                    <a:pt x="2413" y="190"/>
                  </a:lnTo>
                  <a:lnTo>
                    <a:pt x="2410" y="191"/>
                  </a:lnTo>
                  <a:lnTo>
                    <a:pt x="2409" y="191"/>
                  </a:lnTo>
                  <a:lnTo>
                    <a:pt x="2408" y="191"/>
                  </a:lnTo>
                  <a:lnTo>
                    <a:pt x="2406" y="190"/>
                  </a:lnTo>
                  <a:lnTo>
                    <a:pt x="2406" y="179"/>
                  </a:lnTo>
                  <a:lnTo>
                    <a:pt x="2405" y="175"/>
                  </a:lnTo>
                  <a:lnTo>
                    <a:pt x="2405" y="171"/>
                  </a:lnTo>
                  <a:lnTo>
                    <a:pt x="2404" y="168"/>
                  </a:lnTo>
                  <a:lnTo>
                    <a:pt x="2405" y="160"/>
                  </a:lnTo>
                  <a:lnTo>
                    <a:pt x="2405" y="154"/>
                  </a:lnTo>
                  <a:lnTo>
                    <a:pt x="2404" y="146"/>
                  </a:lnTo>
                  <a:lnTo>
                    <a:pt x="2399" y="133"/>
                  </a:lnTo>
                  <a:lnTo>
                    <a:pt x="2396" y="120"/>
                  </a:lnTo>
                  <a:lnTo>
                    <a:pt x="2395" y="113"/>
                  </a:lnTo>
                  <a:lnTo>
                    <a:pt x="2395" y="105"/>
                  </a:lnTo>
                  <a:lnTo>
                    <a:pt x="2396" y="100"/>
                  </a:lnTo>
                  <a:lnTo>
                    <a:pt x="2396" y="100"/>
                  </a:lnTo>
                  <a:lnTo>
                    <a:pt x="2397" y="101"/>
                  </a:lnTo>
                  <a:lnTo>
                    <a:pt x="2398" y="101"/>
                  </a:lnTo>
                  <a:lnTo>
                    <a:pt x="2399" y="101"/>
                  </a:lnTo>
                  <a:lnTo>
                    <a:pt x="2401" y="100"/>
                  </a:lnTo>
                  <a:lnTo>
                    <a:pt x="2402" y="98"/>
                  </a:lnTo>
                  <a:lnTo>
                    <a:pt x="2402" y="95"/>
                  </a:lnTo>
                  <a:lnTo>
                    <a:pt x="2402" y="93"/>
                  </a:lnTo>
                  <a:lnTo>
                    <a:pt x="2402" y="91"/>
                  </a:lnTo>
                  <a:lnTo>
                    <a:pt x="2402" y="88"/>
                  </a:lnTo>
                  <a:lnTo>
                    <a:pt x="2402" y="84"/>
                  </a:lnTo>
                  <a:lnTo>
                    <a:pt x="2401" y="82"/>
                  </a:lnTo>
                  <a:lnTo>
                    <a:pt x="2399" y="79"/>
                  </a:lnTo>
                  <a:lnTo>
                    <a:pt x="2397" y="76"/>
                  </a:lnTo>
                  <a:lnTo>
                    <a:pt x="2397" y="76"/>
                  </a:lnTo>
                  <a:lnTo>
                    <a:pt x="2396" y="74"/>
                  </a:lnTo>
                  <a:lnTo>
                    <a:pt x="2396" y="72"/>
                  </a:lnTo>
                  <a:lnTo>
                    <a:pt x="2396" y="71"/>
                  </a:lnTo>
                  <a:lnTo>
                    <a:pt x="2396" y="69"/>
                  </a:lnTo>
                  <a:lnTo>
                    <a:pt x="2396" y="69"/>
                  </a:lnTo>
                  <a:lnTo>
                    <a:pt x="2396" y="70"/>
                  </a:lnTo>
                  <a:lnTo>
                    <a:pt x="2397" y="71"/>
                  </a:lnTo>
                  <a:lnTo>
                    <a:pt x="2397" y="72"/>
                  </a:lnTo>
                  <a:lnTo>
                    <a:pt x="2397" y="73"/>
                  </a:lnTo>
                  <a:lnTo>
                    <a:pt x="2397" y="73"/>
                  </a:lnTo>
                  <a:lnTo>
                    <a:pt x="2399" y="77"/>
                  </a:lnTo>
                  <a:lnTo>
                    <a:pt x="2401" y="80"/>
                  </a:lnTo>
                  <a:lnTo>
                    <a:pt x="2402" y="82"/>
                  </a:lnTo>
                  <a:lnTo>
                    <a:pt x="2402" y="84"/>
                  </a:lnTo>
                  <a:lnTo>
                    <a:pt x="2403" y="89"/>
                  </a:lnTo>
                  <a:lnTo>
                    <a:pt x="2403" y="93"/>
                  </a:lnTo>
                  <a:lnTo>
                    <a:pt x="2404" y="98"/>
                  </a:lnTo>
                  <a:lnTo>
                    <a:pt x="2404" y="111"/>
                  </a:lnTo>
                  <a:lnTo>
                    <a:pt x="2405" y="115"/>
                  </a:lnTo>
                  <a:lnTo>
                    <a:pt x="2406" y="120"/>
                  </a:lnTo>
                  <a:lnTo>
                    <a:pt x="2406" y="124"/>
                  </a:lnTo>
                  <a:lnTo>
                    <a:pt x="2407" y="127"/>
                  </a:lnTo>
                  <a:lnTo>
                    <a:pt x="2409" y="130"/>
                  </a:lnTo>
                  <a:lnTo>
                    <a:pt x="2410" y="132"/>
                  </a:lnTo>
                  <a:lnTo>
                    <a:pt x="2412" y="133"/>
                  </a:lnTo>
                  <a:lnTo>
                    <a:pt x="2414" y="134"/>
                  </a:lnTo>
                  <a:lnTo>
                    <a:pt x="2415" y="135"/>
                  </a:lnTo>
                  <a:lnTo>
                    <a:pt x="2416" y="136"/>
                  </a:lnTo>
                  <a:lnTo>
                    <a:pt x="2417" y="137"/>
                  </a:lnTo>
                  <a:lnTo>
                    <a:pt x="2419" y="138"/>
                  </a:lnTo>
                  <a:lnTo>
                    <a:pt x="2420" y="139"/>
                  </a:lnTo>
                  <a:lnTo>
                    <a:pt x="2422" y="139"/>
                  </a:lnTo>
                  <a:lnTo>
                    <a:pt x="2423" y="139"/>
                  </a:lnTo>
                  <a:lnTo>
                    <a:pt x="2424" y="139"/>
                  </a:lnTo>
                  <a:lnTo>
                    <a:pt x="2423" y="137"/>
                  </a:lnTo>
                  <a:lnTo>
                    <a:pt x="2422" y="135"/>
                  </a:lnTo>
                  <a:lnTo>
                    <a:pt x="2420" y="132"/>
                  </a:lnTo>
                  <a:lnTo>
                    <a:pt x="2419" y="131"/>
                  </a:lnTo>
                  <a:lnTo>
                    <a:pt x="2418" y="130"/>
                  </a:lnTo>
                  <a:lnTo>
                    <a:pt x="2417" y="128"/>
                  </a:lnTo>
                  <a:lnTo>
                    <a:pt x="2415" y="126"/>
                  </a:lnTo>
                  <a:lnTo>
                    <a:pt x="2414" y="124"/>
                  </a:lnTo>
                  <a:lnTo>
                    <a:pt x="2412" y="121"/>
                  </a:lnTo>
                  <a:lnTo>
                    <a:pt x="2410" y="117"/>
                  </a:lnTo>
                  <a:lnTo>
                    <a:pt x="2409" y="113"/>
                  </a:lnTo>
                  <a:lnTo>
                    <a:pt x="2408" y="109"/>
                  </a:lnTo>
                  <a:lnTo>
                    <a:pt x="2407" y="107"/>
                  </a:lnTo>
                  <a:lnTo>
                    <a:pt x="2407" y="106"/>
                  </a:lnTo>
                  <a:lnTo>
                    <a:pt x="2407" y="105"/>
                  </a:lnTo>
                  <a:lnTo>
                    <a:pt x="2407" y="105"/>
                  </a:lnTo>
                  <a:lnTo>
                    <a:pt x="2408" y="106"/>
                  </a:lnTo>
                  <a:lnTo>
                    <a:pt x="2410" y="109"/>
                  </a:lnTo>
                  <a:lnTo>
                    <a:pt x="2410" y="111"/>
                  </a:lnTo>
                  <a:lnTo>
                    <a:pt x="2412" y="113"/>
                  </a:lnTo>
                  <a:lnTo>
                    <a:pt x="2413" y="115"/>
                  </a:lnTo>
                  <a:lnTo>
                    <a:pt x="2415" y="116"/>
                  </a:lnTo>
                  <a:lnTo>
                    <a:pt x="2416" y="115"/>
                  </a:lnTo>
                  <a:lnTo>
                    <a:pt x="2417" y="113"/>
                  </a:lnTo>
                  <a:lnTo>
                    <a:pt x="2417" y="111"/>
                  </a:lnTo>
                  <a:lnTo>
                    <a:pt x="2417" y="107"/>
                  </a:lnTo>
                  <a:lnTo>
                    <a:pt x="2415" y="104"/>
                  </a:lnTo>
                  <a:lnTo>
                    <a:pt x="2413" y="102"/>
                  </a:lnTo>
                  <a:lnTo>
                    <a:pt x="2413" y="101"/>
                  </a:lnTo>
                  <a:lnTo>
                    <a:pt x="2412" y="99"/>
                  </a:lnTo>
                  <a:lnTo>
                    <a:pt x="2412" y="99"/>
                  </a:lnTo>
                  <a:lnTo>
                    <a:pt x="2410" y="98"/>
                  </a:lnTo>
                  <a:lnTo>
                    <a:pt x="2410" y="95"/>
                  </a:lnTo>
                  <a:lnTo>
                    <a:pt x="2412" y="93"/>
                  </a:lnTo>
                  <a:lnTo>
                    <a:pt x="2412" y="92"/>
                  </a:lnTo>
                  <a:lnTo>
                    <a:pt x="2413" y="91"/>
                  </a:lnTo>
                  <a:lnTo>
                    <a:pt x="2414" y="91"/>
                  </a:lnTo>
                  <a:lnTo>
                    <a:pt x="2414" y="91"/>
                  </a:lnTo>
                  <a:lnTo>
                    <a:pt x="2415" y="92"/>
                  </a:lnTo>
                  <a:lnTo>
                    <a:pt x="2416" y="93"/>
                  </a:lnTo>
                  <a:lnTo>
                    <a:pt x="2417" y="95"/>
                  </a:lnTo>
                  <a:lnTo>
                    <a:pt x="2417" y="100"/>
                  </a:lnTo>
                  <a:lnTo>
                    <a:pt x="2419" y="100"/>
                  </a:lnTo>
                  <a:lnTo>
                    <a:pt x="2422" y="101"/>
                  </a:lnTo>
                  <a:lnTo>
                    <a:pt x="2424" y="102"/>
                  </a:lnTo>
                  <a:lnTo>
                    <a:pt x="2426" y="104"/>
                  </a:lnTo>
                  <a:lnTo>
                    <a:pt x="2426" y="105"/>
                  </a:lnTo>
                  <a:lnTo>
                    <a:pt x="2427" y="109"/>
                  </a:lnTo>
                  <a:lnTo>
                    <a:pt x="2428" y="111"/>
                  </a:lnTo>
                  <a:lnTo>
                    <a:pt x="2430" y="113"/>
                  </a:lnTo>
                  <a:lnTo>
                    <a:pt x="2433" y="114"/>
                  </a:lnTo>
                  <a:lnTo>
                    <a:pt x="2434" y="116"/>
                  </a:lnTo>
                  <a:lnTo>
                    <a:pt x="2434" y="119"/>
                  </a:lnTo>
                  <a:lnTo>
                    <a:pt x="2435" y="120"/>
                  </a:lnTo>
                  <a:lnTo>
                    <a:pt x="2437" y="122"/>
                  </a:lnTo>
                  <a:lnTo>
                    <a:pt x="2438" y="123"/>
                  </a:lnTo>
                  <a:lnTo>
                    <a:pt x="2439" y="124"/>
                  </a:lnTo>
                  <a:lnTo>
                    <a:pt x="2439" y="124"/>
                  </a:lnTo>
                  <a:lnTo>
                    <a:pt x="2441" y="125"/>
                  </a:lnTo>
                  <a:lnTo>
                    <a:pt x="2442" y="126"/>
                  </a:lnTo>
                  <a:lnTo>
                    <a:pt x="2444" y="130"/>
                  </a:lnTo>
                  <a:lnTo>
                    <a:pt x="2444" y="132"/>
                  </a:lnTo>
                  <a:lnTo>
                    <a:pt x="2442" y="135"/>
                  </a:lnTo>
                  <a:lnTo>
                    <a:pt x="2441" y="137"/>
                  </a:lnTo>
                  <a:lnTo>
                    <a:pt x="2441" y="146"/>
                  </a:lnTo>
                  <a:lnTo>
                    <a:pt x="2444" y="150"/>
                  </a:lnTo>
                  <a:lnTo>
                    <a:pt x="2444" y="155"/>
                  </a:lnTo>
                  <a:lnTo>
                    <a:pt x="2444" y="159"/>
                  </a:lnTo>
                  <a:lnTo>
                    <a:pt x="2444" y="163"/>
                  </a:lnTo>
                  <a:lnTo>
                    <a:pt x="2445" y="166"/>
                  </a:lnTo>
                  <a:lnTo>
                    <a:pt x="2446" y="170"/>
                  </a:lnTo>
                  <a:lnTo>
                    <a:pt x="2446" y="172"/>
                  </a:lnTo>
                  <a:lnTo>
                    <a:pt x="2446" y="172"/>
                  </a:lnTo>
                  <a:lnTo>
                    <a:pt x="2447" y="172"/>
                  </a:lnTo>
                  <a:lnTo>
                    <a:pt x="2447" y="171"/>
                  </a:lnTo>
                  <a:lnTo>
                    <a:pt x="2448" y="170"/>
                  </a:lnTo>
                  <a:lnTo>
                    <a:pt x="2449" y="170"/>
                  </a:lnTo>
                  <a:lnTo>
                    <a:pt x="2450" y="169"/>
                  </a:lnTo>
                  <a:lnTo>
                    <a:pt x="2450" y="168"/>
                  </a:lnTo>
                  <a:lnTo>
                    <a:pt x="2450" y="168"/>
                  </a:lnTo>
                  <a:lnTo>
                    <a:pt x="2451" y="167"/>
                  </a:lnTo>
                  <a:lnTo>
                    <a:pt x="2452" y="166"/>
                  </a:lnTo>
                  <a:lnTo>
                    <a:pt x="2452" y="164"/>
                  </a:lnTo>
                  <a:lnTo>
                    <a:pt x="2452" y="161"/>
                  </a:lnTo>
                  <a:lnTo>
                    <a:pt x="2452" y="157"/>
                  </a:lnTo>
                  <a:lnTo>
                    <a:pt x="2450" y="152"/>
                  </a:lnTo>
                  <a:lnTo>
                    <a:pt x="2448" y="147"/>
                  </a:lnTo>
                  <a:lnTo>
                    <a:pt x="2446" y="144"/>
                  </a:lnTo>
                  <a:lnTo>
                    <a:pt x="2446" y="122"/>
                  </a:lnTo>
                  <a:lnTo>
                    <a:pt x="2445" y="119"/>
                  </a:lnTo>
                  <a:lnTo>
                    <a:pt x="2442" y="116"/>
                  </a:lnTo>
                  <a:lnTo>
                    <a:pt x="2440" y="114"/>
                  </a:lnTo>
                  <a:lnTo>
                    <a:pt x="2437" y="111"/>
                  </a:lnTo>
                  <a:lnTo>
                    <a:pt x="2437" y="111"/>
                  </a:lnTo>
                  <a:lnTo>
                    <a:pt x="2437" y="109"/>
                  </a:lnTo>
                  <a:lnTo>
                    <a:pt x="2436" y="106"/>
                  </a:lnTo>
                  <a:lnTo>
                    <a:pt x="2435" y="104"/>
                  </a:lnTo>
                  <a:lnTo>
                    <a:pt x="2434" y="104"/>
                  </a:lnTo>
                  <a:lnTo>
                    <a:pt x="2433" y="104"/>
                  </a:lnTo>
                  <a:lnTo>
                    <a:pt x="2433" y="103"/>
                  </a:lnTo>
                  <a:lnTo>
                    <a:pt x="2430" y="102"/>
                  </a:lnTo>
                  <a:lnTo>
                    <a:pt x="2427" y="92"/>
                  </a:lnTo>
                  <a:lnTo>
                    <a:pt x="2426" y="82"/>
                  </a:lnTo>
                  <a:lnTo>
                    <a:pt x="2426" y="78"/>
                  </a:lnTo>
                  <a:lnTo>
                    <a:pt x="2424" y="73"/>
                  </a:lnTo>
                  <a:lnTo>
                    <a:pt x="2422" y="69"/>
                  </a:lnTo>
                  <a:lnTo>
                    <a:pt x="2423" y="67"/>
                  </a:lnTo>
                  <a:lnTo>
                    <a:pt x="2423" y="65"/>
                  </a:lnTo>
                  <a:lnTo>
                    <a:pt x="2424" y="62"/>
                  </a:lnTo>
                  <a:lnTo>
                    <a:pt x="2424" y="60"/>
                  </a:lnTo>
                  <a:lnTo>
                    <a:pt x="2426" y="59"/>
                  </a:lnTo>
                  <a:lnTo>
                    <a:pt x="2427" y="58"/>
                  </a:lnTo>
                  <a:lnTo>
                    <a:pt x="2429" y="58"/>
                  </a:lnTo>
                  <a:lnTo>
                    <a:pt x="2431" y="58"/>
                  </a:lnTo>
                  <a:lnTo>
                    <a:pt x="2433" y="58"/>
                  </a:lnTo>
                  <a:lnTo>
                    <a:pt x="2435" y="59"/>
                  </a:lnTo>
                  <a:lnTo>
                    <a:pt x="2437" y="60"/>
                  </a:lnTo>
                  <a:lnTo>
                    <a:pt x="2439" y="60"/>
                  </a:lnTo>
                  <a:lnTo>
                    <a:pt x="2441" y="60"/>
                  </a:lnTo>
                  <a:lnTo>
                    <a:pt x="2444" y="61"/>
                  </a:lnTo>
                  <a:lnTo>
                    <a:pt x="2446" y="61"/>
                  </a:lnTo>
                  <a:lnTo>
                    <a:pt x="2448" y="60"/>
                  </a:lnTo>
                  <a:lnTo>
                    <a:pt x="2450" y="59"/>
                  </a:lnTo>
                  <a:lnTo>
                    <a:pt x="2451" y="57"/>
                  </a:lnTo>
                  <a:lnTo>
                    <a:pt x="2451" y="55"/>
                  </a:lnTo>
                  <a:lnTo>
                    <a:pt x="2450" y="51"/>
                  </a:lnTo>
                  <a:lnTo>
                    <a:pt x="2449" y="48"/>
                  </a:lnTo>
                  <a:lnTo>
                    <a:pt x="2447" y="45"/>
                  </a:lnTo>
                  <a:lnTo>
                    <a:pt x="2446" y="41"/>
                  </a:lnTo>
                  <a:lnTo>
                    <a:pt x="2446" y="39"/>
                  </a:lnTo>
                  <a:lnTo>
                    <a:pt x="2446" y="36"/>
                  </a:lnTo>
                  <a:lnTo>
                    <a:pt x="2447" y="35"/>
                  </a:lnTo>
                  <a:lnTo>
                    <a:pt x="2446" y="34"/>
                  </a:lnTo>
                  <a:lnTo>
                    <a:pt x="2446" y="33"/>
                  </a:lnTo>
                  <a:lnTo>
                    <a:pt x="2445" y="32"/>
                  </a:lnTo>
                  <a:lnTo>
                    <a:pt x="2444" y="30"/>
                  </a:lnTo>
                  <a:lnTo>
                    <a:pt x="2445" y="28"/>
                  </a:lnTo>
                  <a:lnTo>
                    <a:pt x="2446" y="26"/>
                  </a:lnTo>
                  <a:lnTo>
                    <a:pt x="2446" y="24"/>
                  </a:lnTo>
                  <a:lnTo>
                    <a:pt x="2446" y="22"/>
                  </a:lnTo>
                  <a:lnTo>
                    <a:pt x="2447" y="19"/>
                  </a:lnTo>
                  <a:lnTo>
                    <a:pt x="2448" y="17"/>
                  </a:lnTo>
                  <a:lnTo>
                    <a:pt x="2450" y="14"/>
                  </a:lnTo>
                  <a:lnTo>
                    <a:pt x="2451" y="13"/>
                  </a:lnTo>
                  <a:lnTo>
                    <a:pt x="2453" y="11"/>
                  </a:lnTo>
                  <a:lnTo>
                    <a:pt x="2455" y="8"/>
                  </a:lnTo>
                  <a:lnTo>
                    <a:pt x="2456" y="6"/>
                  </a:lnTo>
                  <a:lnTo>
                    <a:pt x="2457" y="5"/>
                  </a:lnTo>
                  <a:lnTo>
                    <a:pt x="2458" y="3"/>
                  </a:lnTo>
                  <a:lnTo>
                    <a:pt x="2458" y="2"/>
                  </a:lnTo>
                  <a:lnTo>
                    <a:pt x="2459" y="2"/>
                  </a:lnTo>
                  <a:lnTo>
                    <a:pt x="2460" y="3"/>
                  </a:lnTo>
                  <a:lnTo>
                    <a:pt x="2461" y="3"/>
                  </a:lnTo>
                  <a:lnTo>
                    <a:pt x="2462" y="4"/>
                  </a:lnTo>
                  <a:lnTo>
                    <a:pt x="2463" y="4"/>
                  </a:lnTo>
                  <a:lnTo>
                    <a:pt x="2464" y="2"/>
                  </a:lnTo>
                  <a:lnTo>
                    <a:pt x="2466" y="1"/>
                  </a:lnTo>
                  <a:lnTo>
                    <a:pt x="2467" y="0"/>
                  </a:lnTo>
                  <a:lnTo>
                    <a:pt x="2468"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99" name="Freeform 35"/>
            <p:cNvSpPr>
              <a:spLocks noEditPoints="1"/>
            </p:cNvSpPr>
            <p:nvPr/>
          </p:nvSpPr>
          <p:spPr bwMode="auto">
            <a:xfrm>
              <a:off x="5574" y="743"/>
              <a:ext cx="411" cy="160"/>
            </a:xfrm>
            <a:custGeom>
              <a:avLst/>
              <a:gdLst>
                <a:gd name="T0" fmla="*/ 1350 w 2878"/>
                <a:gd name="T1" fmla="*/ 168 h 1116"/>
                <a:gd name="T2" fmla="*/ 1286 w 2878"/>
                <a:gd name="T3" fmla="*/ 147 h 1116"/>
                <a:gd name="T4" fmla="*/ 2781 w 2878"/>
                <a:gd name="T5" fmla="*/ 174 h 1116"/>
                <a:gd name="T6" fmla="*/ 2758 w 2878"/>
                <a:gd name="T7" fmla="*/ 229 h 1116"/>
                <a:gd name="T8" fmla="*/ 2754 w 2878"/>
                <a:gd name="T9" fmla="*/ 259 h 1116"/>
                <a:gd name="T10" fmla="*/ 2765 w 2878"/>
                <a:gd name="T11" fmla="*/ 346 h 1116"/>
                <a:gd name="T12" fmla="*/ 2734 w 2878"/>
                <a:gd name="T13" fmla="*/ 292 h 1116"/>
                <a:gd name="T14" fmla="*/ 2739 w 2878"/>
                <a:gd name="T15" fmla="*/ 242 h 1116"/>
                <a:gd name="T16" fmla="*/ 2742 w 2878"/>
                <a:gd name="T17" fmla="*/ 179 h 1116"/>
                <a:gd name="T18" fmla="*/ 2756 w 2878"/>
                <a:gd name="T19" fmla="*/ 149 h 1116"/>
                <a:gd name="T20" fmla="*/ 1292 w 2878"/>
                <a:gd name="T21" fmla="*/ 106 h 1116"/>
                <a:gd name="T22" fmla="*/ 941 w 2878"/>
                <a:gd name="T23" fmla="*/ 103 h 1116"/>
                <a:gd name="T24" fmla="*/ 899 w 2878"/>
                <a:gd name="T25" fmla="*/ 138 h 1116"/>
                <a:gd name="T26" fmla="*/ 2135 w 2878"/>
                <a:gd name="T27" fmla="*/ 49 h 1116"/>
                <a:gd name="T28" fmla="*/ 1025 w 2878"/>
                <a:gd name="T29" fmla="*/ 53 h 1116"/>
                <a:gd name="T30" fmla="*/ 1046 w 2878"/>
                <a:gd name="T31" fmla="*/ 107 h 1116"/>
                <a:gd name="T32" fmla="*/ 1112 w 2878"/>
                <a:gd name="T33" fmla="*/ 158 h 1116"/>
                <a:gd name="T34" fmla="*/ 1149 w 2878"/>
                <a:gd name="T35" fmla="*/ 137 h 1116"/>
                <a:gd name="T36" fmla="*/ 1229 w 2878"/>
                <a:gd name="T37" fmla="*/ 113 h 1116"/>
                <a:gd name="T38" fmla="*/ 1220 w 2878"/>
                <a:gd name="T39" fmla="*/ 161 h 1116"/>
                <a:gd name="T40" fmla="*/ 1164 w 2878"/>
                <a:gd name="T41" fmla="*/ 238 h 1116"/>
                <a:gd name="T42" fmla="*/ 1061 w 2878"/>
                <a:gd name="T43" fmla="*/ 272 h 1116"/>
                <a:gd name="T44" fmla="*/ 1047 w 2878"/>
                <a:gd name="T45" fmla="*/ 377 h 1116"/>
                <a:gd name="T46" fmla="*/ 961 w 2878"/>
                <a:gd name="T47" fmla="*/ 531 h 1116"/>
                <a:gd name="T48" fmla="*/ 1091 w 2878"/>
                <a:gd name="T49" fmla="*/ 650 h 1116"/>
                <a:gd name="T50" fmla="*/ 1241 w 2878"/>
                <a:gd name="T51" fmla="*/ 794 h 1116"/>
                <a:gd name="T52" fmla="*/ 1291 w 2878"/>
                <a:gd name="T53" fmla="*/ 773 h 1116"/>
                <a:gd name="T54" fmla="*/ 1303 w 2878"/>
                <a:gd name="T55" fmla="*/ 549 h 1116"/>
                <a:gd name="T56" fmla="*/ 1308 w 2878"/>
                <a:gd name="T57" fmla="*/ 415 h 1116"/>
                <a:gd name="T58" fmla="*/ 1437 w 2878"/>
                <a:gd name="T59" fmla="*/ 467 h 1116"/>
                <a:gd name="T60" fmla="*/ 1484 w 2878"/>
                <a:gd name="T61" fmla="*/ 551 h 1116"/>
                <a:gd name="T62" fmla="*/ 1565 w 2878"/>
                <a:gd name="T63" fmla="*/ 532 h 1116"/>
                <a:gd name="T64" fmla="*/ 1658 w 2878"/>
                <a:gd name="T65" fmla="*/ 695 h 1116"/>
                <a:gd name="T66" fmla="*/ 1752 w 2878"/>
                <a:gd name="T67" fmla="*/ 788 h 1116"/>
                <a:gd name="T68" fmla="*/ 1733 w 2878"/>
                <a:gd name="T69" fmla="*/ 906 h 1116"/>
                <a:gd name="T70" fmla="*/ 1783 w 2878"/>
                <a:gd name="T71" fmla="*/ 985 h 1116"/>
                <a:gd name="T72" fmla="*/ 1727 w 2878"/>
                <a:gd name="T73" fmla="*/ 976 h 1116"/>
                <a:gd name="T74" fmla="*/ 1679 w 2878"/>
                <a:gd name="T75" fmla="*/ 947 h 1116"/>
                <a:gd name="T76" fmla="*/ 1650 w 2878"/>
                <a:gd name="T77" fmla="*/ 906 h 1116"/>
                <a:gd name="T78" fmla="*/ 1494 w 2878"/>
                <a:gd name="T79" fmla="*/ 960 h 1116"/>
                <a:gd name="T80" fmla="*/ 1641 w 2878"/>
                <a:gd name="T81" fmla="*/ 1018 h 1116"/>
                <a:gd name="T82" fmla="*/ 1569 w 2878"/>
                <a:gd name="T83" fmla="*/ 1045 h 1116"/>
                <a:gd name="T84" fmla="*/ 1480 w 2878"/>
                <a:gd name="T85" fmla="*/ 1078 h 1116"/>
                <a:gd name="T86" fmla="*/ 1314 w 2878"/>
                <a:gd name="T87" fmla="*/ 1074 h 1116"/>
                <a:gd name="T88" fmla="*/ 1134 w 2878"/>
                <a:gd name="T89" fmla="*/ 998 h 1116"/>
                <a:gd name="T90" fmla="*/ 1112 w 2878"/>
                <a:gd name="T91" fmla="*/ 935 h 1116"/>
                <a:gd name="T92" fmla="*/ 57 w 2878"/>
                <a:gd name="T93" fmla="*/ 437 h 1116"/>
                <a:gd name="T94" fmla="*/ 40 w 2878"/>
                <a:gd name="T95" fmla="*/ 386 h 1116"/>
                <a:gd name="T96" fmla="*/ 42 w 2878"/>
                <a:gd name="T97" fmla="*/ 358 h 1116"/>
                <a:gd name="T98" fmla="*/ 64 w 2878"/>
                <a:gd name="T99" fmla="*/ 269 h 1116"/>
                <a:gd name="T100" fmla="*/ 136 w 2878"/>
                <a:gd name="T101" fmla="*/ 200 h 1116"/>
                <a:gd name="T102" fmla="*/ 160 w 2878"/>
                <a:gd name="T103" fmla="*/ 199 h 1116"/>
                <a:gd name="T104" fmla="*/ 233 w 2878"/>
                <a:gd name="T105" fmla="*/ 208 h 1116"/>
                <a:gd name="T106" fmla="*/ 338 w 2878"/>
                <a:gd name="T107" fmla="*/ 236 h 1116"/>
                <a:gd name="T108" fmla="*/ 387 w 2878"/>
                <a:gd name="T109" fmla="*/ 183 h 1116"/>
                <a:gd name="T110" fmla="*/ 444 w 2878"/>
                <a:gd name="T111" fmla="*/ 134 h 1116"/>
                <a:gd name="T112" fmla="*/ 498 w 2878"/>
                <a:gd name="T113" fmla="*/ 175 h 1116"/>
                <a:gd name="T114" fmla="*/ 626 w 2878"/>
                <a:gd name="T115" fmla="*/ 178 h 1116"/>
                <a:gd name="T116" fmla="*/ 736 w 2878"/>
                <a:gd name="T117" fmla="*/ 222 h 1116"/>
                <a:gd name="T118" fmla="*/ 819 w 2878"/>
                <a:gd name="T119" fmla="*/ 185 h 1116"/>
                <a:gd name="T120" fmla="*/ 943 w 2878"/>
                <a:gd name="T121" fmla="*/ 174 h 1116"/>
                <a:gd name="T122" fmla="*/ 980 w 2878"/>
                <a:gd name="T123" fmla="*/ 142 h 1116"/>
                <a:gd name="T124" fmla="*/ 954 w 2878"/>
                <a:gd name="T125" fmla="*/ 42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78" h="1116">
                  <a:moveTo>
                    <a:pt x="2874" y="211"/>
                  </a:moveTo>
                  <a:lnTo>
                    <a:pt x="2875" y="213"/>
                  </a:lnTo>
                  <a:lnTo>
                    <a:pt x="2876" y="215"/>
                  </a:lnTo>
                  <a:lnTo>
                    <a:pt x="2877" y="218"/>
                  </a:lnTo>
                  <a:lnTo>
                    <a:pt x="2877" y="221"/>
                  </a:lnTo>
                  <a:lnTo>
                    <a:pt x="2878" y="223"/>
                  </a:lnTo>
                  <a:lnTo>
                    <a:pt x="2878" y="224"/>
                  </a:lnTo>
                  <a:lnTo>
                    <a:pt x="2877" y="225"/>
                  </a:lnTo>
                  <a:lnTo>
                    <a:pt x="2876" y="225"/>
                  </a:lnTo>
                  <a:lnTo>
                    <a:pt x="2874" y="224"/>
                  </a:lnTo>
                  <a:lnTo>
                    <a:pt x="2873" y="222"/>
                  </a:lnTo>
                  <a:lnTo>
                    <a:pt x="2871" y="218"/>
                  </a:lnTo>
                  <a:lnTo>
                    <a:pt x="2871" y="216"/>
                  </a:lnTo>
                  <a:lnTo>
                    <a:pt x="2871" y="214"/>
                  </a:lnTo>
                  <a:lnTo>
                    <a:pt x="2871" y="212"/>
                  </a:lnTo>
                  <a:lnTo>
                    <a:pt x="2873" y="212"/>
                  </a:lnTo>
                  <a:lnTo>
                    <a:pt x="2874" y="211"/>
                  </a:lnTo>
                  <a:lnTo>
                    <a:pt x="2874" y="211"/>
                  </a:lnTo>
                  <a:close/>
                  <a:moveTo>
                    <a:pt x="1379" y="175"/>
                  </a:moveTo>
                  <a:lnTo>
                    <a:pt x="1382" y="175"/>
                  </a:lnTo>
                  <a:lnTo>
                    <a:pt x="1385" y="177"/>
                  </a:lnTo>
                  <a:lnTo>
                    <a:pt x="1389" y="179"/>
                  </a:lnTo>
                  <a:lnTo>
                    <a:pt x="1390" y="181"/>
                  </a:lnTo>
                  <a:lnTo>
                    <a:pt x="1390" y="182"/>
                  </a:lnTo>
                  <a:lnTo>
                    <a:pt x="1389" y="184"/>
                  </a:lnTo>
                  <a:lnTo>
                    <a:pt x="1388" y="185"/>
                  </a:lnTo>
                  <a:lnTo>
                    <a:pt x="1385" y="186"/>
                  </a:lnTo>
                  <a:lnTo>
                    <a:pt x="1382" y="186"/>
                  </a:lnTo>
                  <a:lnTo>
                    <a:pt x="1379" y="185"/>
                  </a:lnTo>
                  <a:lnTo>
                    <a:pt x="1375" y="184"/>
                  </a:lnTo>
                  <a:lnTo>
                    <a:pt x="1373" y="181"/>
                  </a:lnTo>
                  <a:lnTo>
                    <a:pt x="1373" y="179"/>
                  </a:lnTo>
                  <a:lnTo>
                    <a:pt x="1374" y="178"/>
                  </a:lnTo>
                  <a:lnTo>
                    <a:pt x="1376" y="175"/>
                  </a:lnTo>
                  <a:lnTo>
                    <a:pt x="1379" y="175"/>
                  </a:lnTo>
                  <a:close/>
                  <a:moveTo>
                    <a:pt x="1340" y="167"/>
                  </a:moveTo>
                  <a:lnTo>
                    <a:pt x="1350" y="168"/>
                  </a:lnTo>
                  <a:lnTo>
                    <a:pt x="1360" y="171"/>
                  </a:lnTo>
                  <a:lnTo>
                    <a:pt x="1364" y="175"/>
                  </a:lnTo>
                  <a:lnTo>
                    <a:pt x="1365" y="183"/>
                  </a:lnTo>
                  <a:lnTo>
                    <a:pt x="1365" y="191"/>
                  </a:lnTo>
                  <a:lnTo>
                    <a:pt x="1365" y="199"/>
                  </a:lnTo>
                  <a:lnTo>
                    <a:pt x="1364" y="204"/>
                  </a:lnTo>
                  <a:lnTo>
                    <a:pt x="1360" y="212"/>
                  </a:lnTo>
                  <a:lnTo>
                    <a:pt x="1352" y="216"/>
                  </a:lnTo>
                  <a:lnTo>
                    <a:pt x="1342" y="217"/>
                  </a:lnTo>
                  <a:lnTo>
                    <a:pt x="1332" y="216"/>
                  </a:lnTo>
                  <a:lnTo>
                    <a:pt x="1327" y="214"/>
                  </a:lnTo>
                  <a:lnTo>
                    <a:pt x="1323" y="211"/>
                  </a:lnTo>
                  <a:lnTo>
                    <a:pt x="1319" y="207"/>
                  </a:lnTo>
                  <a:lnTo>
                    <a:pt x="1316" y="204"/>
                  </a:lnTo>
                  <a:lnTo>
                    <a:pt x="1317" y="197"/>
                  </a:lnTo>
                  <a:lnTo>
                    <a:pt x="1320" y="190"/>
                  </a:lnTo>
                  <a:lnTo>
                    <a:pt x="1324" y="182"/>
                  </a:lnTo>
                  <a:lnTo>
                    <a:pt x="1327" y="173"/>
                  </a:lnTo>
                  <a:lnTo>
                    <a:pt x="1332" y="169"/>
                  </a:lnTo>
                  <a:lnTo>
                    <a:pt x="1340" y="167"/>
                  </a:lnTo>
                  <a:close/>
                  <a:moveTo>
                    <a:pt x="1280" y="167"/>
                  </a:moveTo>
                  <a:lnTo>
                    <a:pt x="1282" y="167"/>
                  </a:lnTo>
                  <a:lnTo>
                    <a:pt x="1284" y="167"/>
                  </a:lnTo>
                  <a:lnTo>
                    <a:pt x="1286" y="168"/>
                  </a:lnTo>
                  <a:lnTo>
                    <a:pt x="1285" y="170"/>
                  </a:lnTo>
                  <a:lnTo>
                    <a:pt x="1284" y="171"/>
                  </a:lnTo>
                  <a:lnTo>
                    <a:pt x="1283" y="172"/>
                  </a:lnTo>
                  <a:lnTo>
                    <a:pt x="1281" y="172"/>
                  </a:lnTo>
                  <a:lnTo>
                    <a:pt x="1279" y="172"/>
                  </a:lnTo>
                  <a:lnTo>
                    <a:pt x="1277" y="171"/>
                  </a:lnTo>
                  <a:lnTo>
                    <a:pt x="1276" y="169"/>
                  </a:lnTo>
                  <a:lnTo>
                    <a:pt x="1277" y="168"/>
                  </a:lnTo>
                  <a:lnTo>
                    <a:pt x="1279" y="167"/>
                  </a:lnTo>
                  <a:lnTo>
                    <a:pt x="1280" y="167"/>
                  </a:lnTo>
                  <a:close/>
                  <a:moveTo>
                    <a:pt x="1281" y="146"/>
                  </a:moveTo>
                  <a:lnTo>
                    <a:pt x="1286" y="146"/>
                  </a:lnTo>
                  <a:lnTo>
                    <a:pt x="1286" y="147"/>
                  </a:lnTo>
                  <a:lnTo>
                    <a:pt x="1286" y="149"/>
                  </a:lnTo>
                  <a:lnTo>
                    <a:pt x="1286" y="150"/>
                  </a:lnTo>
                  <a:lnTo>
                    <a:pt x="1285" y="151"/>
                  </a:lnTo>
                  <a:lnTo>
                    <a:pt x="1285" y="152"/>
                  </a:lnTo>
                  <a:lnTo>
                    <a:pt x="1284" y="152"/>
                  </a:lnTo>
                  <a:lnTo>
                    <a:pt x="1283" y="151"/>
                  </a:lnTo>
                  <a:lnTo>
                    <a:pt x="1282" y="151"/>
                  </a:lnTo>
                  <a:lnTo>
                    <a:pt x="1281" y="150"/>
                  </a:lnTo>
                  <a:lnTo>
                    <a:pt x="1280" y="149"/>
                  </a:lnTo>
                  <a:lnTo>
                    <a:pt x="1279" y="148"/>
                  </a:lnTo>
                  <a:lnTo>
                    <a:pt x="1280" y="147"/>
                  </a:lnTo>
                  <a:lnTo>
                    <a:pt x="1281" y="146"/>
                  </a:lnTo>
                  <a:close/>
                  <a:moveTo>
                    <a:pt x="2786" y="129"/>
                  </a:moveTo>
                  <a:lnTo>
                    <a:pt x="2787" y="129"/>
                  </a:lnTo>
                  <a:lnTo>
                    <a:pt x="2790" y="131"/>
                  </a:lnTo>
                  <a:lnTo>
                    <a:pt x="2792" y="135"/>
                  </a:lnTo>
                  <a:lnTo>
                    <a:pt x="2794" y="138"/>
                  </a:lnTo>
                  <a:lnTo>
                    <a:pt x="2794" y="141"/>
                  </a:lnTo>
                  <a:lnTo>
                    <a:pt x="2796" y="146"/>
                  </a:lnTo>
                  <a:lnTo>
                    <a:pt x="2797" y="149"/>
                  </a:lnTo>
                  <a:lnTo>
                    <a:pt x="2797" y="153"/>
                  </a:lnTo>
                  <a:lnTo>
                    <a:pt x="2797" y="157"/>
                  </a:lnTo>
                  <a:lnTo>
                    <a:pt x="2796" y="160"/>
                  </a:lnTo>
                  <a:lnTo>
                    <a:pt x="2794" y="162"/>
                  </a:lnTo>
                  <a:lnTo>
                    <a:pt x="2794" y="164"/>
                  </a:lnTo>
                  <a:lnTo>
                    <a:pt x="2793" y="167"/>
                  </a:lnTo>
                  <a:lnTo>
                    <a:pt x="2792" y="168"/>
                  </a:lnTo>
                  <a:lnTo>
                    <a:pt x="2790" y="169"/>
                  </a:lnTo>
                  <a:lnTo>
                    <a:pt x="2789" y="169"/>
                  </a:lnTo>
                  <a:lnTo>
                    <a:pt x="2788" y="168"/>
                  </a:lnTo>
                  <a:lnTo>
                    <a:pt x="2787" y="168"/>
                  </a:lnTo>
                  <a:lnTo>
                    <a:pt x="2786" y="168"/>
                  </a:lnTo>
                  <a:lnTo>
                    <a:pt x="2785" y="168"/>
                  </a:lnTo>
                  <a:lnTo>
                    <a:pt x="2783" y="169"/>
                  </a:lnTo>
                  <a:lnTo>
                    <a:pt x="2782" y="170"/>
                  </a:lnTo>
                  <a:lnTo>
                    <a:pt x="2782" y="172"/>
                  </a:lnTo>
                  <a:lnTo>
                    <a:pt x="2781" y="174"/>
                  </a:lnTo>
                  <a:lnTo>
                    <a:pt x="2779" y="175"/>
                  </a:lnTo>
                  <a:lnTo>
                    <a:pt x="2778" y="177"/>
                  </a:lnTo>
                  <a:lnTo>
                    <a:pt x="2777" y="177"/>
                  </a:lnTo>
                  <a:lnTo>
                    <a:pt x="2776" y="177"/>
                  </a:lnTo>
                  <a:lnTo>
                    <a:pt x="2776" y="178"/>
                  </a:lnTo>
                  <a:lnTo>
                    <a:pt x="2775" y="180"/>
                  </a:lnTo>
                  <a:lnTo>
                    <a:pt x="2774" y="182"/>
                  </a:lnTo>
                  <a:lnTo>
                    <a:pt x="2772" y="183"/>
                  </a:lnTo>
                  <a:lnTo>
                    <a:pt x="2772" y="185"/>
                  </a:lnTo>
                  <a:lnTo>
                    <a:pt x="2770" y="186"/>
                  </a:lnTo>
                  <a:lnTo>
                    <a:pt x="2768" y="188"/>
                  </a:lnTo>
                  <a:lnTo>
                    <a:pt x="2768" y="196"/>
                  </a:lnTo>
                  <a:lnTo>
                    <a:pt x="2768" y="197"/>
                  </a:lnTo>
                  <a:lnTo>
                    <a:pt x="2767" y="199"/>
                  </a:lnTo>
                  <a:lnTo>
                    <a:pt x="2765" y="200"/>
                  </a:lnTo>
                  <a:lnTo>
                    <a:pt x="2764" y="201"/>
                  </a:lnTo>
                  <a:lnTo>
                    <a:pt x="2764" y="207"/>
                  </a:lnTo>
                  <a:lnTo>
                    <a:pt x="2764" y="210"/>
                  </a:lnTo>
                  <a:lnTo>
                    <a:pt x="2763" y="211"/>
                  </a:lnTo>
                  <a:lnTo>
                    <a:pt x="2763" y="211"/>
                  </a:lnTo>
                  <a:lnTo>
                    <a:pt x="2761" y="210"/>
                  </a:lnTo>
                  <a:lnTo>
                    <a:pt x="2759" y="210"/>
                  </a:lnTo>
                  <a:lnTo>
                    <a:pt x="2758" y="211"/>
                  </a:lnTo>
                  <a:lnTo>
                    <a:pt x="2758" y="212"/>
                  </a:lnTo>
                  <a:lnTo>
                    <a:pt x="2759" y="214"/>
                  </a:lnTo>
                  <a:lnTo>
                    <a:pt x="2759" y="215"/>
                  </a:lnTo>
                  <a:lnTo>
                    <a:pt x="2759" y="217"/>
                  </a:lnTo>
                  <a:lnTo>
                    <a:pt x="2758" y="218"/>
                  </a:lnTo>
                  <a:lnTo>
                    <a:pt x="2758" y="218"/>
                  </a:lnTo>
                  <a:lnTo>
                    <a:pt x="2758" y="218"/>
                  </a:lnTo>
                  <a:lnTo>
                    <a:pt x="2757" y="220"/>
                  </a:lnTo>
                  <a:lnTo>
                    <a:pt x="2757" y="220"/>
                  </a:lnTo>
                  <a:lnTo>
                    <a:pt x="2758" y="221"/>
                  </a:lnTo>
                  <a:lnTo>
                    <a:pt x="2758" y="223"/>
                  </a:lnTo>
                  <a:lnTo>
                    <a:pt x="2758" y="225"/>
                  </a:lnTo>
                  <a:lnTo>
                    <a:pt x="2758" y="227"/>
                  </a:lnTo>
                  <a:lnTo>
                    <a:pt x="2758" y="229"/>
                  </a:lnTo>
                  <a:lnTo>
                    <a:pt x="2758" y="229"/>
                  </a:lnTo>
                  <a:lnTo>
                    <a:pt x="2757" y="228"/>
                  </a:lnTo>
                  <a:lnTo>
                    <a:pt x="2755" y="226"/>
                  </a:lnTo>
                  <a:lnTo>
                    <a:pt x="2753" y="224"/>
                  </a:lnTo>
                  <a:lnTo>
                    <a:pt x="2751" y="223"/>
                  </a:lnTo>
                  <a:lnTo>
                    <a:pt x="2750" y="223"/>
                  </a:lnTo>
                  <a:lnTo>
                    <a:pt x="2749" y="223"/>
                  </a:lnTo>
                  <a:lnTo>
                    <a:pt x="2749" y="225"/>
                  </a:lnTo>
                  <a:lnTo>
                    <a:pt x="2750" y="226"/>
                  </a:lnTo>
                  <a:lnTo>
                    <a:pt x="2751" y="227"/>
                  </a:lnTo>
                  <a:lnTo>
                    <a:pt x="2753" y="228"/>
                  </a:lnTo>
                  <a:lnTo>
                    <a:pt x="2754" y="231"/>
                  </a:lnTo>
                  <a:lnTo>
                    <a:pt x="2755" y="232"/>
                  </a:lnTo>
                  <a:lnTo>
                    <a:pt x="2756" y="234"/>
                  </a:lnTo>
                  <a:lnTo>
                    <a:pt x="2756" y="235"/>
                  </a:lnTo>
                  <a:lnTo>
                    <a:pt x="2755" y="236"/>
                  </a:lnTo>
                  <a:lnTo>
                    <a:pt x="2754" y="236"/>
                  </a:lnTo>
                  <a:lnTo>
                    <a:pt x="2756" y="244"/>
                  </a:lnTo>
                  <a:lnTo>
                    <a:pt x="2756" y="244"/>
                  </a:lnTo>
                  <a:lnTo>
                    <a:pt x="2755" y="244"/>
                  </a:lnTo>
                  <a:lnTo>
                    <a:pt x="2755" y="244"/>
                  </a:lnTo>
                  <a:lnTo>
                    <a:pt x="2754" y="243"/>
                  </a:lnTo>
                  <a:lnTo>
                    <a:pt x="2754" y="242"/>
                  </a:lnTo>
                  <a:lnTo>
                    <a:pt x="2753" y="242"/>
                  </a:lnTo>
                  <a:lnTo>
                    <a:pt x="2751" y="243"/>
                  </a:lnTo>
                  <a:lnTo>
                    <a:pt x="2751" y="244"/>
                  </a:lnTo>
                  <a:lnTo>
                    <a:pt x="2753" y="245"/>
                  </a:lnTo>
                  <a:lnTo>
                    <a:pt x="2754" y="246"/>
                  </a:lnTo>
                  <a:lnTo>
                    <a:pt x="2754" y="248"/>
                  </a:lnTo>
                  <a:lnTo>
                    <a:pt x="2756" y="250"/>
                  </a:lnTo>
                  <a:lnTo>
                    <a:pt x="2756" y="253"/>
                  </a:lnTo>
                  <a:lnTo>
                    <a:pt x="2754" y="253"/>
                  </a:lnTo>
                  <a:lnTo>
                    <a:pt x="2754" y="255"/>
                  </a:lnTo>
                  <a:lnTo>
                    <a:pt x="2755" y="256"/>
                  </a:lnTo>
                  <a:lnTo>
                    <a:pt x="2755" y="258"/>
                  </a:lnTo>
                  <a:lnTo>
                    <a:pt x="2755" y="258"/>
                  </a:lnTo>
                  <a:lnTo>
                    <a:pt x="2754" y="259"/>
                  </a:lnTo>
                  <a:lnTo>
                    <a:pt x="2753" y="259"/>
                  </a:lnTo>
                  <a:lnTo>
                    <a:pt x="2753" y="261"/>
                  </a:lnTo>
                  <a:lnTo>
                    <a:pt x="2753" y="264"/>
                  </a:lnTo>
                  <a:lnTo>
                    <a:pt x="2753" y="267"/>
                  </a:lnTo>
                  <a:lnTo>
                    <a:pt x="2754" y="269"/>
                  </a:lnTo>
                  <a:lnTo>
                    <a:pt x="2754" y="272"/>
                  </a:lnTo>
                  <a:lnTo>
                    <a:pt x="2754" y="275"/>
                  </a:lnTo>
                  <a:lnTo>
                    <a:pt x="2753" y="284"/>
                  </a:lnTo>
                  <a:lnTo>
                    <a:pt x="2754" y="297"/>
                  </a:lnTo>
                  <a:lnTo>
                    <a:pt x="2757" y="309"/>
                  </a:lnTo>
                  <a:lnTo>
                    <a:pt x="2761" y="321"/>
                  </a:lnTo>
                  <a:lnTo>
                    <a:pt x="2763" y="323"/>
                  </a:lnTo>
                  <a:lnTo>
                    <a:pt x="2765" y="325"/>
                  </a:lnTo>
                  <a:lnTo>
                    <a:pt x="2766" y="327"/>
                  </a:lnTo>
                  <a:lnTo>
                    <a:pt x="2766" y="330"/>
                  </a:lnTo>
                  <a:lnTo>
                    <a:pt x="2767" y="332"/>
                  </a:lnTo>
                  <a:lnTo>
                    <a:pt x="2768" y="334"/>
                  </a:lnTo>
                  <a:lnTo>
                    <a:pt x="2768" y="335"/>
                  </a:lnTo>
                  <a:lnTo>
                    <a:pt x="2769" y="335"/>
                  </a:lnTo>
                  <a:lnTo>
                    <a:pt x="2770" y="336"/>
                  </a:lnTo>
                  <a:lnTo>
                    <a:pt x="2771" y="338"/>
                  </a:lnTo>
                  <a:lnTo>
                    <a:pt x="2771" y="340"/>
                  </a:lnTo>
                  <a:lnTo>
                    <a:pt x="2772" y="342"/>
                  </a:lnTo>
                  <a:lnTo>
                    <a:pt x="2774" y="344"/>
                  </a:lnTo>
                  <a:lnTo>
                    <a:pt x="2775" y="346"/>
                  </a:lnTo>
                  <a:lnTo>
                    <a:pt x="2776" y="348"/>
                  </a:lnTo>
                  <a:lnTo>
                    <a:pt x="2774" y="348"/>
                  </a:lnTo>
                  <a:lnTo>
                    <a:pt x="2772" y="348"/>
                  </a:lnTo>
                  <a:lnTo>
                    <a:pt x="2771" y="346"/>
                  </a:lnTo>
                  <a:lnTo>
                    <a:pt x="2770" y="345"/>
                  </a:lnTo>
                  <a:lnTo>
                    <a:pt x="2770" y="343"/>
                  </a:lnTo>
                  <a:lnTo>
                    <a:pt x="2769" y="343"/>
                  </a:lnTo>
                  <a:lnTo>
                    <a:pt x="2767" y="343"/>
                  </a:lnTo>
                  <a:lnTo>
                    <a:pt x="2766" y="344"/>
                  </a:lnTo>
                  <a:lnTo>
                    <a:pt x="2766" y="345"/>
                  </a:lnTo>
                  <a:lnTo>
                    <a:pt x="2766" y="346"/>
                  </a:lnTo>
                  <a:lnTo>
                    <a:pt x="2765" y="346"/>
                  </a:lnTo>
                  <a:lnTo>
                    <a:pt x="2764" y="346"/>
                  </a:lnTo>
                  <a:lnTo>
                    <a:pt x="2764" y="346"/>
                  </a:lnTo>
                  <a:lnTo>
                    <a:pt x="2764" y="345"/>
                  </a:lnTo>
                  <a:lnTo>
                    <a:pt x="2763" y="344"/>
                  </a:lnTo>
                  <a:lnTo>
                    <a:pt x="2761" y="342"/>
                  </a:lnTo>
                  <a:lnTo>
                    <a:pt x="2760" y="342"/>
                  </a:lnTo>
                  <a:lnTo>
                    <a:pt x="2759" y="341"/>
                  </a:lnTo>
                  <a:lnTo>
                    <a:pt x="2758" y="341"/>
                  </a:lnTo>
                  <a:lnTo>
                    <a:pt x="2757" y="340"/>
                  </a:lnTo>
                  <a:lnTo>
                    <a:pt x="2755" y="338"/>
                  </a:lnTo>
                  <a:lnTo>
                    <a:pt x="2754" y="338"/>
                  </a:lnTo>
                  <a:lnTo>
                    <a:pt x="2754" y="336"/>
                  </a:lnTo>
                  <a:lnTo>
                    <a:pt x="2753" y="334"/>
                  </a:lnTo>
                  <a:lnTo>
                    <a:pt x="2753" y="332"/>
                  </a:lnTo>
                  <a:lnTo>
                    <a:pt x="2753" y="331"/>
                  </a:lnTo>
                  <a:lnTo>
                    <a:pt x="2754" y="330"/>
                  </a:lnTo>
                  <a:lnTo>
                    <a:pt x="2754" y="327"/>
                  </a:lnTo>
                  <a:lnTo>
                    <a:pt x="2754" y="326"/>
                  </a:lnTo>
                  <a:lnTo>
                    <a:pt x="2753" y="324"/>
                  </a:lnTo>
                  <a:lnTo>
                    <a:pt x="2751" y="322"/>
                  </a:lnTo>
                  <a:lnTo>
                    <a:pt x="2750" y="319"/>
                  </a:lnTo>
                  <a:lnTo>
                    <a:pt x="2748" y="316"/>
                  </a:lnTo>
                  <a:lnTo>
                    <a:pt x="2747" y="314"/>
                  </a:lnTo>
                  <a:lnTo>
                    <a:pt x="2747" y="313"/>
                  </a:lnTo>
                  <a:lnTo>
                    <a:pt x="2746" y="312"/>
                  </a:lnTo>
                  <a:lnTo>
                    <a:pt x="2745" y="312"/>
                  </a:lnTo>
                  <a:lnTo>
                    <a:pt x="2743" y="311"/>
                  </a:lnTo>
                  <a:lnTo>
                    <a:pt x="2742" y="311"/>
                  </a:lnTo>
                  <a:lnTo>
                    <a:pt x="2739" y="310"/>
                  </a:lnTo>
                  <a:lnTo>
                    <a:pt x="2738" y="309"/>
                  </a:lnTo>
                  <a:lnTo>
                    <a:pt x="2736" y="306"/>
                  </a:lnTo>
                  <a:lnTo>
                    <a:pt x="2735" y="303"/>
                  </a:lnTo>
                  <a:lnTo>
                    <a:pt x="2734" y="301"/>
                  </a:lnTo>
                  <a:lnTo>
                    <a:pt x="2734" y="299"/>
                  </a:lnTo>
                  <a:lnTo>
                    <a:pt x="2734" y="297"/>
                  </a:lnTo>
                  <a:lnTo>
                    <a:pt x="2734" y="294"/>
                  </a:lnTo>
                  <a:lnTo>
                    <a:pt x="2734" y="292"/>
                  </a:lnTo>
                  <a:lnTo>
                    <a:pt x="2734" y="290"/>
                  </a:lnTo>
                  <a:lnTo>
                    <a:pt x="2734" y="290"/>
                  </a:lnTo>
                  <a:lnTo>
                    <a:pt x="2735" y="290"/>
                  </a:lnTo>
                  <a:lnTo>
                    <a:pt x="2736" y="290"/>
                  </a:lnTo>
                  <a:lnTo>
                    <a:pt x="2737" y="289"/>
                  </a:lnTo>
                  <a:lnTo>
                    <a:pt x="2737" y="287"/>
                  </a:lnTo>
                  <a:lnTo>
                    <a:pt x="2737" y="286"/>
                  </a:lnTo>
                  <a:lnTo>
                    <a:pt x="2737" y="283"/>
                  </a:lnTo>
                  <a:lnTo>
                    <a:pt x="2737" y="281"/>
                  </a:lnTo>
                  <a:lnTo>
                    <a:pt x="2737" y="279"/>
                  </a:lnTo>
                  <a:lnTo>
                    <a:pt x="2737" y="272"/>
                  </a:lnTo>
                  <a:lnTo>
                    <a:pt x="2736" y="271"/>
                  </a:lnTo>
                  <a:lnTo>
                    <a:pt x="2735" y="271"/>
                  </a:lnTo>
                  <a:lnTo>
                    <a:pt x="2735" y="270"/>
                  </a:lnTo>
                  <a:lnTo>
                    <a:pt x="2735" y="270"/>
                  </a:lnTo>
                  <a:lnTo>
                    <a:pt x="2735" y="268"/>
                  </a:lnTo>
                  <a:lnTo>
                    <a:pt x="2734" y="267"/>
                  </a:lnTo>
                  <a:lnTo>
                    <a:pt x="2734" y="265"/>
                  </a:lnTo>
                  <a:lnTo>
                    <a:pt x="2734" y="264"/>
                  </a:lnTo>
                  <a:lnTo>
                    <a:pt x="2734" y="262"/>
                  </a:lnTo>
                  <a:lnTo>
                    <a:pt x="2734" y="261"/>
                  </a:lnTo>
                  <a:lnTo>
                    <a:pt x="2735" y="261"/>
                  </a:lnTo>
                  <a:lnTo>
                    <a:pt x="2735" y="262"/>
                  </a:lnTo>
                  <a:lnTo>
                    <a:pt x="2736" y="262"/>
                  </a:lnTo>
                  <a:lnTo>
                    <a:pt x="2736" y="262"/>
                  </a:lnTo>
                  <a:lnTo>
                    <a:pt x="2737" y="261"/>
                  </a:lnTo>
                  <a:lnTo>
                    <a:pt x="2736" y="257"/>
                  </a:lnTo>
                  <a:lnTo>
                    <a:pt x="2735" y="255"/>
                  </a:lnTo>
                  <a:lnTo>
                    <a:pt x="2735" y="251"/>
                  </a:lnTo>
                  <a:lnTo>
                    <a:pt x="2736" y="250"/>
                  </a:lnTo>
                  <a:lnTo>
                    <a:pt x="2737" y="250"/>
                  </a:lnTo>
                  <a:lnTo>
                    <a:pt x="2738" y="249"/>
                  </a:lnTo>
                  <a:lnTo>
                    <a:pt x="2739" y="248"/>
                  </a:lnTo>
                  <a:lnTo>
                    <a:pt x="2739" y="247"/>
                  </a:lnTo>
                  <a:lnTo>
                    <a:pt x="2739" y="246"/>
                  </a:lnTo>
                  <a:lnTo>
                    <a:pt x="2739" y="244"/>
                  </a:lnTo>
                  <a:lnTo>
                    <a:pt x="2739" y="242"/>
                  </a:lnTo>
                  <a:lnTo>
                    <a:pt x="2738" y="238"/>
                  </a:lnTo>
                  <a:lnTo>
                    <a:pt x="2737" y="236"/>
                  </a:lnTo>
                  <a:lnTo>
                    <a:pt x="2735" y="235"/>
                  </a:lnTo>
                  <a:lnTo>
                    <a:pt x="2735" y="234"/>
                  </a:lnTo>
                  <a:lnTo>
                    <a:pt x="2735" y="232"/>
                  </a:lnTo>
                  <a:lnTo>
                    <a:pt x="2735" y="231"/>
                  </a:lnTo>
                  <a:lnTo>
                    <a:pt x="2736" y="228"/>
                  </a:lnTo>
                  <a:lnTo>
                    <a:pt x="2736" y="226"/>
                  </a:lnTo>
                  <a:lnTo>
                    <a:pt x="2737" y="225"/>
                  </a:lnTo>
                  <a:lnTo>
                    <a:pt x="2737" y="214"/>
                  </a:lnTo>
                  <a:lnTo>
                    <a:pt x="2738" y="212"/>
                  </a:lnTo>
                  <a:lnTo>
                    <a:pt x="2739" y="210"/>
                  </a:lnTo>
                  <a:lnTo>
                    <a:pt x="2739" y="207"/>
                  </a:lnTo>
                  <a:lnTo>
                    <a:pt x="2739" y="199"/>
                  </a:lnTo>
                  <a:lnTo>
                    <a:pt x="2739" y="197"/>
                  </a:lnTo>
                  <a:lnTo>
                    <a:pt x="2738" y="196"/>
                  </a:lnTo>
                  <a:lnTo>
                    <a:pt x="2737" y="195"/>
                  </a:lnTo>
                  <a:lnTo>
                    <a:pt x="2737" y="194"/>
                  </a:lnTo>
                  <a:lnTo>
                    <a:pt x="2736" y="193"/>
                  </a:lnTo>
                  <a:lnTo>
                    <a:pt x="2735" y="191"/>
                  </a:lnTo>
                  <a:lnTo>
                    <a:pt x="2734" y="188"/>
                  </a:lnTo>
                  <a:lnTo>
                    <a:pt x="2734" y="185"/>
                  </a:lnTo>
                  <a:lnTo>
                    <a:pt x="2734" y="183"/>
                  </a:lnTo>
                  <a:lnTo>
                    <a:pt x="2734" y="182"/>
                  </a:lnTo>
                  <a:lnTo>
                    <a:pt x="2735" y="181"/>
                  </a:lnTo>
                  <a:lnTo>
                    <a:pt x="2735" y="181"/>
                  </a:lnTo>
                  <a:lnTo>
                    <a:pt x="2735" y="182"/>
                  </a:lnTo>
                  <a:lnTo>
                    <a:pt x="2736" y="182"/>
                  </a:lnTo>
                  <a:lnTo>
                    <a:pt x="2736" y="182"/>
                  </a:lnTo>
                  <a:lnTo>
                    <a:pt x="2737" y="181"/>
                  </a:lnTo>
                  <a:lnTo>
                    <a:pt x="2737" y="181"/>
                  </a:lnTo>
                  <a:lnTo>
                    <a:pt x="2737" y="180"/>
                  </a:lnTo>
                  <a:lnTo>
                    <a:pt x="2737" y="178"/>
                  </a:lnTo>
                  <a:lnTo>
                    <a:pt x="2738" y="177"/>
                  </a:lnTo>
                  <a:lnTo>
                    <a:pt x="2739" y="177"/>
                  </a:lnTo>
                  <a:lnTo>
                    <a:pt x="2740" y="178"/>
                  </a:lnTo>
                  <a:lnTo>
                    <a:pt x="2742" y="179"/>
                  </a:lnTo>
                  <a:lnTo>
                    <a:pt x="2742" y="180"/>
                  </a:lnTo>
                  <a:lnTo>
                    <a:pt x="2743" y="180"/>
                  </a:lnTo>
                  <a:lnTo>
                    <a:pt x="2744" y="179"/>
                  </a:lnTo>
                  <a:lnTo>
                    <a:pt x="2745" y="178"/>
                  </a:lnTo>
                  <a:lnTo>
                    <a:pt x="2745" y="177"/>
                  </a:lnTo>
                  <a:lnTo>
                    <a:pt x="2744" y="174"/>
                  </a:lnTo>
                  <a:lnTo>
                    <a:pt x="2744" y="172"/>
                  </a:lnTo>
                  <a:lnTo>
                    <a:pt x="2743" y="171"/>
                  </a:lnTo>
                  <a:lnTo>
                    <a:pt x="2743" y="169"/>
                  </a:lnTo>
                  <a:lnTo>
                    <a:pt x="2743" y="168"/>
                  </a:lnTo>
                  <a:lnTo>
                    <a:pt x="2743" y="168"/>
                  </a:lnTo>
                  <a:lnTo>
                    <a:pt x="2744" y="168"/>
                  </a:lnTo>
                  <a:lnTo>
                    <a:pt x="2745" y="168"/>
                  </a:lnTo>
                  <a:lnTo>
                    <a:pt x="2746" y="168"/>
                  </a:lnTo>
                  <a:lnTo>
                    <a:pt x="2746" y="167"/>
                  </a:lnTo>
                  <a:lnTo>
                    <a:pt x="2746" y="164"/>
                  </a:lnTo>
                  <a:lnTo>
                    <a:pt x="2746" y="163"/>
                  </a:lnTo>
                  <a:lnTo>
                    <a:pt x="2746" y="161"/>
                  </a:lnTo>
                  <a:lnTo>
                    <a:pt x="2746" y="160"/>
                  </a:lnTo>
                  <a:lnTo>
                    <a:pt x="2746" y="159"/>
                  </a:lnTo>
                  <a:lnTo>
                    <a:pt x="2748" y="158"/>
                  </a:lnTo>
                  <a:lnTo>
                    <a:pt x="2749" y="158"/>
                  </a:lnTo>
                  <a:lnTo>
                    <a:pt x="2750" y="158"/>
                  </a:lnTo>
                  <a:lnTo>
                    <a:pt x="2751" y="158"/>
                  </a:lnTo>
                  <a:lnTo>
                    <a:pt x="2751" y="157"/>
                  </a:lnTo>
                  <a:lnTo>
                    <a:pt x="2751" y="152"/>
                  </a:lnTo>
                  <a:lnTo>
                    <a:pt x="2753" y="152"/>
                  </a:lnTo>
                  <a:lnTo>
                    <a:pt x="2753" y="153"/>
                  </a:lnTo>
                  <a:lnTo>
                    <a:pt x="2754" y="155"/>
                  </a:lnTo>
                  <a:lnTo>
                    <a:pt x="2755" y="156"/>
                  </a:lnTo>
                  <a:lnTo>
                    <a:pt x="2755" y="157"/>
                  </a:lnTo>
                  <a:lnTo>
                    <a:pt x="2756" y="157"/>
                  </a:lnTo>
                  <a:lnTo>
                    <a:pt x="2756" y="156"/>
                  </a:lnTo>
                  <a:lnTo>
                    <a:pt x="2756" y="155"/>
                  </a:lnTo>
                  <a:lnTo>
                    <a:pt x="2756" y="152"/>
                  </a:lnTo>
                  <a:lnTo>
                    <a:pt x="2756" y="150"/>
                  </a:lnTo>
                  <a:lnTo>
                    <a:pt x="2756" y="149"/>
                  </a:lnTo>
                  <a:lnTo>
                    <a:pt x="2756" y="148"/>
                  </a:lnTo>
                  <a:lnTo>
                    <a:pt x="2756" y="147"/>
                  </a:lnTo>
                  <a:lnTo>
                    <a:pt x="2757" y="147"/>
                  </a:lnTo>
                  <a:lnTo>
                    <a:pt x="2758" y="148"/>
                  </a:lnTo>
                  <a:lnTo>
                    <a:pt x="2760" y="148"/>
                  </a:lnTo>
                  <a:lnTo>
                    <a:pt x="2761" y="149"/>
                  </a:lnTo>
                  <a:lnTo>
                    <a:pt x="2761" y="150"/>
                  </a:lnTo>
                  <a:lnTo>
                    <a:pt x="2764" y="152"/>
                  </a:lnTo>
                  <a:lnTo>
                    <a:pt x="2765" y="151"/>
                  </a:lnTo>
                  <a:lnTo>
                    <a:pt x="2766" y="151"/>
                  </a:lnTo>
                  <a:lnTo>
                    <a:pt x="2766" y="150"/>
                  </a:lnTo>
                  <a:lnTo>
                    <a:pt x="2766" y="150"/>
                  </a:lnTo>
                  <a:lnTo>
                    <a:pt x="2768" y="150"/>
                  </a:lnTo>
                  <a:lnTo>
                    <a:pt x="2769" y="150"/>
                  </a:lnTo>
                  <a:lnTo>
                    <a:pt x="2771" y="150"/>
                  </a:lnTo>
                  <a:lnTo>
                    <a:pt x="2772" y="150"/>
                  </a:lnTo>
                  <a:lnTo>
                    <a:pt x="2776" y="148"/>
                  </a:lnTo>
                  <a:lnTo>
                    <a:pt x="2777" y="147"/>
                  </a:lnTo>
                  <a:lnTo>
                    <a:pt x="2778" y="146"/>
                  </a:lnTo>
                  <a:lnTo>
                    <a:pt x="2778" y="145"/>
                  </a:lnTo>
                  <a:lnTo>
                    <a:pt x="2779" y="144"/>
                  </a:lnTo>
                  <a:lnTo>
                    <a:pt x="2779" y="142"/>
                  </a:lnTo>
                  <a:lnTo>
                    <a:pt x="2778" y="141"/>
                  </a:lnTo>
                  <a:lnTo>
                    <a:pt x="2778" y="137"/>
                  </a:lnTo>
                  <a:lnTo>
                    <a:pt x="2778" y="135"/>
                  </a:lnTo>
                  <a:lnTo>
                    <a:pt x="2780" y="131"/>
                  </a:lnTo>
                  <a:lnTo>
                    <a:pt x="2781" y="131"/>
                  </a:lnTo>
                  <a:lnTo>
                    <a:pt x="2783" y="130"/>
                  </a:lnTo>
                  <a:lnTo>
                    <a:pt x="2785" y="129"/>
                  </a:lnTo>
                  <a:lnTo>
                    <a:pt x="2786" y="129"/>
                  </a:lnTo>
                  <a:close/>
                  <a:moveTo>
                    <a:pt x="1292" y="100"/>
                  </a:moveTo>
                  <a:lnTo>
                    <a:pt x="1292" y="101"/>
                  </a:lnTo>
                  <a:lnTo>
                    <a:pt x="1293" y="102"/>
                  </a:lnTo>
                  <a:lnTo>
                    <a:pt x="1294" y="103"/>
                  </a:lnTo>
                  <a:lnTo>
                    <a:pt x="1294" y="104"/>
                  </a:lnTo>
                  <a:lnTo>
                    <a:pt x="1294" y="105"/>
                  </a:lnTo>
                  <a:lnTo>
                    <a:pt x="1292" y="106"/>
                  </a:lnTo>
                  <a:lnTo>
                    <a:pt x="1291" y="108"/>
                  </a:lnTo>
                  <a:lnTo>
                    <a:pt x="1291" y="111"/>
                  </a:lnTo>
                  <a:lnTo>
                    <a:pt x="1292" y="112"/>
                  </a:lnTo>
                  <a:lnTo>
                    <a:pt x="1292" y="118"/>
                  </a:lnTo>
                  <a:lnTo>
                    <a:pt x="1290" y="126"/>
                  </a:lnTo>
                  <a:lnTo>
                    <a:pt x="1284" y="131"/>
                  </a:lnTo>
                  <a:lnTo>
                    <a:pt x="1280" y="135"/>
                  </a:lnTo>
                  <a:lnTo>
                    <a:pt x="1276" y="135"/>
                  </a:lnTo>
                  <a:lnTo>
                    <a:pt x="1274" y="135"/>
                  </a:lnTo>
                  <a:lnTo>
                    <a:pt x="1272" y="133"/>
                  </a:lnTo>
                  <a:lnTo>
                    <a:pt x="1271" y="131"/>
                  </a:lnTo>
                  <a:lnTo>
                    <a:pt x="1271" y="129"/>
                  </a:lnTo>
                  <a:lnTo>
                    <a:pt x="1272" y="127"/>
                  </a:lnTo>
                  <a:lnTo>
                    <a:pt x="1273" y="125"/>
                  </a:lnTo>
                  <a:lnTo>
                    <a:pt x="1275" y="124"/>
                  </a:lnTo>
                  <a:lnTo>
                    <a:pt x="1279" y="123"/>
                  </a:lnTo>
                  <a:lnTo>
                    <a:pt x="1281" y="122"/>
                  </a:lnTo>
                  <a:lnTo>
                    <a:pt x="1283" y="122"/>
                  </a:lnTo>
                  <a:lnTo>
                    <a:pt x="1285" y="120"/>
                  </a:lnTo>
                  <a:lnTo>
                    <a:pt x="1287" y="119"/>
                  </a:lnTo>
                  <a:lnTo>
                    <a:pt x="1287" y="117"/>
                  </a:lnTo>
                  <a:lnTo>
                    <a:pt x="1287" y="115"/>
                  </a:lnTo>
                  <a:lnTo>
                    <a:pt x="1286" y="114"/>
                  </a:lnTo>
                  <a:lnTo>
                    <a:pt x="1286" y="112"/>
                  </a:lnTo>
                  <a:lnTo>
                    <a:pt x="1285" y="108"/>
                  </a:lnTo>
                  <a:lnTo>
                    <a:pt x="1285" y="106"/>
                  </a:lnTo>
                  <a:lnTo>
                    <a:pt x="1285" y="104"/>
                  </a:lnTo>
                  <a:lnTo>
                    <a:pt x="1285" y="103"/>
                  </a:lnTo>
                  <a:lnTo>
                    <a:pt x="1286" y="101"/>
                  </a:lnTo>
                  <a:lnTo>
                    <a:pt x="1288" y="101"/>
                  </a:lnTo>
                  <a:lnTo>
                    <a:pt x="1292" y="100"/>
                  </a:lnTo>
                  <a:close/>
                  <a:moveTo>
                    <a:pt x="933" y="93"/>
                  </a:moveTo>
                  <a:lnTo>
                    <a:pt x="936" y="93"/>
                  </a:lnTo>
                  <a:lnTo>
                    <a:pt x="937" y="94"/>
                  </a:lnTo>
                  <a:lnTo>
                    <a:pt x="939" y="96"/>
                  </a:lnTo>
                  <a:lnTo>
                    <a:pt x="941" y="100"/>
                  </a:lnTo>
                  <a:lnTo>
                    <a:pt x="941" y="103"/>
                  </a:lnTo>
                  <a:lnTo>
                    <a:pt x="939" y="106"/>
                  </a:lnTo>
                  <a:lnTo>
                    <a:pt x="941" y="108"/>
                  </a:lnTo>
                  <a:lnTo>
                    <a:pt x="941" y="112"/>
                  </a:lnTo>
                  <a:lnTo>
                    <a:pt x="943" y="114"/>
                  </a:lnTo>
                  <a:lnTo>
                    <a:pt x="946" y="117"/>
                  </a:lnTo>
                  <a:lnTo>
                    <a:pt x="949" y="120"/>
                  </a:lnTo>
                  <a:lnTo>
                    <a:pt x="952" y="123"/>
                  </a:lnTo>
                  <a:lnTo>
                    <a:pt x="954" y="126"/>
                  </a:lnTo>
                  <a:lnTo>
                    <a:pt x="959" y="134"/>
                  </a:lnTo>
                  <a:lnTo>
                    <a:pt x="965" y="141"/>
                  </a:lnTo>
                  <a:lnTo>
                    <a:pt x="969" y="150"/>
                  </a:lnTo>
                  <a:lnTo>
                    <a:pt x="968" y="155"/>
                  </a:lnTo>
                  <a:lnTo>
                    <a:pt x="965" y="161"/>
                  </a:lnTo>
                  <a:lnTo>
                    <a:pt x="959" y="166"/>
                  </a:lnTo>
                  <a:lnTo>
                    <a:pt x="953" y="170"/>
                  </a:lnTo>
                  <a:lnTo>
                    <a:pt x="947" y="171"/>
                  </a:lnTo>
                  <a:lnTo>
                    <a:pt x="939" y="172"/>
                  </a:lnTo>
                  <a:lnTo>
                    <a:pt x="939" y="172"/>
                  </a:lnTo>
                  <a:lnTo>
                    <a:pt x="937" y="173"/>
                  </a:lnTo>
                  <a:lnTo>
                    <a:pt x="937" y="173"/>
                  </a:lnTo>
                  <a:lnTo>
                    <a:pt x="928" y="172"/>
                  </a:lnTo>
                  <a:lnTo>
                    <a:pt x="921" y="169"/>
                  </a:lnTo>
                  <a:lnTo>
                    <a:pt x="917" y="166"/>
                  </a:lnTo>
                  <a:lnTo>
                    <a:pt x="916" y="160"/>
                  </a:lnTo>
                  <a:lnTo>
                    <a:pt x="914" y="155"/>
                  </a:lnTo>
                  <a:lnTo>
                    <a:pt x="912" y="150"/>
                  </a:lnTo>
                  <a:lnTo>
                    <a:pt x="908" y="150"/>
                  </a:lnTo>
                  <a:lnTo>
                    <a:pt x="906" y="150"/>
                  </a:lnTo>
                  <a:lnTo>
                    <a:pt x="905" y="150"/>
                  </a:lnTo>
                  <a:lnTo>
                    <a:pt x="903" y="150"/>
                  </a:lnTo>
                  <a:lnTo>
                    <a:pt x="902" y="150"/>
                  </a:lnTo>
                  <a:lnTo>
                    <a:pt x="900" y="150"/>
                  </a:lnTo>
                  <a:lnTo>
                    <a:pt x="899" y="149"/>
                  </a:lnTo>
                  <a:lnTo>
                    <a:pt x="898" y="148"/>
                  </a:lnTo>
                  <a:lnTo>
                    <a:pt x="897" y="146"/>
                  </a:lnTo>
                  <a:lnTo>
                    <a:pt x="898" y="141"/>
                  </a:lnTo>
                  <a:lnTo>
                    <a:pt x="899" y="138"/>
                  </a:lnTo>
                  <a:lnTo>
                    <a:pt x="901" y="136"/>
                  </a:lnTo>
                  <a:lnTo>
                    <a:pt x="903" y="134"/>
                  </a:lnTo>
                  <a:lnTo>
                    <a:pt x="914" y="116"/>
                  </a:lnTo>
                  <a:lnTo>
                    <a:pt x="925" y="97"/>
                  </a:lnTo>
                  <a:lnTo>
                    <a:pt x="928" y="95"/>
                  </a:lnTo>
                  <a:lnTo>
                    <a:pt x="931" y="93"/>
                  </a:lnTo>
                  <a:lnTo>
                    <a:pt x="933" y="93"/>
                  </a:lnTo>
                  <a:close/>
                  <a:moveTo>
                    <a:pt x="2135" y="49"/>
                  </a:moveTo>
                  <a:lnTo>
                    <a:pt x="2139" y="50"/>
                  </a:lnTo>
                  <a:lnTo>
                    <a:pt x="2145" y="53"/>
                  </a:lnTo>
                  <a:lnTo>
                    <a:pt x="2150" y="57"/>
                  </a:lnTo>
                  <a:lnTo>
                    <a:pt x="2155" y="60"/>
                  </a:lnTo>
                  <a:lnTo>
                    <a:pt x="2159" y="65"/>
                  </a:lnTo>
                  <a:lnTo>
                    <a:pt x="2163" y="72"/>
                  </a:lnTo>
                  <a:lnTo>
                    <a:pt x="2165" y="80"/>
                  </a:lnTo>
                  <a:lnTo>
                    <a:pt x="2165" y="83"/>
                  </a:lnTo>
                  <a:lnTo>
                    <a:pt x="2165" y="86"/>
                  </a:lnTo>
                  <a:lnTo>
                    <a:pt x="2166" y="90"/>
                  </a:lnTo>
                  <a:lnTo>
                    <a:pt x="2166" y="93"/>
                  </a:lnTo>
                  <a:lnTo>
                    <a:pt x="2165" y="95"/>
                  </a:lnTo>
                  <a:lnTo>
                    <a:pt x="2164" y="96"/>
                  </a:lnTo>
                  <a:lnTo>
                    <a:pt x="2161" y="96"/>
                  </a:lnTo>
                  <a:lnTo>
                    <a:pt x="2160" y="95"/>
                  </a:lnTo>
                  <a:lnTo>
                    <a:pt x="2158" y="94"/>
                  </a:lnTo>
                  <a:lnTo>
                    <a:pt x="2156" y="92"/>
                  </a:lnTo>
                  <a:lnTo>
                    <a:pt x="2154" y="90"/>
                  </a:lnTo>
                  <a:lnTo>
                    <a:pt x="2153" y="88"/>
                  </a:lnTo>
                  <a:lnTo>
                    <a:pt x="2149" y="87"/>
                  </a:lnTo>
                  <a:lnTo>
                    <a:pt x="2147" y="85"/>
                  </a:lnTo>
                  <a:lnTo>
                    <a:pt x="2144" y="84"/>
                  </a:lnTo>
                  <a:lnTo>
                    <a:pt x="2142" y="81"/>
                  </a:lnTo>
                  <a:lnTo>
                    <a:pt x="2139" y="77"/>
                  </a:lnTo>
                  <a:lnTo>
                    <a:pt x="2136" y="70"/>
                  </a:lnTo>
                  <a:lnTo>
                    <a:pt x="2133" y="62"/>
                  </a:lnTo>
                  <a:lnTo>
                    <a:pt x="2132" y="55"/>
                  </a:lnTo>
                  <a:lnTo>
                    <a:pt x="2132" y="51"/>
                  </a:lnTo>
                  <a:lnTo>
                    <a:pt x="2135" y="49"/>
                  </a:lnTo>
                  <a:close/>
                  <a:moveTo>
                    <a:pt x="2808" y="27"/>
                  </a:moveTo>
                  <a:lnTo>
                    <a:pt x="2809" y="27"/>
                  </a:lnTo>
                  <a:lnTo>
                    <a:pt x="2810" y="28"/>
                  </a:lnTo>
                  <a:lnTo>
                    <a:pt x="2812" y="29"/>
                  </a:lnTo>
                  <a:lnTo>
                    <a:pt x="2813" y="30"/>
                  </a:lnTo>
                  <a:lnTo>
                    <a:pt x="2813" y="31"/>
                  </a:lnTo>
                  <a:lnTo>
                    <a:pt x="2814" y="32"/>
                  </a:lnTo>
                  <a:lnTo>
                    <a:pt x="2814" y="32"/>
                  </a:lnTo>
                  <a:lnTo>
                    <a:pt x="2814" y="33"/>
                  </a:lnTo>
                  <a:lnTo>
                    <a:pt x="2814" y="33"/>
                  </a:lnTo>
                  <a:lnTo>
                    <a:pt x="2813" y="33"/>
                  </a:lnTo>
                  <a:lnTo>
                    <a:pt x="2811" y="31"/>
                  </a:lnTo>
                  <a:lnTo>
                    <a:pt x="2810" y="30"/>
                  </a:lnTo>
                  <a:lnTo>
                    <a:pt x="2809" y="29"/>
                  </a:lnTo>
                  <a:lnTo>
                    <a:pt x="2808" y="28"/>
                  </a:lnTo>
                  <a:lnTo>
                    <a:pt x="2807" y="27"/>
                  </a:lnTo>
                  <a:lnTo>
                    <a:pt x="2808" y="27"/>
                  </a:lnTo>
                  <a:close/>
                  <a:moveTo>
                    <a:pt x="986" y="0"/>
                  </a:moveTo>
                  <a:lnTo>
                    <a:pt x="988" y="3"/>
                  </a:lnTo>
                  <a:lnTo>
                    <a:pt x="989" y="4"/>
                  </a:lnTo>
                  <a:lnTo>
                    <a:pt x="989" y="5"/>
                  </a:lnTo>
                  <a:lnTo>
                    <a:pt x="990" y="6"/>
                  </a:lnTo>
                  <a:lnTo>
                    <a:pt x="990" y="7"/>
                  </a:lnTo>
                  <a:lnTo>
                    <a:pt x="992" y="8"/>
                  </a:lnTo>
                  <a:lnTo>
                    <a:pt x="994" y="9"/>
                  </a:lnTo>
                  <a:lnTo>
                    <a:pt x="1000" y="8"/>
                  </a:lnTo>
                  <a:lnTo>
                    <a:pt x="1003" y="8"/>
                  </a:lnTo>
                  <a:lnTo>
                    <a:pt x="1007" y="9"/>
                  </a:lnTo>
                  <a:lnTo>
                    <a:pt x="1009" y="11"/>
                  </a:lnTo>
                  <a:lnTo>
                    <a:pt x="1010" y="14"/>
                  </a:lnTo>
                  <a:lnTo>
                    <a:pt x="1011" y="18"/>
                  </a:lnTo>
                  <a:lnTo>
                    <a:pt x="1012" y="22"/>
                  </a:lnTo>
                  <a:lnTo>
                    <a:pt x="1014" y="29"/>
                  </a:lnTo>
                  <a:lnTo>
                    <a:pt x="1020" y="36"/>
                  </a:lnTo>
                  <a:lnTo>
                    <a:pt x="1023" y="42"/>
                  </a:lnTo>
                  <a:lnTo>
                    <a:pt x="1023" y="48"/>
                  </a:lnTo>
                  <a:lnTo>
                    <a:pt x="1025" y="53"/>
                  </a:lnTo>
                  <a:lnTo>
                    <a:pt x="1030" y="60"/>
                  </a:lnTo>
                  <a:lnTo>
                    <a:pt x="1032" y="61"/>
                  </a:lnTo>
                  <a:lnTo>
                    <a:pt x="1034" y="64"/>
                  </a:lnTo>
                  <a:lnTo>
                    <a:pt x="1036" y="68"/>
                  </a:lnTo>
                  <a:lnTo>
                    <a:pt x="1039" y="71"/>
                  </a:lnTo>
                  <a:lnTo>
                    <a:pt x="1040" y="73"/>
                  </a:lnTo>
                  <a:lnTo>
                    <a:pt x="1040" y="76"/>
                  </a:lnTo>
                  <a:lnTo>
                    <a:pt x="1039" y="77"/>
                  </a:lnTo>
                  <a:lnTo>
                    <a:pt x="1037" y="79"/>
                  </a:lnTo>
                  <a:lnTo>
                    <a:pt x="1036" y="79"/>
                  </a:lnTo>
                  <a:lnTo>
                    <a:pt x="1034" y="79"/>
                  </a:lnTo>
                  <a:lnTo>
                    <a:pt x="1032" y="79"/>
                  </a:lnTo>
                  <a:lnTo>
                    <a:pt x="1030" y="79"/>
                  </a:lnTo>
                  <a:lnTo>
                    <a:pt x="1028" y="79"/>
                  </a:lnTo>
                  <a:lnTo>
                    <a:pt x="1025" y="79"/>
                  </a:lnTo>
                  <a:lnTo>
                    <a:pt x="1023" y="80"/>
                  </a:lnTo>
                  <a:lnTo>
                    <a:pt x="1022" y="82"/>
                  </a:lnTo>
                  <a:lnTo>
                    <a:pt x="1023" y="84"/>
                  </a:lnTo>
                  <a:lnTo>
                    <a:pt x="1024" y="86"/>
                  </a:lnTo>
                  <a:lnTo>
                    <a:pt x="1025" y="87"/>
                  </a:lnTo>
                  <a:lnTo>
                    <a:pt x="1025" y="91"/>
                  </a:lnTo>
                  <a:lnTo>
                    <a:pt x="1024" y="92"/>
                  </a:lnTo>
                  <a:lnTo>
                    <a:pt x="1023" y="94"/>
                  </a:lnTo>
                  <a:lnTo>
                    <a:pt x="1022" y="95"/>
                  </a:lnTo>
                  <a:lnTo>
                    <a:pt x="1021" y="97"/>
                  </a:lnTo>
                  <a:lnTo>
                    <a:pt x="1021" y="100"/>
                  </a:lnTo>
                  <a:lnTo>
                    <a:pt x="1023" y="103"/>
                  </a:lnTo>
                  <a:lnTo>
                    <a:pt x="1024" y="105"/>
                  </a:lnTo>
                  <a:lnTo>
                    <a:pt x="1028" y="106"/>
                  </a:lnTo>
                  <a:lnTo>
                    <a:pt x="1030" y="106"/>
                  </a:lnTo>
                  <a:lnTo>
                    <a:pt x="1033" y="105"/>
                  </a:lnTo>
                  <a:lnTo>
                    <a:pt x="1035" y="105"/>
                  </a:lnTo>
                  <a:lnTo>
                    <a:pt x="1037" y="104"/>
                  </a:lnTo>
                  <a:lnTo>
                    <a:pt x="1040" y="104"/>
                  </a:lnTo>
                  <a:lnTo>
                    <a:pt x="1042" y="104"/>
                  </a:lnTo>
                  <a:lnTo>
                    <a:pt x="1045" y="106"/>
                  </a:lnTo>
                  <a:lnTo>
                    <a:pt x="1046" y="107"/>
                  </a:lnTo>
                  <a:lnTo>
                    <a:pt x="1048" y="108"/>
                  </a:lnTo>
                  <a:lnTo>
                    <a:pt x="1051" y="109"/>
                  </a:lnTo>
                  <a:lnTo>
                    <a:pt x="1053" y="109"/>
                  </a:lnTo>
                  <a:lnTo>
                    <a:pt x="1055" y="111"/>
                  </a:lnTo>
                  <a:lnTo>
                    <a:pt x="1056" y="113"/>
                  </a:lnTo>
                  <a:lnTo>
                    <a:pt x="1056" y="119"/>
                  </a:lnTo>
                  <a:lnTo>
                    <a:pt x="1053" y="126"/>
                  </a:lnTo>
                  <a:lnTo>
                    <a:pt x="1052" y="133"/>
                  </a:lnTo>
                  <a:lnTo>
                    <a:pt x="1052" y="134"/>
                  </a:lnTo>
                  <a:lnTo>
                    <a:pt x="1053" y="137"/>
                  </a:lnTo>
                  <a:lnTo>
                    <a:pt x="1054" y="139"/>
                  </a:lnTo>
                  <a:lnTo>
                    <a:pt x="1054" y="141"/>
                  </a:lnTo>
                  <a:lnTo>
                    <a:pt x="1054" y="145"/>
                  </a:lnTo>
                  <a:lnTo>
                    <a:pt x="1056" y="151"/>
                  </a:lnTo>
                  <a:lnTo>
                    <a:pt x="1058" y="158"/>
                  </a:lnTo>
                  <a:lnTo>
                    <a:pt x="1063" y="161"/>
                  </a:lnTo>
                  <a:lnTo>
                    <a:pt x="1065" y="152"/>
                  </a:lnTo>
                  <a:lnTo>
                    <a:pt x="1065" y="145"/>
                  </a:lnTo>
                  <a:lnTo>
                    <a:pt x="1067" y="136"/>
                  </a:lnTo>
                  <a:lnTo>
                    <a:pt x="1070" y="128"/>
                  </a:lnTo>
                  <a:lnTo>
                    <a:pt x="1078" y="122"/>
                  </a:lnTo>
                  <a:lnTo>
                    <a:pt x="1080" y="120"/>
                  </a:lnTo>
                  <a:lnTo>
                    <a:pt x="1083" y="119"/>
                  </a:lnTo>
                  <a:lnTo>
                    <a:pt x="1086" y="118"/>
                  </a:lnTo>
                  <a:lnTo>
                    <a:pt x="1088" y="117"/>
                  </a:lnTo>
                  <a:lnTo>
                    <a:pt x="1091" y="117"/>
                  </a:lnTo>
                  <a:lnTo>
                    <a:pt x="1094" y="117"/>
                  </a:lnTo>
                  <a:lnTo>
                    <a:pt x="1096" y="119"/>
                  </a:lnTo>
                  <a:lnTo>
                    <a:pt x="1098" y="126"/>
                  </a:lnTo>
                  <a:lnTo>
                    <a:pt x="1101" y="131"/>
                  </a:lnTo>
                  <a:lnTo>
                    <a:pt x="1107" y="137"/>
                  </a:lnTo>
                  <a:lnTo>
                    <a:pt x="1111" y="140"/>
                  </a:lnTo>
                  <a:lnTo>
                    <a:pt x="1113" y="144"/>
                  </a:lnTo>
                  <a:lnTo>
                    <a:pt x="1114" y="148"/>
                  </a:lnTo>
                  <a:lnTo>
                    <a:pt x="1116" y="152"/>
                  </a:lnTo>
                  <a:lnTo>
                    <a:pt x="1113" y="156"/>
                  </a:lnTo>
                  <a:lnTo>
                    <a:pt x="1112" y="158"/>
                  </a:lnTo>
                  <a:lnTo>
                    <a:pt x="1109" y="159"/>
                  </a:lnTo>
                  <a:lnTo>
                    <a:pt x="1107" y="161"/>
                  </a:lnTo>
                  <a:lnTo>
                    <a:pt x="1105" y="163"/>
                  </a:lnTo>
                  <a:lnTo>
                    <a:pt x="1100" y="171"/>
                  </a:lnTo>
                  <a:lnTo>
                    <a:pt x="1099" y="180"/>
                  </a:lnTo>
                  <a:lnTo>
                    <a:pt x="1101" y="190"/>
                  </a:lnTo>
                  <a:lnTo>
                    <a:pt x="1107" y="196"/>
                  </a:lnTo>
                  <a:lnTo>
                    <a:pt x="1108" y="197"/>
                  </a:lnTo>
                  <a:lnTo>
                    <a:pt x="1110" y="199"/>
                  </a:lnTo>
                  <a:lnTo>
                    <a:pt x="1111" y="199"/>
                  </a:lnTo>
                  <a:lnTo>
                    <a:pt x="1112" y="201"/>
                  </a:lnTo>
                  <a:lnTo>
                    <a:pt x="1113" y="203"/>
                  </a:lnTo>
                  <a:lnTo>
                    <a:pt x="1116" y="205"/>
                  </a:lnTo>
                  <a:lnTo>
                    <a:pt x="1118" y="206"/>
                  </a:lnTo>
                  <a:lnTo>
                    <a:pt x="1120" y="207"/>
                  </a:lnTo>
                  <a:lnTo>
                    <a:pt x="1122" y="206"/>
                  </a:lnTo>
                  <a:lnTo>
                    <a:pt x="1124" y="205"/>
                  </a:lnTo>
                  <a:lnTo>
                    <a:pt x="1125" y="204"/>
                  </a:lnTo>
                  <a:lnTo>
                    <a:pt x="1125" y="202"/>
                  </a:lnTo>
                  <a:lnTo>
                    <a:pt x="1127" y="201"/>
                  </a:lnTo>
                  <a:lnTo>
                    <a:pt x="1127" y="194"/>
                  </a:lnTo>
                  <a:lnTo>
                    <a:pt x="1124" y="190"/>
                  </a:lnTo>
                  <a:lnTo>
                    <a:pt x="1122" y="184"/>
                  </a:lnTo>
                  <a:lnTo>
                    <a:pt x="1122" y="179"/>
                  </a:lnTo>
                  <a:lnTo>
                    <a:pt x="1124" y="172"/>
                  </a:lnTo>
                  <a:lnTo>
                    <a:pt x="1128" y="169"/>
                  </a:lnTo>
                  <a:lnTo>
                    <a:pt x="1133" y="168"/>
                  </a:lnTo>
                  <a:lnTo>
                    <a:pt x="1139" y="168"/>
                  </a:lnTo>
                  <a:lnTo>
                    <a:pt x="1144" y="168"/>
                  </a:lnTo>
                  <a:lnTo>
                    <a:pt x="1150" y="166"/>
                  </a:lnTo>
                  <a:lnTo>
                    <a:pt x="1152" y="162"/>
                  </a:lnTo>
                  <a:lnTo>
                    <a:pt x="1152" y="158"/>
                  </a:lnTo>
                  <a:lnTo>
                    <a:pt x="1151" y="152"/>
                  </a:lnTo>
                  <a:lnTo>
                    <a:pt x="1149" y="147"/>
                  </a:lnTo>
                  <a:lnTo>
                    <a:pt x="1149" y="144"/>
                  </a:lnTo>
                  <a:lnTo>
                    <a:pt x="1149" y="140"/>
                  </a:lnTo>
                  <a:lnTo>
                    <a:pt x="1149" y="137"/>
                  </a:lnTo>
                  <a:lnTo>
                    <a:pt x="1151" y="134"/>
                  </a:lnTo>
                  <a:lnTo>
                    <a:pt x="1153" y="131"/>
                  </a:lnTo>
                  <a:lnTo>
                    <a:pt x="1155" y="130"/>
                  </a:lnTo>
                  <a:lnTo>
                    <a:pt x="1160" y="130"/>
                  </a:lnTo>
                  <a:lnTo>
                    <a:pt x="1163" y="129"/>
                  </a:lnTo>
                  <a:lnTo>
                    <a:pt x="1166" y="128"/>
                  </a:lnTo>
                  <a:lnTo>
                    <a:pt x="1167" y="126"/>
                  </a:lnTo>
                  <a:lnTo>
                    <a:pt x="1168" y="123"/>
                  </a:lnTo>
                  <a:lnTo>
                    <a:pt x="1168" y="119"/>
                  </a:lnTo>
                  <a:lnTo>
                    <a:pt x="1165" y="116"/>
                  </a:lnTo>
                  <a:lnTo>
                    <a:pt x="1163" y="113"/>
                  </a:lnTo>
                  <a:lnTo>
                    <a:pt x="1160" y="109"/>
                  </a:lnTo>
                  <a:lnTo>
                    <a:pt x="1157" y="106"/>
                  </a:lnTo>
                  <a:lnTo>
                    <a:pt x="1156" y="103"/>
                  </a:lnTo>
                  <a:lnTo>
                    <a:pt x="1155" y="101"/>
                  </a:lnTo>
                  <a:lnTo>
                    <a:pt x="1155" y="97"/>
                  </a:lnTo>
                  <a:lnTo>
                    <a:pt x="1156" y="94"/>
                  </a:lnTo>
                  <a:lnTo>
                    <a:pt x="1157" y="92"/>
                  </a:lnTo>
                  <a:lnTo>
                    <a:pt x="1160" y="91"/>
                  </a:lnTo>
                  <a:lnTo>
                    <a:pt x="1166" y="88"/>
                  </a:lnTo>
                  <a:lnTo>
                    <a:pt x="1176" y="88"/>
                  </a:lnTo>
                  <a:lnTo>
                    <a:pt x="1186" y="91"/>
                  </a:lnTo>
                  <a:lnTo>
                    <a:pt x="1195" y="93"/>
                  </a:lnTo>
                  <a:lnTo>
                    <a:pt x="1199" y="93"/>
                  </a:lnTo>
                  <a:lnTo>
                    <a:pt x="1204" y="93"/>
                  </a:lnTo>
                  <a:lnTo>
                    <a:pt x="1208" y="93"/>
                  </a:lnTo>
                  <a:lnTo>
                    <a:pt x="1211" y="95"/>
                  </a:lnTo>
                  <a:lnTo>
                    <a:pt x="1214" y="97"/>
                  </a:lnTo>
                  <a:lnTo>
                    <a:pt x="1215" y="100"/>
                  </a:lnTo>
                  <a:lnTo>
                    <a:pt x="1216" y="102"/>
                  </a:lnTo>
                  <a:lnTo>
                    <a:pt x="1218" y="104"/>
                  </a:lnTo>
                  <a:lnTo>
                    <a:pt x="1220" y="105"/>
                  </a:lnTo>
                  <a:lnTo>
                    <a:pt x="1222" y="106"/>
                  </a:lnTo>
                  <a:lnTo>
                    <a:pt x="1226" y="107"/>
                  </a:lnTo>
                  <a:lnTo>
                    <a:pt x="1227" y="109"/>
                  </a:lnTo>
                  <a:lnTo>
                    <a:pt x="1228" y="111"/>
                  </a:lnTo>
                  <a:lnTo>
                    <a:pt x="1229" y="113"/>
                  </a:lnTo>
                  <a:lnTo>
                    <a:pt x="1231" y="114"/>
                  </a:lnTo>
                  <a:lnTo>
                    <a:pt x="1232" y="114"/>
                  </a:lnTo>
                  <a:lnTo>
                    <a:pt x="1234" y="115"/>
                  </a:lnTo>
                  <a:lnTo>
                    <a:pt x="1236" y="116"/>
                  </a:lnTo>
                  <a:lnTo>
                    <a:pt x="1236" y="117"/>
                  </a:lnTo>
                  <a:lnTo>
                    <a:pt x="1238" y="118"/>
                  </a:lnTo>
                  <a:lnTo>
                    <a:pt x="1239" y="120"/>
                  </a:lnTo>
                  <a:lnTo>
                    <a:pt x="1240" y="123"/>
                  </a:lnTo>
                  <a:lnTo>
                    <a:pt x="1241" y="124"/>
                  </a:lnTo>
                  <a:lnTo>
                    <a:pt x="1240" y="126"/>
                  </a:lnTo>
                  <a:lnTo>
                    <a:pt x="1239" y="126"/>
                  </a:lnTo>
                  <a:lnTo>
                    <a:pt x="1237" y="127"/>
                  </a:lnTo>
                  <a:lnTo>
                    <a:pt x="1234" y="127"/>
                  </a:lnTo>
                  <a:lnTo>
                    <a:pt x="1232" y="127"/>
                  </a:lnTo>
                  <a:lnTo>
                    <a:pt x="1231" y="127"/>
                  </a:lnTo>
                  <a:lnTo>
                    <a:pt x="1229" y="128"/>
                  </a:lnTo>
                  <a:lnTo>
                    <a:pt x="1229" y="129"/>
                  </a:lnTo>
                  <a:lnTo>
                    <a:pt x="1229" y="130"/>
                  </a:lnTo>
                  <a:lnTo>
                    <a:pt x="1229" y="133"/>
                  </a:lnTo>
                  <a:lnTo>
                    <a:pt x="1232" y="133"/>
                  </a:lnTo>
                  <a:lnTo>
                    <a:pt x="1234" y="134"/>
                  </a:lnTo>
                  <a:lnTo>
                    <a:pt x="1237" y="136"/>
                  </a:lnTo>
                  <a:lnTo>
                    <a:pt x="1238" y="138"/>
                  </a:lnTo>
                  <a:lnTo>
                    <a:pt x="1239" y="141"/>
                  </a:lnTo>
                  <a:lnTo>
                    <a:pt x="1238" y="144"/>
                  </a:lnTo>
                  <a:lnTo>
                    <a:pt x="1237" y="146"/>
                  </a:lnTo>
                  <a:lnTo>
                    <a:pt x="1233" y="148"/>
                  </a:lnTo>
                  <a:lnTo>
                    <a:pt x="1231" y="150"/>
                  </a:lnTo>
                  <a:lnTo>
                    <a:pt x="1228" y="151"/>
                  </a:lnTo>
                  <a:lnTo>
                    <a:pt x="1225" y="152"/>
                  </a:lnTo>
                  <a:lnTo>
                    <a:pt x="1221" y="153"/>
                  </a:lnTo>
                  <a:lnTo>
                    <a:pt x="1218" y="155"/>
                  </a:lnTo>
                  <a:lnTo>
                    <a:pt x="1216" y="156"/>
                  </a:lnTo>
                  <a:lnTo>
                    <a:pt x="1216" y="157"/>
                  </a:lnTo>
                  <a:lnTo>
                    <a:pt x="1217" y="159"/>
                  </a:lnTo>
                  <a:lnTo>
                    <a:pt x="1218" y="160"/>
                  </a:lnTo>
                  <a:lnTo>
                    <a:pt x="1220" y="161"/>
                  </a:lnTo>
                  <a:lnTo>
                    <a:pt x="1222" y="163"/>
                  </a:lnTo>
                  <a:lnTo>
                    <a:pt x="1225" y="166"/>
                  </a:lnTo>
                  <a:lnTo>
                    <a:pt x="1227" y="167"/>
                  </a:lnTo>
                  <a:lnTo>
                    <a:pt x="1228" y="169"/>
                  </a:lnTo>
                  <a:lnTo>
                    <a:pt x="1228" y="171"/>
                  </a:lnTo>
                  <a:lnTo>
                    <a:pt x="1227" y="173"/>
                  </a:lnTo>
                  <a:lnTo>
                    <a:pt x="1227" y="174"/>
                  </a:lnTo>
                  <a:lnTo>
                    <a:pt x="1226" y="177"/>
                  </a:lnTo>
                  <a:lnTo>
                    <a:pt x="1225" y="179"/>
                  </a:lnTo>
                  <a:lnTo>
                    <a:pt x="1225" y="181"/>
                  </a:lnTo>
                  <a:lnTo>
                    <a:pt x="1226" y="183"/>
                  </a:lnTo>
                  <a:lnTo>
                    <a:pt x="1228" y="185"/>
                  </a:lnTo>
                  <a:lnTo>
                    <a:pt x="1230" y="188"/>
                  </a:lnTo>
                  <a:lnTo>
                    <a:pt x="1232" y="190"/>
                  </a:lnTo>
                  <a:lnTo>
                    <a:pt x="1233" y="192"/>
                  </a:lnTo>
                  <a:lnTo>
                    <a:pt x="1233" y="203"/>
                  </a:lnTo>
                  <a:lnTo>
                    <a:pt x="1229" y="212"/>
                  </a:lnTo>
                  <a:lnTo>
                    <a:pt x="1223" y="221"/>
                  </a:lnTo>
                  <a:lnTo>
                    <a:pt x="1216" y="229"/>
                  </a:lnTo>
                  <a:lnTo>
                    <a:pt x="1214" y="233"/>
                  </a:lnTo>
                  <a:lnTo>
                    <a:pt x="1209" y="237"/>
                  </a:lnTo>
                  <a:lnTo>
                    <a:pt x="1204" y="243"/>
                  </a:lnTo>
                  <a:lnTo>
                    <a:pt x="1198" y="247"/>
                  </a:lnTo>
                  <a:lnTo>
                    <a:pt x="1193" y="249"/>
                  </a:lnTo>
                  <a:lnTo>
                    <a:pt x="1188" y="247"/>
                  </a:lnTo>
                  <a:lnTo>
                    <a:pt x="1182" y="239"/>
                  </a:lnTo>
                  <a:lnTo>
                    <a:pt x="1177" y="232"/>
                  </a:lnTo>
                  <a:lnTo>
                    <a:pt x="1171" y="225"/>
                  </a:lnTo>
                  <a:lnTo>
                    <a:pt x="1167" y="223"/>
                  </a:lnTo>
                  <a:lnTo>
                    <a:pt x="1164" y="223"/>
                  </a:lnTo>
                  <a:lnTo>
                    <a:pt x="1163" y="224"/>
                  </a:lnTo>
                  <a:lnTo>
                    <a:pt x="1161" y="226"/>
                  </a:lnTo>
                  <a:lnTo>
                    <a:pt x="1161" y="228"/>
                  </a:lnTo>
                  <a:lnTo>
                    <a:pt x="1162" y="232"/>
                  </a:lnTo>
                  <a:lnTo>
                    <a:pt x="1162" y="234"/>
                  </a:lnTo>
                  <a:lnTo>
                    <a:pt x="1163" y="236"/>
                  </a:lnTo>
                  <a:lnTo>
                    <a:pt x="1164" y="238"/>
                  </a:lnTo>
                  <a:lnTo>
                    <a:pt x="1165" y="240"/>
                  </a:lnTo>
                  <a:lnTo>
                    <a:pt x="1166" y="243"/>
                  </a:lnTo>
                  <a:lnTo>
                    <a:pt x="1166" y="244"/>
                  </a:lnTo>
                  <a:lnTo>
                    <a:pt x="1167" y="246"/>
                  </a:lnTo>
                  <a:lnTo>
                    <a:pt x="1168" y="248"/>
                  </a:lnTo>
                  <a:lnTo>
                    <a:pt x="1168" y="250"/>
                  </a:lnTo>
                  <a:lnTo>
                    <a:pt x="1170" y="253"/>
                  </a:lnTo>
                  <a:lnTo>
                    <a:pt x="1170" y="255"/>
                  </a:lnTo>
                  <a:lnTo>
                    <a:pt x="1170" y="256"/>
                  </a:lnTo>
                  <a:lnTo>
                    <a:pt x="1170" y="258"/>
                  </a:lnTo>
                  <a:lnTo>
                    <a:pt x="1168" y="258"/>
                  </a:lnTo>
                  <a:lnTo>
                    <a:pt x="1166" y="258"/>
                  </a:lnTo>
                  <a:lnTo>
                    <a:pt x="1164" y="258"/>
                  </a:lnTo>
                  <a:lnTo>
                    <a:pt x="1157" y="255"/>
                  </a:lnTo>
                  <a:lnTo>
                    <a:pt x="1153" y="250"/>
                  </a:lnTo>
                  <a:lnTo>
                    <a:pt x="1149" y="247"/>
                  </a:lnTo>
                  <a:lnTo>
                    <a:pt x="1143" y="244"/>
                  </a:lnTo>
                  <a:lnTo>
                    <a:pt x="1135" y="245"/>
                  </a:lnTo>
                  <a:lnTo>
                    <a:pt x="1132" y="247"/>
                  </a:lnTo>
                  <a:lnTo>
                    <a:pt x="1133" y="249"/>
                  </a:lnTo>
                  <a:lnTo>
                    <a:pt x="1135" y="254"/>
                  </a:lnTo>
                  <a:lnTo>
                    <a:pt x="1139" y="258"/>
                  </a:lnTo>
                  <a:lnTo>
                    <a:pt x="1140" y="262"/>
                  </a:lnTo>
                  <a:lnTo>
                    <a:pt x="1140" y="267"/>
                  </a:lnTo>
                  <a:lnTo>
                    <a:pt x="1133" y="277"/>
                  </a:lnTo>
                  <a:lnTo>
                    <a:pt x="1124" y="284"/>
                  </a:lnTo>
                  <a:lnTo>
                    <a:pt x="1120" y="287"/>
                  </a:lnTo>
                  <a:lnTo>
                    <a:pt x="1116" y="289"/>
                  </a:lnTo>
                  <a:lnTo>
                    <a:pt x="1111" y="290"/>
                  </a:lnTo>
                  <a:lnTo>
                    <a:pt x="1107" y="289"/>
                  </a:lnTo>
                  <a:lnTo>
                    <a:pt x="1098" y="284"/>
                  </a:lnTo>
                  <a:lnTo>
                    <a:pt x="1091" y="278"/>
                  </a:lnTo>
                  <a:lnTo>
                    <a:pt x="1085" y="271"/>
                  </a:lnTo>
                  <a:lnTo>
                    <a:pt x="1078" y="267"/>
                  </a:lnTo>
                  <a:lnTo>
                    <a:pt x="1072" y="266"/>
                  </a:lnTo>
                  <a:lnTo>
                    <a:pt x="1065" y="268"/>
                  </a:lnTo>
                  <a:lnTo>
                    <a:pt x="1061" y="272"/>
                  </a:lnTo>
                  <a:lnTo>
                    <a:pt x="1059" y="277"/>
                  </a:lnTo>
                  <a:lnTo>
                    <a:pt x="1061" y="281"/>
                  </a:lnTo>
                  <a:lnTo>
                    <a:pt x="1067" y="284"/>
                  </a:lnTo>
                  <a:lnTo>
                    <a:pt x="1070" y="284"/>
                  </a:lnTo>
                  <a:lnTo>
                    <a:pt x="1074" y="286"/>
                  </a:lnTo>
                  <a:lnTo>
                    <a:pt x="1075" y="287"/>
                  </a:lnTo>
                  <a:lnTo>
                    <a:pt x="1076" y="289"/>
                  </a:lnTo>
                  <a:lnTo>
                    <a:pt x="1077" y="291"/>
                  </a:lnTo>
                  <a:lnTo>
                    <a:pt x="1078" y="293"/>
                  </a:lnTo>
                  <a:lnTo>
                    <a:pt x="1084" y="297"/>
                  </a:lnTo>
                  <a:lnTo>
                    <a:pt x="1089" y="298"/>
                  </a:lnTo>
                  <a:lnTo>
                    <a:pt x="1098" y="298"/>
                  </a:lnTo>
                  <a:lnTo>
                    <a:pt x="1102" y="298"/>
                  </a:lnTo>
                  <a:lnTo>
                    <a:pt x="1107" y="298"/>
                  </a:lnTo>
                  <a:lnTo>
                    <a:pt x="1111" y="298"/>
                  </a:lnTo>
                  <a:lnTo>
                    <a:pt x="1116" y="300"/>
                  </a:lnTo>
                  <a:lnTo>
                    <a:pt x="1118" y="304"/>
                  </a:lnTo>
                  <a:lnTo>
                    <a:pt x="1119" y="308"/>
                  </a:lnTo>
                  <a:lnTo>
                    <a:pt x="1118" y="311"/>
                  </a:lnTo>
                  <a:lnTo>
                    <a:pt x="1116" y="313"/>
                  </a:lnTo>
                  <a:lnTo>
                    <a:pt x="1113" y="315"/>
                  </a:lnTo>
                  <a:lnTo>
                    <a:pt x="1106" y="324"/>
                  </a:lnTo>
                  <a:lnTo>
                    <a:pt x="1100" y="335"/>
                  </a:lnTo>
                  <a:lnTo>
                    <a:pt x="1094" y="345"/>
                  </a:lnTo>
                  <a:lnTo>
                    <a:pt x="1087" y="353"/>
                  </a:lnTo>
                  <a:lnTo>
                    <a:pt x="1081" y="354"/>
                  </a:lnTo>
                  <a:lnTo>
                    <a:pt x="1076" y="354"/>
                  </a:lnTo>
                  <a:lnTo>
                    <a:pt x="1069" y="353"/>
                  </a:lnTo>
                  <a:lnTo>
                    <a:pt x="1064" y="353"/>
                  </a:lnTo>
                  <a:lnTo>
                    <a:pt x="1059" y="353"/>
                  </a:lnTo>
                  <a:lnTo>
                    <a:pt x="1056" y="357"/>
                  </a:lnTo>
                  <a:lnTo>
                    <a:pt x="1055" y="362"/>
                  </a:lnTo>
                  <a:lnTo>
                    <a:pt x="1055" y="366"/>
                  </a:lnTo>
                  <a:lnTo>
                    <a:pt x="1056" y="370"/>
                  </a:lnTo>
                  <a:lnTo>
                    <a:pt x="1055" y="374"/>
                  </a:lnTo>
                  <a:lnTo>
                    <a:pt x="1053" y="376"/>
                  </a:lnTo>
                  <a:lnTo>
                    <a:pt x="1047" y="377"/>
                  </a:lnTo>
                  <a:lnTo>
                    <a:pt x="1041" y="376"/>
                  </a:lnTo>
                  <a:lnTo>
                    <a:pt x="1033" y="374"/>
                  </a:lnTo>
                  <a:lnTo>
                    <a:pt x="1025" y="373"/>
                  </a:lnTo>
                  <a:lnTo>
                    <a:pt x="1019" y="373"/>
                  </a:lnTo>
                  <a:lnTo>
                    <a:pt x="1014" y="375"/>
                  </a:lnTo>
                  <a:lnTo>
                    <a:pt x="1012" y="377"/>
                  </a:lnTo>
                  <a:lnTo>
                    <a:pt x="1015" y="379"/>
                  </a:lnTo>
                  <a:lnTo>
                    <a:pt x="1020" y="381"/>
                  </a:lnTo>
                  <a:lnTo>
                    <a:pt x="1026" y="384"/>
                  </a:lnTo>
                  <a:lnTo>
                    <a:pt x="1031" y="385"/>
                  </a:lnTo>
                  <a:lnTo>
                    <a:pt x="1034" y="386"/>
                  </a:lnTo>
                  <a:lnTo>
                    <a:pt x="1039" y="388"/>
                  </a:lnTo>
                  <a:lnTo>
                    <a:pt x="1043" y="391"/>
                  </a:lnTo>
                  <a:lnTo>
                    <a:pt x="1046" y="395"/>
                  </a:lnTo>
                  <a:lnTo>
                    <a:pt x="1045" y="399"/>
                  </a:lnTo>
                  <a:lnTo>
                    <a:pt x="1041" y="403"/>
                  </a:lnTo>
                  <a:lnTo>
                    <a:pt x="1033" y="407"/>
                  </a:lnTo>
                  <a:lnTo>
                    <a:pt x="1024" y="410"/>
                  </a:lnTo>
                  <a:lnTo>
                    <a:pt x="1017" y="414"/>
                  </a:lnTo>
                  <a:lnTo>
                    <a:pt x="1014" y="415"/>
                  </a:lnTo>
                  <a:lnTo>
                    <a:pt x="1014" y="418"/>
                  </a:lnTo>
                  <a:lnTo>
                    <a:pt x="1013" y="420"/>
                  </a:lnTo>
                  <a:lnTo>
                    <a:pt x="1013" y="422"/>
                  </a:lnTo>
                  <a:lnTo>
                    <a:pt x="1013" y="424"/>
                  </a:lnTo>
                  <a:lnTo>
                    <a:pt x="1012" y="425"/>
                  </a:lnTo>
                  <a:lnTo>
                    <a:pt x="1010" y="430"/>
                  </a:lnTo>
                  <a:lnTo>
                    <a:pt x="1008" y="434"/>
                  </a:lnTo>
                  <a:lnTo>
                    <a:pt x="1004" y="437"/>
                  </a:lnTo>
                  <a:lnTo>
                    <a:pt x="1001" y="441"/>
                  </a:lnTo>
                  <a:lnTo>
                    <a:pt x="992" y="452"/>
                  </a:lnTo>
                  <a:lnTo>
                    <a:pt x="986" y="464"/>
                  </a:lnTo>
                  <a:lnTo>
                    <a:pt x="979" y="478"/>
                  </a:lnTo>
                  <a:lnTo>
                    <a:pt x="974" y="489"/>
                  </a:lnTo>
                  <a:lnTo>
                    <a:pt x="968" y="499"/>
                  </a:lnTo>
                  <a:lnTo>
                    <a:pt x="964" y="510"/>
                  </a:lnTo>
                  <a:lnTo>
                    <a:pt x="961" y="522"/>
                  </a:lnTo>
                  <a:lnTo>
                    <a:pt x="961" y="531"/>
                  </a:lnTo>
                  <a:lnTo>
                    <a:pt x="960" y="542"/>
                  </a:lnTo>
                  <a:lnTo>
                    <a:pt x="960" y="553"/>
                  </a:lnTo>
                  <a:lnTo>
                    <a:pt x="963" y="563"/>
                  </a:lnTo>
                  <a:lnTo>
                    <a:pt x="966" y="571"/>
                  </a:lnTo>
                  <a:lnTo>
                    <a:pt x="971" y="575"/>
                  </a:lnTo>
                  <a:lnTo>
                    <a:pt x="977" y="577"/>
                  </a:lnTo>
                  <a:lnTo>
                    <a:pt x="983" y="577"/>
                  </a:lnTo>
                  <a:lnTo>
                    <a:pt x="990" y="578"/>
                  </a:lnTo>
                  <a:lnTo>
                    <a:pt x="994" y="582"/>
                  </a:lnTo>
                  <a:lnTo>
                    <a:pt x="998" y="591"/>
                  </a:lnTo>
                  <a:lnTo>
                    <a:pt x="998" y="599"/>
                  </a:lnTo>
                  <a:lnTo>
                    <a:pt x="998" y="607"/>
                  </a:lnTo>
                  <a:lnTo>
                    <a:pt x="999" y="615"/>
                  </a:lnTo>
                  <a:lnTo>
                    <a:pt x="1002" y="622"/>
                  </a:lnTo>
                  <a:lnTo>
                    <a:pt x="1004" y="629"/>
                  </a:lnTo>
                  <a:lnTo>
                    <a:pt x="1005" y="637"/>
                  </a:lnTo>
                  <a:lnTo>
                    <a:pt x="1005" y="639"/>
                  </a:lnTo>
                  <a:lnTo>
                    <a:pt x="1005" y="641"/>
                  </a:lnTo>
                  <a:lnTo>
                    <a:pt x="1007" y="642"/>
                  </a:lnTo>
                  <a:lnTo>
                    <a:pt x="1007" y="644"/>
                  </a:lnTo>
                  <a:lnTo>
                    <a:pt x="1008" y="646"/>
                  </a:lnTo>
                  <a:lnTo>
                    <a:pt x="1010" y="646"/>
                  </a:lnTo>
                  <a:lnTo>
                    <a:pt x="1012" y="646"/>
                  </a:lnTo>
                  <a:lnTo>
                    <a:pt x="1018" y="643"/>
                  </a:lnTo>
                  <a:lnTo>
                    <a:pt x="1022" y="640"/>
                  </a:lnTo>
                  <a:lnTo>
                    <a:pt x="1026" y="638"/>
                  </a:lnTo>
                  <a:lnTo>
                    <a:pt x="1032" y="637"/>
                  </a:lnTo>
                  <a:lnTo>
                    <a:pt x="1039" y="639"/>
                  </a:lnTo>
                  <a:lnTo>
                    <a:pt x="1042" y="641"/>
                  </a:lnTo>
                  <a:lnTo>
                    <a:pt x="1045" y="643"/>
                  </a:lnTo>
                  <a:lnTo>
                    <a:pt x="1048" y="646"/>
                  </a:lnTo>
                  <a:lnTo>
                    <a:pt x="1052" y="647"/>
                  </a:lnTo>
                  <a:lnTo>
                    <a:pt x="1056" y="648"/>
                  </a:lnTo>
                  <a:lnTo>
                    <a:pt x="1066" y="648"/>
                  </a:lnTo>
                  <a:lnTo>
                    <a:pt x="1078" y="646"/>
                  </a:lnTo>
                  <a:lnTo>
                    <a:pt x="1086" y="647"/>
                  </a:lnTo>
                  <a:lnTo>
                    <a:pt x="1091" y="650"/>
                  </a:lnTo>
                  <a:lnTo>
                    <a:pt x="1095" y="655"/>
                  </a:lnTo>
                  <a:lnTo>
                    <a:pt x="1098" y="661"/>
                  </a:lnTo>
                  <a:lnTo>
                    <a:pt x="1102" y="668"/>
                  </a:lnTo>
                  <a:lnTo>
                    <a:pt x="1108" y="674"/>
                  </a:lnTo>
                  <a:lnTo>
                    <a:pt x="1116" y="679"/>
                  </a:lnTo>
                  <a:lnTo>
                    <a:pt x="1124" y="683"/>
                  </a:lnTo>
                  <a:lnTo>
                    <a:pt x="1135" y="690"/>
                  </a:lnTo>
                  <a:lnTo>
                    <a:pt x="1146" y="696"/>
                  </a:lnTo>
                  <a:lnTo>
                    <a:pt x="1159" y="703"/>
                  </a:lnTo>
                  <a:lnTo>
                    <a:pt x="1171" y="707"/>
                  </a:lnTo>
                  <a:lnTo>
                    <a:pt x="1182" y="709"/>
                  </a:lnTo>
                  <a:lnTo>
                    <a:pt x="1195" y="709"/>
                  </a:lnTo>
                  <a:lnTo>
                    <a:pt x="1201" y="709"/>
                  </a:lnTo>
                  <a:lnTo>
                    <a:pt x="1210" y="709"/>
                  </a:lnTo>
                  <a:lnTo>
                    <a:pt x="1216" y="712"/>
                  </a:lnTo>
                  <a:lnTo>
                    <a:pt x="1219" y="719"/>
                  </a:lnTo>
                  <a:lnTo>
                    <a:pt x="1221" y="727"/>
                  </a:lnTo>
                  <a:lnTo>
                    <a:pt x="1220" y="734"/>
                  </a:lnTo>
                  <a:lnTo>
                    <a:pt x="1216" y="739"/>
                  </a:lnTo>
                  <a:lnTo>
                    <a:pt x="1211" y="745"/>
                  </a:lnTo>
                  <a:lnTo>
                    <a:pt x="1209" y="751"/>
                  </a:lnTo>
                  <a:lnTo>
                    <a:pt x="1209" y="753"/>
                  </a:lnTo>
                  <a:lnTo>
                    <a:pt x="1210" y="757"/>
                  </a:lnTo>
                  <a:lnTo>
                    <a:pt x="1212" y="759"/>
                  </a:lnTo>
                  <a:lnTo>
                    <a:pt x="1214" y="762"/>
                  </a:lnTo>
                  <a:lnTo>
                    <a:pt x="1214" y="764"/>
                  </a:lnTo>
                  <a:lnTo>
                    <a:pt x="1215" y="771"/>
                  </a:lnTo>
                  <a:lnTo>
                    <a:pt x="1216" y="779"/>
                  </a:lnTo>
                  <a:lnTo>
                    <a:pt x="1217" y="785"/>
                  </a:lnTo>
                  <a:lnTo>
                    <a:pt x="1220" y="792"/>
                  </a:lnTo>
                  <a:lnTo>
                    <a:pt x="1227" y="795"/>
                  </a:lnTo>
                  <a:lnTo>
                    <a:pt x="1229" y="795"/>
                  </a:lnTo>
                  <a:lnTo>
                    <a:pt x="1231" y="795"/>
                  </a:lnTo>
                  <a:lnTo>
                    <a:pt x="1233" y="796"/>
                  </a:lnTo>
                  <a:lnTo>
                    <a:pt x="1237" y="796"/>
                  </a:lnTo>
                  <a:lnTo>
                    <a:pt x="1239" y="795"/>
                  </a:lnTo>
                  <a:lnTo>
                    <a:pt x="1241" y="794"/>
                  </a:lnTo>
                  <a:lnTo>
                    <a:pt x="1242" y="793"/>
                  </a:lnTo>
                  <a:lnTo>
                    <a:pt x="1243" y="791"/>
                  </a:lnTo>
                  <a:lnTo>
                    <a:pt x="1243" y="789"/>
                  </a:lnTo>
                  <a:lnTo>
                    <a:pt x="1242" y="786"/>
                  </a:lnTo>
                  <a:lnTo>
                    <a:pt x="1241" y="784"/>
                  </a:lnTo>
                  <a:lnTo>
                    <a:pt x="1240" y="782"/>
                  </a:lnTo>
                  <a:lnTo>
                    <a:pt x="1248" y="782"/>
                  </a:lnTo>
                  <a:lnTo>
                    <a:pt x="1253" y="785"/>
                  </a:lnTo>
                  <a:lnTo>
                    <a:pt x="1256" y="792"/>
                  </a:lnTo>
                  <a:lnTo>
                    <a:pt x="1258" y="800"/>
                  </a:lnTo>
                  <a:lnTo>
                    <a:pt x="1258" y="806"/>
                  </a:lnTo>
                  <a:lnTo>
                    <a:pt x="1258" y="813"/>
                  </a:lnTo>
                  <a:lnTo>
                    <a:pt x="1255" y="821"/>
                  </a:lnTo>
                  <a:lnTo>
                    <a:pt x="1253" y="828"/>
                  </a:lnTo>
                  <a:lnTo>
                    <a:pt x="1253" y="835"/>
                  </a:lnTo>
                  <a:lnTo>
                    <a:pt x="1254" y="842"/>
                  </a:lnTo>
                  <a:lnTo>
                    <a:pt x="1260" y="846"/>
                  </a:lnTo>
                  <a:lnTo>
                    <a:pt x="1269" y="850"/>
                  </a:lnTo>
                  <a:lnTo>
                    <a:pt x="1275" y="849"/>
                  </a:lnTo>
                  <a:lnTo>
                    <a:pt x="1279" y="845"/>
                  </a:lnTo>
                  <a:lnTo>
                    <a:pt x="1280" y="835"/>
                  </a:lnTo>
                  <a:lnTo>
                    <a:pt x="1280" y="832"/>
                  </a:lnTo>
                  <a:lnTo>
                    <a:pt x="1280" y="829"/>
                  </a:lnTo>
                  <a:lnTo>
                    <a:pt x="1281" y="827"/>
                  </a:lnTo>
                  <a:lnTo>
                    <a:pt x="1283" y="826"/>
                  </a:lnTo>
                  <a:lnTo>
                    <a:pt x="1284" y="826"/>
                  </a:lnTo>
                  <a:lnTo>
                    <a:pt x="1286" y="826"/>
                  </a:lnTo>
                  <a:lnTo>
                    <a:pt x="1288" y="826"/>
                  </a:lnTo>
                  <a:lnTo>
                    <a:pt x="1291" y="826"/>
                  </a:lnTo>
                  <a:lnTo>
                    <a:pt x="1292" y="825"/>
                  </a:lnTo>
                  <a:lnTo>
                    <a:pt x="1294" y="824"/>
                  </a:lnTo>
                  <a:lnTo>
                    <a:pt x="1295" y="822"/>
                  </a:lnTo>
                  <a:lnTo>
                    <a:pt x="1299" y="812"/>
                  </a:lnTo>
                  <a:lnTo>
                    <a:pt x="1299" y="803"/>
                  </a:lnTo>
                  <a:lnTo>
                    <a:pt x="1296" y="793"/>
                  </a:lnTo>
                  <a:lnTo>
                    <a:pt x="1293" y="783"/>
                  </a:lnTo>
                  <a:lnTo>
                    <a:pt x="1291" y="773"/>
                  </a:lnTo>
                  <a:lnTo>
                    <a:pt x="1290" y="762"/>
                  </a:lnTo>
                  <a:lnTo>
                    <a:pt x="1287" y="752"/>
                  </a:lnTo>
                  <a:lnTo>
                    <a:pt x="1284" y="742"/>
                  </a:lnTo>
                  <a:lnTo>
                    <a:pt x="1277" y="731"/>
                  </a:lnTo>
                  <a:lnTo>
                    <a:pt x="1276" y="729"/>
                  </a:lnTo>
                  <a:lnTo>
                    <a:pt x="1275" y="727"/>
                  </a:lnTo>
                  <a:lnTo>
                    <a:pt x="1275" y="726"/>
                  </a:lnTo>
                  <a:lnTo>
                    <a:pt x="1276" y="725"/>
                  </a:lnTo>
                  <a:lnTo>
                    <a:pt x="1279" y="724"/>
                  </a:lnTo>
                  <a:lnTo>
                    <a:pt x="1281" y="723"/>
                  </a:lnTo>
                  <a:lnTo>
                    <a:pt x="1284" y="723"/>
                  </a:lnTo>
                  <a:lnTo>
                    <a:pt x="1286" y="722"/>
                  </a:lnTo>
                  <a:lnTo>
                    <a:pt x="1288" y="722"/>
                  </a:lnTo>
                  <a:lnTo>
                    <a:pt x="1291" y="720"/>
                  </a:lnTo>
                  <a:lnTo>
                    <a:pt x="1302" y="716"/>
                  </a:lnTo>
                  <a:lnTo>
                    <a:pt x="1313" y="712"/>
                  </a:lnTo>
                  <a:lnTo>
                    <a:pt x="1319" y="707"/>
                  </a:lnTo>
                  <a:lnTo>
                    <a:pt x="1324" y="702"/>
                  </a:lnTo>
                  <a:lnTo>
                    <a:pt x="1328" y="696"/>
                  </a:lnTo>
                  <a:lnTo>
                    <a:pt x="1330" y="693"/>
                  </a:lnTo>
                  <a:lnTo>
                    <a:pt x="1334" y="690"/>
                  </a:lnTo>
                  <a:lnTo>
                    <a:pt x="1337" y="686"/>
                  </a:lnTo>
                  <a:lnTo>
                    <a:pt x="1339" y="683"/>
                  </a:lnTo>
                  <a:lnTo>
                    <a:pt x="1339" y="671"/>
                  </a:lnTo>
                  <a:lnTo>
                    <a:pt x="1338" y="658"/>
                  </a:lnTo>
                  <a:lnTo>
                    <a:pt x="1335" y="646"/>
                  </a:lnTo>
                  <a:lnTo>
                    <a:pt x="1330" y="622"/>
                  </a:lnTo>
                  <a:lnTo>
                    <a:pt x="1321" y="602"/>
                  </a:lnTo>
                  <a:lnTo>
                    <a:pt x="1316" y="594"/>
                  </a:lnTo>
                  <a:lnTo>
                    <a:pt x="1309" y="587"/>
                  </a:lnTo>
                  <a:lnTo>
                    <a:pt x="1304" y="580"/>
                  </a:lnTo>
                  <a:lnTo>
                    <a:pt x="1299" y="572"/>
                  </a:lnTo>
                  <a:lnTo>
                    <a:pt x="1297" y="562"/>
                  </a:lnTo>
                  <a:lnTo>
                    <a:pt x="1298" y="557"/>
                  </a:lnTo>
                  <a:lnTo>
                    <a:pt x="1298" y="554"/>
                  </a:lnTo>
                  <a:lnTo>
                    <a:pt x="1301" y="551"/>
                  </a:lnTo>
                  <a:lnTo>
                    <a:pt x="1303" y="549"/>
                  </a:lnTo>
                  <a:lnTo>
                    <a:pt x="1306" y="546"/>
                  </a:lnTo>
                  <a:lnTo>
                    <a:pt x="1309" y="544"/>
                  </a:lnTo>
                  <a:lnTo>
                    <a:pt x="1312" y="541"/>
                  </a:lnTo>
                  <a:lnTo>
                    <a:pt x="1314" y="538"/>
                  </a:lnTo>
                  <a:lnTo>
                    <a:pt x="1316" y="534"/>
                  </a:lnTo>
                  <a:lnTo>
                    <a:pt x="1317" y="531"/>
                  </a:lnTo>
                  <a:lnTo>
                    <a:pt x="1319" y="526"/>
                  </a:lnTo>
                  <a:lnTo>
                    <a:pt x="1318" y="521"/>
                  </a:lnTo>
                  <a:lnTo>
                    <a:pt x="1317" y="518"/>
                  </a:lnTo>
                  <a:lnTo>
                    <a:pt x="1315" y="513"/>
                  </a:lnTo>
                  <a:lnTo>
                    <a:pt x="1314" y="509"/>
                  </a:lnTo>
                  <a:lnTo>
                    <a:pt x="1314" y="506"/>
                  </a:lnTo>
                  <a:lnTo>
                    <a:pt x="1314" y="502"/>
                  </a:lnTo>
                  <a:lnTo>
                    <a:pt x="1313" y="499"/>
                  </a:lnTo>
                  <a:lnTo>
                    <a:pt x="1310" y="496"/>
                  </a:lnTo>
                  <a:lnTo>
                    <a:pt x="1309" y="495"/>
                  </a:lnTo>
                  <a:lnTo>
                    <a:pt x="1307" y="494"/>
                  </a:lnTo>
                  <a:lnTo>
                    <a:pt x="1305" y="493"/>
                  </a:lnTo>
                  <a:lnTo>
                    <a:pt x="1303" y="493"/>
                  </a:lnTo>
                  <a:lnTo>
                    <a:pt x="1301" y="491"/>
                  </a:lnTo>
                  <a:lnTo>
                    <a:pt x="1299" y="491"/>
                  </a:lnTo>
                  <a:lnTo>
                    <a:pt x="1297" y="491"/>
                  </a:lnTo>
                  <a:lnTo>
                    <a:pt x="1297" y="490"/>
                  </a:lnTo>
                  <a:lnTo>
                    <a:pt x="1297" y="489"/>
                  </a:lnTo>
                  <a:lnTo>
                    <a:pt x="1297" y="488"/>
                  </a:lnTo>
                  <a:lnTo>
                    <a:pt x="1299" y="486"/>
                  </a:lnTo>
                  <a:lnTo>
                    <a:pt x="1302" y="483"/>
                  </a:lnTo>
                  <a:lnTo>
                    <a:pt x="1308" y="469"/>
                  </a:lnTo>
                  <a:lnTo>
                    <a:pt x="1308" y="457"/>
                  </a:lnTo>
                  <a:lnTo>
                    <a:pt x="1302" y="445"/>
                  </a:lnTo>
                  <a:lnTo>
                    <a:pt x="1301" y="440"/>
                  </a:lnTo>
                  <a:lnTo>
                    <a:pt x="1302" y="434"/>
                  </a:lnTo>
                  <a:lnTo>
                    <a:pt x="1304" y="428"/>
                  </a:lnTo>
                  <a:lnTo>
                    <a:pt x="1305" y="425"/>
                  </a:lnTo>
                  <a:lnTo>
                    <a:pt x="1306" y="422"/>
                  </a:lnTo>
                  <a:lnTo>
                    <a:pt x="1307" y="419"/>
                  </a:lnTo>
                  <a:lnTo>
                    <a:pt x="1308" y="415"/>
                  </a:lnTo>
                  <a:lnTo>
                    <a:pt x="1310" y="412"/>
                  </a:lnTo>
                  <a:lnTo>
                    <a:pt x="1313" y="410"/>
                  </a:lnTo>
                  <a:lnTo>
                    <a:pt x="1314" y="409"/>
                  </a:lnTo>
                  <a:lnTo>
                    <a:pt x="1315" y="409"/>
                  </a:lnTo>
                  <a:lnTo>
                    <a:pt x="1317" y="410"/>
                  </a:lnTo>
                  <a:lnTo>
                    <a:pt x="1318" y="411"/>
                  </a:lnTo>
                  <a:lnTo>
                    <a:pt x="1319" y="413"/>
                  </a:lnTo>
                  <a:lnTo>
                    <a:pt x="1320" y="415"/>
                  </a:lnTo>
                  <a:lnTo>
                    <a:pt x="1321" y="417"/>
                  </a:lnTo>
                  <a:lnTo>
                    <a:pt x="1325" y="419"/>
                  </a:lnTo>
                  <a:lnTo>
                    <a:pt x="1327" y="419"/>
                  </a:lnTo>
                  <a:lnTo>
                    <a:pt x="1329" y="420"/>
                  </a:lnTo>
                  <a:lnTo>
                    <a:pt x="1332" y="420"/>
                  </a:lnTo>
                  <a:lnTo>
                    <a:pt x="1335" y="421"/>
                  </a:lnTo>
                  <a:lnTo>
                    <a:pt x="1346" y="423"/>
                  </a:lnTo>
                  <a:lnTo>
                    <a:pt x="1356" y="428"/>
                  </a:lnTo>
                  <a:lnTo>
                    <a:pt x="1365" y="430"/>
                  </a:lnTo>
                  <a:lnTo>
                    <a:pt x="1369" y="430"/>
                  </a:lnTo>
                  <a:lnTo>
                    <a:pt x="1372" y="430"/>
                  </a:lnTo>
                  <a:lnTo>
                    <a:pt x="1376" y="429"/>
                  </a:lnTo>
                  <a:lnTo>
                    <a:pt x="1380" y="429"/>
                  </a:lnTo>
                  <a:lnTo>
                    <a:pt x="1383" y="428"/>
                  </a:lnTo>
                  <a:lnTo>
                    <a:pt x="1384" y="425"/>
                  </a:lnTo>
                  <a:lnTo>
                    <a:pt x="1386" y="423"/>
                  </a:lnTo>
                  <a:lnTo>
                    <a:pt x="1389" y="421"/>
                  </a:lnTo>
                  <a:lnTo>
                    <a:pt x="1391" y="420"/>
                  </a:lnTo>
                  <a:lnTo>
                    <a:pt x="1392" y="419"/>
                  </a:lnTo>
                  <a:lnTo>
                    <a:pt x="1395" y="421"/>
                  </a:lnTo>
                  <a:lnTo>
                    <a:pt x="1401" y="425"/>
                  </a:lnTo>
                  <a:lnTo>
                    <a:pt x="1406" y="432"/>
                  </a:lnTo>
                  <a:lnTo>
                    <a:pt x="1411" y="437"/>
                  </a:lnTo>
                  <a:lnTo>
                    <a:pt x="1414" y="441"/>
                  </a:lnTo>
                  <a:lnTo>
                    <a:pt x="1424" y="450"/>
                  </a:lnTo>
                  <a:lnTo>
                    <a:pt x="1432" y="458"/>
                  </a:lnTo>
                  <a:lnTo>
                    <a:pt x="1433" y="461"/>
                  </a:lnTo>
                  <a:lnTo>
                    <a:pt x="1435" y="464"/>
                  </a:lnTo>
                  <a:lnTo>
                    <a:pt x="1437" y="467"/>
                  </a:lnTo>
                  <a:lnTo>
                    <a:pt x="1440" y="468"/>
                  </a:lnTo>
                  <a:lnTo>
                    <a:pt x="1443" y="469"/>
                  </a:lnTo>
                  <a:lnTo>
                    <a:pt x="1445" y="471"/>
                  </a:lnTo>
                  <a:lnTo>
                    <a:pt x="1447" y="472"/>
                  </a:lnTo>
                  <a:lnTo>
                    <a:pt x="1450" y="473"/>
                  </a:lnTo>
                  <a:lnTo>
                    <a:pt x="1454" y="474"/>
                  </a:lnTo>
                  <a:lnTo>
                    <a:pt x="1455" y="475"/>
                  </a:lnTo>
                  <a:lnTo>
                    <a:pt x="1457" y="476"/>
                  </a:lnTo>
                  <a:lnTo>
                    <a:pt x="1458" y="478"/>
                  </a:lnTo>
                  <a:lnTo>
                    <a:pt x="1460" y="480"/>
                  </a:lnTo>
                  <a:lnTo>
                    <a:pt x="1463" y="482"/>
                  </a:lnTo>
                  <a:lnTo>
                    <a:pt x="1468" y="483"/>
                  </a:lnTo>
                  <a:lnTo>
                    <a:pt x="1472" y="484"/>
                  </a:lnTo>
                  <a:lnTo>
                    <a:pt x="1478" y="485"/>
                  </a:lnTo>
                  <a:lnTo>
                    <a:pt x="1479" y="485"/>
                  </a:lnTo>
                  <a:lnTo>
                    <a:pt x="1480" y="485"/>
                  </a:lnTo>
                  <a:lnTo>
                    <a:pt x="1480" y="484"/>
                  </a:lnTo>
                  <a:lnTo>
                    <a:pt x="1481" y="483"/>
                  </a:lnTo>
                  <a:lnTo>
                    <a:pt x="1482" y="482"/>
                  </a:lnTo>
                  <a:lnTo>
                    <a:pt x="1483" y="480"/>
                  </a:lnTo>
                  <a:lnTo>
                    <a:pt x="1484" y="480"/>
                  </a:lnTo>
                  <a:lnTo>
                    <a:pt x="1487" y="480"/>
                  </a:lnTo>
                  <a:lnTo>
                    <a:pt x="1489" y="483"/>
                  </a:lnTo>
                  <a:lnTo>
                    <a:pt x="1488" y="487"/>
                  </a:lnTo>
                  <a:lnTo>
                    <a:pt x="1485" y="491"/>
                  </a:lnTo>
                  <a:lnTo>
                    <a:pt x="1482" y="497"/>
                  </a:lnTo>
                  <a:lnTo>
                    <a:pt x="1480" y="501"/>
                  </a:lnTo>
                  <a:lnTo>
                    <a:pt x="1480" y="505"/>
                  </a:lnTo>
                  <a:lnTo>
                    <a:pt x="1481" y="510"/>
                  </a:lnTo>
                  <a:lnTo>
                    <a:pt x="1483" y="516"/>
                  </a:lnTo>
                  <a:lnTo>
                    <a:pt x="1484" y="522"/>
                  </a:lnTo>
                  <a:lnTo>
                    <a:pt x="1484" y="540"/>
                  </a:lnTo>
                  <a:lnTo>
                    <a:pt x="1483" y="542"/>
                  </a:lnTo>
                  <a:lnTo>
                    <a:pt x="1482" y="544"/>
                  </a:lnTo>
                  <a:lnTo>
                    <a:pt x="1482" y="546"/>
                  </a:lnTo>
                  <a:lnTo>
                    <a:pt x="1483" y="549"/>
                  </a:lnTo>
                  <a:lnTo>
                    <a:pt x="1484" y="551"/>
                  </a:lnTo>
                  <a:lnTo>
                    <a:pt x="1488" y="553"/>
                  </a:lnTo>
                  <a:lnTo>
                    <a:pt x="1490" y="555"/>
                  </a:lnTo>
                  <a:lnTo>
                    <a:pt x="1492" y="559"/>
                  </a:lnTo>
                  <a:lnTo>
                    <a:pt x="1493" y="562"/>
                  </a:lnTo>
                  <a:lnTo>
                    <a:pt x="1494" y="565"/>
                  </a:lnTo>
                  <a:lnTo>
                    <a:pt x="1494" y="567"/>
                  </a:lnTo>
                  <a:lnTo>
                    <a:pt x="1494" y="571"/>
                  </a:lnTo>
                  <a:lnTo>
                    <a:pt x="1494" y="573"/>
                  </a:lnTo>
                  <a:lnTo>
                    <a:pt x="1495" y="575"/>
                  </a:lnTo>
                  <a:lnTo>
                    <a:pt x="1498" y="576"/>
                  </a:lnTo>
                  <a:lnTo>
                    <a:pt x="1500" y="577"/>
                  </a:lnTo>
                  <a:lnTo>
                    <a:pt x="1503" y="576"/>
                  </a:lnTo>
                  <a:lnTo>
                    <a:pt x="1505" y="576"/>
                  </a:lnTo>
                  <a:lnTo>
                    <a:pt x="1509" y="575"/>
                  </a:lnTo>
                  <a:lnTo>
                    <a:pt x="1511" y="575"/>
                  </a:lnTo>
                  <a:lnTo>
                    <a:pt x="1515" y="577"/>
                  </a:lnTo>
                  <a:lnTo>
                    <a:pt x="1517" y="582"/>
                  </a:lnTo>
                  <a:lnTo>
                    <a:pt x="1521" y="588"/>
                  </a:lnTo>
                  <a:lnTo>
                    <a:pt x="1524" y="593"/>
                  </a:lnTo>
                  <a:lnTo>
                    <a:pt x="1530" y="597"/>
                  </a:lnTo>
                  <a:lnTo>
                    <a:pt x="1535" y="596"/>
                  </a:lnTo>
                  <a:lnTo>
                    <a:pt x="1539" y="592"/>
                  </a:lnTo>
                  <a:lnTo>
                    <a:pt x="1544" y="586"/>
                  </a:lnTo>
                  <a:lnTo>
                    <a:pt x="1546" y="583"/>
                  </a:lnTo>
                  <a:lnTo>
                    <a:pt x="1548" y="580"/>
                  </a:lnTo>
                  <a:lnTo>
                    <a:pt x="1550" y="577"/>
                  </a:lnTo>
                  <a:lnTo>
                    <a:pt x="1552" y="575"/>
                  </a:lnTo>
                  <a:lnTo>
                    <a:pt x="1554" y="574"/>
                  </a:lnTo>
                  <a:lnTo>
                    <a:pt x="1555" y="574"/>
                  </a:lnTo>
                  <a:lnTo>
                    <a:pt x="1557" y="574"/>
                  </a:lnTo>
                  <a:lnTo>
                    <a:pt x="1559" y="573"/>
                  </a:lnTo>
                  <a:lnTo>
                    <a:pt x="1563" y="566"/>
                  </a:lnTo>
                  <a:lnTo>
                    <a:pt x="1564" y="560"/>
                  </a:lnTo>
                  <a:lnTo>
                    <a:pt x="1565" y="552"/>
                  </a:lnTo>
                  <a:lnTo>
                    <a:pt x="1566" y="544"/>
                  </a:lnTo>
                  <a:lnTo>
                    <a:pt x="1566" y="538"/>
                  </a:lnTo>
                  <a:lnTo>
                    <a:pt x="1565" y="532"/>
                  </a:lnTo>
                  <a:lnTo>
                    <a:pt x="1565" y="527"/>
                  </a:lnTo>
                  <a:lnTo>
                    <a:pt x="1570" y="522"/>
                  </a:lnTo>
                  <a:lnTo>
                    <a:pt x="1577" y="517"/>
                  </a:lnTo>
                  <a:lnTo>
                    <a:pt x="1580" y="511"/>
                  </a:lnTo>
                  <a:lnTo>
                    <a:pt x="1580" y="506"/>
                  </a:lnTo>
                  <a:lnTo>
                    <a:pt x="1577" y="498"/>
                  </a:lnTo>
                  <a:lnTo>
                    <a:pt x="1576" y="495"/>
                  </a:lnTo>
                  <a:lnTo>
                    <a:pt x="1577" y="493"/>
                  </a:lnTo>
                  <a:lnTo>
                    <a:pt x="1578" y="490"/>
                  </a:lnTo>
                  <a:lnTo>
                    <a:pt x="1579" y="489"/>
                  </a:lnTo>
                  <a:lnTo>
                    <a:pt x="1581" y="489"/>
                  </a:lnTo>
                  <a:lnTo>
                    <a:pt x="1583" y="490"/>
                  </a:lnTo>
                  <a:lnTo>
                    <a:pt x="1585" y="491"/>
                  </a:lnTo>
                  <a:lnTo>
                    <a:pt x="1587" y="494"/>
                  </a:lnTo>
                  <a:lnTo>
                    <a:pt x="1588" y="496"/>
                  </a:lnTo>
                  <a:lnTo>
                    <a:pt x="1587" y="502"/>
                  </a:lnTo>
                  <a:lnTo>
                    <a:pt x="1585" y="509"/>
                  </a:lnTo>
                  <a:lnTo>
                    <a:pt x="1583" y="517"/>
                  </a:lnTo>
                  <a:lnTo>
                    <a:pt x="1586" y="524"/>
                  </a:lnTo>
                  <a:lnTo>
                    <a:pt x="1592" y="539"/>
                  </a:lnTo>
                  <a:lnTo>
                    <a:pt x="1601" y="553"/>
                  </a:lnTo>
                  <a:lnTo>
                    <a:pt x="1607" y="568"/>
                  </a:lnTo>
                  <a:lnTo>
                    <a:pt x="1614" y="583"/>
                  </a:lnTo>
                  <a:lnTo>
                    <a:pt x="1622" y="595"/>
                  </a:lnTo>
                  <a:lnTo>
                    <a:pt x="1627" y="607"/>
                  </a:lnTo>
                  <a:lnTo>
                    <a:pt x="1633" y="619"/>
                  </a:lnTo>
                  <a:lnTo>
                    <a:pt x="1635" y="622"/>
                  </a:lnTo>
                  <a:lnTo>
                    <a:pt x="1637" y="627"/>
                  </a:lnTo>
                  <a:lnTo>
                    <a:pt x="1641" y="632"/>
                  </a:lnTo>
                  <a:lnTo>
                    <a:pt x="1642" y="637"/>
                  </a:lnTo>
                  <a:lnTo>
                    <a:pt x="1642" y="643"/>
                  </a:lnTo>
                  <a:lnTo>
                    <a:pt x="1640" y="650"/>
                  </a:lnTo>
                  <a:lnTo>
                    <a:pt x="1637" y="657"/>
                  </a:lnTo>
                  <a:lnTo>
                    <a:pt x="1642" y="669"/>
                  </a:lnTo>
                  <a:lnTo>
                    <a:pt x="1648" y="681"/>
                  </a:lnTo>
                  <a:lnTo>
                    <a:pt x="1655" y="692"/>
                  </a:lnTo>
                  <a:lnTo>
                    <a:pt x="1658" y="695"/>
                  </a:lnTo>
                  <a:lnTo>
                    <a:pt x="1662" y="698"/>
                  </a:lnTo>
                  <a:lnTo>
                    <a:pt x="1665" y="700"/>
                  </a:lnTo>
                  <a:lnTo>
                    <a:pt x="1668" y="701"/>
                  </a:lnTo>
                  <a:lnTo>
                    <a:pt x="1672" y="701"/>
                  </a:lnTo>
                  <a:lnTo>
                    <a:pt x="1675" y="703"/>
                  </a:lnTo>
                  <a:lnTo>
                    <a:pt x="1677" y="704"/>
                  </a:lnTo>
                  <a:lnTo>
                    <a:pt x="1679" y="706"/>
                  </a:lnTo>
                  <a:lnTo>
                    <a:pt x="1681" y="707"/>
                  </a:lnTo>
                  <a:lnTo>
                    <a:pt x="1684" y="708"/>
                  </a:lnTo>
                  <a:lnTo>
                    <a:pt x="1686" y="708"/>
                  </a:lnTo>
                  <a:lnTo>
                    <a:pt x="1688" y="708"/>
                  </a:lnTo>
                  <a:lnTo>
                    <a:pt x="1690" y="709"/>
                  </a:lnTo>
                  <a:lnTo>
                    <a:pt x="1692" y="711"/>
                  </a:lnTo>
                  <a:lnTo>
                    <a:pt x="1694" y="712"/>
                  </a:lnTo>
                  <a:lnTo>
                    <a:pt x="1695" y="714"/>
                  </a:lnTo>
                  <a:lnTo>
                    <a:pt x="1695" y="717"/>
                  </a:lnTo>
                  <a:lnTo>
                    <a:pt x="1696" y="719"/>
                  </a:lnTo>
                  <a:lnTo>
                    <a:pt x="1697" y="723"/>
                  </a:lnTo>
                  <a:lnTo>
                    <a:pt x="1699" y="724"/>
                  </a:lnTo>
                  <a:lnTo>
                    <a:pt x="1701" y="725"/>
                  </a:lnTo>
                  <a:lnTo>
                    <a:pt x="1706" y="727"/>
                  </a:lnTo>
                  <a:lnTo>
                    <a:pt x="1710" y="728"/>
                  </a:lnTo>
                  <a:lnTo>
                    <a:pt x="1714" y="729"/>
                  </a:lnTo>
                  <a:lnTo>
                    <a:pt x="1717" y="731"/>
                  </a:lnTo>
                  <a:lnTo>
                    <a:pt x="1718" y="734"/>
                  </a:lnTo>
                  <a:lnTo>
                    <a:pt x="1720" y="737"/>
                  </a:lnTo>
                  <a:lnTo>
                    <a:pt x="1721" y="739"/>
                  </a:lnTo>
                  <a:lnTo>
                    <a:pt x="1721" y="742"/>
                  </a:lnTo>
                  <a:lnTo>
                    <a:pt x="1723" y="748"/>
                  </a:lnTo>
                  <a:lnTo>
                    <a:pt x="1721" y="753"/>
                  </a:lnTo>
                  <a:lnTo>
                    <a:pt x="1719" y="757"/>
                  </a:lnTo>
                  <a:lnTo>
                    <a:pt x="1719" y="761"/>
                  </a:lnTo>
                  <a:lnTo>
                    <a:pt x="1723" y="764"/>
                  </a:lnTo>
                  <a:lnTo>
                    <a:pt x="1732" y="769"/>
                  </a:lnTo>
                  <a:lnTo>
                    <a:pt x="1741" y="772"/>
                  </a:lnTo>
                  <a:lnTo>
                    <a:pt x="1747" y="778"/>
                  </a:lnTo>
                  <a:lnTo>
                    <a:pt x="1752" y="788"/>
                  </a:lnTo>
                  <a:lnTo>
                    <a:pt x="1752" y="797"/>
                  </a:lnTo>
                  <a:lnTo>
                    <a:pt x="1751" y="801"/>
                  </a:lnTo>
                  <a:lnTo>
                    <a:pt x="1750" y="803"/>
                  </a:lnTo>
                  <a:lnTo>
                    <a:pt x="1747" y="805"/>
                  </a:lnTo>
                  <a:lnTo>
                    <a:pt x="1745" y="806"/>
                  </a:lnTo>
                  <a:lnTo>
                    <a:pt x="1743" y="808"/>
                  </a:lnTo>
                  <a:lnTo>
                    <a:pt x="1742" y="811"/>
                  </a:lnTo>
                  <a:lnTo>
                    <a:pt x="1742" y="813"/>
                  </a:lnTo>
                  <a:lnTo>
                    <a:pt x="1742" y="815"/>
                  </a:lnTo>
                  <a:lnTo>
                    <a:pt x="1743" y="817"/>
                  </a:lnTo>
                  <a:lnTo>
                    <a:pt x="1745" y="820"/>
                  </a:lnTo>
                  <a:lnTo>
                    <a:pt x="1746" y="822"/>
                  </a:lnTo>
                  <a:lnTo>
                    <a:pt x="1747" y="824"/>
                  </a:lnTo>
                  <a:lnTo>
                    <a:pt x="1751" y="829"/>
                  </a:lnTo>
                  <a:lnTo>
                    <a:pt x="1752" y="837"/>
                  </a:lnTo>
                  <a:lnTo>
                    <a:pt x="1754" y="844"/>
                  </a:lnTo>
                  <a:lnTo>
                    <a:pt x="1755" y="850"/>
                  </a:lnTo>
                  <a:lnTo>
                    <a:pt x="1753" y="855"/>
                  </a:lnTo>
                  <a:lnTo>
                    <a:pt x="1749" y="859"/>
                  </a:lnTo>
                  <a:lnTo>
                    <a:pt x="1744" y="864"/>
                  </a:lnTo>
                  <a:lnTo>
                    <a:pt x="1741" y="868"/>
                  </a:lnTo>
                  <a:lnTo>
                    <a:pt x="1739" y="872"/>
                  </a:lnTo>
                  <a:lnTo>
                    <a:pt x="1736" y="872"/>
                  </a:lnTo>
                  <a:lnTo>
                    <a:pt x="1734" y="871"/>
                  </a:lnTo>
                  <a:lnTo>
                    <a:pt x="1732" y="871"/>
                  </a:lnTo>
                  <a:lnTo>
                    <a:pt x="1730" y="871"/>
                  </a:lnTo>
                  <a:lnTo>
                    <a:pt x="1729" y="871"/>
                  </a:lnTo>
                  <a:lnTo>
                    <a:pt x="1727" y="872"/>
                  </a:lnTo>
                  <a:lnTo>
                    <a:pt x="1725" y="875"/>
                  </a:lnTo>
                  <a:lnTo>
                    <a:pt x="1725" y="882"/>
                  </a:lnTo>
                  <a:lnTo>
                    <a:pt x="1724" y="889"/>
                  </a:lnTo>
                  <a:lnTo>
                    <a:pt x="1725" y="897"/>
                  </a:lnTo>
                  <a:lnTo>
                    <a:pt x="1727" y="899"/>
                  </a:lnTo>
                  <a:lnTo>
                    <a:pt x="1728" y="901"/>
                  </a:lnTo>
                  <a:lnTo>
                    <a:pt x="1729" y="903"/>
                  </a:lnTo>
                  <a:lnTo>
                    <a:pt x="1731" y="905"/>
                  </a:lnTo>
                  <a:lnTo>
                    <a:pt x="1733" y="906"/>
                  </a:lnTo>
                  <a:lnTo>
                    <a:pt x="1735" y="908"/>
                  </a:lnTo>
                  <a:lnTo>
                    <a:pt x="1738" y="908"/>
                  </a:lnTo>
                  <a:lnTo>
                    <a:pt x="1741" y="905"/>
                  </a:lnTo>
                  <a:lnTo>
                    <a:pt x="1743" y="903"/>
                  </a:lnTo>
                  <a:lnTo>
                    <a:pt x="1744" y="902"/>
                  </a:lnTo>
                  <a:lnTo>
                    <a:pt x="1745" y="901"/>
                  </a:lnTo>
                  <a:lnTo>
                    <a:pt x="1747" y="900"/>
                  </a:lnTo>
                  <a:lnTo>
                    <a:pt x="1749" y="900"/>
                  </a:lnTo>
                  <a:lnTo>
                    <a:pt x="1750" y="901"/>
                  </a:lnTo>
                  <a:lnTo>
                    <a:pt x="1752" y="903"/>
                  </a:lnTo>
                  <a:lnTo>
                    <a:pt x="1754" y="908"/>
                  </a:lnTo>
                  <a:lnTo>
                    <a:pt x="1756" y="912"/>
                  </a:lnTo>
                  <a:lnTo>
                    <a:pt x="1758" y="916"/>
                  </a:lnTo>
                  <a:lnTo>
                    <a:pt x="1762" y="920"/>
                  </a:lnTo>
                  <a:lnTo>
                    <a:pt x="1766" y="921"/>
                  </a:lnTo>
                  <a:lnTo>
                    <a:pt x="1772" y="919"/>
                  </a:lnTo>
                  <a:lnTo>
                    <a:pt x="1774" y="914"/>
                  </a:lnTo>
                  <a:lnTo>
                    <a:pt x="1774" y="910"/>
                  </a:lnTo>
                  <a:lnTo>
                    <a:pt x="1773" y="904"/>
                  </a:lnTo>
                  <a:lnTo>
                    <a:pt x="1772" y="900"/>
                  </a:lnTo>
                  <a:lnTo>
                    <a:pt x="1774" y="898"/>
                  </a:lnTo>
                  <a:lnTo>
                    <a:pt x="1778" y="897"/>
                  </a:lnTo>
                  <a:lnTo>
                    <a:pt x="1782" y="900"/>
                  </a:lnTo>
                  <a:lnTo>
                    <a:pt x="1784" y="906"/>
                  </a:lnTo>
                  <a:lnTo>
                    <a:pt x="1786" y="914"/>
                  </a:lnTo>
                  <a:lnTo>
                    <a:pt x="1787" y="921"/>
                  </a:lnTo>
                  <a:lnTo>
                    <a:pt x="1787" y="925"/>
                  </a:lnTo>
                  <a:lnTo>
                    <a:pt x="1787" y="932"/>
                  </a:lnTo>
                  <a:lnTo>
                    <a:pt x="1788" y="937"/>
                  </a:lnTo>
                  <a:lnTo>
                    <a:pt x="1790" y="942"/>
                  </a:lnTo>
                  <a:lnTo>
                    <a:pt x="1794" y="947"/>
                  </a:lnTo>
                  <a:lnTo>
                    <a:pt x="1794" y="954"/>
                  </a:lnTo>
                  <a:lnTo>
                    <a:pt x="1792" y="960"/>
                  </a:lnTo>
                  <a:lnTo>
                    <a:pt x="1789" y="965"/>
                  </a:lnTo>
                  <a:lnTo>
                    <a:pt x="1787" y="973"/>
                  </a:lnTo>
                  <a:lnTo>
                    <a:pt x="1786" y="979"/>
                  </a:lnTo>
                  <a:lnTo>
                    <a:pt x="1783" y="985"/>
                  </a:lnTo>
                  <a:lnTo>
                    <a:pt x="1781" y="986"/>
                  </a:lnTo>
                  <a:lnTo>
                    <a:pt x="1778" y="985"/>
                  </a:lnTo>
                  <a:lnTo>
                    <a:pt x="1775" y="984"/>
                  </a:lnTo>
                  <a:lnTo>
                    <a:pt x="1773" y="981"/>
                  </a:lnTo>
                  <a:lnTo>
                    <a:pt x="1771" y="980"/>
                  </a:lnTo>
                  <a:lnTo>
                    <a:pt x="1770" y="978"/>
                  </a:lnTo>
                  <a:lnTo>
                    <a:pt x="1770" y="974"/>
                  </a:lnTo>
                  <a:lnTo>
                    <a:pt x="1772" y="968"/>
                  </a:lnTo>
                  <a:lnTo>
                    <a:pt x="1774" y="960"/>
                  </a:lnTo>
                  <a:lnTo>
                    <a:pt x="1775" y="954"/>
                  </a:lnTo>
                  <a:lnTo>
                    <a:pt x="1776" y="948"/>
                  </a:lnTo>
                  <a:lnTo>
                    <a:pt x="1774" y="945"/>
                  </a:lnTo>
                  <a:lnTo>
                    <a:pt x="1772" y="945"/>
                  </a:lnTo>
                  <a:lnTo>
                    <a:pt x="1771" y="946"/>
                  </a:lnTo>
                  <a:lnTo>
                    <a:pt x="1771" y="947"/>
                  </a:lnTo>
                  <a:lnTo>
                    <a:pt x="1770" y="949"/>
                  </a:lnTo>
                  <a:lnTo>
                    <a:pt x="1770" y="952"/>
                  </a:lnTo>
                  <a:lnTo>
                    <a:pt x="1770" y="954"/>
                  </a:lnTo>
                  <a:lnTo>
                    <a:pt x="1768" y="956"/>
                  </a:lnTo>
                  <a:lnTo>
                    <a:pt x="1767" y="958"/>
                  </a:lnTo>
                  <a:lnTo>
                    <a:pt x="1764" y="960"/>
                  </a:lnTo>
                  <a:lnTo>
                    <a:pt x="1762" y="962"/>
                  </a:lnTo>
                  <a:lnTo>
                    <a:pt x="1758" y="963"/>
                  </a:lnTo>
                  <a:lnTo>
                    <a:pt x="1755" y="964"/>
                  </a:lnTo>
                  <a:lnTo>
                    <a:pt x="1752" y="966"/>
                  </a:lnTo>
                  <a:lnTo>
                    <a:pt x="1749" y="968"/>
                  </a:lnTo>
                  <a:lnTo>
                    <a:pt x="1747" y="970"/>
                  </a:lnTo>
                  <a:lnTo>
                    <a:pt x="1745" y="974"/>
                  </a:lnTo>
                  <a:lnTo>
                    <a:pt x="1744" y="977"/>
                  </a:lnTo>
                  <a:lnTo>
                    <a:pt x="1742" y="979"/>
                  </a:lnTo>
                  <a:lnTo>
                    <a:pt x="1739" y="981"/>
                  </a:lnTo>
                  <a:lnTo>
                    <a:pt x="1736" y="981"/>
                  </a:lnTo>
                  <a:lnTo>
                    <a:pt x="1732" y="980"/>
                  </a:lnTo>
                  <a:lnTo>
                    <a:pt x="1731" y="980"/>
                  </a:lnTo>
                  <a:lnTo>
                    <a:pt x="1730" y="979"/>
                  </a:lnTo>
                  <a:lnTo>
                    <a:pt x="1728" y="978"/>
                  </a:lnTo>
                  <a:lnTo>
                    <a:pt x="1727" y="976"/>
                  </a:lnTo>
                  <a:lnTo>
                    <a:pt x="1727" y="975"/>
                  </a:lnTo>
                  <a:lnTo>
                    <a:pt x="1727" y="973"/>
                  </a:lnTo>
                  <a:lnTo>
                    <a:pt x="1728" y="971"/>
                  </a:lnTo>
                  <a:lnTo>
                    <a:pt x="1730" y="973"/>
                  </a:lnTo>
                  <a:lnTo>
                    <a:pt x="1732" y="973"/>
                  </a:lnTo>
                  <a:lnTo>
                    <a:pt x="1733" y="974"/>
                  </a:lnTo>
                  <a:lnTo>
                    <a:pt x="1735" y="975"/>
                  </a:lnTo>
                  <a:lnTo>
                    <a:pt x="1738" y="975"/>
                  </a:lnTo>
                  <a:lnTo>
                    <a:pt x="1739" y="974"/>
                  </a:lnTo>
                  <a:lnTo>
                    <a:pt x="1741" y="971"/>
                  </a:lnTo>
                  <a:lnTo>
                    <a:pt x="1742" y="968"/>
                  </a:lnTo>
                  <a:lnTo>
                    <a:pt x="1742" y="966"/>
                  </a:lnTo>
                  <a:lnTo>
                    <a:pt x="1741" y="963"/>
                  </a:lnTo>
                  <a:lnTo>
                    <a:pt x="1740" y="960"/>
                  </a:lnTo>
                  <a:lnTo>
                    <a:pt x="1738" y="958"/>
                  </a:lnTo>
                  <a:lnTo>
                    <a:pt x="1736" y="956"/>
                  </a:lnTo>
                  <a:lnTo>
                    <a:pt x="1734" y="953"/>
                  </a:lnTo>
                  <a:lnTo>
                    <a:pt x="1731" y="952"/>
                  </a:lnTo>
                  <a:lnTo>
                    <a:pt x="1729" y="952"/>
                  </a:lnTo>
                  <a:lnTo>
                    <a:pt x="1725" y="952"/>
                  </a:lnTo>
                  <a:lnTo>
                    <a:pt x="1721" y="952"/>
                  </a:lnTo>
                  <a:lnTo>
                    <a:pt x="1711" y="953"/>
                  </a:lnTo>
                  <a:lnTo>
                    <a:pt x="1701" y="954"/>
                  </a:lnTo>
                  <a:lnTo>
                    <a:pt x="1698" y="956"/>
                  </a:lnTo>
                  <a:lnTo>
                    <a:pt x="1695" y="957"/>
                  </a:lnTo>
                  <a:lnTo>
                    <a:pt x="1691" y="959"/>
                  </a:lnTo>
                  <a:lnTo>
                    <a:pt x="1688" y="960"/>
                  </a:lnTo>
                  <a:lnTo>
                    <a:pt x="1684" y="960"/>
                  </a:lnTo>
                  <a:lnTo>
                    <a:pt x="1680" y="960"/>
                  </a:lnTo>
                  <a:lnTo>
                    <a:pt x="1677" y="960"/>
                  </a:lnTo>
                  <a:lnTo>
                    <a:pt x="1676" y="959"/>
                  </a:lnTo>
                  <a:lnTo>
                    <a:pt x="1675" y="958"/>
                  </a:lnTo>
                  <a:lnTo>
                    <a:pt x="1675" y="956"/>
                  </a:lnTo>
                  <a:lnTo>
                    <a:pt x="1675" y="954"/>
                  </a:lnTo>
                  <a:lnTo>
                    <a:pt x="1676" y="952"/>
                  </a:lnTo>
                  <a:lnTo>
                    <a:pt x="1678" y="949"/>
                  </a:lnTo>
                  <a:lnTo>
                    <a:pt x="1679" y="947"/>
                  </a:lnTo>
                  <a:lnTo>
                    <a:pt x="1681" y="945"/>
                  </a:lnTo>
                  <a:lnTo>
                    <a:pt x="1684" y="944"/>
                  </a:lnTo>
                  <a:lnTo>
                    <a:pt x="1685" y="943"/>
                  </a:lnTo>
                  <a:lnTo>
                    <a:pt x="1687" y="941"/>
                  </a:lnTo>
                  <a:lnTo>
                    <a:pt x="1688" y="938"/>
                  </a:lnTo>
                  <a:lnTo>
                    <a:pt x="1688" y="936"/>
                  </a:lnTo>
                  <a:lnTo>
                    <a:pt x="1688" y="934"/>
                  </a:lnTo>
                  <a:lnTo>
                    <a:pt x="1687" y="933"/>
                  </a:lnTo>
                  <a:lnTo>
                    <a:pt x="1685" y="933"/>
                  </a:lnTo>
                  <a:lnTo>
                    <a:pt x="1683" y="932"/>
                  </a:lnTo>
                  <a:lnTo>
                    <a:pt x="1681" y="932"/>
                  </a:lnTo>
                  <a:lnTo>
                    <a:pt x="1679" y="932"/>
                  </a:lnTo>
                  <a:lnTo>
                    <a:pt x="1678" y="930"/>
                  </a:lnTo>
                  <a:lnTo>
                    <a:pt x="1678" y="928"/>
                  </a:lnTo>
                  <a:lnTo>
                    <a:pt x="1678" y="926"/>
                  </a:lnTo>
                  <a:lnTo>
                    <a:pt x="1680" y="925"/>
                  </a:lnTo>
                  <a:lnTo>
                    <a:pt x="1683" y="924"/>
                  </a:lnTo>
                  <a:lnTo>
                    <a:pt x="1686" y="924"/>
                  </a:lnTo>
                  <a:lnTo>
                    <a:pt x="1688" y="923"/>
                  </a:lnTo>
                  <a:lnTo>
                    <a:pt x="1690" y="923"/>
                  </a:lnTo>
                  <a:lnTo>
                    <a:pt x="1692" y="922"/>
                  </a:lnTo>
                  <a:lnTo>
                    <a:pt x="1695" y="922"/>
                  </a:lnTo>
                  <a:lnTo>
                    <a:pt x="1695" y="921"/>
                  </a:lnTo>
                  <a:lnTo>
                    <a:pt x="1698" y="916"/>
                  </a:lnTo>
                  <a:lnTo>
                    <a:pt x="1697" y="911"/>
                  </a:lnTo>
                  <a:lnTo>
                    <a:pt x="1697" y="904"/>
                  </a:lnTo>
                  <a:lnTo>
                    <a:pt x="1699" y="899"/>
                  </a:lnTo>
                  <a:lnTo>
                    <a:pt x="1692" y="892"/>
                  </a:lnTo>
                  <a:lnTo>
                    <a:pt x="1684" y="888"/>
                  </a:lnTo>
                  <a:lnTo>
                    <a:pt x="1673" y="886"/>
                  </a:lnTo>
                  <a:lnTo>
                    <a:pt x="1662" y="888"/>
                  </a:lnTo>
                  <a:lnTo>
                    <a:pt x="1658" y="891"/>
                  </a:lnTo>
                  <a:lnTo>
                    <a:pt x="1656" y="893"/>
                  </a:lnTo>
                  <a:lnTo>
                    <a:pt x="1655" y="897"/>
                  </a:lnTo>
                  <a:lnTo>
                    <a:pt x="1653" y="900"/>
                  </a:lnTo>
                  <a:lnTo>
                    <a:pt x="1651" y="903"/>
                  </a:lnTo>
                  <a:lnTo>
                    <a:pt x="1650" y="906"/>
                  </a:lnTo>
                  <a:lnTo>
                    <a:pt x="1646" y="909"/>
                  </a:lnTo>
                  <a:lnTo>
                    <a:pt x="1643" y="911"/>
                  </a:lnTo>
                  <a:lnTo>
                    <a:pt x="1640" y="912"/>
                  </a:lnTo>
                  <a:lnTo>
                    <a:pt x="1632" y="914"/>
                  </a:lnTo>
                  <a:lnTo>
                    <a:pt x="1623" y="917"/>
                  </a:lnTo>
                  <a:lnTo>
                    <a:pt x="1614" y="919"/>
                  </a:lnTo>
                  <a:lnTo>
                    <a:pt x="1607" y="919"/>
                  </a:lnTo>
                  <a:lnTo>
                    <a:pt x="1600" y="914"/>
                  </a:lnTo>
                  <a:lnTo>
                    <a:pt x="1596" y="906"/>
                  </a:lnTo>
                  <a:lnTo>
                    <a:pt x="1592" y="899"/>
                  </a:lnTo>
                  <a:lnTo>
                    <a:pt x="1590" y="890"/>
                  </a:lnTo>
                  <a:lnTo>
                    <a:pt x="1588" y="887"/>
                  </a:lnTo>
                  <a:lnTo>
                    <a:pt x="1586" y="883"/>
                  </a:lnTo>
                  <a:lnTo>
                    <a:pt x="1583" y="881"/>
                  </a:lnTo>
                  <a:lnTo>
                    <a:pt x="1580" y="881"/>
                  </a:lnTo>
                  <a:lnTo>
                    <a:pt x="1577" y="881"/>
                  </a:lnTo>
                  <a:lnTo>
                    <a:pt x="1570" y="881"/>
                  </a:lnTo>
                  <a:lnTo>
                    <a:pt x="1563" y="882"/>
                  </a:lnTo>
                  <a:lnTo>
                    <a:pt x="1557" y="883"/>
                  </a:lnTo>
                  <a:lnTo>
                    <a:pt x="1553" y="887"/>
                  </a:lnTo>
                  <a:lnTo>
                    <a:pt x="1550" y="890"/>
                  </a:lnTo>
                  <a:lnTo>
                    <a:pt x="1548" y="893"/>
                  </a:lnTo>
                  <a:lnTo>
                    <a:pt x="1546" y="897"/>
                  </a:lnTo>
                  <a:lnTo>
                    <a:pt x="1544" y="899"/>
                  </a:lnTo>
                  <a:lnTo>
                    <a:pt x="1539" y="902"/>
                  </a:lnTo>
                  <a:lnTo>
                    <a:pt x="1536" y="905"/>
                  </a:lnTo>
                  <a:lnTo>
                    <a:pt x="1532" y="908"/>
                  </a:lnTo>
                  <a:lnTo>
                    <a:pt x="1528" y="910"/>
                  </a:lnTo>
                  <a:lnTo>
                    <a:pt x="1516" y="917"/>
                  </a:lnTo>
                  <a:lnTo>
                    <a:pt x="1506" y="925"/>
                  </a:lnTo>
                  <a:lnTo>
                    <a:pt x="1498" y="936"/>
                  </a:lnTo>
                  <a:lnTo>
                    <a:pt x="1495" y="939"/>
                  </a:lnTo>
                  <a:lnTo>
                    <a:pt x="1494" y="942"/>
                  </a:lnTo>
                  <a:lnTo>
                    <a:pt x="1493" y="945"/>
                  </a:lnTo>
                  <a:lnTo>
                    <a:pt x="1492" y="948"/>
                  </a:lnTo>
                  <a:lnTo>
                    <a:pt x="1493" y="952"/>
                  </a:lnTo>
                  <a:lnTo>
                    <a:pt x="1494" y="960"/>
                  </a:lnTo>
                  <a:lnTo>
                    <a:pt x="1495" y="969"/>
                  </a:lnTo>
                  <a:lnTo>
                    <a:pt x="1498" y="965"/>
                  </a:lnTo>
                  <a:lnTo>
                    <a:pt x="1499" y="958"/>
                  </a:lnTo>
                  <a:lnTo>
                    <a:pt x="1500" y="951"/>
                  </a:lnTo>
                  <a:lnTo>
                    <a:pt x="1502" y="945"/>
                  </a:lnTo>
                  <a:lnTo>
                    <a:pt x="1506" y="941"/>
                  </a:lnTo>
                  <a:lnTo>
                    <a:pt x="1513" y="936"/>
                  </a:lnTo>
                  <a:lnTo>
                    <a:pt x="1520" y="932"/>
                  </a:lnTo>
                  <a:lnTo>
                    <a:pt x="1522" y="928"/>
                  </a:lnTo>
                  <a:lnTo>
                    <a:pt x="1524" y="926"/>
                  </a:lnTo>
                  <a:lnTo>
                    <a:pt x="1527" y="924"/>
                  </a:lnTo>
                  <a:lnTo>
                    <a:pt x="1531" y="921"/>
                  </a:lnTo>
                  <a:lnTo>
                    <a:pt x="1544" y="914"/>
                  </a:lnTo>
                  <a:lnTo>
                    <a:pt x="1559" y="910"/>
                  </a:lnTo>
                  <a:lnTo>
                    <a:pt x="1568" y="909"/>
                  </a:lnTo>
                  <a:lnTo>
                    <a:pt x="1579" y="910"/>
                  </a:lnTo>
                  <a:lnTo>
                    <a:pt x="1590" y="914"/>
                  </a:lnTo>
                  <a:lnTo>
                    <a:pt x="1597" y="920"/>
                  </a:lnTo>
                  <a:lnTo>
                    <a:pt x="1600" y="925"/>
                  </a:lnTo>
                  <a:lnTo>
                    <a:pt x="1600" y="933"/>
                  </a:lnTo>
                  <a:lnTo>
                    <a:pt x="1598" y="942"/>
                  </a:lnTo>
                  <a:lnTo>
                    <a:pt x="1594" y="949"/>
                  </a:lnTo>
                  <a:lnTo>
                    <a:pt x="1591" y="958"/>
                  </a:lnTo>
                  <a:lnTo>
                    <a:pt x="1588" y="965"/>
                  </a:lnTo>
                  <a:lnTo>
                    <a:pt x="1587" y="974"/>
                  </a:lnTo>
                  <a:lnTo>
                    <a:pt x="1587" y="981"/>
                  </a:lnTo>
                  <a:lnTo>
                    <a:pt x="1590" y="989"/>
                  </a:lnTo>
                  <a:lnTo>
                    <a:pt x="1597" y="993"/>
                  </a:lnTo>
                  <a:lnTo>
                    <a:pt x="1603" y="999"/>
                  </a:lnTo>
                  <a:lnTo>
                    <a:pt x="1611" y="1004"/>
                  </a:lnTo>
                  <a:lnTo>
                    <a:pt x="1618" y="1007"/>
                  </a:lnTo>
                  <a:lnTo>
                    <a:pt x="1624" y="1007"/>
                  </a:lnTo>
                  <a:lnTo>
                    <a:pt x="1631" y="1007"/>
                  </a:lnTo>
                  <a:lnTo>
                    <a:pt x="1635" y="1009"/>
                  </a:lnTo>
                  <a:lnTo>
                    <a:pt x="1637" y="1013"/>
                  </a:lnTo>
                  <a:lnTo>
                    <a:pt x="1639" y="1015"/>
                  </a:lnTo>
                  <a:lnTo>
                    <a:pt x="1641" y="1018"/>
                  </a:lnTo>
                  <a:lnTo>
                    <a:pt x="1643" y="1019"/>
                  </a:lnTo>
                  <a:lnTo>
                    <a:pt x="1645" y="1019"/>
                  </a:lnTo>
                  <a:lnTo>
                    <a:pt x="1647" y="1019"/>
                  </a:lnTo>
                  <a:lnTo>
                    <a:pt x="1650" y="1019"/>
                  </a:lnTo>
                  <a:lnTo>
                    <a:pt x="1652" y="1020"/>
                  </a:lnTo>
                  <a:lnTo>
                    <a:pt x="1654" y="1021"/>
                  </a:lnTo>
                  <a:lnTo>
                    <a:pt x="1655" y="1022"/>
                  </a:lnTo>
                  <a:lnTo>
                    <a:pt x="1655" y="1028"/>
                  </a:lnTo>
                  <a:lnTo>
                    <a:pt x="1648" y="1033"/>
                  </a:lnTo>
                  <a:lnTo>
                    <a:pt x="1640" y="1039"/>
                  </a:lnTo>
                  <a:lnTo>
                    <a:pt x="1632" y="1042"/>
                  </a:lnTo>
                  <a:lnTo>
                    <a:pt x="1626" y="1044"/>
                  </a:lnTo>
                  <a:lnTo>
                    <a:pt x="1620" y="1045"/>
                  </a:lnTo>
                  <a:lnTo>
                    <a:pt x="1612" y="1046"/>
                  </a:lnTo>
                  <a:lnTo>
                    <a:pt x="1605" y="1047"/>
                  </a:lnTo>
                  <a:lnTo>
                    <a:pt x="1600" y="1051"/>
                  </a:lnTo>
                  <a:lnTo>
                    <a:pt x="1597" y="1055"/>
                  </a:lnTo>
                  <a:lnTo>
                    <a:pt x="1594" y="1059"/>
                  </a:lnTo>
                  <a:lnTo>
                    <a:pt x="1592" y="1064"/>
                  </a:lnTo>
                  <a:lnTo>
                    <a:pt x="1588" y="1069"/>
                  </a:lnTo>
                  <a:lnTo>
                    <a:pt x="1582" y="1078"/>
                  </a:lnTo>
                  <a:lnTo>
                    <a:pt x="1576" y="1085"/>
                  </a:lnTo>
                  <a:lnTo>
                    <a:pt x="1570" y="1086"/>
                  </a:lnTo>
                  <a:lnTo>
                    <a:pt x="1568" y="1086"/>
                  </a:lnTo>
                  <a:lnTo>
                    <a:pt x="1567" y="1085"/>
                  </a:lnTo>
                  <a:lnTo>
                    <a:pt x="1566" y="1083"/>
                  </a:lnTo>
                  <a:lnTo>
                    <a:pt x="1565" y="1080"/>
                  </a:lnTo>
                  <a:lnTo>
                    <a:pt x="1564" y="1077"/>
                  </a:lnTo>
                  <a:lnTo>
                    <a:pt x="1564" y="1075"/>
                  </a:lnTo>
                  <a:lnTo>
                    <a:pt x="1560" y="1073"/>
                  </a:lnTo>
                  <a:lnTo>
                    <a:pt x="1559" y="1069"/>
                  </a:lnTo>
                  <a:lnTo>
                    <a:pt x="1558" y="1065"/>
                  </a:lnTo>
                  <a:lnTo>
                    <a:pt x="1559" y="1062"/>
                  </a:lnTo>
                  <a:lnTo>
                    <a:pt x="1561" y="1057"/>
                  </a:lnTo>
                  <a:lnTo>
                    <a:pt x="1563" y="1053"/>
                  </a:lnTo>
                  <a:lnTo>
                    <a:pt x="1566" y="1050"/>
                  </a:lnTo>
                  <a:lnTo>
                    <a:pt x="1569" y="1045"/>
                  </a:lnTo>
                  <a:lnTo>
                    <a:pt x="1575" y="1042"/>
                  </a:lnTo>
                  <a:lnTo>
                    <a:pt x="1578" y="1041"/>
                  </a:lnTo>
                  <a:lnTo>
                    <a:pt x="1582" y="1039"/>
                  </a:lnTo>
                  <a:lnTo>
                    <a:pt x="1586" y="1036"/>
                  </a:lnTo>
                  <a:lnTo>
                    <a:pt x="1590" y="1033"/>
                  </a:lnTo>
                  <a:lnTo>
                    <a:pt x="1589" y="1032"/>
                  </a:lnTo>
                  <a:lnTo>
                    <a:pt x="1588" y="1030"/>
                  </a:lnTo>
                  <a:lnTo>
                    <a:pt x="1587" y="1028"/>
                  </a:lnTo>
                  <a:lnTo>
                    <a:pt x="1586" y="1024"/>
                  </a:lnTo>
                  <a:lnTo>
                    <a:pt x="1583" y="1022"/>
                  </a:lnTo>
                  <a:lnTo>
                    <a:pt x="1582" y="1021"/>
                  </a:lnTo>
                  <a:lnTo>
                    <a:pt x="1581" y="1020"/>
                  </a:lnTo>
                  <a:lnTo>
                    <a:pt x="1575" y="1024"/>
                  </a:lnTo>
                  <a:lnTo>
                    <a:pt x="1569" y="1029"/>
                  </a:lnTo>
                  <a:lnTo>
                    <a:pt x="1564" y="1033"/>
                  </a:lnTo>
                  <a:lnTo>
                    <a:pt x="1560" y="1034"/>
                  </a:lnTo>
                  <a:lnTo>
                    <a:pt x="1558" y="1035"/>
                  </a:lnTo>
                  <a:lnTo>
                    <a:pt x="1555" y="1036"/>
                  </a:lnTo>
                  <a:lnTo>
                    <a:pt x="1553" y="1037"/>
                  </a:lnTo>
                  <a:lnTo>
                    <a:pt x="1549" y="1040"/>
                  </a:lnTo>
                  <a:lnTo>
                    <a:pt x="1548" y="1041"/>
                  </a:lnTo>
                  <a:lnTo>
                    <a:pt x="1546" y="1043"/>
                  </a:lnTo>
                  <a:lnTo>
                    <a:pt x="1545" y="1045"/>
                  </a:lnTo>
                  <a:lnTo>
                    <a:pt x="1546" y="1048"/>
                  </a:lnTo>
                  <a:lnTo>
                    <a:pt x="1543" y="1052"/>
                  </a:lnTo>
                  <a:lnTo>
                    <a:pt x="1536" y="1055"/>
                  </a:lnTo>
                  <a:lnTo>
                    <a:pt x="1527" y="1057"/>
                  </a:lnTo>
                  <a:lnTo>
                    <a:pt x="1519" y="1058"/>
                  </a:lnTo>
                  <a:lnTo>
                    <a:pt x="1511" y="1059"/>
                  </a:lnTo>
                  <a:lnTo>
                    <a:pt x="1506" y="1059"/>
                  </a:lnTo>
                  <a:lnTo>
                    <a:pt x="1501" y="1063"/>
                  </a:lnTo>
                  <a:lnTo>
                    <a:pt x="1496" y="1069"/>
                  </a:lnTo>
                  <a:lnTo>
                    <a:pt x="1492" y="1075"/>
                  </a:lnTo>
                  <a:lnTo>
                    <a:pt x="1488" y="1079"/>
                  </a:lnTo>
                  <a:lnTo>
                    <a:pt x="1484" y="1079"/>
                  </a:lnTo>
                  <a:lnTo>
                    <a:pt x="1482" y="1079"/>
                  </a:lnTo>
                  <a:lnTo>
                    <a:pt x="1480" y="1078"/>
                  </a:lnTo>
                  <a:lnTo>
                    <a:pt x="1479" y="1077"/>
                  </a:lnTo>
                  <a:lnTo>
                    <a:pt x="1477" y="1077"/>
                  </a:lnTo>
                  <a:lnTo>
                    <a:pt x="1476" y="1077"/>
                  </a:lnTo>
                  <a:lnTo>
                    <a:pt x="1474" y="1077"/>
                  </a:lnTo>
                  <a:lnTo>
                    <a:pt x="1473" y="1079"/>
                  </a:lnTo>
                  <a:lnTo>
                    <a:pt x="1471" y="1083"/>
                  </a:lnTo>
                  <a:lnTo>
                    <a:pt x="1469" y="1086"/>
                  </a:lnTo>
                  <a:lnTo>
                    <a:pt x="1467" y="1089"/>
                  </a:lnTo>
                  <a:lnTo>
                    <a:pt x="1467" y="1093"/>
                  </a:lnTo>
                  <a:lnTo>
                    <a:pt x="1466" y="1096"/>
                  </a:lnTo>
                  <a:lnTo>
                    <a:pt x="1466" y="1098"/>
                  </a:lnTo>
                  <a:lnTo>
                    <a:pt x="1466" y="1100"/>
                  </a:lnTo>
                  <a:lnTo>
                    <a:pt x="1466" y="1101"/>
                  </a:lnTo>
                  <a:lnTo>
                    <a:pt x="1465" y="1102"/>
                  </a:lnTo>
                  <a:lnTo>
                    <a:pt x="1463" y="1104"/>
                  </a:lnTo>
                  <a:lnTo>
                    <a:pt x="1460" y="1104"/>
                  </a:lnTo>
                  <a:lnTo>
                    <a:pt x="1457" y="1104"/>
                  </a:lnTo>
                  <a:lnTo>
                    <a:pt x="1455" y="1105"/>
                  </a:lnTo>
                  <a:lnTo>
                    <a:pt x="1452" y="1106"/>
                  </a:lnTo>
                  <a:lnTo>
                    <a:pt x="1451" y="1108"/>
                  </a:lnTo>
                  <a:lnTo>
                    <a:pt x="1450" y="1111"/>
                  </a:lnTo>
                  <a:lnTo>
                    <a:pt x="1450" y="1113"/>
                  </a:lnTo>
                  <a:lnTo>
                    <a:pt x="1449" y="1116"/>
                  </a:lnTo>
                  <a:lnTo>
                    <a:pt x="1400" y="1101"/>
                  </a:lnTo>
                  <a:lnTo>
                    <a:pt x="1348" y="1085"/>
                  </a:lnTo>
                  <a:lnTo>
                    <a:pt x="1348" y="1085"/>
                  </a:lnTo>
                  <a:lnTo>
                    <a:pt x="1348" y="1082"/>
                  </a:lnTo>
                  <a:lnTo>
                    <a:pt x="1346" y="1074"/>
                  </a:lnTo>
                  <a:lnTo>
                    <a:pt x="1341" y="1071"/>
                  </a:lnTo>
                  <a:lnTo>
                    <a:pt x="1335" y="1069"/>
                  </a:lnTo>
                  <a:lnTo>
                    <a:pt x="1328" y="1072"/>
                  </a:lnTo>
                  <a:lnTo>
                    <a:pt x="1321" y="1074"/>
                  </a:lnTo>
                  <a:lnTo>
                    <a:pt x="1315" y="1077"/>
                  </a:lnTo>
                  <a:lnTo>
                    <a:pt x="1309" y="1075"/>
                  </a:lnTo>
                  <a:lnTo>
                    <a:pt x="1313" y="1074"/>
                  </a:lnTo>
                  <a:lnTo>
                    <a:pt x="1314" y="1074"/>
                  </a:lnTo>
                  <a:lnTo>
                    <a:pt x="1314" y="1074"/>
                  </a:lnTo>
                  <a:lnTo>
                    <a:pt x="1315" y="1074"/>
                  </a:lnTo>
                  <a:lnTo>
                    <a:pt x="1291" y="1065"/>
                  </a:lnTo>
                  <a:lnTo>
                    <a:pt x="1268" y="1056"/>
                  </a:lnTo>
                  <a:lnTo>
                    <a:pt x="1269" y="1048"/>
                  </a:lnTo>
                  <a:lnTo>
                    <a:pt x="1266" y="1036"/>
                  </a:lnTo>
                  <a:lnTo>
                    <a:pt x="1260" y="1026"/>
                  </a:lnTo>
                  <a:lnTo>
                    <a:pt x="1253" y="1024"/>
                  </a:lnTo>
                  <a:lnTo>
                    <a:pt x="1244" y="1022"/>
                  </a:lnTo>
                  <a:lnTo>
                    <a:pt x="1236" y="1023"/>
                  </a:lnTo>
                  <a:lnTo>
                    <a:pt x="1229" y="1026"/>
                  </a:lnTo>
                  <a:lnTo>
                    <a:pt x="1228" y="1029"/>
                  </a:lnTo>
                  <a:lnTo>
                    <a:pt x="1228" y="1031"/>
                  </a:lnTo>
                  <a:lnTo>
                    <a:pt x="1227" y="1033"/>
                  </a:lnTo>
                  <a:lnTo>
                    <a:pt x="1226" y="1035"/>
                  </a:lnTo>
                  <a:lnTo>
                    <a:pt x="1226" y="1037"/>
                  </a:lnTo>
                  <a:lnTo>
                    <a:pt x="1225" y="1039"/>
                  </a:lnTo>
                  <a:lnTo>
                    <a:pt x="1223" y="1040"/>
                  </a:lnTo>
                  <a:lnTo>
                    <a:pt x="1221" y="1040"/>
                  </a:lnTo>
                  <a:lnTo>
                    <a:pt x="1219" y="1040"/>
                  </a:lnTo>
                  <a:lnTo>
                    <a:pt x="1216" y="1037"/>
                  </a:lnTo>
                  <a:lnTo>
                    <a:pt x="1212" y="1035"/>
                  </a:lnTo>
                  <a:lnTo>
                    <a:pt x="1208" y="1032"/>
                  </a:lnTo>
                  <a:lnTo>
                    <a:pt x="1205" y="1029"/>
                  </a:lnTo>
                  <a:lnTo>
                    <a:pt x="1201" y="1026"/>
                  </a:lnTo>
                  <a:lnTo>
                    <a:pt x="1199" y="1024"/>
                  </a:lnTo>
                  <a:lnTo>
                    <a:pt x="1192" y="1021"/>
                  </a:lnTo>
                  <a:lnTo>
                    <a:pt x="1185" y="1019"/>
                  </a:lnTo>
                  <a:lnTo>
                    <a:pt x="1179" y="1015"/>
                  </a:lnTo>
                  <a:lnTo>
                    <a:pt x="1176" y="1018"/>
                  </a:lnTo>
                  <a:lnTo>
                    <a:pt x="1174" y="1020"/>
                  </a:lnTo>
                  <a:lnTo>
                    <a:pt x="1171" y="1022"/>
                  </a:lnTo>
                  <a:lnTo>
                    <a:pt x="1163" y="1019"/>
                  </a:lnTo>
                  <a:lnTo>
                    <a:pt x="1170" y="1019"/>
                  </a:lnTo>
                  <a:lnTo>
                    <a:pt x="1149" y="1009"/>
                  </a:lnTo>
                  <a:lnTo>
                    <a:pt x="1130" y="1000"/>
                  </a:lnTo>
                  <a:lnTo>
                    <a:pt x="1132" y="999"/>
                  </a:lnTo>
                  <a:lnTo>
                    <a:pt x="1134" y="998"/>
                  </a:lnTo>
                  <a:lnTo>
                    <a:pt x="1138" y="998"/>
                  </a:lnTo>
                  <a:lnTo>
                    <a:pt x="1142" y="998"/>
                  </a:lnTo>
                  <a:lnTo>
                    <a:pt x="1148" y="999"/>
                  </a:lnTo>
                  <a:lnTo>
                    <a:pt x="1155" y="999"/>
                  </a:lnTo>
                  <a:lnTo>
                    <a:pt x="1162" y="999"/>
                  </a:lnTo>
                  <a:lnTo>
                    <a:pt x="1168" y="998"/>
                  </a:lnTo>
                  <a:lnTo>
                    <a:pt x="1173" y="996"/>
                  </a:lnTo>
                  <a:lnTo>
                    <a:pt x="1175" y="990"/>
                  </a:lnTo>
                  <a:lnTo>
                    <a:pt x="1175" y="982"/>
                  </a:lnTo>
                  <a:lnTo>
                    <a:pt x="1172" y="975"/>
                  </a:lnTo>
                  <a:lnTo>
                    <a:pt x="1168" y="969"/>
                  </a:lnTo>
                  <a:lnTo>
                    <a:pt x="1163" y="966"/>
                  </a:lnTo>
                  <a:lnTo>
                    <a:pt x="1155" y="965"/>
                  </a:lnTo>
                  <a:lnTo>
                    <a:pt x="1150" y="965"/>
                  </a:lnTo>
                  <a:lnTo>
                    <a:pt x="1146" y="965"/>
                  </a:lnTo>
                  <a:lnTo>
                    <a:pt x="1144" y="964"/>
                  </a:lnTo>
                  <a:lnTo>
                    <a:pt x="1143" y="962"/>
                  </a:lnTo>
                  <a:lnTo>
                    <a:pt x="1142" y="959"/>
                  </a:lnTo>
                  <a:lnTo>
                    <a:pt x="1141" y="956"/>
                  </a:lnTo>
                  <a:lnTo>
                    <a:pt x="1140" y="952"/>
                  </a:lnTo>
                  <a:lnTo>
                    <a:pt x="1139" y="949"/>
                  </a:lnTo>
                  <a:lnTo>
                    <a:pt x="1138" y="947"/>
                  </a:lnTo>
                  <a:lnTo>
                    <a:pt x="1135" y="944"/>
                  </a:lnTo>
                  <a:lnTo>
                    <a:pt x="1133" y="942"/>
                  </a:lnTo>
                  <a:lnTo>
                    <a:pt x="1132" y="939"/>
                  </a:lnTo>
                  <a:lnTo>
                    <a:pt x="1130" y="938"/>
                  </a:lnTo>
                  <a:lnTo>
                    <a:pt x="1128" y="938"/>
                  </a:lnTo>
                  <a:lnTo>
                    <a:pt x="1125" y="941"/>
                  </a:lnTo>
                  <a:lnTo>
                    <a:pt x="1124" y="943"/>
                  </a:lnTo>
                  <a:lnTo>
                    <a:pt x="1123" y="945"/>
                  </a:lnTo>
                  <a:lnTo>
                    <a:pt x="1123" y="945"/>
                  </a:lnTo>
                  <a:lnTo>
                    <a:pt x="1122" y="945"/>
                  </a:lnTo>
                  <a:lnTo>
                    <a:pt x="1121" y="943"/>
                  </a:lnTo>
                  <a:lnTo>
                    <a:pt x="1120" y="941"/>
                  </a:lnTo>
                  <a:lnTo>
                    <a:pt x="1118" y="938"/>
                  </a:lnTo>
                  <a:lnTo>
                    <a:pt x="1114" y="936"/>
                  </a:lnTo>
                  <a:lnTo>
                    <a:pt x="1112" y="935"/>
                  </a:lnTo>
                  <a:lnTo>
                    <a:pt x="1109" y="934"/>
                  </a:lnTo>
                  <a:lnTo>
                    <a:pt x="1102" y="935"/>
                  </a:lnTo>
                  <a:lnTo>
                    <a:pt x="1099" y="938"/>
                  </a:lnTo>
                  <a:lnTo>
                    <a:pt x="1097" y="944"/>
                  </a:lnTo>
                  <a:lnTo>
                    <a:pt x="1095" y="949"/>
                  </a:lnTo>
                  <a:lnTo>
                    <a:pt x="1091" y="954"/>
                  </a:lnTo>
                  <a:lnTo>
                    <a:pt x="1085" y="956"/>
                  </a:lnTo>
                  <a:lnTo>
                    <a:pt x="1080" y="958"/>
                  </a:lnTo>
                  <a:lnTo>
                    <a:pt x="1076" y="960"/>
                  </a:lnTo>
                  <a:lnTo>
                    <a:pt x="1073" y="963"/>
                  </a:lnTo>
                  <a:lnTo>
                    <a:pt x="1069" y="964"/>
                  </a:lnTo>
                  <a:lnTo>
                    <a:pt x="1067" y="967"/>
                  </a:lnTo>
                  <a:lnTo>
                    <a:pt x="1064" y="969"/>
                  </a:lnTo>
                  <a:lnTo>
                    <a:pt x="1061" y="971"/>
                  </a:lnTo>
                  <a:lnTo>
                    <a:pt x="1058" y="971"/>
                  </a:lnTo>
                  <a:lnTo>
                    <a:pt x="1055" y="970"/>
                  </a:lnTo>
                  <a:lnTo>
                    <a:pt x="1055" y="969"/>
                  </a:lnTo>
                  <a:lnTo>
                    <a:pt x="1057" y="968"/>
                  </a:lnTo>
                  <a:lnTo>
                    <a:pt x="982" y="932"/>
                  </a:lnTo>
                  <a:lnTo>
                    <a:pt x="908" y="893"/>
                  </a:lnTo>
                  <a:lnTo>
                    <a:pt x="827" y="848"/>
                  </a:lnTo>
                  <a:lnTo>
                    <a:pt x="750" y="802"/>
                  </a:lnTo>
                  <a:lnTo>
                    <a:pt x="676" y="756"/>
                  </a:lnTo>
                  <a:lnTo>
                    <a:pt x="606" y="711"/>
                  </a:lnTo>
                  <a:lnTo>
                    <a:pt x="539" y="666"/>
                  </a:lnTo>
                  <a:lnTo>
                    <a:pt x="475" y="625"/>
                  </a:lnTo>
                  <a:lnTo>
                    <a:pt x="414" y="586"/>
                  </a:lnTo>
                  <a:lnTo>
                    <a:pt x="358" y="551"/>
                  </a:lnTo>
                  <a:lnTo>
                    <a:pt x="305" y="520"/>
                  </a:lnTo>
                  <a:lnTo>
                    <a:pt x="255" y="495"/>
                  </a:lnTo>
                  <a:lnTo>
                    <a:pt x="205" y="473"/>
                  </a:lnTo>
                  <a:lnTo>
                    <a:pt x="159" y="456"/>
                  </a:lnTo>
                  <a:lnTo>
                    <a:pt x="113" y="445"/>
                  </a:lnTo>
                  <a:lnTo>
                    <a:pt x="69" y="439"/>
                  </a:lnTo>
                  <a:lnTo>
                    <a:pt x="57" y="439"/>
                  </a:lnTo>
                  <a:lnTo>
                    <a:pt x="57" y="439"/>
                  </a:lnTo>
                  <a:lnTo>
                    <a:pt x="57" y="437"/>
                  </a:lnTo>
                  <a:lnTo>
                    <a:pt x="55" y="437"/>
                  </a:lnTo>
                  <a:lnTo>
                    <a:pt x="55" y="439"/>
                  </a:lnTo>
                  <a:lnTo>
                    <a:pt x="54" y="439"/>
                  </a:lnTo>
                  <a:lnTo>
                    <a:pt x="53" y="439"/>
                  </a:lnTo>
                  <a:lnTo>
                    <a:pt x="53" y="441"/>
                  </a:lnTo>
                  <a:lnTo>
                    <a:pt x="53" y="441"/>
                  </a:lnTo>
                  <a:lnTo>
                    <a:pt x="30" y="442"/>
                  </a:lnTo>
                  <a:lnTo>
                    <a:pt x="9" y="445"/>
                  </a:lnTo>
                  <a:lnTo>
                    <a:pt x="9" y="443"/>
                  </a:lnTo>
                  <a:lnTo>
                    <a:pt x="10" y="441"/>
                  </a:lnTo>
                  <a:lnTo>
                    <a:pt x="11" y="439"/>
                  </a:lnTo>
                  <a:lnTo>
                    <a:pt x="11" y="436"/>
                  </a:lnTo>
                  <a:lnTo>
                    <a:pt x="11" y="435"/>
                  </a:lnTo>
                  <a:lnTo>
                    <a:pt x="11" y="434"/>
                  </a:lnTo>
                  <a:lnTo>
                    <a:pt x="10" y="434"/>
                  </a:lnTo>
                  <a:lnTo>
                    <a:pt x="9" y="434"/>
                  </a:lnTo>
                  <a:lnTo>
                    <a:pt x="5" y="432"/>
                  </a:lnTo>
                  <a:lnTo>
                    <a:pt x="3" y="429"/>
                  </a:lnTo>
                  <a:lnTo>
                    <a:pt x="0" y="423"/>
                  </a:lnTo>
                  <a:lnTo>
                    <a:pt x="3" y="417"/>
                  </a:lnTo>
                  <a:lnTo>
                    <a:pt x="5" y="414"/>
                  </a:lnTo>
                  <a:lnTo>
                    <a:pt x="8" y="412"/>
                  </a:lnTo>
                  <a:lnTo>
                    <a:pt x="11" y="410"/>
                  </a:lnTo>
                  <a:lnTo>
                    <a:pt x="14" y="408"/>
                  </a:lnTo>
                  <a:lnTo>
                    <a:pt x="17" y="406"/>
                  </a:lnTo>
                  <a:lnTo>
                    <a:pt x="19" y="402"/>
                  </a:lnTo>
                  <a:lnTo>
                    <a:pt x="22" y="399"/>
                  </a:lnTo>
                  <a:lnTo>
                    <a:pt x="22" y="397"/>
                  </a:lnTo>
                  <a:lnTo>
                    <a:pt x="25" y="395"/>
                  </a:lnTo>
                  <a:lnTo>
                    <a:pt x="27" y="392"/>
                  </a:lnTo>
                  <a:lnTo>
                    <a:pt x="29" y="390"/>
                  </a:lnTo>
                  <a:lnTo>
                    <a:pt x="31" y="388"/>
                  </a:lnTo>
                  <a:lnTo>
                    <a:pt x="33" y="386"/>
                  </a:lnTo>
                  <a:lnTo>
                    <a:pt x="36" y="385"/>
                  </a:lnTo>
                  <a:lnTo>
                    <a:pt x="37" y="384"/>
                  </a:lnTo>
                  <a:lnTo>
                    <a:pt x="39" y="385"/>
                  </a:lnTo>
                  <a:lnTo>
                    <a:pt x="40" y="386"/>
                  </a:lnTo>
                  <a:lnTo>
                    <a:pt x="40" y="387"/>
                  </a:lnTo>
                  <a:lnTo>
                    <a:pt x="40" y="389"/>
                  </a:lnTo>
                  <a:lnTo>
                    <a:pt x="39" y="391"/>
                  </a:lnTo>
                  <a:lnTo>
                    <a:pt x="38" y="392"/>
                  </a:lnTo>
                  <a:lnTo>
                    <a:pt x="38" y="395"/>
                  </a:lnTo>
                  <a:lnTo>
                    <a:pt x="38" y="396"/>
                  </a:lnTo>
                  <a:lnTo>
                    <a:pt x="40" y="396"/>
                  </a:lnTo>
                  <a:lnTo>
                    <a:pt x="41" y="397"/>
                  </a:lnTo>
                  <a:lnTo>
                    <a:pt x="43" y="397"/>
                  </a:lnTo>
                  <a:lnTo>
                    <a:pt x="44" y="397"/>
                  </a:lnTo>
                  <a:lnTo>
                    <a:pt x="46" y="397"/>
                  </a:lnTo>
                  <a:lnTo>
                    <a:pt x="49" y="397"/>
                  </a:lnTo>
                  <a:lnTo>
                    <a:pt x="51" y="397"/>
                  </a:lnTo>
                  <a:lnTo>
                    <a:pt x="53" y="397"/>
                  </a:lnTo>
                  <a:lnTo>
                    <a:pt x="57" y="396"/>
                  </a:lnTo>
                  <a:lnTo>
                    <a:pt x="58" y="393"/>
                  </a:lnTo>
                  <a:lnTo>
                    <a:pt x="59" y="390"/>
                  </a:lnTo>
                  <a:lnTo>
                    <a:pt x="59" y="388"/>
                  </a:lnTo>
                  <a:lnTo>
                    <a:pt x="59" y="387"/>
                  </a:lnTo>
                  <a:lnTo>
                    <a:pt x="58" y="387"/>
                  </a:lnTo>
                  <a:lnTo>
                    <a:pt x="57" y="387"/>
                  </a:lnTo>
                  <a:lnTo>
                    <a:pt x="55" y="386"/>
                  </a:lnTo>
                  <a:lnTo>
                    <a:pt x="54" y="386"/>
                  </a:lnTo>
                  <a:lnTo>
                    <a:pt x="53" y="385"/>
                  </a:lnTo>
                  <a:lnTo>
                    <a:pt x="54" y="384"/>
                  </a:lnTo>
                  <a:lnTo>
                    <a:pt x="55" y="381"/>
                  </a:lnTo>
                  <a:lnTo>
                    <a:pt x="55" y="378"/>
                  </a:lnTo>
                  <a:lnTo>
                    <a:pt x="55" y="376"/>
                  </a:lnTo>
                  <a:lnTo>
                    <a:pt x="54" y="374"/>
                  </a:lnTo>
                  <a:lnTo>
                    <a:pt x="52" y="371"/>
                  </a:lnTo>
                  <a:lnTo>
                    <a:pt x="50" y="370"/>
                  </a:lnTo>
                  <a:lnTo>
                    <a:pt x="48" y="369"/>
                  </a:lnTo>
                  <a:lnTo>
                    <a:pt x="47" y="370"/>
                  </a:lnTo>
                  <a:lnTo>
                    <a:pt x="42" y="370"/>
                  </a:lnTo>
                  <a:lnTo>
                    <a:pt x="41" y="367"/>
                  </a:lnTo>
                  <a:lnTo>
                    <a:pt x="41" y="363"/>
                  </a:lnTo>
                  <a:lnTo>
                    <a:pt x="42" y="358"/>
                  </a:lnTo>
                  <a:lnTo>
                    <a:pt x="44" y="353"/>
                  </a:lnTo>
                  <a:lnTo>
                    <a:pt x="43" y="349"/>
                  </a:lnTo>
                  <a:lnTo>
                    <a:pt x="43" y="346"/>
                  </a:lnTo>
                  <a:lnTo>
                    <a:pt x="42" y="344"/>
                  </a:lnTo>
                  <a:lnTo>
                    <a:pt x="41" y="343"/>
                  </a:lnTo>
                  <a:lnTo>
                    <a:pt x="40" y="342"/>
                  </a:lnTo>
                  <a:lnTo>
                    <a:pt x="38" y="338"/>
                  </a:lnTo>
                  <a:lnTo>
                    <a:pt x="37" y="335"/>
                  </a:lnTo>
                  <a:lnTo>
                    <a:pt x="35" y="333"/>
                  </a:lnTo>
                  <a:lnTo>
                    <a:pt x="33" y="333"/>
                  </a:lnTo>
                  <a:lnTo>
                    <a:pt x="31" y="331"/>
                  </a:lnTo>
                  <a:lnTo>
                    <a:pt x="29" y="330"/>
                  </a:lnTo>
                  <a:lnTo>
                    <a:pt x="27" y="328"/>
                  </a:lnTo>
                  <a:lnTo>
                    <a:pt x="25" y="328"/>
                  </a:lnTo>
                  <a:lnTo>
                    <a:pt x="24" y="327"/>
                  </a:lnTo>
                  <a:lnTo>
                    <a:pt x="24" y="327"/>
                  </a:lnTo>
                  <a:lnTo>
                    <a:pt x="24" y="326"/>
                  </a:lnTo>
                  <a:lnTo>
                    <a:pt x="25" y="326"/>
                  </a:lnTo>
                  <a:lnTo>
                    <a:pt x="27" y="325"/>
                  </a:lnTo>
                  <a:lnTo>
                    <a:pt x="28" y="323"/>
                  </a:lnTo>
                  <a:lnTo>
                    <a:pt x="29" y="321"/>
                  </a:lnTo>
                  <a:lnTo>
                    <a:pt x="30" y="319"/>
                  </a:lnTo>
                  <a:lnTo>
                    <a:pt x="31" y="315"/>
                  </a:lnTo>
                  <a:lnTo>
                    <a:pt x="31" y="313"/>
                  </a:lnTo>
                  <a:lnTo>
                    <a:pt x="32" y="311"/>
                  </a:lnTo>
                  <a:lnTo>
                    <a:pt x="33" y="308"/>
                  </a:lnTo>
                  <a:lnTo>
                    <a:pt x="36" y="304"/>
                  </a:lnTo>
                  <a:lnTo>
                    <a:pt x="38" y="302"/>
                  </a:lnTo>
                  <a:lnTo>
                    <a:pt x="40" y="302"/>
                  </a:lnTo>
                  <a:lnTo>
                    <a:pt x="42" y="302"/>
                  </a:lnTo>
                  <a:lnTo>
                    <a:pt x="44" y="301"/>
                  </a:lnTo>
                  <a:lnTo>
                    <a:pt x="47" y="300"/>
                  </a:lnTo>
                  <a:lnTo>
                    <a:pt x="49" y="298"/>
                  </a:lnTo>
                  <a:lnTo>
                    <a:pt x="58" y="288"/>
                  </a:lnTo>
                  <a:lnTo>
                    <a:pt x="63" y="276"/>
                  </a:lnTo>
                  <a:lnTo>
                    <a:pt x="64" y="272"/>
                  </a:lnTo>
                  <a:lnTo>
                    <a:pt x="64" y="269"/>
                  </a:lnTo>
                  <a:lnTo>
                    <a:pt x="65" y="266"/>
                  </a:lnTo>
                  <a:lnTo>
                    <a:pt x="65" y="262"/>
                  </a:lnTo>
                  <a:lnTo>
                    <a:pt x="68" y="260"/>
                  </a:lnTo>
                  <a:lnTo>
                    <a:pt x="70" y="257"/>
                  </a:lnTo>
                  <a:lnTo>
                    <a:pt x="72" y="254"/>
                  </a:lnTo>
                  <a:lnTo>
                    <a:pt x="74" y="251"/>
                  </a:lnTo>
                  <a:lnTo>
                    <a:pt x="75" y="248"/>
                  </a:lnTo>
                  <a:lnTo>
                    <a:pt x="76" y="244"/>
                  </a:lnTo>
                  <a:lnTo>
                    <a:pt x="77" y="240"/>
                  </a:lnTo>
                  <a:lnTo>
                    <a:pt x="79" y="238"/>
                  </a:lnTo>
                  <a:lnTo>
                    <a:pt x="81" y="238"/>
                  </a:lnTo>
                  <a:lnTo>
                    <a:pt x="83" y="237"/>
                  </a:lnTo>
                  <a:lnTo>
                    <a:pt x="85" y="236"/>
                  </a:lnTo>
                  <a:lnTo>
                    <a:pt x="92" y="229"/>
                  </a:lnTo>
                  <a:lnTo>
                    <a:pt x="93" y="227"/>
                  </a:lnTo>
                  <a:lnTo>
                    <a:pt x="95" y="225"/>
                  </a:lnTo>
                  <a:lnTo>
                    <a:pt x="96" y="222"/>
                  </a:lnTo>
                  <a:lnTo>
                    <a:pt x="97" y="218"/>
                  </a:lnTo>
                  <a:lnTo>
                    <a:pt x="99" y="216"/>
                  </a:lnTo>
                  <a:lnTo>
                    <a:pt x="101" y="215"/>
                  </a:lnTo>
                  <a:lnTo>
                    <a:pt x="102" y="214"/>
                  </a:lnTo>
                  <a:lnTo>
                    <a:pt x="103" y="214"/>
                  </a:lnTo>
                  <a:lnTo>
                    <a:pt x="104" y="215"/>
                  </a:lnTo>
                  <a:lnTo>
                    <a:pt x="105" y="216"/>
                  </a:lnTo>
                  <a:lnTo>
                    <a:pt x="106" y="216"/>
                  </a:lnTo>
                  <a:lnTo>
                    <a:pt x="107" y="216"/>
                  </a:lnTo>
                  <a:lnTo>
                    <a:pt x="109" y="216"/>
                  </a:lnTo>
                  <a:lnTo>
                    <a:pt x="112" y="214"/>
                  </a:lnTo>
                  <a:lnTo>
                    <a:pt x="115" y="212"/>
                  </a:lnTo>
                  <a:lnTo>
                    <a:pt x="118" y="210"/>
                  </a:lnTo>
                  <a:lnTo>
                    <a:pt x="123" y="204"/>
                  </a:lnTo>
                  <a:lnTo>
                    <a:pt x="126" y="197"/>
                  </a:lnTo>
                  <a:lnTo>
                    <a:pt x="130" y="192"/>
                  </a:lnTo>
                  <a:lnTo>
                    <a:pt x="134" y="190"/>
                  </a:lnTo>
                  <a:lnTo>
                    <a:pt x="137" y="192"/>
                  </a:lnTo>
                  <a:lnTo>
                    <a:pt x="137" y="195"/>
                  </a:lnTo>
                  <a:lnTo>
                    <a:pt x="136" y="200"/>
                  </a:lnTo>
                  <a:lnTo>
                    <a:pt x="134" y="205"/>
                  </a:lnTo>
                  <a:lnTo>
                    <a:pt x="134" y="210"/>
                  </a:lnTo>
                  <a:lnTo>
                    <a:pt x="136" y="212"/>
                  </a:lnTo>
                  <a:lnTo>
                    <a:pt x="137" y="214"/>
                  </a:lnTo>
                  <a:lnTo>
                    <a:pt x="138" y="216"/>
                  </a:lnTo>
                  <a:lnTo>
                    <a:pt x="139" y="216"/>
                  </a:lnTo>
                  <a:lnTo>
                    <a:pt x="140" y="216"/>
                  </a:lnTo>
                  <a:lnTo>
                    <a:pt x="141" y="215"/>
                  </a:lnTo>
                  <a:lnTo>
                    <a:pt x="142" y="215"/>
                  </a:lnTo>
                  <a:lnTo>
                    <a:pt x="142" y="214"/>
                  </a:lnTo>
                  <a:lnTo>
                    <a:pt x="142" y="212"/>
                  </a:lnTo>
                  <a:lnTo>
                    <a:pt x="142" y="210"/>
                  </a:lnTo>
                  <a:lnTo>
                    <a:pt x="141" y="210"/>
                  </a:lnTo>
                  <a:lnTo>
                    <a:pt x="140" y="208"/>
                  </a:lnTo>
                  <a:lnTo>
                    <a:pt x="140" y="207"/>
                  </a:lnTo>
                  <a:lnTo>
                    <a:pt x="140" y="205"/>
                  </a:lnTo>
                  <a:lnTo>
                    <a:pt x="141" y="203"/>
                  </a:lnTo>
                  <a:lnTo>
                    <a:pt x="141" y="201"/>
                  </a:lnTo>
                  <a:lnTo>
                    <a:pt x="142" y="199"/>
                  </a:lnTo>
                  <a:lnTo>
                    <a:pt x="144" y="195"/>
                  </a:lnTo>
                  <a:lnTo>
                    <a:pt x="145" y="193"/>
                  </a:lnTo>
                  <a:lnTo>
                    <a:pt x="146" y="192"/>
                  </a:lnTo>
                  <a:lnTo>
                    <a:pt x="147" y="192"/>
                  </a:lnTo>
                  <a:lnTo>
                    <a:pt x="148" y="193"/>
                  </a:lnTo>
                  <a:lnTo>
                    <a:pt x="149" y="195"/>
                  </a:lnTo>
                  <a:lnTo>
                    <a:pt x="149" y="196"/>
                  </a:lnTo>
                  <a:lnTo>
                    <a:pt x="149" y="199"/>
                  </a:lnTo>
                  <a:lnTo>
                    <a:pt x="149" y="202"/>
                  </a:lnTo>
                  <a:lnTo>
                    <a:pt x="150" y="204"/>
                  </a:lnTo>
                  <a:lnTo>
                    <a:pt x="151" y="204"/>
                  </a:lnTo>
                  <a:lnTo>
                    <a:pt x="152" y="204"/>
                  </a:lnTo>
                  <a:lnTo>
                    <a:pt x="153" y="204"/>
                  </a:lnTo>
                  <a:lnTo>
                    <a:pt x="155" y="203"/>
                  </a:lnTo>
                  <a:lnTo>
                    <a:pt x="156" y="202"/>
                  </a:lnTo>
                  <a:lnTo>
                    <a:pt x="158" y="201"/>
                  </a:lnTo>
                  <a:lnTo>
                    <a:pt x="159" y="200"/>
                  </a:lnTo>
                  <a:lnTo>
                    <a:pt x="160" y="199"/>
                  </a:lnTo>
                  <a:lnTo>
                    <a:pt x="162" y="199"/>
                  </a:lnTo>
                  <a:lnTo>
                    <a:pt x="163" y="199"/>
                  </a:lnTo>
                  <a:lnTo>
                    <a:pt x="166" y="199"/>
                  </a:lnTo>
                  <a:lnTo>
                    <a:pt x="167" y="200"/>
                  </a:lnTo>
                  <a:lnTo>
                    <a:pt x="167" y="201"/>
                  </a:lnTo>
                  <a:lnTo>
                    <a:pt x="167" y="205"/>
                  </a:lnTo>
                  <a:lnTo>
                    <a:pt x="168" y="206"/>
                  </a:lnTo>
                  <a:lnTo>
                    <a:pt x="169" y="207"/>
                  </a:lnTo>
                  <a:lnTo>
                    <a:pt x="170" y="207"/>
                  </a:lnTo>
                  <a:lnTo>
                    <a:pt x="170" y="207"/>
                  </a:lnTo>
                  <a:lnTo>
                    <a:pt x="171" y="207"/>
                  </a:lnTo>
                  <a:lnTo>
                    <a:pt x="173" y="207"/>
                  </a:lnTo>
                  <a:lnTo>
                    <a:pt x="174" y="208"/>
                  </a:lnTo>
                  <a:lnTo>
                    <a:pt x="175" y="211"/>
                  </a:lnTo>
                  <a:lnTo>
                    <a:pt x="175" y="212"/>
                  </a:lnTo>
                  <a:lnTo>
                    <a:pt x="175" y="214"/>
                  </a:lnTo>
                  <a:lnTo>
                    <a:pt x="178" y="214"/>
                  </a:lnTo>
                  <a:lnTo>
                    <a:pt x="179" y="214"/>
                  </a:lnTo>
                  <a:lnTo>
                    <a:pt x="181" y="212"/>
                  </a:lnTo>
                  <a:lnTo>
                    <a:pt x="183" y="210"/>
                  </a:lnTo>
                  <a:lnTo>
                    <a:pt x="184" y="207"/>
                  </a:lnTo>
                  <a:lnTo>
                    <a:pt x="188" y="203"/>
                  </a:lnTo>
                  <a:lnTo>
                    <a:pt x="190" y="201"/>
                  </a:lnTo>
                  <a:lnTo>
                    <a:pt x="193" y="200"/>
                  </a:lnTo>
                  <a:lnTo>
                    <a:pt x="195" y="201"/>
                  </a:lnTo>
                  <a:lnTo>
                    <a:pt x="197" y="202"/>
                  </a:lnTo>
                  <a:lnTo>
                    <a:pt x="200" y="203"/>
                  </a:lnTo>
                  <a:lnTo>
                    <a:pt x="202" y="205"/>
                  </a:lnTo>
                  <a:lnTo>
                    <a:pt x="206" y="206"/>
                  </a:lnTo>
                  <a:lnTo>
                    <a:pt x="211" y="208"/>
                  </a:lnTo>
                  <a:lnTo>
                    <a:pt x="216" y="208"/>
                  </a:lnTo>
                  <a:lnTo>
                    <a:pt x="222" y="207"/>
                  </a:lnTo>
                  <a:lnTo>
                    <a:pt x="224" y="206"/>
                  </a:lnTo>
                  <a:lnTo>
                    <a:pt x="226" y="205"/>
                  </a:lnTo>
                  <a:lnTo>
                    <a:pt x="228" y="206"/>
                  </a:lnTo>
                  <a:lnTo>
                    <a:pt x="230" y="207"/>
                  </a:lnTo>
                  <a:lnTo>
                    <a:pt x="233" y="208"/>
                  </a:lnTo>
                  <a:lnTo>
                    <a:pt x="235" y="208"/>
                  </a:lnTo>
                  <a:lnTo>
                    <a:pt x="237" y="210"/>
                  </a:lnTo>
                  <a:lnTo>
                    <a:pt x="245" y="207"/>
                  </a:lnTo>
                  <a:lnTo>
                    <a:pt x="251" y="204"/>
                  </a:lnTo>
                  <a:lnTo>
                    <a:pt x="259" y="203"/>
                  </a:lnTo>
                  <a:lnTo>
                    <a:pt x="261" y="202"/>
                  </a:lnTo>
                  <a:lnTo>
                    <a:pt x="265" y="203"/>
                  </a:lnTo>
                  <a:lnTo>
                    <a:pt x="267" y="204"/>
                  </a:lnTo>
                  <a:lnTo>
                    <a:pt x="269" y="205"/>
                  </a:lnTo>
                  <a:lnTo>
                    <a:pt x="270" y="207"/>
                  </a:lnTo>
                  <a:lnTo>
                    <a:pt x="272" y="208"/>
                  </a:lnTo>
                  <a:lnTo>
                    <a:pt x="275" y="210"/>
                  </a:lnTo>
                  <a:lnTo>
                    <a:pt x="277" y="211"/>
                  </a:lnTo>
                  <a:lnTo>
                    <a:pt x="279" y="212"/>
                  </a:lnTo>
                  <a:lnTo>
                    <a:pt x="282" y="213"/>
                  </a:lnTo>
                  <a:lnTo>
                    <a:pt x="286" y="213"/>
                  </a:lnTo>
                  <a:lnTo>
                    <a:pt x="289" y="213"/>
                  </a:lnTo>
                  <a:lnTo>
                    <a:pt x="292" y="214"/>
                  </a:lnTo>
                  <a:lnTo>
                    <a:pt x="293" y="214"/>
                  </a:lnTo>
                  <a:lnTo>
                    <a:pt x="294" y="215"/>
                  </a:lnTo>
                  <a:lnTo>
                    <a:pt x="295" y="216"/>
                  </a:lnTo>
                  <a:lnTo>
                    <a:pt x="298" y="216"/>
                  </a:lnTo>
                  <a:lnTo>
                    <a:pt x="299" y="216"/>
                  </a:lnTo>
                  <a:lnTo>
                    <a:pt x="302" y="216"/>
                  </a:lnTo>
                  <a:lnTo>
                    <a:pt x="306" y="218"/>
                  </a:lnTo>
                  <a:lnTo>
                    <a:pt x="310" y="221"/>
                  </a:lnTo>
                  <a:lnTo>
                    <a:pt x="313" y="224"/>
                  </a:lnTo>
                  <a:lnTo>
                    <a:pt x="316" y="227"/>
                  </a:lnTo>
                  <a:lnTo>
                    <a:pt x="316" y="229"/>
                  </a:lnTo>
                  <a:lnTo>
                    <a:pt x="317" y="232"/>
                  </a:lnTo>
                  <a:lnTo>
                    <a:pt x="320" y="233"/>
                  </a:lnTo>
                  <a:lnTo>
                    <a:pt x="323" y="234"/>
                  </a:lnTo>
                  <a:lnTo>
                    <a:pt x="326" y="234"/>
                  </a:lnTo>
                  <a:lnTo>
                    <a:pt x="330" y="234"/>
                  </a:lnTo>
                  <a:lnTo>
                    <a:pt x="332" y="234"/>
                  </a:lnTo>
                  <a:lnTo>
                    <a:pt x="335" y="235"/>
                  </a:lnTo>
                  <a:lnTo>
                    <a:pt x="338" y="236"/>
                  </a:lnTo>
                  <a:lnTo>
                    <a:pt x="341" y="227"/>
                  </a:lnTo>
                  <a:lnTo>
                    <a:pt x="339" y="225"/>
                  </a:lnTo>
                  <a:lnTo>
                    <a:pt x="338" y="223"/>
                  </a:lnTo>
                  <a:lnTo>
                    <a:pt x="337" y="223"/>
                  </a:lnTo>
                  <a:lnTo>
                    <a:pt x="335" y="222"/>
                  </a:lnTo>
                  <a:lnTo>
                    <a:pt x="334" y="221"/>
                  </a:lnTo>
                  <a:lnTo>
                    <a:pt x="335" y="217"/>
                  </a:lnTo>
                  <a:lnTo>
                    <a:pt x="339" y="213"/>
                  </a:lnTo>
                  <a:lnTo>
                    <a:pt x="345" y="208"/>
                  </a:lnTo>
                  <a:lnTo>
                    <a:pt x="350" y="205"/>
                  </a:lnTo>
                  <a:lnTo>
                    <a:pt x="354" y="203"/>
                  </a:lnTo>
                  <a:lnTo>
                    <a:pt x="355" y="201"/>
                  </a:lnTo>
                  <a:lnTo>
                    <a:pt x="357" y="197"/>
                  </a:lnTo>
                  <a:lnTo>
                    <a:pt x="358" y="195"/>
                  </a:lnTo>
                  <a:lnTo>
                    <a:pt x="360" y="193"/>
                  </a:lnTo>
                  <a:lnTo>
                    <a:pt x="361" y="192"/>
                  </a:lnTo>
                  <a:lnTo>
                    <a:pt x="364" y="192"/>
                  </a:lnTo>
                  <a:lnTo>
                    <a:pt x="365" y="192"/>
                  </a:lnTo>
                  <a:lnTo>
                    <a:pt x="366" y="193"/>
                  </a:lnTo>
                  <a:lnTo>
                    <a:pt x="367" y="196"/>
                  </a:lnTo>
                  <a:lnTo>
                    <a:pt x="367" y="196"/>
                  </a:lnTo>
                  <a:lnTo>
                    <a:pt x="367" y="197"/>
                  </a:lnTo>
                  <a:lnTo>
                    <a:pt x="367" y="199"/>
                  </a:lnTo>
                  <a:lnTo>
                    <a:pt x="368" y="200"/>
                  </a:lnTo>
                  <a:lnTo>
                    <a:pt x="369" y="201"/>
                  </a:lnTo>
                  <a:lnTo>
                    <a:pt x="370" y="200"/>
                  </a:lnTo>
                  <a:lnTo>
                    <a:pt x="372" y="199"/>
                  </a:lnTo>
                  <a:lnTo>
                    <a:pt x="375" y="197"/>
                  </a:lnTo>
                  <a:lnTo>
                    <a:pt x="376" y="195"/>
                  </a:lnTo>
                  <a:lnTo>
                    <a:pt x="378" y="194"/>
                  </a:lnTo>
                  <a:lnTo>
                    <a:pt x="378" y="192"/>
                  </a:lnTo>
                  <a:lnTo>
                    <a:pt x="379" y="191"/>
                  </a:lnTo>
                  <a:lnTo>
                    <a:pt x="379" y="190"/>
                  </a:lnTo>
                  <a:lnTo>
                    <a:pt x="380" y="188"/>
                  </a:lnTo>
                  <a:lnTo>
                    <a:pt x="382" y="185"/>
                  </a:lnTo>
                  <a:lnTo>
                    <a:pt x="383" y="184"/>
                  </a:lnTo>
                  <a:lnTo>
                    <a:pt x="387" y="183"/>
                  </a:lnTo>
                  <a:lnTo>
                    <a:pt x="389" y="182"/>
                  </a:lnTo>
                  <a:lnTo>
                    <a:pt x="391" y="181"/>
                  </a:lnTo>
                  <a:lnTo>
                    <a:pt x="395" y="180"/>
                  </a:lnTo>
                  <a:lnTo>
                    <a:pt x="397" y="179"/>
                  </a:lnTo>
                  <a:lnTo>
                    <a:pt x="399" y="178"/>
                  </a:lnTo>
                  <a:lnTo>
                    <a:pt x="400" y="175"/>
                  </a:lnTo>
                  <a:lnTo>
                    <a:pt x="402" y="172"/>
                  </a:lnTo>
                  <a:lnTo>
                    <a:pt x="403" y="169"/>
                  </a:lnTo>
                  <a:lnTo>
                    <a:pt x="407" y="166"/>
                  </a:lnTo>
                  <a:lnTo>
                    <a:pt x="410" y="162"/>
                  </a:lnTo>
                  <a:lnTo>
                    <a:pt x="412" y="161"/>
                  </a:lnTo>
                  <a:lnTo>
                    <a:pt x="415" y="162"/>
                  </a:lnTo>
                  <a:lnTo>
                    <a:pt x="418" y="163"/>
                  </a:lnTo>
                  <a:lnTo>
                    <a:pt x="419" y="163"/>
                  </a:lnTo>
                  <a:lnTo>
                    <a:pt x="420" y="164"/>
                  </a:lnTo>
                  <a:lnTo>
                    <a:pt x="420" y="166"/>
                  </a:lnTo>
                  <a:lnTo>
                    <a:pt x="420" y="168"/>
                  </a:lnTo>
                  <a:lnTo>
                    <a:pt x="420" y="169"/>
                  </a:lnTo>
                  <a:lnTo>
                    <a:pt x="420" y="171"/>
                  </a:lnTo>
                  <a:lnTo>
                    <a:pt x="420" y="172"/>
                  </a:lnTo>
                  <a:lnTo>
                    <a:pt x="420" y="174"/>
                  </a:lnTo>
                  <a:lnTo>
                    <a:pt x="421" y="174"/>
                  </a:lnTo>
                  <a:lnTo>
                    <a:pt x="422" y="174"/>
                  </a:lnTo>
                  <a:lnTo>
                    <a:pt x="424" y="173"/>
                  </a:lnTo>
                  <a:lnTo>
                    <a:pt x="426" y="172"/>
                  </a:lnTo>
                  <a:lnTo>
                    <a:pt x="429" y="170"/>
                  </a:lnTo>
                  <a:lnTo>
                    <a:pt x="430" y="168"/>
                  </a:lnTo>
                  <a:lnTo>
                    <a:pt x="432" y="164"/>
                  </a:lnTo>
                  <a:lnTo>
                    <a:pt x="434" y="162"/>
                  </a:lnTo>
                  <a:lnTo>
                    <a:pt x="435" y="160"/>
                  </a:lnTo>
                  <a:lnTo>
                    <a:pt x="436" y="158"/>
                  </a:lnTo>
                  <a:lnTo>
                    <a:pt x="436" y="157"/>
                  </a:lnTo>
                  <a:lnTo>
                    <a:pt x="439" y="152"/>
                  </a:lnTo>
                  <a:lnTo>
                    <a:pt x="440" y="146"/>
                  </a:lnTo>
                  <a:lnTo>
                    <a:pt x="440" y="140"/>
                  </a:lnTo>
                  <a:lnTo>
                    <a:pt x="441" y="136"/>
                  </a:lnTo>
                  <a:lnTo>
                    <a:pt x="444" y="134"/>
                  </a:lnTo>
                  <a:lnTo>
                    <a:pt x="447" y="135"/>
                  </a:lnTo>
                  <a:lnTo>
                    <a:pt x="452" y="139"/>
                  </a:lnTo>
                  <a:lnTo>
                    <a:pt x="454" y="146"/>
                  </a:lnTo>
                  <a:lnTo>
                    <a:pt x="455" y="153"/>
                  </a:lnTo>
                  <a:lnTo>
                    <a:pt x="456" y="161"/>
                  </a:lnTo>
                  <a:lnTo>
                    <a:pt x="457" y="164"/>
                  </a:lnTo>
                  <a:lnTo>
                    <a:pt x="459" y="171"/>
                  </a:lnTo>
                  <a:lnTo>
                    <a:pt x="462" y="177"/>
                  </a:lnTo>
                  <a:lnTo>
                    <a:pt x="465" y="181"/>
                  </a:lnTo>
                  <a:lnTo>
                    <a:pt x="467" y="181"/>
                  </a:lnTo>
                  <a:lnTo>
                    <a:pt x="472" y="178"/>
                  </a:lnTo>
                  <a:lnTo>
                    <a:pt x="475" y="172"/>
                  </a:lnTo>
                  <a:lnTo>
                    <a:pt x="477" y="168"/>
                  </a:lnTo>
                  <a:lnTo>
                    <a:pt x="476" y="163"/>
                  </a:lnTo>
                  <a:lnTo>
                    <a:pt x="477" y="162"/>
                  </a:lnTo>
                  <a:lnTo>
                    <a:pt x="478" y="161"/>
                  </a:lnTo>
                  <a:lnTo>
                    <a:pt x="479" y="160"/>
                  </a:lnTo>
                  <a:lnTo>
                    <a:pt x="480" y="158"/>
                  </a:lnTo>
                  <a:lnTo>
                    <a:pt x="481" y="155"/>
                  </a:lnTo>
                  <a:lnTo>
                    <a:pt x="483" y="152"/>
                  </a:lnTo>
                  <a:lnTo>
                    <a:pt x="484" y="151"/>
                  </a:lnTo>
                  <a:lnTo>
                    <a:pt x="485" y="149"/>
                  </a:lnTo>
                  <a:lnTo>
                    <a:pt x="487" y="149"/>
                  </a:lnTo>
                  <a:lnTo>
                    <a:pt x="489" y="149"/>
                  </a:lnTo>
                  <a:lnTo>
                    <a:pt x="491" y="150"/>
                  </a:lnTo>
                  <a:lnTo>
                    <a:pt x="495" y="155"/>
                  </a:lnTo>
                  <a:lnTo>
                    <a:pt x="494" y="161"/>
                  </a:lnTo>
                  <a:lnTo>
                    <a:pt x="489" y="170"/>
                  </a:lnTo>
                  <a:lnTo>
                    <a:pt x="489" y="173"/>
                  </a:lnTo>
                  <a:lnTo>
                    <a:pt x="488" y="175"/>
                  </a:lnTo>
                  <a:lnTo>
                    <a:pt x="489" y="178"/>
                  </a:lnTo>
                  <a:lnTo>
                    <a:pt x="489" y="178"/>
                  </a:lnTo>
                  <a:lnTo>
                    <a:pt x="491" y="179"/>
                  </a:lnTo>
                  <a:lnTo>
                    <a:pt x="492" y="178"/>
                  </a:lnTo>
                  <a:lnTo>
                    <a:pt x="495" y="178"/>
                  </a:lnTo>
                  <a:lnTo>
                    <a:pt x="497" y="177"/>
                  </a:lnTo>
                  <a:lnTo>
                    <a:pt x="498" y="175"/>
                  </a:lnTo>
                  <a:lnTo>
                    <a:pt x="500" y="174"/>
                  </a:lnTo>
                  <a:lnTo>
                    <a:pt x="502" y="171"/>
                  </a:lnTo>
                  <a:lnTo>
                    <a:pt x="505" y="169"/>
                  </a:lnTo>
                  <a:lnTo>
                    <a:pt x="508" y="166"/>
                  </a:lnTo>
                  <a:lnTo>
                    <a:pt x="509" y="163"/>
                  </a:lnTo>
                  <a:lnTo>
                    <a:pt x="511" y="159"/>
                  </a:lnTo>
                  <a:lnTo>
                    <a:pt x="515" y="157"/>
                  </a:lnTo>
                  <a:lnTo>
                    <a:pt x="518" y="155"/>
                  </a:lnTo>
                  <a:lnTo>
                    <a:pt x="522" y="153"/>
                  </a:lnTo>
                  <a:lnTo>
                    <a:pt x="526" y="152"/>
                  </a:lnTo>
                  <a:lnTo>
                    <a:pt x="530" y="151"/>
                  </a:lnTo>
                  <a:lnTo>
                    <a:pt x="533" y="151"/>
                  </a:lnTo>
                  <a:lnTo>
                    <a:pt x="535" y="152"/>
                  </a:lnTo>
                  <a:lnTo>
                    <a:pt x="539" y="153"/>
                  </a:lnTo>
                  <a:lnTo>
                    <a:pt x="542" y="156"/>
                  </a:lnTo>
                  <a:lnTo>
                    <a:pt x="545" y="158"/>
                  </a:lnTo>
                  <a:lnTo>
                    <a:pt x="549" y="159"/>
                  </a:lnTo>
                  <a:lnTo>
                    <a:pt x="551" y="161"/>
                  </a:lnTo>
                  <a:lnTo>
                    <a:pt x="552" y="162"/>
                  </a:lnTo>
                  <a:lnTo>
                    <a:pt x="555" y="162"/>
                  </a:lnTo>
                  <a:lnTo>
                    <a:pt x="557" y="163"/>
                  </a:lnTo>
                  <a:lnTo>
                    <a:pt x="560" y="163"/>
                  </a:lnTo>
                  <a:lnTo>
                    <a:pt x="563" y="163"/>
                  </a:lnTo>
                  <a:lnTo>
                    <a:pt x="566" y="164"/>
                  </a:lnTo>
                  <a:lnTo>
                    <a:pt x="568" y="164"/>
                  </a:lnTo>
                  <a:lnTo>
                    <a:pt x="571" y="167"/>
                  </a:lnTo>
                  <a:lnTo>
                    <a:pt x="573" y="168"/>
                  </a:lnTo>
                  <a:lnTo>
                    <a:pt x="581" y="174"/>
                  </a:lnTo>
                  <a:lnTo>
                    <a:pt x="589" y="180"/>
                  </a:lnTo>
                  <a:lnTo>
                    <a:pt x="601" y="183"/>
                  </a:lnTo>
                  <a:lnTo>
                    <a:pt x="605" y="181"/>
                  </a:lnTo>
                  <a:lnTo>
                    <a:pt x="609" y="179"/>
                  </a:lnTo>
                  <a:lnTo>
                    <a:pt x="615" y="177"/>
                  </a:lnTo>
                  <a:lnTo>
                    <a:pt x="619" y="177"/>
                  </a:lnTo>
                  <a:lnTo>
                    <a:pt x="621" y="175"/>
                  </a:lnTo>
                  <a:lnTo>
                    <a:pt x="623" y="177"/>
                  </a:lnTo>
                  <a:lnTo>
                    <a:pt x="626" y="178"/>
                  </a:lnTo>
                  <a:lnTo>
                    <a:pt x="628" y="179"/>
                  </a:lnTo>
                  <a:lnTo>
                    <a:pt x="630" y="181"/>
                  </a:lnTo>
                  <a:lnTo>
                    <a:pt x="632" y="183"/>
                  </a:lnTo>
                  <a:lnTo>
                    <a:pt x="636" y="186"/>
                  </a:lnTo>
                  <a:lnTo>
                    <a:pt x="639" y="191"/>
                  </a:lnTo>
                  <a:lnTo>
                    <a:pt x="641" y="195"/>
                  </a:lnTo>
                  <a:lnTo>
                    <a:pt x="641" y="200"/>
                  </a:lnTo>
                  <a:lnTo>
                    <a:pt x="637" y="203"/>
                  </a:lnTo>
                  <a:lnTo>
                    <a:pt x="631" y="204"/>
                  </a:lnTo>
                  <a:lnTo>
                    <a:pt x="626" y="204"/>
                  </a:lnTo>
                  <a:lnTo>
                    <a:pt x="621" y="206"/>
                  </a:lnTo>
                  <a:lnTo>
                    <a:pt x="617" y="212"/>
                  </a:lnTo>
                  <a:lnTo>
                    <a:pt x="617" y="215"/>
                  </a:lnTo>
                  <a:lnTo>
                    <a:pt x="617" y="218"/>
                  </a:lnTo>
                  <a:lnTo>
                    <a:pt x="618" y="221"/>
                  </a:lnTo>
                  <a:lnTo>
                    <a:pt x="620" y="222"/>
                  </a:lnTo>
                  <a:lnTo>
                    <a:pt x="622" y="223"/>
                  </a:lnTo>
                  <a:lnTo>
                    <a:pt x="625" y="223"/>
                  </a:lnTo>
                  <a:lnTo>
                    <a:pt x="628" y="223"/>
                  </a:lnTo>
                  <a:lnTo>
                    <a:pt x="630" y="223"/>
                  </a:lnTo>
                  <a:lnTo>
                    <a:pt x="637" y="223"/>
                  </a:lnTo>
                  <a:lnTo>
                    <a:pt x="643" y="225"/>
                  </a:lnTo>
                  <a:lnTo>
                    <a:pt x="649" y="227"/>
                  </a:lnTo>
                  <a:lnTo>
                    <a:pt x="655" y="228"/>
                  </a:lnTo>
                  <a:lnTo>
                    <a:pt x="663" y="227"/>
                  </a:lnTo>
                  <a:lnTo>
                    <a:pt x="674" y="220"/>
                  </a:lnTo>
                  <a:lnTo>
                    <a:pt x="686" y="214"/>
                  </a:lnTo>
                  <a:lnTo>
                    <a:pt x="701" y="212"/>
                  </a:lnTo>
                  <a:lnTo>
                    <a:pt x="710" y="215"/>
                  </a:lnTo>
                  <a:lnTo>
                    <a:pt x="720" y="221"/>
                  </a:lnTo>
                  <a:lnTo>
                    <a:pt x="729" y="227"/>
                  </a:lnTo>
                  <a:lnTo>
                    <a:pt x="731" y="228"/>
                  </a:lnTo>
                  <a:lnTo>
                    <a:pt x="734" y="228"/>
                  </a:lnTo>
                  <a:lnTo>
                    <a:pt x="735" y="227"/>
                  </a:lnTo>
                  <a:lnTo>
                    <a:pt x="735" y="226"/>
                  </a:lnTo>
                  <a:lnTo>
                    <a:pt x="736" y="224"/>
                  </a:lnTo>
                  <a:lnTo>
                    <a:pt x="736" y="222"/>
                  </a:lnTo>
                  <a:lnTo>
                    <a:pt x="736" y="220"/>
                  </a:lnTo>
                  <a:lnTo>
                    <a:pt x="735" y="217"/>
                  </a:lnTo>
                  <a:lnTo>
                    <a:pt x="735" y="215"/>
                  </a:lnTo>
                  <a:lnTo>
                    <a:pt x="735" y="213"/>
                  </a:lnTo>
                  <a:lnTo>
                    <a:pt x="736" y="212"/>
                  </a:lnTo>
                  <a:lnTo>
                    <a:pt x="737" y="210"/>
                  </a:lnTo>
                  <a:lnTo>
                    <a:pt x="740" y="207"/>
                  </a:lnTo>
                  <a:lnTo>
                    <a:pt x="742" y="205"/>
                  </a:lnTo>
                  <a:lnTo>
                    <a:pt x="746" y="203"/>
                  </a:lnTo>
                  <a:lnTo>
                    <a:pt x="749" y="201"/>
                  </a:lnTo>
                  <a:lnTo>
                    <a:pt x="750" y="199"/>
                  </a:lnTo>
                  <a:lnTo>
                    <a:pt x="753" y="196"/>
                  </a:lnTo>
                  <a:lnTo>
                    <a:pt x="756" y="195"/>
                  </a:lnTo>
                  <a:lnTo>
                    <a:pt x="758" y="194"/>
                  </a:lnTo>
                  <a:lnTo>
                    <a:pt x="760" y="192"/>
                  </a:lnTo>
                  <a:lnTo>
                    <a:pt x="763" y="188"/>
                  </a:lnTo>
                  <a:lnTo>
                    <a:pt x="769" y="183"/>
                  </a:lnTo>
                  <a:lnTo>
                    <a:pt x="775" y="180"/>
                  </a:lnTo>
                  <a:lnTo>
                    <a:pt x="782" y="179"/>
                  </a:lnTo>
                  <a:lnTo>
                    <a:pt x="786" y="179"/>
                  </a:lnTo>
                  <a:lnTo>
                    <a:pt x="789" y="179"/>
                  </a:lnTo>
                  <a:lnTo>
                    <a:pt x="791" y="181"/>
                  </a:lnTo>
                  <a:lnTo>
                    <a:pt x="793" y="182"/>
                  </a:lnTo>
                  <a:lnTo>
                    <a:pt x="795" y="185"/>
                  </a:lnTo>
                  <a:lnTo>
                    <a:pt x="796" y="188"/>
                  </a:lnTo>
                  <a:lnTo>
                    <a:pt x="799" y="190"/>
                  </a:lnTo>
                  <a:lnTo>
                    <a:pt x="801" y="191"/>
                  </a:lnTo>
                  <a:lnTo>
                    <a:pt x="804" y="192"/>
                  </a:lnTo>
                  <a:lnTo>
                    <a:pt x="805" y="192"/>
                  </a:lnTo>
                  <a:lnTo>
                    <a:pt x="807" y="191"/>
                  </a:lnTo>
                  <a:lnTo>
                    <a:pt x="810" y="190"/>
                  </a:lnTo>
                  <a:lnTo>
                    <a:pt x="811" y="189"/>
                  </a:lnTo>
                  <a:lnTo>
                    <a:pt x="813" y="186"/>
                  </a:lnTo>
                  <a:lnTo>
                    <a:pt x="815" y="185"/>
                  </a:lnTo>
                  <a:lnTo>
                    <a:pt x="816" y="184"/>
                  </a:lnTo>
                  <a:lnTo>
                    <a:pt x="818" y="184"/>
                  </a:lnTo>
                  <a:lnTo>
                    <a:pt x="819" y="185"/>
                  </a:lnTo>
                  <a:lnTo>
                    <a:pt x="821" y="186"/>
                  </a:lnTo>
                  <a:lnTo>
                    <a:pt x="823" y="190"/>
                  </a:lnTo>
                  <a:lnTo>
                    <a:pt x="824" y="192"/>
                  </a:lnTo>
                  <a:lnTo>
                    <a:pt x="824" y="194"/>
                  </a:lnTo>
                  <a:lnTo>
                    <a:pt x="825" y="196"/>
                  </a:lnTo>
                  <a:lnTo>
                    <a:pt x="827" y="199"/>
                  </a:lnTo>
                  <a:lnTo>
                    <a:pt x="829" y="201"/>
                  </a:lnTo>
                  <a:lnTo>
                    <a:pt x="833" y="202"/>
                  </a:lnTo>
                  <a:lnTo>
                    <a:pt x="836" y="202"/>
                  </a:lnTo>
                  <a:lnTo>
                    <a:pt x="838" y="203"/>
                  </a:lnTo>
                  <a:lnTo>
                    <a:pt x="850" y="200"/>
                  </a:lnTo>
                  <a:lnTo>
                    <a:pt x="861" y="196"/>
                  </a:lnTo>
                  <a:lnTo>
                    <a:pt x="873" y="195"/>
                  </a:lnTo>
                  <a:lnTo>
                    <a:pt x="884" y="196"/>
                  </a:lnTo>
                  <a:lnTo>
                    <a:pt x="888" y="196"/>
                  </a:lnTo>
                  <a:lnTo>
                    <a:pt x="891" y="196"/>
                  </a:lnTo>
                  <a:lnTo>
                    <a:pt x="893" y="197"/>
                  </a:lnTo>
                  <a:lnTo>
                    <a:pt x="897" y="196"/>
                  </a:lnTo>
                  <a:lnTo>
                    <a:pt x="898" y="196"/>
                  </a:lnTo>
                  <a:lnTo>
                    <a:pt x="901" y="195"/>
                  </a:lnTo>
                  <a:lnTo>
                    <a:pt x="903" y="193"/>
                  </a:lnTo>
                  <a:lnTo>
                    <a:pt x="904" y="191"/>
                  </a:lnTo>
                  <a:lnTo>
                    <a:pt x="905" y="189"/>
                  </a:lnTo>
                  <a:lnTo>
                    <a:pt x="905" y="186"/>
                  </a:lnTo>
                  <a:lnTo>
                    <a:pt x="906" y="185"/>
                  </a:lnTo>
                  <a:lnTo>
                    <a:pt x="906" y="183"/>
                  </a:lnTo>
                  <a:lnTo>
                    <a:pt x="911" y="178"/>
                  </a:lnTo>
                  <a:lnTo>
                    <a:pt x="917" y="175"/>
                  </a:lnTo>
                  <a:lnTo>
                    <a:pt x="924" y="175"/>
                  </a:lnTo>
                  <a:lnTo>
                    <a:pt x="931" y="174"/>
                  </a:lnTo>
                  <a:lnTo>
                    <a:pt x="933" y="174"/>
                  </a:lnTo>
                  <a:lnTo>
                    <a:pt x="935" y="173"/>
                  </a:lnTo>
                  <a:lnTo>
                    <a:pt x="937" y="173"/>
                  </a:lnTo>
                  <a:lnTo>
                    <a:pt x="938" y="173"/>
                  </a:lnTo>
                  <a:lnTo>
                    <a:pt x="939" y="172"/>
                  </a:lnTo>
                  <a:lnTo>
                    <a:pt x="942" y="173"/>
                  </a:lnTo>
                  <a:lnTo>
                    <a:pt x="943" y="174"/>
                  </a:lnTo>
                  <a:lnTo>
                    <a:pt x="944" y="177"/>
                  </a:lnTo>
                  <a:lnTo>
                    <a:pt x="945" y="179"/>
                  </a:lnTo>
                  <a:lnTo>
                    <a:pt x="946" y="181"/>
                  </a:lnTo>
                  <a:lnTo>
                    <a:pt x="947" y="183"/>
                  </a:lnTo>
                  <a:lnTo>
                    <a:pt x="948" y="185"/>
                  </a:lnTo>
                  <a:lnTo>
                    <a:pt x="950" y="188"/>
                  </a:lnTo>
                  <a:lnTo>
                    <a:pt x="952" y="191"/>
                  </a:lnTo>
                  <a:lnTo>
                    <a:pt x="952" y="194"/>
                  </a:lnTo>
                  <a:lnTo>
                    <a:pt x="950" y="197"/>
                  </a:lnTo>
                  <a:lnTo>
                    <a:pt x="948" y="201"/>
                  </a:lnTo>
                  <a:lnTo>
                    <a:pt x="947" y="204"/>
                  </a:lnTo>
                  <a:lnTo>
                    <a:pt x="947" y="207"/>
                  </a:lnTo>
                  <a:lnTo>
                    <a:pt x="947" y="211"/>
                  </a:lnTo>
                  <a:lnTo>
                    <a:pt x="949" y="214"/>
                  </a:lnTo>
                  <a:lnTo>
                    <a:pt x="952" y="216"/>
                  </a:lnTo>
                  <a:lnTo>
                    <a:pt x="954" y="218"/>
                  </a:lnTo>
                  <a:lnTo>
                    <a:pt x="957" y="220"/>
                  </a:lnTo>
                  <a:lnTo>
                    <a:pt x="960" y="220"/>
                  </a:lnTo>
                  <a:lnTo>
                    <a:pt x="964" y="218"/>
                  </a:lnTo>
                  <a:lnTo>
                    <a:pt x="966" y="216"/>
                  </a:lnTo>
                  <a:lnTo>
                    <a:pt x="968" y="208"/>
                  </a:lnTo>
                  <a:lnTo>
                    <a:pt x="966" y="203"/>
                  </a:lnTo>
                  <a:lnTo>
                    <a:pt x="964" y="196"/>
                  </a:lnTo>
                  <a:lnTo>
                    <a:pt x="963" y="191"/>
                  </a:lnTo>
                  <a:lnTo>
                    <a:pt x="964" y="185"/>
                  </a:lnTo>
                  <a:lnTo>
                    <a:pt x="967" y="182"/>
                  </a:lnTo>
                  <a:lnTo>
                    <a:pt x="972" y="177"/>
                  </a:lnTo>
                  <a:lnTo>
                    <a:pt x="979" y="171"/>
                  </a:lnTo>
                  <a:lnTo>
                    <a:pt x="986" y="166"/>
                  </a:lnTo>
                  <a:lnTo>
                    <a:pt x="992" y="160"/>
                  </a:lnTo>
                  <a:lnTo>
                    <a:pt x="996" y="155"/>
                  </a:lnTo>
                  <a:lnTo>
                    <a:pt x="996" y="150"/>
                  </a:lnTo>
                  <a:lnTo>
                    <a:pt x="990" y="148"/>
                  </a:lnTo>
                  <a:lnTo>
                    <a:pt x="987" y="147"/>
                  </a:lnTo>
                  <a:lnTo>
                    <a:pt x="983" y="147"/>
                  </a:lnTo>
                  <a:lnTo>
                    <a:pt x="981" y="145"/>
                  </a:lnTo>
                  <a:lnTo>
                    <a:pt x="980" y="142"/>
                  </a:lnTo>
                  <a:lnTo>
                    <a:pt x="979" y="139"/>
                  </a:lnTo>
                  <a:lnTo>
                    <a:pt x="979" y="136"/>
                  </a:lnTo>
                  <a:lnTo>
                    <a:pt x="980" y="134"/>
                  </a:lnTo>
                  <a:lnTo>
                    <a:pt x="982" y="131"/>
                  </a:lnTo>
                  <a:lnTo>
                    <a:pt x="985" y="129"/>
                  </a:lnTo>
                  <a:lnTo>
                    <a:pt x="988" y="128"/>
                  </a:lnTo>
                  <a:lnTo>
                    <a:pt x="990" y="126"/>
                  </a:lnTo>
                  <a:lnTo>
                    <a:pt x="992" y="125"/>
                  </a:lnTo>
                  <a:lnTo>
                    <a:pt x="994" y="124"/>
                  </a:lnTo>
                  <a:lnTo>
                    <a:pt x="997" y="122"/>
                  </a:lnTo>
                  <a:lnTo>
                    <a:pt x="999" y="119"/>
                  </a:lnTo>
                  <a:lnTo>
                    <a:pt x="999" y="118"/>
                  </a:lnTo>
                  <a:lnTo>
                    <a:pt x="999" y="116"/>
                  </a:lnTo>
                  <a:lnTo>
                    <a:pt x="998" y="115"/>
                  </a:lnTo>
                  <a:lnTo>
                    <a:pt x="996" y="113"/>
                  </a:lnTo>
                  <a:lnTo>
                    <a:pt x="993" y="112"/>
                  </a:lnTo>
                  <a:lnTo>
                    <a:pt x="992" y="111"/>
                  </a:lnTo>
                  <a:lnTo>
                    <a:pt x="982" y="108"/>
                  </a:lnTo>
                  <a:lnTo>
                    <a:pt x="974" y="106"/>
                  </a:lnTo>
                  <a:lnTo>
                    <a:pt x="966" y="102"/>
                  </a:lnTo>
                  <a:lnTo>
                    <a:pt x="959" y="95"/>
                  </a:lnTo>
                  <a:lnTo>
                    <a:pt x="955" y="90"/>
                  </a:lnTo>
                  <a:lnTo>
                    <a:pt x="949" y="84"/>
                  </a:lnTo>
                  <a:lnTo>
                    <a:pt x="946" y="77"/>
                  </a:lnTo>
                  <a:lnTo>
                    <a:pt x="946" y="71"/>
                  </a:lnTo>
                  <a:lnTo>
                    <a:pt x="948" y="69"/>
                  </a:lnTo>
                  <a:lnTo>
                    <a:pt x="950" y="66"/>
                  </a:lnTo>
                  <a:lnTo>
                    <a:pt x="953" y="65"/>
                  </a:lnTo>
                  <a:lnTo>
                    <a:pt x="956" y="64"/>
                  </a:lnTo>
                  <a:lnTo>
                    <a:pt x="957" y="62"/>
                  </a:lnTo>
                  <a:lnTo>
                    <a:pt x="959" y="59"/>
                  </a:lnTo>
                  <a:lnTo>
                    <a:pt x="959" y="57"/>
                  </a:lnTo>
                  <a:lnTo>
                    <a:pt x="958" y="54"/>
                  </a:lnTo>
                  <a:lnTo>
                    <a:pt x="957" y="52"/>
                  </a:lnTo>
                  <a:lnTo>
                    <a:pt x="955" y="51"/>
                  </a:lnTo>
                  <a:lnTo>
                    <a:pt x="954" y="46"/>
                  </a:lnTo>
                  <a:lnTo>
                    <a:pt x="954" y="42"/>
                  </a:lnTo>
                  <a:lnTo>
                    <a:pt x="954" y="38"/>
                  </a:lnTo>
                  <a:lnTo>
                    <a:pt x="955" y="33"/>
                  </a:lnTo>
                  <a:lnTo>
                    <a:pt x="957" y="31"/>
                  </a:lnTo>
                  <a:lnTo>
                    <a:pt x="958" y="29"/>
                  </a:lnTo>
                  <a:lnTo>
                    <a:pt x="960" y="28"/>
                  </a:lnTo>
                  <a:lnTo>
                    <a:pt x="964" y="28"/>
                  </a:lnTo>
                  <a:lnTo>
                    <a:pt x="966" y="27"/>
                  </a:lnTo>
                  <a:lnTo>
                    <a:pt x="969" y="24"/>
                  </a:lnTo>
                  <a:lnTo>
                    <a:pt x="971" y="17"/>
                  </a:lnTo>
                  <a:lnTo>
                    <a:pt x="972" y="11"/>
                  </a:lnTo>
                  <a:lnTo>
                    <a:pt x="975" y="7"/>
                  </a:lnTo>
                  <a:lnTo>
                    <a:pt x="976" y="5"/>
                  </a:lnTo>
                  <a:lnTo>
                    <a:pt x="978" y="4"/>
                  </a:lnTo>
                  <a:lnTo>
                    <a:pt x="980" y="2"/>
                  </a:lnTo>
                  <a:lnTo>
                    <a:pt x="983" y="0"/>
                  </a:lnTo>
                  <a:lnTo>
                    <a:pt x="986"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00" name="Freeform 36"/>
            <p:cNvSpPr>
              <a:spLocks noEditPoints="1"/>
            </p:cNvSpPr>
            <p:nvPr/>
          </p:nvSpPr>
          <p:spPr bwMode="auto">
            <a:xfrm>
              <a:off x="5643" y="727"/>
              <a:ext cx="333" cy="80"/>
            </a:xfrm>
            <a:custGeom>
              <a:avLst/>
              <a:gdLst>
                <a:gd name="T0" fmla="*/ 2220 w 2332"/>
                <a:gd name="T1" fmla="*/ 79 h 560"/>
                <a:gd name="T2" fmla="*/ 1684 w 2332"/>
                <a:gd name="T3" fmla="*/ 73 h 560"/>
                <a:gd name="T4" fmla="*/ 343 w 2332"/>
                <a:gd name="T5" fmla="*/ 71 h 560"/>
                <a:gd name="T6" fmla="*/ 333 w 2332"/>
                <a:gd name="T7" fmla="*/ 149 h 560"/>
                <a:gd name="T8" fmla="*/ 379 w 2332"/>
                <a:gd name="T9" fmla="*/ 230 h 560"/>
                <a:gd name="T10" fmla="*/ 349 w 2332"/>
                <a:gd name="T11" fmla="*/ 271 h 560"/>
                <a:gd name="T12" fmla="*/ 270 w 2332"/>
                <a:gd name="T13" fmla="*/ 273 h 560"/>
                <a:gd name="T14" fmla="*/ 121 w 2332"/>
                <a:gd name="T15" fmla="*/ 269 h 560"/>
                <a:gd name="T16" fmla="*/ 128 w 2332"/>
                <a:gd name="T17" fmla="*/ 228 h 560"/>
                <a:gd name="T18" fmla="*/ 110 w 2332"/>
                <a:gd name="T19" fmla="*/ 161 h 560"/>
                <a:gd name="T20" fmla="*/ 189 w 2332"/>
                <a:gd name="T21" fmla="*/ 90 h 560"/>
                <a:gd name="T22" fmla="*/ 224 w 2332"/>
                <a:gd name="T23" fmla="*/ 122 h 560"/>
                <a:gd name="T24" fmla="*/ 256 w 2332"/>
                <a:gd name="T25" fmla="*/ 97 h 560"/>
                <a:gd name="T26" fmla="*/ 289 w 2332"/>
                <a:gd name="T27" fmla="*/ 82 h 560"/>
                <a:gd name="T28" fmla="*/ 306 w 2332"/>
                <a:gd name="T29" fmla="*/ 69 h 560"/>
                <a:gd name="T30" fmla="*/ 113 w 2332"/>
                <a:gd name="T31" fmla="*/ 64 h 560"/>
                <a:gd name="T32" fmla="*/ 118 w 2332"/>
                <a:gd name="T33" fmla="*/ 126 h 560"/>
                <a:gd name="T34" fmla="*/ 14 w 2332"/>
                <a:gd name="T35" fmla="*/ 197 h 560"/>
                <a:gd name="T36" fmla="*/ 38 w 2332"/>
                <a:gd name="T37" fmla="*/ 90 h 560"/>
                <a:gd name="T38" fmla="*/ 2002 w 2332"/>
                <a:gd name="T39" fmla="*/ 66 h 560"/>
                <a:gd name="T40" fmla="*/ 2022 w 2332"/>
                <a:gd name="T41" fmla="*/ 118 h 560"/>
                <a:gd name="T42" fmla="*/ 1994 w 2332"/>
                <a:gd name="T43" fmla="*/ 57 h 560"/>
                <a:gd name="T44" fmla="*/ 2166 w 2332"/>
                <a:gd name="T45" fmla="*/ 45 h 560"/>
                <a:gd name="T46" fmla="*/ 2158 w 2332"/>
                <a:gd name="T47" fmla="*/ 45 h 560"/>
                <a:gd name="T48" fmla="*/ 454 w 2332"/>
                <a:gd name="T49" fmla="*/ 137 h 560"/>
                <a:gd name="T50" fmla="*/ 380 w 2332"/>
                <a:gd name="T51" fmla="*/ 105 h 560"/>
                <a:gd name="T52" fmla="*/ 408 w 2332"/>
                <a:gd name="T53" fmla="*/ 56 h 560"/>
                <a:gd name="T54" fmla="*/ 2211 w 2332"/>
                <a:gd name="T55" fmla="*/ 29 h 560"/>
                <a:gd name="T56" fmla="*/ 2222 w 2332"/>
                <a:gd name="T57" fmla="*/ 57 h 560"/>
                <a:gd name="T58" fmla="*/ 679 w 2332"/>
                <a:gd name="T59" fmla="*/ 17 h 560"/>
                <a:gd name="T60" fmla="*/ 665 w 2332"/>
                <a:gd name="T61" fmla="*/ 110 h 560"/>
                <a:gd name="T62" fmla="*/ 684 w 2332"/>
                <a:gd name="T63" fmla="*/ 82 h 560"/>
                <a:gd name="T64" fmla="*/ 717 w 2332"/>
                <a:gd name="T65" fmla="*/ 24 h 560"/>
                <a:gd name="T66" fmla="*/ 781 w 2332"/>
                <a:gd name="T67" fmla="*/ 95 h 560"/>
                <a:gd name="T68" fmla="*/ 808 w 2332"/>
                <a:gd name="T69" fmla="*/ 71 h 560"/>
                <a:gd name="T70" fmla="*/ 830 w 2332"/>
                <a:gd name="T71" fmla="*/ 36 h 560"/>
                <a:gd name="T72" fmla="*/ 864 w 2332"/>
                <a:gd name="T73" fmla="*/ 94 h 560"/>
                <a:gd name="T74" fmla="*/ 898 w 2332"/>
                <a:gd name="T75" fmla="*/ 131 h 560"/>
                <a:gd name="T76" fmla="*/ 938 w 2332"/>
                <a:gd name="T77" fmla="*/ 155 h 560"/>
                <a:gd name="T78" fmla="*/ 1006 w 2332"/>
                <a:gd name="T79" fmla="*/ 191 h 560"/>
                <a:gd name="T80" fmla="*/ 1000 w 2332"/>
                <a:gd name="T81" fmla="*/ 243 h 560"/>
                <a:gd name="T82" fmla="*/ 1128 w 2332"/>
                <a:gd name="T83" fmla="*/ 341 h 560"/>
                <a:gd name="T84" fmla="*/ 1099 w 2332"/>
                <a:gd name="T85" fmla="*/ 431 h 560"/>
                <a:gd name="T86" fmla="*/ 1009 w 2332"/>
                <a:gd name="T87" fmla="*/ 378 h 560"/>
                <a:gd name="T88" fmla="*/ 1082 w 2332"/>
                <a:gd name="T89" fmla="*/ 531 h 560"/>
                <a:gd name="T90" fmla="*/ 991 w 2332"/>
                <a:gd name="T91" fmla="*/ 525 h 560"/>
                <a:gd name="T92" fmla="*/ 909 w 2332"/>
                <a:gd name="T93" fmla="*/ 450 h 560"/>
                <a:gd name="T94" fmla="*/ 820 w 2332"/>
                <a:gd name="T95" fmla="*/ 436 h 560"/>
                <a:gd name="T96" fmla="*/ 929 w 2332"/>
                <a:gd name="T97" fmla="*/ 356 h 560"/>
                <a:gd name="T98" fmla="*/ 951 w 2332"/>
                <a:gd name="T99" fmla="*/ 343 h 560"/>
                <a:gd name="T100" fmla="*/ 869 w 2332"/>
                <a:gd name="T101" fmla="*/ 256 h 560"/>
                <a:gd name="T102" fmla="*/ 838 w 2332"/>
                <a:gd name="T103" fmla="*/ 231 h 560"/>
                <a:gd name="T104" fmla="*/ 804 w 2332"/>
                <a:gd name="T105" fmla="*/ 172 h 560"/>
                <a:gd name="T106" fmla="*/ 681 w 2332"/>
                <a:gd name="T107" fmla="*/ 199 h 560"/>
                <a:gd name="T108" fmla="*/ 627 w 2332"/>
                <a:gd name="T109" fmla="*/ 147 h 560"/>
                <a:gd name="T110" fmla="*/ 2237 w 2332"/>
                <a:gd name="T111" fmla="*/ 42 h 560"/>
                <a:gd name="T112" fmla="*/ 2221 w 2332"/>
                <a:gd name="T113" fmla="*/ 27 h 560"/>
                <a:gd name="T114" fmla="*/ 1656 w 2332"/>
                <a:gd name="T115" fmla="*/ 12 h 560"/>
                <a:gd name="T116" fmla="*/ 561 w 2332"/>
                <a:gd name="T117" fmla="*/ 61 h 560"/>
                <a:gd name="T118" fmla="*/ 491 w 2332"/>
                <a:gd name="T119" fmla="*/ 93 h 560"/>
                <a:gd name="T120" fmla="*/ 2198 w 2332"/>
                <a:gd name="T121" fmla="*/ 17 h 560"/>
                <a:gd name="T122" fmla="*/ 1897 w 2332"/>
                <a:gd name="T123" fmla="*/ 0 h 560"/>
                <a:gd name="T124" fmla="*/ 1897 w 2332"/>
                <a:gd name="T125" fmla="*/ 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32" h="560">
                  <a:moveTo>
                    <a:pt x="2326" y="76"/>
                  </a:moveTo>
                  <a:lnTo>
                    <a:pt x="2327" y="77"/>
                  </a:lnTo>
                  <a:lnTo>
                    <a:pt x="2328" y="78"/>
                  </a:lnTo>
                  <a:lnTo>
                    <a:pt x="2329" y="79"/>
                  </a:lnTo>
                  <a:lnTo>
                    <a:pt x="2329" y="82"/>
                  </a:lnTo>
                  <a:lnTo>
                    <a:pt x="2330" y="83"/>
                  </a:lnTo>
                  <a:lnTo>
                    <a:pt x="2330" y="84"/>
                  </a:lnTo>
                  <a:lnTo>
                    <a:pt x="2331" y="86"/>
                  </a:lnTo>
                  <a:lnTo>
                    <a:pt x="2331" y="87"/>
                  </a:lnTo>
                  <a:lnTo>
                    <a:pt x="2332" y="88"/>
                  </a:lnTo>
                  <a:lnTo>
                    <a:pt x="2331" y="89"/>
                  </a:lnTo>
                  <a:lnTo>
                    <a:pt x="2331" y="89"/>
                  </a:lnTo>
                  <a:lnTo>
                    <a:pt x="2330" y="89"/>
                  </a:lnTo>
                  <a:lnTo>
                    <a:pt x="2328" y="87"/>
                  </a:lnTo>
                  <a:lnTo>
                    <a:pt x="2326" y="86"/>
                  </a:lnTo>
                  <a:lnTo>
                    <a:pt x="2324" y="84"/>
                  </a:lnTo>
                  <a:lnTo>
                    <a:pt x="2324" y="82"/>
                  </a:lnTo>
                  <a:lnTo>
                    <a:pt x="2324" y="79"/>
                  </a:lnTo>
                  <a:lnTo>
                    <a:pt x="2325" y="78"/>
                  </a:lnTo>
                  <a:lnTo>
                    <a:pt x="2326" y="77"/>
                  </a:lnTo>
                  <a:lnTo>
                    <a:pt x="2326" y="76"/>
                  </a:lnTo>
                  <a:lnTo>
                    <a:pt x="2326" y="76"/>
                  </a:lnTo>
                  <a:close/>
                  <a:moveTo>
                    <a:pt x="2213" y="65"/>
                  </a:moveTo>
                  <a:lnTo>
                    <a:pt x="2215" y="66"/>
                  </a:lnTo>
                  <a:lnTo>
                    <a:pt x="2215" y="67"/>
                  </a:lnTo>
                  <a:lnTo>
                    <a:pt x="2216" y="68"/>
                  </a:lnTo>
                  <a:lnTo>
                    <a:pt x="2217" y="71"/>
                  </a:lnTo>
                  <a:lnTo>
                    <a:pt x="2219" y="73"/>
                  </a:lnTo>
                  <a:lnTo>
                    <a:pt x="2220" y="75"/>
                  </a:lnTo>
                  <a:lnTo>
                    <a:pt x="2221" y="78"/>
                  </a:lnTo>
                  <a:lnTo>
                    <a:pt x="2221" y="82"/>
                  </a:lnTo>
                  <a:lnTo>
                    <a:pt x="2220" y="79"/>
                  </a:lnTo>
                  <a:lnTo>
                    <a:pt x="2218" y="78"/>
                  </a:lnTo>
                  <a:lnTo>
                    <a:pt x="2217" y="77"/>
                  </a:lnTo>
                  <a:lnTo>
                    <a:pt x="2217" y="77"/>
                  </a:lnTo>
                  <a:lnTo>
                    <a:pt x="2216" y="77"/>
                  </a:lnTo>
                  <a:lnTo>
                    <a:pt x="2215" y="76"/>
                  </a:lnTo>
                  <a:lnTo>
                    <a:pt x="2213" y="75"/>
                  </a:lnTo>
                  <a:lnTo>
                    <a:pt x="2212" y="73"/>
                  </a:lnTo>
                  <a:lnTo>
                    <a:pt x="2212" y="69"/>
                  </a:lnTo>
                  <a:lnTo>
                    <a:pt x="2212" y="67"/>
                  </a:lnTo>
                  <a:lnTo>
                    <a:pt x="2212" y="66"/>
                  </a:lnTo>
                  <a:lnTo>
                    <a:pt x="2213" y="66"/>
                  </a:lnTo>
                  <a:lnTo>
                    <a:pt x="2213" y="65"/>
                  </a:lnTo>
                  <a:close/>
                  <a:moveTo>
                    <a:pt x="1691" y="63"/>
                  </a:moveTo>
                  <a:lnTo>
                    <a:pt x="1693" y="71"/>
                  </a:lnTo>
                  <a:lnTo>
                    <a:pt x="1699" y="76"/>
                  </a:lnTo>
                  <a:lnTo>
                    <a:pt x="1705" y="82"/>
                  </a:lnTo>
                  <a:lnTo>
                    <a:pt x="1706" y="84"/>
                  </a:lnTo>
                  <a:lnTo>
                    <a:pt x="1707" y="86"/>
                  </a:lnTo>
                  <a:lnTo>
                    <a:pt x="1708" y="88"/>
                  </a:lnTo>
                  <a:lnTo>
                    <a:pt x="1709" y="92"/>
                  </a:lnTo>
                  <a:lnTo>
                    <a:pt x="1709" y="94"/>
                  </a:lnTo>
                  <a:lnTo>
                    <a:pt x="1709" y="96"/>
                  </a:lnTo>
                  <a:lnTo>
                    <a:pt x="1709" y="98"/>
                  </a:lnTo>
                  <a:lnTo>
                    <a:pt x="1706" y="98"/>
                  </a:lnTo>
                  <a:lnTo>
                    <a:pt x="1702" y="96"/>
                  </a:lnTo>
                  <a:lnTo>
                    <a:pt x="1696" y="92"/>
                  </a:lnTo>
                  <a:lnTo>
                    <a:pt x="1692" y="87"/>
                  </a:lnTo>
                  <a:lnTo>
                    <a:pt x="1688" y="82"/>
                  </a:lnTo>
                  <a:lnTo>
                    <a:pt x="1686" y="80"/>
                  </a:lnTo>
                  <a:lnTo>
                    <a:pt x="1685" y="78"/>
                  </a:lnTo>
                  <a:lnTo>
                    <a:pt x="1684" y="75"/>
                  </a:lnTo>
                  <a:lnTo>
                    <a:pt x="1684" y="73"/>
                  </a:lnTo>
                  <a:lnTo>
                    <a:pt x="1684" y="71"/>
                  </a:lnTo>
                  <a:lnTo>
                    <a:pt x="1684" y="68"/>
                  </a:lnTo>
                  <a:lnTo>
                    <a:pt x="1684" y="67"/>
                  </a:lnTo>
                  <a:lnTo>
                    <a:pt x="1685" y="66"/>
                  </a:lnTo>
                  <a:lnTo>
                    <a:pt x="1687" y="66"/>
                  </a:lnTo>
                  <a:lnTo>
                    <a:pt x="1689" y="65"/>
                  </a:lnTo>
                  <a:lnTo>
                    <a:pt x="1691" y="63"/>
                  </a:lnTo>
                  <a:close/>
                  <a:moveTo>
                    <a:pt x="291" y="57"/>
                  </a:moveTo>
                  <a:lnTo>
                    <a:pt x="294" y="57"/>
                  </a:lnTo>
                  <a:lnTo>
                    <a:pt x="295" y="58"/>
                  </a:lnTo>
                  <a:lnTo>
                    <a:pt x="297" y="60"/>
                  </a:lnTo>
                  <a:lnTo>
                    <a:pt x="297" y="61"/>
                  </a:lnTo>
                  <a:lnTo>
                    <a:pt x="297" y="62"/>
                  </a:lnTo>
                  <a:lnTo>
                    <a:pt x="296" y="63"/>
                  </a:lnTo>
                  <a:lnTo>
                    <a:pt x="294" y="65"/>
                  </a:lnTo>
                  <a:lnTo>
                    <a:pt x="291" y="67"/>
                  </a:lnTo>
                  <a:lnTo>
                    <a:pt x="289" y="68"/>
                  </a:lnTo>
                  <a:lnTo>
                    <a:pt x="287" y="68"/>
                  </a:lnTo>
                  <a:lnTo>
                    <a:pt x="285" y="68"/>
                  </a:lnTo>
                  <a:lnTo>
                    <a:pt x="283" y="68"/>
                  </a:lnTo>
                  <a:lnTo>
                    <a:pt x="280" y="66"/>
                  </a:lnTo>
                  <a:lnTo>
                    <a:pt x="280" y="64"/>
                  </a:lnTo>
                  <a:lnTo>
                    <a:pt x="281" y="62"/>
                  </a:lnTo>
                  <a:lnTo>
                    <a:pt x="284" y="60"/>
                  </a:lnTo>
                  <a:lnTo>
                    <a:pt x="286" y="58"/>
                  </a:lnTo>
                  <a:lnTo>
                    <a:pt x="289" y="57"/>
                  </a:lnTo>
                  <a:lnTo>
                    <a:pt x="291" y="57"/>
                  </a:lnTo>
                  <a:close/>
                  <a:moveTo>
                    <a:pt x="333" y="55"/>
                  </a:moveTo>
                  <a:lnTo>
                    <a:pt x="341" y="56"/>
                  </a:lnTo>
                  <a:lnTo>
                    <a:pt x="343" y="60"/>
                  </a:lnTo>
                  <a:lnTo>
                    <a:pt x="344" y="64"/>
                  </a:lnTo>
                  <a:lnTo>
                    <a:pt x="343" y="71"/>
                  </a:lnTo>
                  <a:lnTo>
                    <a:pt x="342" y="76"/>
                  </a:lnTo>
                  <a:lnTo>
                    <a:pt x="341" y="77"/>
                  </a:lnTo>
                  <a:lnTo>
                    <a:pt x="340" y="79"/>
                  </a:lnTo>
                  <a:lnTo>
                    <a:pt x="338" y="80"/>
                  </a:lnTo>
                  <a:lnTo>
                    <a:pt x="335" y="82"/>
                  </a:lnTo>
                  <a:lnTo>
                    <a:pt x="334" y="83"/>
                  </a:lnTo>
                  <a:lnTo>
                    <a:pt x="334" y="85"/>
                  </a:lnTo>
                  <a:lnTo>
                    <a:pt x="334" y="86"/>
                  </a:lnTo>
                  <a:lnTo>
                    <a:pt x="333" y="87"/>
                  </a:lnTo>
                  <a:lnTo>
                    <a:pt x="333" y="87"/>
                  </a:lnTo>
                  <a:lnTo>
                    <a:pt x="332" y="89"/>
                  </a:lnTo>
                  <a:lnTo>
                    <a:pt x="331" y="90"/>
                  </a:lnTo>
                  <a:lnTo>
                    <a:pt x="330" y="92"/>
                  </a:lnTo>
                  <a:lnTo>
                    <a:pt x="328" y="94"/>
                  </a:lnTo>
                  <a:lnTo>
                    <a:pt x="328" y="95"/>
                  </a:lnTo>
                  <a:lnTo>
                    <a:pt x="327" y="98"/>
                  </a:lnTo>
                  <a:lnTo>
                    <a:pt x="328" y="99"/>
                  </a:lnTo>
                  <a:lnTo>
                    <a:pt x="328" y="101"/>
                  </a:lnTo>
                  <a:lnTo>
                    <a:pt x="329" y="104"/>
                  </a:lnTo>
                  <a:lnTo>
                    <a:pt x="330" y="106"/>
                  </a:lnTo>
                  <a:lnTo>
                    <a:pt x="329" y="109"/>
                  </a:lnTo>
                  <a:lnTo>
                    <a:pt x="329" y="112"/>
                  </a:lnTo>
                  <a:lnTo>
                    <a:pt x="328" y="117"/>
                  </a:lnTo>
                  <a:lnTo>
                    <a:pt x="328" y="121"/>
                  </a:lnTo>
                  <a:lnTo>
                    <a:pt x="328" y="125"/>
                  </a:lnTo>
                  <a:lnTo>
                    <a:pt x="329" y="127"/>
                  </a:lnTo>
                  <a:lnTo>
                    <a:pt x="329" y="129"/>
                  </a:lnTo>
                  <a:lnTo>
                    <a:pt x="330" y="132"/>
                  </a:lnTo>
                  <a:lnTo>
                    <a:pt x="330" y="141"/>
                  </a:lnTo>
                  <a:lnTo>
                    <a:pt x="330" y="144"/>
                  </a:lnTo>
                  <a:lnTo>
                    <a:pt x="331" y="147"/>
                  </a:lnTo>
                  <a:lnTo>
                    <a:pt x="333" y="149"/>
                  </a:lnTo>
                  <a:lnTo>
                    <a:pt x="334" y="151"/>
                  </a:lnTo>
                  <a:lnTo>
                    <a:pt x="336" y="153"/>
                  </a:lnTo>
                  <a:lnTo>
                    <a:pt x="335" y="158"/>
                  </a:lnTo>
                  <a:lnTo>
                    <a:pt x="334" y="161"/>
                  </a:lnTo>
                  <a:lnTo>
                    <a:pt x="333" y="165"/>
                  </a:lnTo>
                  <a:lnTo>
                    <a:pt x="333" y="169"/>
                  </a:lnTo>
                  <a:lnTo>
                    <a:pt x="334" y="171"/>
                  </a:lnTo>
                  <a:lnTo>
                    <a:pt x="336" y="177"/>
                  </a:lnTo>
                  <a:lnTo>
                    <a:pt x="339" y="182"/>
                  </a:lnTo>
                  <a:lnTo>
                    <a:pt x="341" y="188"/>
                  </a:lnTo>
                  <a:lnTo>
                    <a:pt x="343" y="192"/>
                  </a:lnTo>
                  <a:lnTo>
                    <a:pt x="349" y="193"/>
                  </a:lnTo>
                  <a:lnTo>
                    <a:pt x="355" y="193"/>
                  </a:lnTo>
                  <a:lnTo>
                    <a:pt x="362" y="193"/>
                  </a:lnTo>
                  <a:lnTo>
                    <a:pt x="366" y="193"/>
                  </a:lnTo>
                  <a:lnTo>
                    <a:pt x="368" y="194"/>
                  </a:lnTo>
                  <a:lnTo>
                    <a:pt x="371" y="195"/>
                  </a:lnTo>
                  <a:lnTo>
                    <a:pt x="373" y="197"/>
                  </a:lnTo>
                  <a:lnTo>
                    <a:pt x="374" y="199"/>
                  </a:lnTo>
                  <a:lnTo>
                    <a:pt x="374" y="202"/>
                  </a:lnTo>
                  <a:lnTo>
                    <a:pt x="375" y="204"/>
                  </a:lnTo>
                  <a:lnTo>
                    <a:pt x="376" y="207"/>
                  </a:lnTo>
                  <a:lnTo>
                    <a:pt x="377" y="210"/>
                  </a:lnTo>
                  <a:lnTo>
                    <a:pt x="379" y="212"/>
                  </a:lnTo>
                  <a:lnTo>
                    <a:pt x="382" y="214"/>
                  </a:lnTo>
                  <a:lnTo>
                    <a:pt x="383" y="216"/>
                  </a:lnTo>
                  <a:lnTo>
                    <a:pt x="384" y="217"/>
                  </a:lnTo>
                  <a:lnTo>
                    <a:pt x="383" y="220"/>
                  </a:lnTo>
                  <a:lnTo>
                    <a:pt x="382" y="223"/>
                  </a:lnTo>
                  <a:lnTo>
                    <a:pt x="382" y="226"/>
                  </a:lnTo>
                  <a:lnTo>
                    <a:pt x="380" y="228"/>
                  </a:lnTo>
                  <a:lnTo>
                    <a:pt x="379" y="230"/>
                  </a:lnTo>
                  <a:lnTo>
                    <a:pt x="377" y="231"/>
                  </a:lnTo>
                  <a:lnTo>
                    <a:pt x="375" y="231"/>
                  </a:lnTo>
                  <a:lnTo>
                    <a:pt x="373" y="231"/>
                  </a:lnTo>
                  <a:lnTo>
                    <a:pt x="372" y="231"/>
                  </a:lnTo>
                  <a:lnTo>
                    <a:pt x="369" y="229"/>
                  </a:lnTo>
                  <a:lnTo>
                    <a:pt x="368" y="228"/>
                  </a:lnTo>
                  <a:lnTo>
                    <a:pt x="367" y="227"/>
                  </a:lnTo>
                  <a:lnTo>
                    <a:pt x="366" y="227"/>
                  </a:lnTo>
                  <a:lnTo>
                    <a:pt x="363" y="229"/>
                  </a:lnTo>
                  <a:lnTo>
                    <a:pt x="361" y="230"/>
                  </a:lnTo>
                  <a:lnTo>
                    <a:pt x="358" y="232"/>
                  </a:lnTo>
                  <a:lnTo>
                    <a:pt x="356" y="235"/>
                  </a:lnTo>
                  <a:lnTo>
                    <a:pt x="353" y="236"/>
                  </a:lnTo>
                  <a:lnTo>
                    <a:pt x="351" y="237"/>
                  </a:lnTo>
                  <a:lnTo>
                    <a:pt x="349" y="239"/>
                  </a:lnTo>
                  <a:lnTo>
                    <a:pt x="347" y="241"/>
                  </a:lnTo>
                  <a:lnTo>
                    <a:pt x="349" y="243"/>
                  </a:lnTo>
                  <a:lnTo>
                    <a:pt x="349" y="245"/>
                  </a:lnTo>
                  <a:lnTo>
                    <a:pt x="352" y="246"/>
                  </a:lnTo>
                  <a:lnTo>
                    <a:pt x="353" y="246"/>
                  </a:lnTo>
                  <a:lnTo>
                    <a:pt x="355" y="246"/>
                  </a:lnTo>
                  <a:lnTo>
                    <a:pt x="357" y="245"/>
                  </a:lnTo>
                  <a:lnTo>
                    <a:pt x="360" y="245"/>
                  </a:lnTo>
                  <a:lnTo>
                    <a:pt x="362" y="246"/>
                  </a:lnTo>
                  <a:lnTo>
                    <a:pt x="364" y="248"/>
                  </a:lnTo>
                  <a:lnTo>
                    <a:pt x="365" y="251"/>
                  </a:lnTo>
                  <a:lnTo>
                    <a:pt x="366" y="253"/>
                  </a:lnTo>
                  <a:lnTo>
                    <a:pt x="366" y="257"/>
                  </a:lnTo>
                  <a:lnTo>
                    <a:pt x="366" y="260"/>
                  </a:lnTo>
                  <a:lnTo>
                    <a:pt x="364" y="262"/>
                  </a:lnTo>
                  <a:lnTo>
                    <a:pt x="356" y="268"/>
                  </a:lnTo>
                  <a:lnTo>
                    <a:pt x="349" y="271"/>
                  </a:lnTo>
                  <a:lnTo>
                    <a:pt x="339" y="272"/>
                  </a:lnTo>
                  <a:lnTo>
                    <a:pt x="332" y="273"/>
                  </a:lnTo>
                  <a:lnTo>
                    <a:pt x="324" y="274"/>
                  </a:lnTo>
                  <a:lnTo>
                    <a:pt x="317" y="274"/>
                  </a:lnTo>
                  <a:lnTo>
                    <a:pt x="312" y="272"/>
                  </a:lnTo>
                  <a:lnTo>
                    <a:pt x="311" y="270"/>
                  </a:lnTo>
                  <a:lnTo>
                    <a:pt x="310" y="269"/>
                  </a:lnTo>
                  <a:lnTo>
                    <a:pt x="309" y="268"/>
                  </a:lnTo>
                  <a:lnTo>
                    <a:pt x="308" y="267"/>
                  </a:lnTo>
                  <a:lnTo>
                    <a:pt x="306" y="267"/>
                  </a:lnTo>
                  <a:lnTo>
                    <a:pt x="302" y="265"/>
                  </a:lnTo>
                  <a:lnTo>
                    <a:pt x="299" y="265"/>
                  </a:lnTo>
                  <a:lnTo>
                    <a:pt x="296" y="265"/>
                  </a:lnTo>
                  <a:lnTo>
                    <a:pt x="292" y="267"/>
                  </a:lnTo>
                  <a:lnTo>
                    <a:pt x="290" y="265"/>
                  </a:lnTo>
                  <a:lnTo>
                    <a:pt x="288" y="264"/>
                  </a:lnTo>
                  <a:lnTo>
                    <a:pt x="287" y="262"/>
                  </a:lnTo>
                  <a:lnTo>
                    <a:pt x="286" y="260"/>
                  </a:lnTo>
                  <a:lnTo>
                    <a:pt x="285" y="258"/>
                  </a:lnTo>
                  <a:lnTo>
                    <a:pt x="284" y="256"/>
                  </a:lnTo>
                  <a:lnTo>
                    <a:pt x="283" y="252"/>
                  </a:lnTo>
                  <a:lnTo>
                    <a:pt x="281" y="251"/>
                  </a:lnTo>
                  <a:lnTo>
                    <a:pt x="280" y="251"/>
                  </a:lnTo>
                  <a:lnTo>
                    <a:pt x="279" y="252"/>
                  </a:lnTo>
                  <a:lnTo>
                    <a:pt x="278" y="253"/>
                  </a:lnTo>
                  <a:lnTo>
                    <a:pt x="277" y="256"/>
                  </a:lnTo>
                  <a:lnTo>
                    <a:pt x="276" y="258"/>
                  </a:lnTo>
                  <a:lnTo>
                    <a:pt x="275" y="260"/>
                  </a:lnTo>
                  <a:lnTo>
                    <a:pt x="275" y="262"/>
                  </a:lnTo>
                  <a:lnTo>
                    <a:pt x="274" y="267"/>
                  </a:lnTo>
                  <a:lnTo>
                    <a:pt x="273" y="271"/>
                  </a:lnTo>
                  <a:lnTo>
                    <a:pt x="270" y="273"/>
                  </a:lnTo>
                  <a:lnTo>
                    <a:pt x="267" y="276"/>
                  </a:lnTo>
                  <a:lnTo>
                    <a:pt x="264" y="278"/>
                  </a:lnTo>
                  <a:lnTo>
                    <a:pt x="257" y="279"/>
                  </a:lnTo>
                  <a:lnTo>
                    <a:pt x="254" y="280"/>
                  </a:lnTo>
                  <a:lnTo>
                    <a:pt x="252" y="281"/>
                  </a:lnTo>
                  <a:lnTo>
                    <a:pt x="248" y="283"/>
                  </a:lnTo>
                  <a:lnTo>
                    <a:pt x="246" y="285"/>
                  </a:lnTo>
                  <a:lnTo>
                    <a:pt x="243" y="287"/>
                  </a:lnTo>
                  <a:lnTo>
                    <a:pt x="237" y="290"/>
                  </a:lnTo>
                  <a:lnTo>
                    <a:pt x="232" y="292"/>
                  </a:lnTo>
                  <a:lnTo>
                    <a:pt x="227" y="294"/>
                  </a:lnTo>
                  <a:lnTo>
                    <a:pt x="213" y="298"/>
                  </a:lnTo>
                  <a:lnTo>
                    <a:pt x="199" y="303"/>
                  </a:lnTo>
                  <a:lnTo>
                    <a:pt x="183" y="307"/>
                  </a:lnTo>
                  <a:lnTo>
                    <a:pt x="177" y="309"/>
                  </a:lnTo>
                  <a:lnTo>
                    <a:pt x="171" y="307"/>
                  </a:lnTo>
                  <a:lnTo>
                    <a:pt x="167" y="304"/>
                  </a:lnTo>
                  <a:lnTo>
                    <a:pt x="165" y="298"/>
                  </a:lnTo>
                  <a:lnTo>
                    <a:pt x="164" y="292"/>
                  </a:lnTo>
                  <a:lnTo>
                    <a:pt x="164" y="287"/>
                  </a:lnTo>
                  <a:lnTo>
                    <a:pt x="164" y="284"/>
                  </a:lnTo>
                  <a:lnTo>
                    <a:pt x="164" y="281"/>
                  </a:lnTo>
                  <a:lnTo>
                    <a:pt x="163" y="279"/>
                  </a:lnTo>
                  <a:lnTo>
                    <a:pt x="160" y="278"/>
                  </a:lnTo>
                  <a:lnTo>
                    <a:pt x="158" y="276"/>
                  </a:lnTo>
                  <a:lnTo>
                    <a:pt x="155" y="276"/>
                  </a:lnTo>
                  <a:lnTo>
                    <a:pt x="151" y="276"/>
                  </a:lnTo>
                  <a:lnTo>
                    <a:pt x="143" y="280"/>
                  </a:lnTo>
                  <a:lnTo>
                    <a:pt x="135" y="280"/>
                  </a:lnTo>
                  <a:lnTo>
                    <a:pt x="129" y="278"/>
                  </a:lnTo>
                  <a:lnTo>
                    <a:pt x="125" y="272"/>
                  </a:lnTo>
                  <a:lnTo>
                    <a:pt x="121" y="269"/>
                  </a:lnTo>
                  <a:lnTo>
                    <a:pt x="116" y="265"/>
                  </a:lnTo>
                  <a:lnTo>
                    <a:pt x="112" y="262"/>
                  </a:lnTo>
                  <a:lnTo>
                    <a:pt x="110" y="256"/>
                  </a:lnTo>
                  <a:lnTo>
                    <a:pt x="113" y="250"/>
                  </a:lnTo>
                  <a:lnTo>
                    <a:pt x="120" y="245"/>
                  </a:lnTo>
                  <a:lnTo>
                    <a:pt x="129" y="241"/>
                  </a:lnTo>
                  <a:lnTo>
                    <a:pt x="139" y="238"/>
                  </a:lnTo>
                  <a:lnTo>
                    <a:pt x="147" y="235"/>
                  </a:lnTo>
                  <a:lnTo>
                    <a:pt x="153" y="234"/>
                  </a:lnTo>
                  <a:lnTo>
                    <a:pt x="166" y="232"/>
                  </a:lnTo>
                  <a:lnTo>
                    <a:pt x="179" y="229"/>
                  </a:lnTo>
                  <a:lnTo>
                    <a:pt x="182" y="229"/>
                  </a:lnTo>
                  <a:lnTo>
                    <a:pt x="186" y="229"/>
                  </a:lnTo>
                  <a:lnTo>
                    <a:pt x="189" y="229"/>
                  </a:lnTo>
                  <a:lnTo>
                    <a:pt x="192" y="228"/>
                  </a:lnTo>
                  <a:lnTo>
                    <a:pt x="194" y="227"/>
                  </a:lnTo>
                  <a:lnTo>
                    <a:pt x="198" y="226"/>
                  </a:lnTo>
                  <a:lnTo>
                    <a:pt x="199" y="224"/>
                  </a:lnTo>
                  <a:lnTo>
                    <a:pt x="199" y="223"/>
                  </a:lnTo>
                  <a:lnTo>
                    <a:pt x="198" y="221"/>
                  </a:lnTo>
                  <a:lnTo>
                    <a:pt x="196" y="220"/>
                  </a:lnTo>
                  <a:lnTo>
                    <a:pt x="193" y="220"/>
                  </a:lnTo>
                  <a:lnTo>
                    <a:pt x="191" y="219"/>
                  </a:lnTo>
                  <a:lnTo>
                    <a:pt x="189" y="219"/>
                  </a:lnTo>
                  <a:lnTo>
                    <a:pt x="187" y="219"/>
                  </a:lnTo>
                  <a:lnTo>
                    <a:pt x="185" y="218"/>
                  </a:lnTo>
                  <a:lnTo>
                    <a:pt x="183" y="218"/>
                  </a:lnTo>
                  <a:lnTo>
                    <a:pt x="169" y="218"/>
                  </a:lnTo>
                  <a:lnTo>
                    <a:pt x="157" y="218"/>
                  </a:lnTo>
                  <a:lnTo>
                    <a:pt x="145" y="220"/>
                  </a:lnTo>
                  <a:lnTo>
                    <a:pt x="136" y="225"/>
                  </a:lnTo>
                  <a:lnTo>
                    <a:pt x="128" y="228"/>
                  </a:lnTo>
                  <a:lnTo>
                    <a:pt x="122" y="229"/>
                  </a:lnTo>
                  <a:lnTo>
                    <a:pt x="116" y="227"/>
                  </a:lnTo>
                  <a:lnTo>
                    <a:pt x="112" y="221"/>
                  </a:lnTo>
                  <a:lnTo>
                    <a:pt x="109" y="215"/>
                  </a:lnTo>
                  <a:lnTo>
                    <a:pt x="107" y="208"/>
                  </a:lnTo>
                  <a:lnTo>
                    <a:pt x="112" y="202"/>
                  </a:lnTo>
                  <a:lnTo>
                    <a:pt x="120" y="197"/>
                  </a:lnTo>
                  <a:lnTo>
                    <a:pt x="128" y="194"/>
                  </a:lnTo>
                  <a:lnTo>
                    <a:pt x="136" y="191"/>
                  </a:lnTo>
                  <a:lnTo>
                    <a:pt x="137" y="191"/>
                  </a:lnTo>
                  <a:lnTo>
                    <a:pt x="138" y="189"/>
                  </a:lnTo>
                  <a:lnTo>
                    <a:pt x="139" y="188"/>
                  </a:lnTo>
                  <a:lnTo>
                    <a:pt x="142" y="187"/>
                  </a:lnTo>
                  <a:lnTo>
                    <a:pt x="143" y="186"/>
                  </a:lnTo>
                  <a:lnTo>
                    <a:pt x="144" y="185"/>
                  </a:lnTo>
                  <a:lnTo>
                    <a:pt x="145" y="184"/>
                  </a:lnTo>
                  <a:lnTo>
                    <a:pt x="145" y="184"/>
                  </a:lnTo>
                  <a:lnTo>
                    <a:pt x="144" y="184"/>
                  </a:lnTo>
                  <a:lnTo>
                    <a:pt x="143" y="184"/>
                  </a:lnTo>
                  <a:lnTo>
                    <a:pt x="138" y="184"/>
                  </a:lnTo>
                  <a:lnTo>
                    <a:pt x="135" y="185"/>
                  </a:lnTo>
                  <a:lnTo>
                    <a:pt x="133" y="186"/>
                  </a:lnTo>
                  <a:lnTo>
                    <a:pt x="129" y="187"/>
                  </a:lnTo>
                  <a:lnTo>
                    <a:pt x="127" y="188"/>
                  </a:lnTo>
                  <a:lnTo>
                    <a:pt x="120" y="189"/>
                  </a:lnTo>
                  <a:lnTo>
                    <a:pt x="112" y="188"/>
                  </a:lnTo>
                  <a:lnTo>
                    <a:pt x="105" y="186"/>
                  </a:lnTo>
                  <a:lnTo>
                    <a:pt x="102" y="180"/>
                  </a:lnTo>
                  <a:lnTo>
                    <a:pt x="103" y="171"/>
                  </a:lnTo>
                  <a:lnTo>
                    <a:pt x="107" y="162"/>
                  </a:lnTo>
                  <a:lnTo>
                    <a:pt x="109" y="162"/>
                  </a:lnTo>
                  <a:lnTo>
                    <a:pt x="110" y="161"/>
                  </a:lnTo>
                  <a:lnTo>
                    <a:pt x="112" y="160"/>
                  </a:lnTo>
                  <a:lnTo>
                    <a:pt x="114" y="159"/>
                  </a:lnTo>
                  <a:lnTo>
                    <a:pt x="116" y="156"/>
                  </a:lnTo>
                  <a:lnTo>
                    <a:pt x="117" y="155"/>
                  </a:lnTo>
                  <a:lnTo>
                    <a:pt x="118" y="154"/>
                  </a:lnTo>
                  <a:lnTo>
                    <a:pt x="120" y="152"/>
                  </a:lnTo>
                  <a:lnTo>
                    <a:pt x="120" y="152"/>
                  </a:lnTo>
                  <a:lnTo>
                    <a:pt x="118" y="151"/>
                  </a:lnTo>
                  <a:lnTo>
                    <a:pt x="116" y="151"/>
                  </a:lnTo>
                  <a:lnTo>
                    <a:pt x="115" y="152"/>
                  </a:lnTo>
                  <a:lnTo>
                    <a:pt x="114" y="152"/>
                  </a:lnTo>
                  <a:lnTo>
                    <a:pt x="113" y="152"/>
                  </a:lnTo>
                  <a:lnTo>
                    <a:pt x="112" y="152"/>
                  </a:lnTo>
                  <a:lnTo>
                    <a:pt x="111" y="151"/>
                  </a:lnTo>
                  <a:lnTo>
                    <a:pt x="111" y="151"/>
                  </a:lnTo>
                  <a:lnTo>
                    <a:pt x="111" y="149"/>
                  </a:lnTo>
                  <a:lnTo>
                    <a:pt x="112" y="148"/>
                  </a:lnTo>
                  <a:lnTo>
                    <a:pt x="114" y="144"/>
                  </a:lnTo>
                  <a:lnTo>
                    <a:pt x="117" y="141"/>
                  </a:lnTo>
                  <a:lnTo>
                    <a:pt x="122" y="138"/>
                  </a:lnTo>
                  <a:lnTo>
                    <a:pt x="127" y="134"/>
                  </a:lnTo>
                  <a:lnTo>
                    <a:pt x="135" y="127"/>
                  </a:lnTo>
                  <a:lnTo>
                    <a:pt x="145" y="119"/>
                  </a:lnTo>
                  <a:lnTo>
                    <a:pt x="155" y="112"/>
                  </a:lnTo>
                  <a:lnTo>
                    <a:pt x="165" y="107"/>
                  </a:lnTo>
                  <a:lnTo>
                    <a:pt x="175" y="99"/>
                  </a:lnTo>
                  <a:lnTo>
                    <a:pt x="177" y="98"/>
                  </a:lnTo>
                  <a:lnTo>
                    <a:pt x="179" y="95"/>
                  </a:lnTo>
                  <a:lnTo>
                    <a:pt x="181" y="93"/>
                  </a:lnTo>
                  <a:lnTo>
                    <a:pt x="183" y="90"/>
                  </a:lnTo>
                  <a:lnTo>
                    <a:pt x="187" y="90"/>
                  </a:lnTo>
                  <a:lnTo>
                    <a:pt x="189" y="90"/>
                  </a:lnTo>
                  <a:lnTo>
                    <a:pt x="190" y="92"/>
                  </a:lnTo>
                  <a:lnTo>
                    <a:pt x="191" y="94"/>
                  </a:lnTo>
                  <a:lnTo>
                    <a:pt x="192" y="95"/>
                  </a:lnTo>
                  <a:lnTo>
                    <a:pt x="192" y="97"/>
                  </a:lnTo>
                  <a:lnTo>
                    <a:pt x="193" y="100"/>
                  </a:lnTo>
                  <a:lnTo>
                    <a:pt x="192" y="101"/>
                  </a:lnTo>
                  <a:lnTo>
                    <a:pt x="191" y="104"/>
                  </a:lnTo>
                  <a:lnTo>
                    <a:pt x="190" y="106"/>
                  </a:lnTo>
                  <a:lnTo>
                    <a:pt x="190" y="108"/>
                  </a:lnTo>
                  <a:lnTo>
                    <a:pt x="188" y="111"/>
                  </a:lnTo>
                  <a:lnTo>
                    <a:pt x="185" y="115"/>
                  </a:lnTo>
                  <a:lnTo>
                    <a:pt x="181" y="118"/>
                  </a:lnTo>
                  <a:lnTo>
                    <a:pt x="177" y="122"/>
                  </a:lnTo>
                  <a:lnTo>
                    <a:pt x="176" y="126"/>
                  </a:lnTo>
                  <a:lnTo>
                    <a:pt x="176" y="128"/>
                  </a:lnTo>
                  <a:lnTo>
                    <a:pt x="179" y="128"/>
                  </a:lnTo>
                  <a:lnTo>
                    <a:pt x="192" y="121"/>
                  </a:lnTo>
                  <a:lnTo>
                    <a:pt x="193" y="118"/>
                  </a:lnTo>
                  <a:lnTo>
                    <a:pt x="194" y="115"/>
                  </a:lnTo>
                  <a:lnTo>
                    <a:pt x="196" y="112"/>
                  </a:lnTo>
                  <a:lnTo>
                    <a:pt x="197" y="110"/>
                  </a:lnTo>
                  <a:lnTo>
                    <a:pt x="201" y="106"/>
                  </a:lnTo>
                  <a:lnTo>
                    <a:pt x="208" y="105"/>
                  </a:lnTo>
                  <a:lnTo>
                    <a:pt x="214" y="105"/>
                  </a:lnTo>
                  <a:lnTo>
                    <a:pt x="219" y="106"/>
                  </a:lnTo>
                  <a:lnTo>
                    <a:pt x="222" y="107"/>
                  </a:lnTo>
                  <a:lnTo>
                    <a:pt x="224" y="109"/>
                  </a:lnTo>
                  <a:lnTo>
                    <a:pt x="225" y="111"/>
                  </a:lnTo>
                  <a:lnTo>
                    <a:pt x="226" y="114"/>
                  </a:lnTo>
                  <a:lnTo>
                    <a:pt x="226" y="117"/>
                  </a:lnTo>
                  <a:lnTo>
                    <a:pt x="225" y="121"/>
                  </a:lnTo>
                  <a:lnTo>
                    <a:pt x="224" y="122"/>
                  </a:lnTo>
                  <a:lnTo>
                    <a:pt x="223" y="125"/>
                  </a:lnTo>
                  <a:lnTo>
                    <a:pt x="223" y="126"/>
                  </a:lnTo>
                  <a:lnTo>
                    <a:pt x="222" y="127"/>
                  </a:lnTo>
                  <a:lnTo>
                    <a:pt x="222" y="128"/>
                  </a:lnTo>
                  <a:lnTo>
                    <a:pt x="222" y="129"/>
                  </a:lnTo>
                  <a:lnTo>
                    <a:pt x="222" y="129"/>
                  </a:lnTo>
                  <a:lnTo>
                    <a:pt x="223" y="129"/>
                  </a:lnTo>
                  <a:lnTo>
                    <a:pt x="225" y="128"/>
                  </a:lnTo>
                  <a:lnTo>
                    <a:pt x="227" y="126"/>
                  </a:lnTo>
                  <a:lnTo>
                    <a:pt x="230" y="122"/>
                  </a:lnTo>
                  <a:lnTo>
                    <a:pt x="233" y="120"/>
                  </a:lnTo>
                  <a:lnTo>
                    <a:pt x="235" y="119"/>
                  </a:lnTo>
                  <a:lnTo>
                    <a:pt x="238" y="119"/>
                  </a:lnTo>
                  <a:lnTo>
                    <a:pt x="240" y="119"/>
                  </a:lnTo>
                  <a:lnTo>
                    <a:pt x="242" y="118"/>
                  </a:lnTo>
                  <a:lnTo>
                    <a:pt x="244" y="117"/>
                  </a:lnTo>
                  <a:lnTo>
                    <a:pt x="246" y="116"/>
                  </a:lnTo>
                  <a:lnTo>
                    <a:pt x="247" y="115"/>
                  </a:lnTo>
                  <a:lnTo>
                    <a:pt x="247" y="111"/>
                  </a:lnTo>
                  <a:lnTo>
                    <a:pt x="246" y="109"/>
                  </a:lnTo>
                  <a:lnTo>
                    <a:pt x="245" y="106"/>
                  </a:lnTo>
                  <a:lnTo>
                    <a:pt x="244" y="104"/>
                  </a:lnTo>
                  <a:lnTo>
                    <a:pt x="243" y="100"/>
                  </a:lnTo>
                  <a:lnTo>
                    <a:pt x="243" y="97"/>
                  </a:lnTo>
                  <a:lnTo>
                    <a:pt x="242" y="96"/>
                  </a:lnTo>
                  <a:lnTo>
                    <a:pt x="243" y="96"/>
                  </a:lnTo>
                  <a:lnTo>
                    <a:pt x="245" y="96"/>
                  </a:lnTo>
                  <a:lnTo>
                    <a:pt x="247" y="96"/>
                  </a:lnTo>
                  <a:lnTo>
                    <a:pt x="249" y="96"/>
                  </a:lnTo>
                  <a:lnTo>
                    <a:pt x="252" y="96"/>
                  </a:lnTo>
                  <a:lnTo>
                    <a:pt x="255" y="97"/>
                  </a:lnTo>
                  <a:lnTo>
                    <a:pt x="256" y="97"/>
                  </a:lnTo>
                  <a:lnTo>
                    <a:pt x="257" y="97"/>
                  </a:lnTo>
                  <a:lnTo>
                    <a:pt x="264" y="104"/>
                  </a:lnTo>
                  <a:lnTo>
                    <a:pt x="267" y="112"/>
                  </a:lnTo>
                  <a:lnTo>
                    <a:pt x="268" y="121"/>
                  </a:lnTo>
                  <a:lnTo>
                    <a:pt x="269" y="131"/>
                  </a:lnTo>
                  <a:lnTo>
                    <a:pt x="270" y="141"/>
                  </a:lnTo>
                  <a:lnTo>
                    <a:pt x="270" y="149"/>
                  </a:lnTo>
                  <a:lnTo>
                    <a:pt x="271" y="150"/>
                  </a:lnTo>
                  <a:lnTo>
                    <a:pt x="271" y="151"/>
                  </a:lnTo>
                  <a:lnTo>
                    <a:pt x="273" y="152"/>
                  </a:lnTo>
                  <a:lnTo>
                    <a:pt x="273" y="153"/>
                  </a:lnTo>
                  <a:lnTo>
                    <a:pt x="275" y="153"/>
                  </a:lnTo>
                  <a:lnTo>
                    <a:pt x="277" y="152"/>
                  </a:lnTo>
                  <a:lnTo>
                    <a:pt x="279" y="151"/>
                  </a:lnTo>
                  <a:lnTo>
                    <a:pt x="281" y="149"/>
                  </a:lnTo>
                  <a:lnTo>
                    <a:pt x="284" y="145"/>
                  </a:lnTo>
                  <a:lnTo>
                    <a:pt x="285" y="142"/>
                  </a:lnTo>
                  <a:lnTo>
                    <a:pt x="285" y="140"/>
                  </a:lnTo>
                  <a:lnTo>
                    <a:pt x="284" y="137"/>
                  </a:lnTo>
                  <a:lnTo>
                    <a:pt x="284" y="134"/>
                  </a:lnTo>
                  <a:lnTo>
                    <a:pt x="283" y="130"/>
                  </a:lnTo>
                  <a:lnTo>
                    <a:pt x="283" y="127"/>
                  </a:lnTo>
                  <a:lnTo>
                    <a:pt x="283" y="123"/>
                  </a:lnTo>
                  <a:lnTo>
                    <a:pt x="283" y="120"/>
                  </a:lnTo>
                  <a:lnTo>
                    <a:pt x="281" y="117"/>
                  </a:lnTo>
                  <a:lnTo>
                    <a:pt x="281" y="93"/>
                  </a:lnTo>
                  <a:lnTo>
                    <a:pt x="281" y="92"/>
                  </a:lnTo>
                  <a:lnTo>
                    <a:pt x="281" y="89"/>
                  </a:lnTo>
                  <a:lnTo>
                    <a:pt x="283" y="86"/>
                  </a:lnTo>
                  <a:lnTo>
                    <a:pt x="284" y="84"/>
                  </a:lnTo>
                  <a:lnTo>
                    <a:pt x="286" y="83"/>
                  </a:lnTo>
                  <a:lnTo>
                    <a:pt x="289" y="82"/>
                  </a:lnTo>
                  <a:lnTo>
                    <a:pt x="292" y="82"/>
                  </a:lnTo>
                  <a:lnTo>
                    <a:pt x="294" y="82"/>
                  </a:lnTo>
                  <a:lnTo>
                    <a:pt x="296" y="83"/>
                  </a:lnTo>
                  <a:lnTo>
                    <a:pt x="297" y="85"/>
                  </a:lnTo>
                  <a:lnTo>
                    <a:pt x="300" y="85"/>
                  </a:lnTo>
                  <a:lnTo>
                    <a:pt x="302" y="86"/>
                  </a:lnTo>
                  <a:lnTo>
                    <a:pt x="306" y="86"/>
                  </a:lnTo>
                  <a:lnTo>
                    <a:pt x="309" y="86"/>
                  </a:lnTo>
                  <a:lnTo>
                    <a:pt x="312" y="87"/>
                  </a:lnTo>
                  <a:lnTo>
                    <a:pt x="314" y="88"/>
                  </a:lnTo>
                  <a:lnTo>
                    <a:pt x="316" y="89"/>
                  </a:lnTo>
                  <a:lnTo>
                    <a:pt x="317" y="92"/>
                  </a:lnTo>
                  <a:lnTo>
                    <a:pt x="318" y="94"/>
                  </a:lnTo>
                  <a:lnTo>
                    <a:pt x="319" y="95"/>
                  </a:lnTo>
                  <a:lnTo>
                    <a:pt x="321" y="95"/>
                  </a:lnTo>
                  <a:lnTo>
                    <a:pt x="323" y="95"/>
                  </a:lnTo>
                  <a:lnTo>
                    <a:pt x="324" y="94"/>
                  </a:lnTo>
                  <a:lnTo>
                    <a:pt x="324" y="92"/>
                  </a:lnTo>
                  <a:lnTo>
                    <a:pt x="324" y="89"/>
                  </a:lnTo>
                  <a:lnTo>
                    <a:pt x="324" y="87"/>
                  </a:lnTo>
                  <a:lnTo>
                    <a:pt x="323" y="85"/>
                  </a:lnTo>
                  <a:lnTo>
                    <a:pt x="323" y="84"/>
                  </a:lnTo>
                  <a:lnTo>
                    <a:pt x="323" y="83"/>
                  </a:lnTo>
                  <a:lnTo>
                    <a:pt x="321" y="79"/>
                  </a:lnTo>
                  <a:lnTo>
                    <a:pt x="319" y="77"/>
                  </a:lnTo>
                  <a:lnTo>
                    <a:pt x="316" y="75"/>
                  </a:lnTo>
                  <a:lnTo>
                    <a:pt x="312" y="74"/>
                  </a:lnTo>
                  <a:lnTo>
                    <a:pt x="311" y="73"/>
                  </a:lnTo>
                  <a:lnTo>
                    <a:pt x="309" y="72"/>
                  </a:lnTo>
                  <a:lnTo>
                    <a:pt x="307" y="72"/>
                  </a:lnTo>
                  <a:lnTo>
                    <a:pt x="306" y="71"/>
                  </a:lnTo>
                  <a:lnTo>
                    <a:pt x="306" y="69"/>
                  </a:lnTo>
                  <a:lnTo>
                    <a:pt x="306" y="67"/>
                  </a:lnTo>
                  <a:lnTo>
                    <a:pt x="307" y="65"/>
                  </a:lnTo>
                  <a:lnTo>
                    <a:pt x="309" y="62"/>
                  </a:lnTo>
                  <a:lnTo>
                    <a:pt x="310" y="61"/>
                  </a:lnTo>
                  <a:lnTo>
                    <a:pt x="313" y="58"/>
                  </a:lnTo>
                  <a:lnTo>
                    <a:pt x="317" y="58"/>
                  </a:lnTo>
                  <a:lnTo>
                    <a:pt x="324" y="56"/>
                  </a:lnTo>
                  <a:lnTo>
                    <a:pt x="333" y="55"/>
                  </a:lnTo>
                  <a:close/>
                  <a:moveTo>
                    <a:pt x="2026" y="54"/>
                  </a:moveTo>
                  <a:lnTo>
                    <a:pt x="2034" y="58"/>
                  </a:lnTo>
                  <a:lnTo>
                    <a:pt x="2034" y="60"/>
                  </a:lnTo>
                  <a:lnTo>
                    <a:pt x="2034" y="61"/>
                  </a:lnTo>
                  <a:lnTo>
                    <a:pt x="2034" y="62"/>
                  </a:lnTo>
                  <a:lnTo>
                    <a:pt x="2034" y="62"/>
                  </a:lnTo>
                  <a:lnTo>
                    <a:pt x="2034" y="62"/>
                  </a:lnTo>
                  <a:lnTo>
                    <a:pt x="2034" y="61"/>
                  </a:lnTo>
                  <a:lnTo>
                    <a:pt x="2031" y="58"/>
                  </a:lnTo>
                  <a:lnTo>
                    <a:pt x="2029" y="57"/>
                  </a:lnTo>
                  <a:lnTo>
                    <a:pt x="2027" y="56"/>
                  </a:lnTo>
                  <a:lnTo>
                    <a:pt x="2026" y="54"/>
                  </a:lnTo>
                  <a:close/>
                  <a:moveTo>
                    <a:pt x="92" y="50"/>
                  </a:moveTo>
                  <a:lnTo>
                    <a:pt x="93" y="50"/>
                  </a:lnTo>
                  <a:lnTo>
                    <a:pt x="95" y="51"/>
                  </a:lnTo>
                  <a:lnTo>
                    <a:pt x="95" y="53"/>
                  </a:lnTo>
                  <a:lnTo>
                    <a:pt x="96" y="55"/>
                  </a:lnTo>
                  <a:lnTo>
                    <a:pt x="98" y="57"/>
                  </a:lnTo>
                  <a:lnTo>
                    <a:pt x="99" y="58"/>
                  </a:lnTo>
                  <a:lnTo>
                    <a:pt x="101" y="60"/>
                  </a:lnTo>
                  <a:lnTo>
                    <a:pt x="104" y="61"/>
                  </a:lnTo>
                  <a:lnTo>
                    <a:pt x="106" y="62"/>
                  </a:lnTo>
                  <a:lnTo>
                    <a:pt x="110" y="63"/>
                  </a:lnTo>
                  <a:lnTo>
                    <a:pt x="113" y="64"/>
                  </a:lnTo>
                  <a:lnTo>
                    <a:pt x="115" y="66"/>
                  </a:lnTo>
                  <a:lnTo>
                    <a:pt x="117" y="67"/>
                  </a:lnTo>
                  <a:lnTo>
                    <a:pt x="121" y="67"/>
                  </a:lnTo>
                  <a:lnTo>
                    <a:pt x="123" y="67"/>
                  </a:lnTo>
                  <a:lnTo>
                    <a:pt x="125" y="65"/>
                  </a:lnTo>
                  <a:lnTo>
                    <a:pt x="127" y="64"/>
                  </a:lnTo>
                  <a:lnTo>
                    <a:pt x="128" y="62"/>
                  </a:lnTo>
                  <a:lnTo>
                    <a:pt x="129" y="61"/>
                  </a:lnTo>
                  <a:lnTo>
                    <a:pt x="137" y="55"/>
                  </a:lnTo>
                  <a:lnTo>
                    <a:pt x="145" y="55"/>
                  </a:lnTo>
                  <a:lnTo>
                    <a:pt x="151" y="58"/>
                  </a:lnTo>
                  <a:lnTo>
                    <a:pt x="157" y="63"/>
                  </a:lnTo>
                  <a:lnTo>
                    <a:pt x="161" y="68"/>
                  </a:lnTo>
                  <a:lnTo>
                    <a:pt x="164" y="72"/>
                  </a:lnTo>
                  <a:lnTo>
                    <a:pt x="166" y="74"/>
                  </a:lnTo>
                  <a:lnTo>
                    <a:pt x="168" y="77"/>
                  </a:lnTo>
                  <a:lnTo>
                    <a:pt x="170" y="79"/>
                  </a:lnTo>
                  <a:lnTo>
                    <a:pt x="171" y="83"/>
                  </a:lnTo>
                  <a:lnTo>
                    <a:pt x="170" y="85"/>
                  </a:lnTo>
                  <a:lnTo>
                    <a:pt x="169" y="88"/>
                  </a:lnTo>
                  <a:lnTo>
                    <a:pt x="166" y="92"/>
                  </a:lnTo>
                  <a:lnTo>
                    <a:pt x="164" y="94"/>
                  </a:lnTo>
                  <a:lnTo>
                    <a:pt x="160" y="96"/>
                  </a:lnTo>
                  <a:lnTo>
                    <a:pt x="157" y="98"/>
                  </a:lnTo>
                  <a:lnTo>
                    <a:pt x="146" y="104"/>
                  </a:lnTo>
                  <a:lnTo>
                    <a:pt x="137" y="109"/>
                  </a:lnTo>
                  <a:lnTo>
                    <a:pt x="134" y="111"/>
                  </a:lnTo>
                  <a:lnTo>
                    <a:pt x="132" y="115"/>
                  </a:lnTo>
                  <a:lnTo>
                    <a:pt x="129" y="118"/>
                  </a:lnTo>
                  <a:lnTo>
                    <a:pt x="127" y="121"/>
                  </a:lnTo>
                  <a:lnTo>
                    <a:pt x="123" y="123"/>
                  </a:lnTo>
                  <a:lnTo>
                    <a:pt x="118" y="126"/>
                  </a:lnTo>
                  <a:lnTo>
                    <a:pt x="115" y="129"/>
                  </a:lnTo>
                  <a:lnTo>
                    <a:pt x="112" y="132"/>
                  </a:lnTo>
                  <a:lnTo>
                    <a:pt x="109" y="136"/>
                  </a:lnTo>
                  <a:lnTo>
                    <a:pt x="106" y="140"/>
                  </a:lnTo>
                  <a:lnTo>
                    <a:pt x="104" y="144"/>
                  </a:lnTo>
                  <a:lnTo>
                    <a:pt x="101" y="148"/>
                  </a:lnTo>
                  <a:lnTo>
                    <a:pt x="99" y="151"/>
                  </a:lnTo>
                  <a:lnTo>
                    <a:pt x="95" y="153"/>
                  </a:lnTo>
                  <a:lnTo>
                    <a:pt x="93" y="155"/>
                  </a:lnTo>
                  <a:lnTo>
                    <a:pt x="90" y="156"/>
                  </a:lnTo>
                  <a:lnTo>
                    <a:pt x="83" y="163"/>
                  </a:lnTo>
                  <a:lnTo>
                    <a:pt x="80" y="172"/>
                  </a:lnTo>
                  <a:lnTo>
                    <a:pt x="78" y="181"/>
                  </a:lnTo>
                  <a:lnTo>
                    <a:pt x="76" y="191"/>
                  </a:lnTo>
                  <a:lnTo>
                    <a:pt x="70" y="198"/>
                  </a:lnTo>
                  <a:lnTo>
                    <a:pt x="63" y="203"/>
                  </a:lnTo>
                  <a:lnTo>
                    <a:pt x="57" y="206"/>
                  </a:lnTo>
                  <a:lnTo>
                    <a:pt x="49" y="210"/>
                  </a:lnTo>
                  <a:lnTo>
                    <a:pt x="40" y="218"/>
                  </a:lnTo>
                  <a:lnTo>
                    <a:pt x="33" y="228"/>
                  </a:lnTo>
                  <a:lnTo>
                    <a:pt x="30" y="228"/>
                  </a:lnTo>
                  <a:lnTo>
                    <a:pt x="28" y="228"/>
                  </a:lnTo>
                  <a:lnTo>
                    <a:pt x="27" y="227"/>
                  </a:lnTo>
                  <a:lnTo>
                    <a:pt x="27" y="226"/>
                  </a:lnTo>
                  <a:lnTo>
                    <a:pt x="26" y="224"/>
                  </a:lnTo>
                  <a:lnTo>
                    <a:pt x="26" y="223"/>
                  </a:lnTo>
                  <a:lnTo>
                    <a:pt x="26" y="221"/>
                  </a:lnTo>
                  <a:lnTo>
                    <a:pt x="25" y="217"/>
                  </a:lnTo>
                  <a:lnTo>
                    <a:pt x="24" y="213"/>
                  </a:lnTo>
                  <a:lnTo>
                    <a:pt x="22" y="208"/>
                  </a:lnTo>
                  <a:lnTo>
                    <a:pt x="17" y="203"/>
                  </a:lnTo>
                  <a:lnTo>
                    <a:pt x="14" y="197"/>
                  </a:lnTo>
                  <a:lnTo>
                    <a:pt x="11" y="193"/>
                  </a:lnTo>
                  <a:lnTo>
                    <a:pt x="4" y="191"/>
                  </a:lnTo>
                  <a:lnTo>
                    <a:pt x="2" y="189"/>
                  </a:lnTo>
                  <a:lnTo>
                    <a:pt x="1" y="188"/>
                  </a:lnTo>
                  <a:lnTo>
                    <a:pt x="0" y="187"/>
                  </a:lnTo>
                  <a:lnTo>
                    <a:pt x="1" y="185"/>
                  </a:lnTo>
                  <a:lnTo>
                    <a:pt x="2" y="183"/>
                  </a:lnTo>
                  <a:lnTo>
                    <a:pt x="3" y="181"/>
                  </a:lnTo>
                  <a:lnTo>
                    <a:pt x="4" y="178"/>
                  </a:lnTo>
                  <a:lnTo>
                    <a:pt x="6" y="176"/>
                  </a:lnTo>
                  <a:lnTo>
                    <a:pt x="13" y="166"/>
                  </a:lnTo>
                  <a:lnTo>
                    <a:pt x="17" y="154"/>
                  </a:lnTo>
                  <a:lnTo>
                    <a:pt x="24" y="141"/>
                  </a:lnTo>
                  <a:lnTo>
                    <a:pt x="26" y="128"/>
                  </a:lnTo>
                  <a:lnTo>
                    <a:pt x="26" y="121"/>
                  </a:lnTo>
                  <a:lnTo>
                    <a:pt x="26" y="114"/>
                  </a:lnTo>
                  <a:lnTo>
                    <a:pt x="28" y="105"/>
                  </a:lnTo>
                  <a:lnTo>
                    <a:pt x="29" y="106"/>
                  </a:lnTo>
                  <a:lnTo>
                    <a:pt x="32" y="107"/>
                  </a:lnTo>
                  <a:lnTo>
                    <a:pt x="33" y="108"/>
                  </a:lnTo>
                  <a:lnTo>
                    <a:pt x="35" y="109"/>
                  </a:lnTo>
                  <a:lnTo>
                    <a:pt x="36" y="110"/>
                  </a:lnTo>
                  <a:lnTo>
                    <a:pt x="37" y="109"/>
                  </a:lnTo>
                  <a:lnTo>
                    <a:pt x="40" y="107"/>
                  </a:lnTo>
                  <a:lnTo>
                    <a:pt x="41" y="104"/>
                  </a:lnTo>
                  <a:lnTo>
                    <a:pt x="44" y="100"/>
                  </a:lnTo>
                  <a:lnTo>
                    <a:pt x="44" y="98"/>
                  </a:lnTo>
                  <a:lnTo>
                    <a:pt x="45" y="96"/>
                  </a:lnTo>
                  <a:lnTo>
                    <a:pt x="43" y="95"/>
                  </a:lnTo>
                  <a:lnTo>
                    <a:pt x="41" y="94"/>
                  </a:lnTo>
                  <a:lnTo>
                    <a:pt x="40" y="93"/>
                  </a:lnTo>
                  <a:lnTo>
                    <a:pt x="38" y="90"/>
                  </a:lnTo>
                  <a:lnTo>
                    <a:pt x="37" y="89"/>
                  </a:lnTo>
                  <a:lnTo>
                    <a:pt x="37" y="87"/>
                  </a:lnTo>
                  <a:lnTo>
                    <a:pt x="37" y="85"/>
                  </a:lnTo>
                  <a:lnTo>
                    <a:pt x="38" y="83"/>
                  </a:lnTo>
                  <a:lnTo>
                    <a:pt x="39" y="80"/>
                  </a:lnTo>
                  <a:lnTo>
                    <a:pt x="39" y="78"/>
                  </a:lnTo>
                  <a:lnTo>
                    <a:pt x="40" y="76"/>
                  </a:lnTo>
                  <a:lnTo>
                    <a:pt x="41" y="74"/>
                  </a:lnTo>
                  <a:lnTo>
                    <a:pt x="46" y="72"/>
                  </a:lnTo>
                  <a:lnTo>
                    <a:pt x="49" y="69"/>
                  </a:lnTo>
                  <a:lnTo>
                    <a:pt x="54" y="67"/>
                  </a:lnTo>
                  <a:lnTo>
                    <a:pt x="67" y="61"/>
                  </a:lnTo>
                  <a:lnTo>
                    <a:pt x="69" y="61"/>
                  </a:lnTo>
                  <a:lnTo>
                    <a:pt x="71" y="61"/>
                  </a:lnTo>
                  <a:lnTo>
                    <a:pt x="74" y="60"/>
                  </a:lnTo>
                  <a:lnTo>
                    <a:pt x="78" y="58"/>
                  </a:lnTo>
                  <a:lnTo>
                    <a:pt x="80" y="56"/>
                  </a:lnTo>
                  <a:lnTo>
                    <a:pt x="82" y="53"/>
                  </a:lnTo>
                  <a:lnTo>
                    <a:pt x="85" y="51"/>
                  </a:lnTo>
                  <a:lnTo>
                    <a:pt x="89" y="50"/>
                  </a:lnTo>
                  <a:lnTo>
                    <a:pt x="92" y="50"/>
                  </a:lnTo>
                  <a:close/>
                  <a:moveTo>
                    <a:pt x="1994" y="46"/>
                  </a:moveTo>
                  <a:lnTo>
                    <a:pt x="1997" y="46"/>
                  </a:lnTo>
                  <a:lnTo>
                    <a:pt x="1998" y="49"/>
                  </a:lnTo>
                  <a:lnTo>
                    <a:pt x="1999" y="51"/>
                  </a:lnTo>
                  <a:lnTo>
                    <a:pt x="2000" y="54"/>
                  </a:lnTo>
                  <a:lnTo>
                    <a:pt x="2001" y="57"/>
                  </a:lnTo>
                  <a:lnTo>
                    <a:pt x="2002" y="60"/>
                  </a:lnTo>
                  <a:lnTo>
                    <a:pt x="2002" y="62"/>
                  </a:lnTo>
                  <a:lnTo>
                    <a:pt x="2001" y="63"/>
                  </a:lnTo>
                  <a:lnTo>
                    <a:pt x="2001" y="64"/>
                  </a:lnTo>
                  <a:lnTo>
                    <a:pt x="2002" y="66"/>
                  </a:lnTo>
                  <a:lnTo>
                    <a:pt x="2004" y="67"/>
                  </a:lnTo>
                  <a:lnTo>
                    <a:pt x="2004" y="67"/>
                  </a:lnTo>
                  <a:lnTo>
                    <a:pt x="2005" y="67"/>
                  </a:lnTo>
                  <a:lnTo>
                    <a:pt x="2008" y="68"/>
                  </a:lnTo>
                  <a:lnTo>
                    <a:pt x="2009" y="69"/>
                  </a:lnTo>
                  <a:lnTo>
                    <a:pt x="2010" y="72"/>
                  </a:lnTo>
                  <a:lnTo>
                    <a:pt x="2011" y="74"/>
                  </a:lnTo>
                  <a:lnTo>
                    <a:pt x="2012" y="76"/>
                  </a:lnTo>
                  <a:lnTo>
                    <a:pt x="2012" y="77"/>
                  </a:lnTo>
                  <a:lnTo>
                    <a:pt x="2011" y="78"/>
                  </a:lnTo>
                  <a:lnTo>
                    <a:pt x="2011" y="79"/>
                  </a:lnTo>
                  <a:lnTo>
                    <a:pt x="2011" y="82"/>
                  </a:lnTo>
                  <a:lnTo>
                    <a:pt x="2012" y="84"/>
                  </a:lnTo>
                  <a:lnTo>
                    <a:pt x="2013" y="86"/>
                  </a:lnTo>
                  <a:lnTo>
                    <a:pt x="2015" y="87"/>
                  </a:lnTo>
                  <a:lnTo>
                    <a:pt x="2019" y="89"/>
                  </a:lnTo>
                  <a:lnTo>
                    <a:pt x="2021" y="92"/>
                  </a:lnTo>
                  <a:lnTo>
                    <a:pt x="2023" y="94"/>
                  </a:lnTo>
                  <a:lnTo>
                    <a:pt x="2025" y="96"/>
                  </a:lnTo>
                  <a:lnTo>
                    <a:pt x="2025" y="98"/>
                  </a:lnTo>
                  <a:lnTo>
                    <a:pt x="2024" y="100"/>
                  </a:lnTo>
                  <a:lnTo>
                    <a:pt x="2024" y="101"/>
                  </a:lnTo>
                  <a:lnTo>
                    <a:pt x="2023" y="103"/>
                  </a:lnTo>
                  <a:lnTo>
                    <a:pt x="2023" y="104"/>
                  </a:lnTo>
                  <a:lnTo>
                    <a:pt x="2023" y="105"/>
                  </a:lnTo>
                  <a:lnTo>
                    <a:pt x="2022" y="106"/>
                  </a:lnTo>
                  <a:lnTo>
                    <a:pt x="2022" y="108"/>
                  </a:lnTo>
                  <a:lnTo>
                    <a:pt x="2023" y="109"/>
                  </a:lnTo>
                  <a:lnTo>
                    <a:pt x="2023" y="111"/>
                  </a:lnTo>
                  <a:lnTo>
                    <a:pt x="2023" y="117"/>
                  </a:lnTo>
                  <a:lnTo>
                    <a:pt x="2022" y="118"/>
                  </a:lnTo>
                  <a:lnTo>
                    <a:pt x="2022" y="118"/>
                  </a:lnTo>
                  <a:lnTo>
                    <a:pt x="2021" y="118"/>
                  </a:lnTo>
                  <a:lnTo>
                    <a:pt x="2020" y="117"/>
                  </a:lnTo>
                  <a:lnTo>
                    <a:pt x="2019" y="115"/>
                  </a:lnTo>
                  <a:lnTo>
                    <a:pt x="2017" y="112"/>
                  </a:lnTo>
                  <a:lnTo>
                    <a:pt x="2016" y="110"/>
                  </a:lnTo>
                  <a:lnTo>
                    <a:pt x="2015" y="108"/>
                  </a:lnTo>
                  <a:lnTo>
                    <a:pt x="2014" y="105"/>
                  </a:lnTo>
                  <a:lnTo>
                    <a:pt x="2012" y="103"/>
                  </a:lnTo>
                  <a:lnTo>
                    <a:pt x="2010" y="103"/>
                  </a:lnTo>
                  <a:lnTo>
                    <a:pt x="2009" y="103"/>
                  </a:lnTo>
                  <a:lnTo>
                    <a:pt x="2008" y="100"/>
                  </a:lnTo>
                  <a:lnTo>
                    <a:pt x="2006" y="98"/>
                  </a:lnTo>
                  <a:lnTo>
                    <a:pt x="2004" y="97"/>
                  </a:lnTo>
                  <a:lnTo>
                    <a:pt x="2003" y="95"/>
                  </a:lnTo>
                  <a:lnTo>
                    <a:pt x="2003" y="92"/>
                  </a:lnTo>
                  <a:lnTo>
                    <a:pt x="2002" y="89"/>
                  </a:lnTo>
                  <a:lnTo>
                    <a:pt x="2002" y="88"/>
                  </a:lnTo>
                  <a:lnTo>
                    <a:pt x="2002" y="85"/>
                  </a:lnTo>
                  <a:lnTo>
                    <a:pt x="2002" y="83"/>
                  </a:lnTo>
                  <a:lnTo>
                    <a:pt x="2002" y="79"/>
                  </a:lnTo>
                  <a:lnTo>
                    <a:pt x="2001" y="77"/>
                  </a:lnTo>
                  <a:lnTo>
                    <a:pt x="1999" y="74"/>
                  </a:lnTo>
                  <a:lnTo>
                    <a:pt x="1998" y="71"/>
                  </a:lnTo>
                  <a:lnTo>
                    <a:pt x="1998" y="68"/>
                  </a:lnTo>
                  <a:lnTo>
                    <a:pt x="1997" y="67"/>
                  </a:lnTo>
                  <a:lnTo>
                    <a:pt x="1997" y="65"/>
                  </a:lnTo>
                  <a:lnTo>
                    <a:pt x="1998" y="65"/>
                  </a:lnTo>
                  <a:lnTo>
                    <a:pt x="1998" y="64"/>
                  </a:lnTo>
                  <a:lnTo>
                    <a:pt x="1998" y="63"/>
                  </a:lnTo>
                  <a:lnTo>
                    <a:pt x="1997" y="62"/>
                  </a:lnTo>
                  <a:lnTo>
                    <a:pt x="1995" y="60"/>
                  </a:lnTo>
                  <a:lnTo>
                    <a:pt x="1994" y="57"/>
                  </a:lnTo>
                  <a:lnTo>
                    <a:pt x="1992" y="56"/>
                  </a:lnTo>
                  <a:lnTo>
                    <a:pt x="1991" y="55"/>
                  </a:lnTo>
                  <a:lnTo>
                    <a:pt x="1990" y="53"/>
                  </a:lnTo>
                  <a:lnTo>
                    <a:pt x="1990" y="51"/>
                  </a:lnTo>
                  <a:lnTo>
                    <a:pt x="1991" y="50"/>
                  </a:lnTo>
                  <a:lnTo>
                    <a:pt x="1992" y="49"/>
                  </a:lnTo>
                  <a:lnTo>
                    <a:pt x="1993" y="47"/>
                  </a:lnTo>
                  <a:lnTo>
                    <a:pt x="1993" y="47"/>
                  </a:lnTo>
                  <a:lnTo>
                    <a:pt x="1994" y="46"/>
                  </a:lnTo>
                  <a:close/>
                  <a:moveTo>
                    <a:pt x="2166" y="45"/>
                  </a:moveTo>
                  <a:lnTo>
                    <a:pt x="2167" y="45"/>
                  </a:lnTo>
                  <a:lnTo>
                    <a:pt x="2168" y="46"/>
                  </a:lnTo>
                  <a:lnTo>
                    <a:pt x="2171" y="46"/>
                  </a:lnTo>
                  <a:lnTo>
                    <a:pt x="2173" y="47"/>
                  </a:lnTo>
                  <a:lnTo>
                    <a:pt x="2176" y="49"/>
                  </a:lnTo>
                  <a:lnTo>
                    <a:pt x="2178" y="49"/>
                  </a:lnTo>
                  <a:lnTo>
                    <a:pt x="2182" y="50"/>
                  </a:lnTo>
                  <a:lnTo>
                    <a:pt x="2184" y="51"/>
                  </a:lnTo>
                  <a:lnTo>
                    <a:pt x="2184" y="52"/>
                  </a:lnTo>
                  <a:lnTo>
                    <a:pt x="2184" y="52"/>
                  </a:lnTo>
                  <a:lnTo>
                    <a:pt x="2182" y="53"/>
                  </a:lnTo>
                  <a:lnTo>
                    <a:pt x="2179" y="53"/>
                  </a:lnTo>
                  <a:lnTo>
                    <a:pt x="2177" y="52"/>
                  </a:lnTo>
                  <a:lnTo>
                    <a:pt x="2175" y="52"/>
                  </a:lnTo>
                  <a:lnTo>
                    <a:pt x="2174" y="52"/>
                  </a:lnTo>
                  <a:lnTo>
                    <a:pt x="2173" y="52"/>
                  </a:lnTo>
                  <a:lnTo>
                    <a:pt x="2169" y="51"/>
                  </a:lnTo>
                  <a:lnTo>
                    <a:pt x="2167" y="50"/>
                  </a:lnTo>
                  <a:lnTo>
                    <a:pt x="2166" y="49"/>
                  </a:lnTo>
                  <a:lnTo>
                    <a:pt x="2166" y="47"/>
                  </a:lnTo>
                  <a:lnTo>
                    <a:pt x="2166" y="46"/>
                  </a:lnTo>
                  <a:lnTo>
                    <a:pt x="2166" y="45"/>
                  </a:lnTo>
                  <a:close/>
                  <a:moveTo>
                    <a:pt x="2158" y="45"/>
                  </a:moveTo>
                  <a:lnTo>
                    <a:pt x="2160" y="45"/>
                  </a:lnTo>
                  <a:lnTo>
                    <a:pt x="2162" y="46"/>
                  </a:lnTo>
                  <a:lnTo>
                    <a:pt x="2162" y="49"/>
                  </a:lnTo>
                  <a:lnTo>
                    <a:pt x="2162" y="50"/>
                  </a:lnTo>
                  <a:lnTo>
                    <a:pt x="2163" y="51"/>
                  </a:lnTo>
                  <a:lnTo>
                    <a:pt x="2164" y="53"/>
                  </a:lnTo>
                  <a:lnTo>
                    <a:pt x="2167" y="54"/>
                  </a:lnTo>
                  <a:lnTo>
                    <a:pt x="2167" y="54"/>
                  </a:lnTo>
                  <a:lnTo>
                    <a:pt x="2167" y="54"/>
                  </a:lnTo>
                  <a:lnTo>
                    <a:pt x="2167" y="53"/>
                  </a:lnTo>
                  <a:lnTo>
                    <a:pt x="2168" y="53"/>
                  </a:lnTo>
                  <a:lnTo>
                    <a:pt x="2169" y="54"/>
                  </a:lnTo>
                  <a:lnTo>
                    <a:pt x="2169" y="56"/>
                  </a:lnTo>
                  <a:lnTo>
                    <a:pt x="2172" y="57"/>
                  </a:lnTo>
                  <a:lnTo>
                    <a:pt x="2173" y="60"/>
                  </a:lnTo>
                  <a:lnTo>
                    <a:pt x="2175" y="62"/>
                  </a:lnTo>
                  <a:lnTo>
                    <a:pt x="2175" y="63"/>
                  </a:lnTo>
                  <a:lnTo>
                    <a:pt x="2173" y="63"/>
                  </a:lnTo>
                  <a:lnTo>
                    <a:pt x="2169" y="62"/>
                  </a:lnTo>
                  <a:lnTo>
                    <a:pt x="2167" y="60"/>
                  </a:lnTo>
                  <a:lnTo>
                    <a:pt x="2165" y="58"/>
                  </a:lnTo>
                  <a:lnTo>
                    <a:pt x="2163" y="56"/>
                  </a:lnTo>
                  <a:lnTo>
                    <a:pt x="2161" y="55"/>
                  </a:lnTo>
                  <a:lnTo>
                    <a:pt x="2160" y="54"/>
                  </a:lnTo>
                  <a:lnTo>
                    <a:pt x="2158" y="54"/>
                  </a:lnTo>
                  <a:lnTo>
                    <a:pt x="2157" y="54"/>
                  </a:lnTo>
                  <a:lnTo>
                    <a:pt x="2157" y="53"/>
                  </a:lnTo>
                  <a:lnTo>
                    <a:pt x="2156" y="52"/>
                  </a:lnTo>
                  <a:lnTo>
                    <a:pt x="2156" y="46"/>
                  </a:lnTo>
                  <a:lnTo>
                    <a:pt x="2157" y="45"/>
                  </a:lnTo>
                  <a:lnTo>
                    <a:pt x="2158" y="45"/>
                  </a:lnTo>
                  <a:close/>
                  <a:moveTo>
                    <a:pt x="465" y="29"/>
                  </a:moveTo>
                  <a:lnTo>
                    <a:pt x="472" y="29"/>
                  </a:lnTo>
                  <a:lnTo>
                    <a:pt x="475" y="31"/>
                  </a:lnTo>
                  <a:lnTo>
                    <a:pt x="477" y="33"/>
                  </a:lnTo>
                  <a:lnTo>
                    <a:pt x="477" y="36"/>
                  </a:lnTo>
                  <a:lnTo>
                    <a:pt x="476" y="40"/>
                  </a:lnTo>
                  <a:lnTo>
                    <a:pt x="474" y="43"/>
                  </a:lnTo>
                  <a:lnTo>
                    <a:pt x="469" y="49"/>
                  </a:lnTo>
                  <a:lnTo>
                    <a:pt x="462" y="54"/>
                  </a:lnTo>
                  <a:lnTo>
                    <a:pt x="456" y="60"/>
                  </a:lnTo>
                  <a:lnTo>
                    <a:pt x="454" y="65"/>
                  </a:lnTo>
                  <a:lnTo>
                    <a:pt x="458" y="71"/>
                  </a:lnTo>
                  <a:lnTo>
                    <a:pt x="461" y="71"/>
                  </a:lnTo>
                  <a:lnTo>
                    <a:pt x="466" y="69"/>
                  </a:lnTo>
                  <a:lnTo>
                    <a:pt x="471" y="67"/>
                  </a:lnTo>
                  <a:lnTo>
                    <a:pt x="474" y="66"/>
                  </a:lnTo>
                  <a:lnTo>
                    <a:pt x="476" y="71"/>
                  </a:lnTo>
                  <a:lnTo>
                    <a:pt x="476" y="75"/>
                  </a:lnTo>
                  <a:lnTo>
                    <a:pt x="475" y="79"/>
                  </a:lnTo>
                  <a:lnTo>
                    <a:pt x="474" y="84"/>
                  </a:lnTo>
                  <a:lnTo>
                    <a:pt x="474" y="86"/>
                  </a:lnTo>
                  <a:lnTo>
                    <a:pt x="474" y="88"/>
                  </a:lnTo>
                  <a:lnTo>
                    <a:pt x="474" y="90"/>
                  </a:lnTo>
                  <a:lnTo>
                    <a:pt x="475" y="93"/>
                  </a:lnTo>
                  <a:lnTo>
                    <a:pt x="476" y="95"/>
                  </a:lnTo>
                  <a:lnTo>
                    <a:pt x="478" y="100"/>
                  </a:lnTo>
                  <a:lnTo>
                    <a:pt x="478" y="108"/>
                  </a:lnTo>
                  <a:lnTo>
                    <a:pt x="476" y="115"/>
                  </a:lnTo>
                  <a:lnTo>
                    <a:pt x="473" y="122"/>
                  </a:lnTo>
                  <a:lnTo>
                    <a:pt x="465" y="130"/>
                  </a:lnTo>
                  <a:lnTo>
                    <a:pt x="458" y="137"/>
                  </a:lnTo>
                  <a:lnTo>
                    <a:pt x="454" y="137"/>
                  </a:lnTo>
                  <a:lnTo>
                    <a:pt x="452" y="137"/>
                  </a:lnTo>
                  <a:lnTo>
                    <a:pt x="450" y="138"/>
                  </a:lnTo>
                  <a:lnTo>
                    <a:pt x="448" y="139"/>
                  </a:lnTo>
                  <a:lnTo>
                    <a:pt x="447" y="141"/>
                  </a:lnTo>
                  <a:lnTo>
                    <a:pt x="445" y="143"/>
                  </a:lnTo>
                  <a:lnTo>
                    <a:pt x="444" y="145"/>
                  </a:lnTo>
                  <a:lnTo>
                    <a:pt x="444" y="148"/>
                  </a:lnTo>
                  <a:lnTo>
                    <a:pt x="441" y="151"/>
                  </a:lnTo>
                  <a:lnTo>
                    <a:pt x="438" y="153"/>
                  </a:lnTo>
                  <a:lnTo>
                    <a:pt x="434" y="154"/>
                  </a:lnTo>
                  <a:lnTo>
                    <a:pt x="430" y="153"/>
                  </a:lnTo>
                  <a:lnTo>
                    <a:pt x="427" y="152"/>
                  </a:lnTo>
                  <a:lnTo>
                    <a:pt x="423" y="149"/>
                  </a:lnTo>
                  <a:lnTo>
                    <a:pt x="421" y="147"/>
                  </a:lnTo>
                  <a:lnTo>
                    <a:pt x="420" y="143"/>
                  </a:lnTo>
                  <a:lnTo>
                    <a:pt x="418" y="140"/>
                  </a:lnTo>
                  <a:lnTo>
                    <a:pt x="416" y="137"/>
                  </a:lnTo>
                  <a:lnTo>
                    <a:pt x="414" y="133"/>
                  </a:lnTo>
                  <a:lnTo>
                    <a:pt x="411" y="130"/>
                  </a:lnTo>
                  <a:lnTo>
                    <a:pt x="408" y="128"/>
                  </a:lnTo>
                  <a:lnTo>
                    <a:pt x="404" y="127"/>
                  </a:lnTo>
                  <a:lnTo>
                    <a:pt x="398" y="126"/>
                  </a:lnTo>
                  <a:lnTo>
                    <a:pt x="396" y="123"/>
                  </a:lnTo>
                  <a:lnTo>
                    <a:pt x="394" y="121"/>
                  </a:lnTo>
                  <a:lnTo>
                    <a:pt x="393" y="119"/>
                  </a:lnTo>
                  <a:lnTo>
                    <a:pt x="391" y="117"/>
                  </a:lnTo>
                  <a:lnTo>
                    <a:pt x="390" y="115"/>
                  </a:lnTo>
                  <a:lnTo>
                    <a:pt x="388" y="112"/>
                  </a:lnTo>
                  <a:lnTo>
                    <a:pt x="387" y="111"/>
                  </a:lnTo>
                  <a:lnTo>
                    <a:pt x="385" y="110"/>
                  </a:lnTo>
                  <a:lnTo>
                    <a:pt x="384" y="108"/>
                  </a:lnTo>
                  <a:lnTo>
                    <a:pt x="380" y="105"/>
                  </a:lnTo>
                  <a:lnTo>
                    <a:pt x="379" y="101"/>
                  </a:lnTo>
                  <a:lnTo>
                    <a:pt x="378" y="98"/>
                  </a:lnTo>
                  <a:lnTo>
                    <a:pt x="379" y="94"/>
                  </a:lnTo>
                  <a:lnTo>
                    <a:pt x="382" y="90"/>
                  </a:lnTo>
                  <a:lnTo>
                    <a:pt x="382" y="88"/>
                  </a:lnTo>
                  <a:lnTo>
                    <a:pt x="383" y="86"/>
                  </a:lnTo>
                  <a:lnTo>
                    <a:pt x="384" y="85"/>
                  </a:lnTo>
                  <a:lnTo>
                    <a:pt x="385" y="83"/>
                  </a:lnTo>
                  <a:lnTo>
                    <a:pt x="386" y="82"/>
                  </a:lnTo>
                  <a:lnTo>
                    <a:pt x="387" y="82"/>
                  </a:lnTo>
                  <a:lnTo>
                    <a:pt x="389" y="82"/>
                  </a:lnTo>
                  <a:lnTo>
                    <a:pt x="389" y="84"/>
                  </a:lnTo>
                  <a:lnTo>
                    <a:pt x="391" y="86"/>
                  </a:lnTo>
                  <a:lnTo>
                    <a:pt x="394" y="88"/>
                  </a:lnTo>
                  <a:lnTo>
                    <a:pt x="396" y="90"/>
                  </a:lnTo>
                  <a:lnTo>
                    <a:pt x="398" y="92"/>
                  </a:lnTo>
                  <a:lnTo>
                    <a:pt x="401" y="92"/>
                  </a:lnTo>
                  <a:lnTo>
                    <a:pt x="405" y="90"/>
                  </a:lnTo>
                  <a:lnTo>
                    <a:pt x="408" y="87"/>
                  </a:lnTo>
                  <a:lnTo>
                    <a:pt x="410" y="84"/>
                  </a:lnTo>
                  <a:lnTo>
                    <a:pt x="412" y="79"/>
                  </a:lnTo>
                  <a:lnTo>
                    <a:pt x="412" y="76"/>
                  </a:lnTo>
                  <a:lnTo>
                    <a:pt x="411" y="73"/>
                  </a:lnTo>
                  <a:lnTo>
                    <a:pt x="411" y="71"/>
                  </a:lnTo>
                  <a:lnTo>
                    <a:pt x="409" y="68"/>
                  </a:lnTo>
                  <a:lnTo>
                    <a:pt x="408" y="67"/>
                  </a:lnTo>
                  <a:lnTo>
                    <a:pt x="406" y="65"/>
                  </a:lnTo>
                  <a:lnTo>
                    <a:pt x="405" y="63"/>
                  </a:lnTo>
                  <a:lnTo>
                    <a:pt x="404" y="61"/>
                  </a:lnTo>
                  <a:lnTo>
                    <a:pt x="404" y="58"/>
                  </a:lnTo>
                  <a:lnTo>
                    <a:pt x="405" y="57"/>
                  </a:lnTo>
                  <a:lnTo>
                    <a:pt x="408" y="56"/>
                  </a:lnTo>
                  <a:lnTo>
                    <a:pt x="410" y="55"/>
                  </a:lnTo>
                  <a:lnTo>
                    <a:pt x="410" y="54"/>
                  </a:lnTo>
                  <a:lnTo>
                    <a:pt x="409" y="54"/>
                  </a:lnTo>
                  <a:lnTo>
                    <a:pt x="407" y="53"/>
                  </a:lnTo>
                  <a:lnTo>
                    <a:pt x="405" y="51"/>
                  </a:lnTo>
                  <a:lnTo>
                    <a:pt x="405" y="49"/>
                  </a:lnTo>
                  <a:lnTo>
                    <a:pt x="405" y="45"/>
                  </a:lnTo>
                  <a:lnTo>
                    <a:pt x="406" y="42"/>
                  </a:lnTo>
                  <a:lnTo>
                    <a:pt x="409" y="40"/>
                  </a:lnTo>
                  <a:lnTo>
                    <a:pt x="414" y="38"/>
                  </a:lnTo>
                  <a:lnTo>
                    <a:pt x="417" y="36"/>
                  </a:lnTo>
                  <a:lnTo>
                    <a:pt x="420" y="35"/>
                  </a:lnTo>
                  <a:lnTo>
                    <a:pt x="423" y="35"/>
                  </a:lnTo>
                  <a:lnTo>
                    <a:pt x="427" y="35"/>
                  </a:lnTo>
                  <a:lnTo>
                    <a:pt x="429" y="35"/>
                  </a:lnTo>
                  <a:lnTo>
                    <a:pt x="431" y="36"/>
                  </a:lnTo>
                  <a:lnTo>
                    <a:pt x="432" y="38"/>
                  </a:lnTo>
                  <a:lnTo>
                    <a:pt x="433" y="39"/>
                  </a:lnTo>
                  <a:lnTo>
                    <a:pt x="434" y="41"/>
                  </a:lnTo>
                  <a:lnTo>
                    <a:pt x="436" y="42"/>
                  </a:lnTo>
                  <a:lnTo>
                    <a:pt x="438" y="42"/>
                  </a:lnTo>
                  <a:lnTo>
                    <a:pt x="441" y="42"/>
                  </a:lnTo>
                  <a:lnTo>
                    <a:pt x="443" y="41"/>
                  </a:lnTo>
                  <a:lnTo>
                    <a:pt x="447" y="40"/>
                  </a:lnTo>
                  <a:lnTo>
                    <a:pt x="449" y="39"/>
                  </a:lnTo>
                  <a:lnTo>
                    <a:pt x="451" y="38"/>
                  </a:lnTo>
                  <a:lnTo>
                    <a:pt x="456" y="34"/>
                  </a:lnTo>
                  <a:lnTo>
                    <a:pt x="461" y="31"/>
                  </a:lnTo>
                  <a:lnTo>
                    <a:pt x="465" y="29"/>
                  </a:lnTo>
                  <a:close/>
                  <a:moveTo>
                    <a:pt x="2209" y="28"/>
                  </a:moveTo>
                  <a:lnTo>
                    <a:pt x="2210" y="28"/>
                  </a:lnTo>
                  <a:lnTo>
                    <a:pt x="2211" y="29"/>
                  </a:lnTo>
                  <a:lnTo>
                    <a:pt x="2212" y="31"/>
                  </a:lnTo>
                  <a:lnTo>
                    <a:pt x="2213" y="32"/>
                  </a:lnTo>
                  <a:lnTo>
                    <a:pt x="2215" y="33"/>
                  </a:lnTo>
                  <a:lnTo>
                    <a:pt x="2215" y="34"/>
                  </a:lnTo>
                  <a:lnTo>
                    <a:pt x="2215" y="35"/>
                  </a:lnTo>
                  <a:lnTo>
                    <a:pt x="2215" y="36"/>
                  </a:lnTo>
                  <a:lnTo>
                    <a:pt x="2216" y="38"/>
                  </a:lnTo>
                  <a:lnTo>
                    <a:pt x="2218" y="39"/>
                  </a:lnTo>
                  <a:lnTo>
                    <a:pt x="2221" y="40"/>
                  </a:lnTo>
                  <a:lnTo>
                    <a:pt x="2221" y="40"/>
                  </a:lnTo>
                  <a:lnTo>
                    <a:pt x="2222" y="41"/>
                  </a:lnTo>
                  <a:lnTo>
                    <a:pt x="2223" y="42"/>
                  </a:lnTo>
                  <a:lnTo>
                    <a:pt x="2226" y="44"/>
                  </a:lnTo>
                  <a:lnTo>
                    <a:pt x="2226" y="45"/>
                  </a:lnTo>
                  <a:lnTo>
                    <a:pt x="2227" y="46"/>
                  </a:lnTo>
                  <a:lnTo>
                    <a:pt x="2226" y="47"/>
                  </a:lnTo>
                  <a:lnTo>
                    <a:pt x="2224" y="47"/>
                  </a:lnTo>
                  <a:lnTo>
                    <a:pt x="2221" y="45"/>
                  </a:lnTo>
                  <a:lnTo>
                    <a:pt x="2220" y="46"/>
                  </a:lnTo>
                  <a:lnTo>
                    <a:pt x="2220" y="47"/>
                  </a:lnTo>
                  <a:lnTo>
                    <a:pt x="2221" y="49"/>
                  </a:lnTo>
                  <a:lnTo>
                    <a:pt x="2222" y="50"/>
                  </a:lnTo>
                  <a:lnTo>
                    <a:pt x="2224" y="51"/>
                  </a:lnTo>
                  <a:lnTo>
                    <a:pt x="2224" y="53"/>
                  </a:lnTo>
                  <a:lnTo>
                    <a:pt x="2226" y="54"/>
                  </a:lnTo>
                  <a:lnTo>
                    <a:pt x="2227" y="56"/>
                  </a:lnTo>
                  <a:lnTo>
                    <a:pt x="2228" y="57"/>
                  </a:lnTo>
                  <a:lnTo>
                    <a:pt x="2228" y="58"/>
                  </a:lnTo>
                  <a:lnTo>
                    <a:pt x="2228" y="58"/>
                  </a:lnTo>
                  <a:lnTo>
                    <a:pt x="2227" y="58"/>
                  </a:lnTo>
                  <a:lnTo>
                    <a:pt x="2224" y="58"/>
                  </a:lnTo>
                  <a:lnTo>
                    <a:pt x="2222" y="57"/>
                  </a:lnTo>
                  <a:lnTo>
                    <a:pt x="2221" y="57"/>
                  </a:lnTo>
                  <a:lnTo>
                    <a:pt x="2219" y="56"/>
                  </a:lnTo>
                  <a:lnTo>
                    <a:pt x="2218" y="56"/>
                  </a:lnTo>
                  <a:lnTo>
                    <a:pt x="2218" y="57"/>
                  </a:lnTo>
                  <a:lnTo>
                    <a:pt x="2218" y="58"/>
                  </a:lnTo>
                  <a:lnTo>
                    <a:pt x="2216" y="57"/>
                  </a:lnTo>
                  <a:lnTo>
                    <a:pt x="2213" y="56"/>
                  </a:lnTo>
                  <a:lnTo>
                    <a:pt x="2211" y="53"/>
                  </a:lnTo>
                  <a:lnTo>
                    <a:pt x="2210" y="52"/>
                  </a:lnTo>
                  <a:lnTo>
                    <a:pt x="2210" y="51"/>
                  </a:lnTo>
                  <a:lnTo>
                    <a:pt x="2207" y="49"/>
                  </a:lnTo>
                  <a:lnTo>
                    <a:pt x="2206" y="47"/>
                  </a:lnTo>
                  <a:lnTo>
                    <a:pt x="2206" y="46"/>
                  </a:lnTo>
                  <a:lnTo>
                    <a:pt x="2206" y="44"/>
                  </a:lnTo>
                  <a:lnTo>
                    <a:pt x="2206" y="42"/>
                  </a:lnTo>
                  <a:lnTo>
                    <a:pt x="2205" y="41"/>
                  </a:lnTo>
                  <a:lnTo>
                    <a:pt x="2205" y="40"/>
                  </a:lnTo>
                  <a:lnTo>
                    <a:pt x="2205" y="39"/>
                  </a:lnTo>
                  <a:lnTo>
                    <a:pt x="2206" y="38"/>
                  </a:lnTo>
                  <a:lnTo>
                    <a:pt x="2208" y="38"/>
                  </a:lnTo>
                  <a:lnTo>
                    <a:pt x="2208" y="38"/>
                  </a:lnTo>
                  <a:lnTo>
                    <a:pt x="2208" y="36"/>
                  </a:lnTo>
                  <a:lnTo>
                    <a:pt x="2207" y="36"/>
                  </a:lnTo>
                  <a:lnTo>
                    <a:pt x="2206" y="35"/>
                  </a:lnTo>
                  <a:lnTo>
                    <a:pt x="2205" y="35"/>
                  </a:lnTo>
                  <a:lnTo>
                    <a:pt x="2202" y="34"/>
                  </a:lnTo>
                  <a:lnTo>
                    <a:pt x="2204" y="32"/>
                  </a:lnTo>
                  <a:lnTo>
                    <a:pt x="2205" y="31"/>
                  </a:lnTo>
                  <a:lnTo>
                    <a:pt x="2207" y="29"/>
                  </a:lnTo>
                  <a:lnTo>
                    <a:pt x="2209" y="28"/>
                  </a:lnTo>
                  <a:lnTo>
                    <a:pt x="2209" y="28"/>
                  </a:lnTo>
                  <a:close/>
                  <a:moveTo>
                    <a:pt x="679" y="17"/>
                  </a:moveTo>
                  <a:lnTo>
                    <a:pt x="683" y="18"/>
                  </a:lnTo>
                  <a:lnTo>
                    <a:pt x="688" y="18"/>
                  </a:lnTo>
                  <a:lnTo>
                    <a:pt x="690" y="20"/>
                  </a:lnTo>
                  <a:lnTo>
                    <a:pt x="692" y="21"/>
                  </a:lnTo>
                  <a:lnTo>
                    <a:pt x="693" y="23"/>
                  </a:lnTo>
                  <a:lnTo>
                    <a:pt x="692" y="27"/>
                  </a:lnTo>
                  <a:lnTo>
                    <a:pt x="690" y="29"/>
                  </a:lnTo>
                  <a:lnTo>
                    <a:pt x="685" y="32"/>
                  </a:lnTo>
                  <a:lnTo>
                    <a:pt x="683" y="34"/>
                  </a:lnTo>
                  <a:lnTo>
                    <a:pt x="682" y="36"/>
                  </a:lnTo>
                  <a:lnTo>
                    <a:pt x="681" y="40"/>
                  </a:lnTo>
                  <a:lnTo>
                    <a:pt x="679" y="43"/>
                  </a:lnTo>
                  <a:lnTo>
                    <a:pt x="677" y="45"/>
                  </a:lnTo>
                  <a:lnTo>
                    <a:pt x="673" y="47"/>
                  </a:lnTo>
                  <a:lnTo>
                    <a:pt x="671" y="49"/>
                  </a:lnTo>
                  <a:lnTo>
                    <a:pt x="669" y="51"/>
                  </a:lnTo>
                  <a:lnTo>
                    <a:pt x="667" y="53"/>
                  </a:lnTo>
                  <a:lnTo>
                    <a:pt x="663" y="54"/>
                  </a:lnTo>
                  <a:lnTo>
                    <a:pt x="661" y="57"/>
                  </a:lnTo>
                  <a:lnTo>
                    <a:pt x="659" y="60"/>
                  </a:lnTo>
                  <a:lnTo>
                    <a:pt x="657" y="63"/>
                  </a:lnTo>
                  <a:lnTo>
                    <a:pt x="656" y="66"/>
                  </a:lnTo>
                  <a:lnTo>
                    <a:pt x="655" y="69"/>
                  </a:lnTo>
                  <a:lnTo>
                    <a:pt x="657" y="74"/>
                  </a:lnTo>
                  <a:lnTo>
                    <a:pt x="659" y="77"/>
                  </a:lnTo>
                  <a:lnTo>
                    <a:pt x="661" y="80"/>
                  </a:lnTo>
                  <a:lnTo>
                    <a:pt x="662" y="87"/>
                  </a:lnTo>
                  <a:lnTo>
                    <a:pt x="660" y="94"/>
                  </a:lnTo>
                  <a:lnTo>
                    <a:pt x="659" y="100"/>
                  </a:lnTo>
                  <a:lnTo>
                    <a:pt x="660" y="104"/>
                  </a:lnTo>
                  <a:lnTo>
                    <a:pt x="662" y="107"/>
                  </a:lnTo>
                  <a:lnTo>
                    <a:pt x="665" y="110"/>
                  </a:lnTo>
                  <a:lnTo>
                    <a:pt x="666" y="114"/>
                  </a:lnTo>
                  <a:lnTo>
                    <a:pt x="668" y="116"/>
                  </a:lnTo>
                  <a:lnTo>
                    <a:pt x="669" y="118"/>
                  </a:lnTo>
                  <a:lnTo>
                    <a:pt x="669" y="120"/>
                  </a:lnTo>
                  <a:lnTo>
                    <a:pt x="670" y="122"/>
                  </a:lnTo>
                  <a:lnTo>
                    <a:pt x="672" y="125"/>
                  </a:lnTo>
                  <a:lnTo>
                    <a:pt x="674" y="127"/>
                  </a:lnTo>
                  <a:lnTo>
                    <a:pt x="677" y="128"/>
                  </a:lnTo>
                  <a:lnTo>
                    <a:pt x="681" y="129"/>
                  </a:lnTo>
                  <a:lnTo>
                    <a:pt x="684" y="129"/>
                  </a:lnTo>
                  <a:lnTo>
                    <a:pt x="687" y="129"/>
                  </a:lnTo>
                  <a:lnTo>
                    <a:pt x="688" y="129"/>
                  </a:lnTo>
                  <a:lnTo>
                    <a:pt x="688" y="128"/>
                  </a:lnTo>
                  <a:lnTo>
                    <a:pt x="688" y="127"/>
                  </a:lnTo>
                  <a:lnTo>
                    <a:pt x="688" y="125"/>
                  </a:lnTo>
                  <a:lnTo>
                    <a:pt x="687" y="122"/>
                  </a:lnTo>
                  <a:lnTo>
                    <a:pt x="685" y="120"/>
                  </a:lnTo>
                  <a:lnTo>
                    <a:pt x="684" y="119"/>
                  </a:lnTo>
                  <a:lnTo>
                    <a:pt x="682" y="117"/>
                  </a:lnTo>
                  <a:lnTo>
                    <a:pt x="681" y="116"/>
                  </a:lnTo>
                  <a:lnTo>
                    <a:pt x="678" y="112"/>
                  </a:lnTo>
                  <a:lnTo>
                    <a:pt x="674" y="107"/>
                  </a:lnTo>
                  <a:lnTo>
                    <a:pt x="672" y="101"/>
                  </a:lnTo>
                  <a:lnTo>
                    <a:pt x="672" y="97"/>
                  </a:lnTo>
                  <a:lnTo>
                    <a:pt x="677" y="94"/>
                  </a:lnTo>
                  <a:lnTo>
                    <a:pt x="681" y="92"/>
                  </a:lnTo>
                  <a:lnTo>
                    <a:pt x="683" y="89"/>
                  </a:lnTo>
                  <a:lnTo>
                    <a:pt x="685" y="88"/>
                  </a:lnTo>
                  <a:lnTo>
                    <a:pt x="687" y="87"/>
                  </a:lnTo>
                  <a:lnTo>
                    <a:pt x="687" y="85"/>
                  </a:lnTo>
                  <a:lnTo>
                    <a:pt x="685" y="84"/>
                  </a:lnTo>
                  <a:lnTo>
                    <a:pt x="684" y="82"/>
                  </a:lnTo>
                  <a:lnTo>
                    <a:pt x="681" y="78"/>
                  </a:lnTo>
                  <a:lnTo>
                    <a:pt x="680" y="77"/>
                  </a:lnTo>
                  <a:lnTo>
                    <a:pt x="678" y="75"/>
                  </a:lnTo>
                  <a:lnTo>
                    <a:pt x="677" y="73"/>
                  </a:lnTo>
                  <a:lnTo>
                    <a:pt x="674" y="71"/>
                  </a:lnTo>
                  <a:lnTo>
                    <a:pt x="674" y="67"/>
                  </a:lnTo>
                  <a:lnTo>
                    <a:pt x="674" y="65"/>
                  </a:lnTo>
                  <a:lnTo>
                    <a:pt x="676" y="63"/>
                  </a:lnTo>
                  <a:lnTo>
                    <a:pt x="677" y="61"/>
                  </a:lnTo>
                  <a:lnTo>
                    <a:pt x="679" y="60"/>
                  </a:lnTo>
                  <a:lnTo>
                    <a:pt x="681" y="58"/>
                  </a:lnTo>
                  <a:lnTo>
                    <a:pt x="683" y="57"/>
                  </a:lnTo>
                  <a:lnTo>
                    <a:pt x="685" y="56"/>
                  </a:lnTo>
                  <a:lnTo>
                    <a:pt x="688" y="55"/>
                  </a:lnTo>
                  <a:lnTo>
                    <a:pt x="688" y="54"/>
                  </a:lnTo>
                  <a:lnTo>
                    <a:pt x="688" y="52"/>
                  </a:lnTo>
                  <a:lnTo>
                    <a:pt x="687" y="50"/>
                  </a:lnTo>
                  <a:lnTo>
                    <a:pt x="688" y="47"/>
                  </a:lnTo>
                  <a:lnTo>
                    <a:pt x="688" y="47"/>
                  </a:lnTo>
                  <a:lnTo>
                    <a:pt x="689" y="45"/>
                  </a:lnTo>
                  <a:lnTo>
                    <a:pt x="689" y="43"/>
                  </a:lnTo>
                  <a:lnTo>
                    <a:pt x="690" y="41"/>
                  </a:lnTo>
                  <a:lnTo>
                    <a:pt x="690" y="39"/>
                  </a:lnTo>
                  <a:lnTo>
                    <a:pt x="690" y="36"/>
                  </a:lnTo>
                  <a:lnTo>
                    <a:pt x="701" y="36"/>
                  </a:lnTo>
                  <a:lnTo>
                    <a:pt x="704" y="35"/>
                  </a:lnTo>
                  <a:lnTo>
                    <a:pt x="706" y="33"/>
                  </a:lnTo>
                  <a:lnTo>
                    <a:pt x="707" y="31"/>
                  </a:lnTo>
                  <a:lnTo>
                    <a:pt x="710" y="29"/>
                  </a:lnTo>
                  <a:lnTo>
                    <a:pt x="712" y="25"/>
                  </a:lnTo>
                  <a:lnTo>
                    <a:pt x="714" y="25"/>
                  </a:lnTo>
                  <a:lnTo>
                    <a:pt x="717" y="24"/>
                  </a:lnTo>
                  <a:lnTo>
                    <a:pt x="720" y="24"/>
                  </a:lnTo>
                  <a:lnTo>
                    <a:pt x="723" y="24"/>
                  </a:lnTo>
                  <a:lnTo>
                    <a:pt x="727" y="23"/>
                  </a:lnTo>
                  <a:lnTo>
                    <a:pt x="735" y="23"/>
                  </a:lnTo>
                  <a:lnTo>
                    <a:pt x="743" y="24"/>
                  </a:lnTo>
                  <a:lnTo>
                    <a:pt x="748" y="28"/>
                  </a:lnTo>
                  <a:lnTo>
                    <a:pt x="756" y="39"/>
                  </a:lnTo>
                  <a:lnTo>
                    <a:pt x="760" y="51"/>
                  </a:lnTo>
                  <a:lnTo>
                    <a:pt x="762" y="63"/>
                  </a:lnTo>
                  <a:lnTo>
                    <a:pt x="760" y="75"/>
                  </a:lnTo>
                  <a:lnTo>
                    <a:pt x="755" y="85"/>
                  </a:lnTo>
                  <a:lnTo>
                    <a:pt x="754" y="87"/>
                  </a:lnTo>
                  <a:lnTo>
                    <a:pt x="753" y="89"/>
                  </a:lnTo>
                  <a:lnTo>
                    <a:pt x="751" y="92"/>
                  </a:lnTo>
                  <a:lnTo>
                    <a:pt x="751" y="95"/>
                  </a:lnTo>
                  <a:lnTo>
                    <a:pt x="751" y="97"/>
                  </a:lnTo>
                  <a:lnTo>
                    <a:pt x="753" y="100"/>
                  </a:lnTo>
                  <a:lnTo>
                    <a:pt x="754" y="101"/>
                  </a:lnTo>
                  <a:lnTo>
                    <a:pt x="754" y="103"/>
                  </a:lnTo>
                  <a:lnTo>
                    <a:pt x="755" y="104"/>
                  </a:lnTo>
                  <a:lnTo>
                    <a:pt x="757" y="105"/>
                  </a:lnTo>
                  <a:lnTo>
                    <a:pt x="758" y="104"/>
                  </a:lnTo>
                  <a:lnTo>
                    <a:pt x="759" y="103"/>
                  </a:lnTo>
                  <a:lnTo>
                    <a:pt x="764" y="98"/>
                  </a:lnTo>
                  <a:lnTo>
                    <a:pt x="767" y="94"/>
                  </a:lnTo>
                  <a:lnTo>
                    <a:pt x="770" y="89"/>
                  </a:lnTo>
                  <a:lnTo>
                    <a:pt x="772" y="88"/>
                  </a:lnTo>
                  <a:lnTo>
                    <a:pt x="775" y="88"/>
                  </a:lnTo>
                  <a:lnTo>
                    <a:pt x="777" y="89"/>
                  </a:lnTo>
                  <a:lnTo>
                    <a:pt x="778" y="90"/>
                  </a:lnTo>
                  <a:lnTo>
                    <a:pt x="780" y="93"/>
                  </a:lnTo>
                  <a:lnTo>
                    <a:pt x="781" y="95"/>
                  </a:lnTo>
                  <a:lnTo>
                    <a:pt x="783" y="96"/>
                  </a:lnTo>
                  <a:lnTo>
                    <a:pt x="783" y="97"/>
                  </a:lnTo>
                  <a:lnTo>
                    <a:pt x="785" y="99"/>
                  </a:lnTo>
                  <a:lnTo>
                    <a:pt x="787" y="100"/>
                  </a:lnTo>
                  <a:lnTo>
                    <a:pt x="788" y="101"/>
                  </a:lnTo>
                  <a:lnTo>
                    <a:pt x="790" y="103"/>
                  </a:lnTo>
                  <a:lnTo>
                    <a:pt x="791" y="103"/>
                  </a:lnTo>
                  <a:lnTo>
                    <a:pt x="792" y="101"/>
                  </a:lnTo>
                  <a:lnTo>
                    <a:pt x="793" y="100"/>
                  </a:lnTo>
                  <a:lnTo>
                    <a:pt x="793" y="98"/>
                  </a:lnTo>
                  <a:lnTo>
                    <a:pt x="793" y="97"/>
                  </a:lnTo>
                  <a:lnTo>
                    <a:pt x="794" y="96"/>
                  </a:lnTo>
                  <a:lnTo>
                    <a:pt x="794" y="95"/>
                  </a:lnTo>
                  <a:lnTo>
                    <a:pt x="797" y="94"/>
                  </a:lnTo>
                  <a:lnTo>
                    <a:pt x="799" y="94"/>
                  </a:lnTo>
                  <a:lnTo>
                    <a:pt x="801" y="93"/>
                  </a:lnTo>
                  <a:lnTo>
                    <a:pt x="803" y="93"/>
                  </a:lnTo>
                  <a:lnTo>
                    <a:pt x="805" y="92"/>
                  </a:lnTo>
                  <a:lnTo>
                    <a:pt x="807" y="90"/>
                  </a:lnTo>
                  <a:lnTo>
                    <a:pt x="808" y="89"/>
                  </a:lnTo>
                  <a:lnTo>
                    <a:pt x="808" y="88"/>
                  </a:lnTo>
                  <a:lnTo>
                    <a:pt x="808" y="86"/>
                  </a:lnTo>
                  <a:lnTo>
                    <a:pt x="808" y="84"/>
                  </a:lnTo>
                  <a:lnTo>
                    <a:pt x="808" y="83"/>
                  </a:lnTo>
                  <a:lnTo>
                    <a:pt x="805" y="82"/>
                  </a:lnTo>
                  <a:lnTo>
                    <a:pt x="804" y="79"/>
                  </a:lnTo>
                  <a:lnTo>
                    <a:pt x="802" y="77"/>
                  </a:lnTo>
                  <a:lnTo>
                    <a:pt x="801" y="75"/>
                  </a:lnTo>
                  <a:lnTo>
                    <a:pt x="800" y="73"/>
                  </a:lnTo>
                  <a:lnTo>
                    <a:pt x="801" y="72"/>
                  </a:lnTo>
                  <a:lnTo>
                    <a:pt x="804" y="71"/>
                  </a:lnTo>
                  <a:lnTo>
                    <a:pt x="808" y="71"/>
                  </a:lnTo>
                  <a:lnTo>
                    <a:pt x="811" y="71"/>
                  </a:lnTo>
                  <a:lnTo>
                    <a:pt x="814" y="69"/>
                  </a:lnTo>
                  <a:lnTo>
                    <a:pt x="815" y="68"/>
                  </a:lnTo>
                  <a:lnTo>
                    <a:pt x="815" y="67"/>
                  </a:lnTo>
                  <a:lnTo>
                    <a:pt x="814" y="65"/>
                  </a:lnTo>
                  <a:lnTo>
                    <a:pt x="812" y="64"/>
                  </a:lnTo>
                  <a:lnTo>
                    <a:pt x="810" y="63"/>
                  </a:lnTo>
                  <a:lnTo>
                    <a:pt x="808" y="63"/>
                  </a:lnTo>
                  <a:lnTo>
                    <a:pt x="802" y="63"/>
                  </a:lnTo>
                  <a:lnTo>
                    <a:pt x="799" y="64"/>
                  </a:lnTo>
                  <a:lnTo>
                    <a:pt x="794" y="65"/>
                  </a:lnTo>
                  <a:lnTo>
                    <a:pt x="790" y="65"/>
                  </a:lnTo>
                  <a:lnTo>
                    <a:pt x="783" y="63"/>
                  </a:lnTo>
                  <a:lnTo>
                    <a:pt x="777" y="56"/>
                  </a:lnTo>
                  <a:lnTo>
                    <a:pt x="772" y="50"/>
                  </a:lnTo>
                  <a:lnTo>
                    <a:pt x="768" y="43"/>
                  </a:lnTo>
                  <a:lnTo>
                    <a:pt x="767" y="42"/>
                  </a:lnTo>
                  <a:lnTo>
                    <a:pt x="766" y="40"/>
                  </a:lnTo>
                  <a:lnTo>
                    <a:pt x="765" y="38"/>
                  </a:lnTo>
                  <a:lnTo>
                    <a:pt x="764" y="35"/>
                  </a:lnTo>
                  <a:lnTo>
                    <a:pt x="762" y="32"/>
                  </a:lnTo>
                  <a:lnTo>
                    <a:pt x="762" y="30"/>
                  </a:lnTo>
                  <a:lnTo>
                    <a:pt x="762" y="28"/>
                  </a:lnTo>
                  <a:lnTo>
                    <a:pt x="764" y="27"/>
                  </a:lnTo>
                  <a:lnTo>
                    <a:pt x="765" y="25"/>
                  </a:lnTo>
                  <a:lnTo>
                    <a:pt x="767" y="25"/>
                  </a:lnTo>
                  <a:lnTo>
                    <a:pt x="770" y="25"/>
                  </a:lnTo>
                  <a:lnTo>
                    <a:pt x="781" y="27"/>
                  </a:lnTo>
                  <a:lnTo>
                    <a:pt x="792" y="28"/>
                  </a:lnTo>
                  <a:lnTo>
                    <a:pt x="814" y="28"/>
                  </a:lnTo>
                  <a:lnTo>
                    <a:pt x="822" y="31"/>
                  </a:lnTo>
                  <a:lnTo>
                    <a:pt x="830" y="36"/>
                  </a:lnTo>
                  <a:lnTo>
                    <a:pt x="835" y="42"/>
                  </a:lnTo>
                  <a:lnTo>
                    <a:pt x="840" y="47"/>
                  </a:lnTo>
                  <a:lnTo>
                    <a:pt x="842" y="51"/>
                  </a:lnTo>
                  <a:lnTo>
                    <a:pt x="844" y="53"/>
                  </a:lnTo>
                  <a:lnTo>
                    <a:pt x="845" y="55"/>
                  </a:lnTo>
                  <a:lnTo>
                    <a:pt x="846" y="58"/>
                  </a:lnTo>
                  <a:lnTo>
                    <a:pt x="845" y="61"/>
                  </a:lnTo>
                  <a:lnTo>
                    <a:pt x="845" y="62"/>
                  </a:lnTo>
                  <a:lnTo>
                    <a:pt x="843" y="63"/>
                  </a:lnTo>
                  <a:lnTo>
                    <a:pt x="841" y="64"/>
                  </a:lnTo>
                  <a:lnTo>
                    <a:pt x="837" y="64"/>
                  </a:lnTo>
                  <a:lnTo>
                    <a:pt x="833" y="63"/>
                  </a:lnTo>
                  <a:lnTo>
                    <a:pt x="835" y="65"/>
                  </a:lnTo>
                  <a:lnTo>
                    <a:pt x="837" y="68"/>
                  </a:lnTo>
                  <a:lnTo>
                    <a:pt x="841" y="72"/>
                  </a:lnTo>
                  <a:lnTo>
                    <a:pt x="844" y="74"/>
                  </a:lnTo>
                  <a:lnTo>
                    <a:pt x="847" y="75"/>
                  </a:lnTo>
                  <a:lnTo>
                    <a:pt x="851" y="76"/>
                  </a:lnTo>
                  <a:lnTo>
                    <a:pt x="853" y="76"/>
                  </a:lnTo>
                  <a:lnTo>
                    <a:pt x="855" y="75"/>
                  </a:lnTo>
                  <a:lnTo>
                    <a:pt x="858" y="74"/>
                  </a:lnTo>
                  <a:lnTo>
                    <a:pt x="862" y="74"/>
                  </a:lnTo>
                  <a:lnTo>
                    <a:pt x="864" y="75"/>
                  </a:lnTo>
                  <a:lnTo>
                    <a:pt x="865" y="77"/>
                  </a:lnTo>
                  <a:lnTo>
                    <a:pt x="866" y="79"/>
                  </a:lnTo>
                  <a:lnTo>
                    <a:pt x="866" y="82"/>
                  </a:lnTo>
                  <a:lnTo>
                    <a:pt x="866" y="83"/>
                  </a:lnTo>
                  <a:lnTo>
                    <a:pt x="866" y="85"/>
                  </a:lnTo>
                  <a:lnTo>
                    <a:pt x="866" y="87"/>
                  </a:lnTo>
                  <a:lnTo>
                    <a:pt x="865" y="89"/>
                  </a:lnTo>
                  <a:lnTo>
                    <a:pt x="864" y="92"/>
                  </a:lnTo>
                  <a:lnTo>
                    <a:pt x="864" y="94"/>
                  </a:lnTo>
                  <a:lnTo>
                    <a:pt x="864" y="95"/>
                  </a:lnTo>
                  <a:lnTo>
                    <a:pt x="865" y="97"/>
                  </a:lnTo>
                  <a:lnTo>
                    <a:pt x="867" y="98"/>
                  </a:lnTo>
                  <a:lnTo>
                    <a:pt x="870" y="100"/>
                  </a:lnTo>
                  <a:lnTo>
                    <a:pt x="874" y="101"/>
                  </a:lnTo>
                  <a:lnTo>
                    <a:pt x="877" y="103"/>
                  </a:lnTo>
                  <a:lnTo>
                    <a:pt x="878" y="105"/>
                  </a:lnTo>
                  <a:lnTo>
                    <a:pt x="878" y="107"/>
                  </a:lnTo>
                  <a:lnTo>
                    <a:pt x="877" y="109"/>
                  </a:lnTo>
                  <a:lnTo>
                    <a:pt x="875" y="111"/>
                  </a:lnTo>
                  <a:lnTo>
                    <a:pt x="873" y="114"/>
                  </a:lnTo>
                  <a:lnTo>
                    <a:pt x="871" y="115"/>
                  </a:lnTo>
                  <a:lnTo>
                    <a:pt x="870" y="117"/>
                  </a:lnTo>
                  <a:lnTo>
                    <a:pt x="870" y="119"/>
                  </a:lnTo>
                  <a:lnTo>
                    <a:pt x="870" y="121"/>
                  </a:lnTo>
                  <a:lnTo>
                    <a:pt x="870" y="123"/>
                  </a:lnTo>
                  <a:lnTo>
                    <a:pt x="871" y="125"/>
                  </a:lnTo>
                  <a:lnTo>
                    <a:pt x="873" y="126"/>
                  </a:lnTo>
                  <a:lnTo>
                    <a:pt x="875" y="126"/>
                  </a:lnTo>
                  <a:lnTo>
                    <a:pt x="877" y="125"/>
                  </a:lnTo>
                  <a:lnTo>
                    <a:pt x="881" y="120"/>
                  </a:lnTo>
                  <a:lnTo>
                    <a:pt x="886" y="118"/>
                  </a:lnTo>
                  <a:lnTo>
                    <a:pt x="892" y="116"/>
                  </a:lnTo>
                  <a:lnTo>
                    <a:pt x="897" y="117"/>
                  </a:lnTo>
                  <a:lnTo>
                    <a:pt x="898" y="120"/>
                  </a:lnTo>
                  <a:lnTo>
                    <a:pt x="897" y="125"/>
                  </a:lnTo>
                  <a:lnTo>
                    <a:pt x="895" y="129"/>
                  </a:lnTo>
                  <a:lnTo>
                    <a:pt x="893" y="133"/>
                  </a:lnTo>
                  <a:lnTo>
                    <a:pt x="893" y="137"/>
                  </a:lnTo>
                  <a:lnTo>
                    <a:pt x="896" y="138"/>
                  </a:lnTo>
                  <a:lnTo>
                    <a:pt x="897" y="134"/>
                  </a:lnTo>
                  <a:lnTo>
                    <a:pt x="898" y="131"/>
                  </a:lnTo>
                  <a:lnTo>
                    <a:pt x="899" y="129"/>
                  </a:lnTo>
                  <a:lnTo>
                    <a:pt x="901" y="127"/>
                  </a:lnTo>
                  <a:lnTo>
                    <a:pt x="903" y="126"/>
                  </a:lnTo>
                  <a:lnTo>
                    <a:pt x="907" y="125"/>
                  </a:lnTo>
                  <a:lnTo>
                    <a:pt x="914" y="123"/>
                  </a:lnTo>
                  <a:lnTo>
                    <a:pt x="923" y="123"/>
                  </a:lnTo>
                  <a:lnTo>
                    <a:pt x="931" y="127"/>
                  </a:lnTo>
                  <a:lnTo>
                    <a:pt x="934" y="128"/>
                  </a:lnTo>
                  <a:lnTo>
                    <a:pt x="938" y="130"/>
                  </a:lnTo>
                  <a:lnTo>
                    <a:pt x="940" y="133"/>
                  </a:lnTo>
                  <a:lnTo>
                    <a:pt x="942" y="137"/>
                  </a:lnTo>
                  <a:lnTo>
                    <a:pt x="942" y="141"/>
                  </a:lnTo>
                  <a:lnTo>
                    <a:pt x="942" y="144"/>
                  </a:lnTo>
                  <a:lnTo>
                    <a:pt x="939" y="147"/>
                  </a:lnTo>
                  <a:lnTo>
                    <a:pt x="935" y="148"/>
                  </a:lnTo>
                  <a:lnTo>
                    <a:pt x="931" y="149"/>
                  </a:lnTo>
                  <a:lnTo>
                    <a:pt x="928" y="149"/>
                  </a:lnTo>
                  <a:lnTo>
                    <a:pt x="925" y="150"/>
                  </a:lnTo>
                  <a:lnTo>
                    <a:pt x="924" y="151"/>
                  </a:lnTo>
                  <a:lnTo>
                    <a:pt x="922" y="153"/>
                  </a:lnTo>
                  <a:lnTo>
                    <a:pt x="921" y="153"/>
                  </a:lnTo>
                  <a:lnTo>
                    <a:pt x="921" y="154"/>
                  </a:lnTo>
                  <a:lnTo>
                    <a:pt x="920" y="156"/>
                  </a:lnTo>
                  <a:lnTo>
                    <a:pt x="920" y="158"/>
                  </a:lnTo>
                  <a:lnTo>
                    <a:pt x="920" y="160"/>
                  </a:lnTo>
                  <a:lnTo>
                    <a:pt x="922" y="160"/>
                  </a:lnTo>
                  <a:lnTo>
                    <a:pt x="924" y="160"/>
                  </a:lnTo>
                  <a:lnTo>
                    <a:pt x="927" y="160"/>
                  </a:lnTo>
                  <a:lnTo>
                    <a:pt x="928" y="160"/>
                  </a:lnTo>
                  <a:lnTo>
                    <a:pt x="929" y="160"/>
                  </a:lnTo>
                  <a:lnTo>
                    <a:pt x="932" y="158"/>
                  </a:lnTo>
                  <a:lnTo>
                    <a:pt x="938" y="155"/>
                  </a:lnTo>
                  <a:lnTo>
                    <a:pt x="943" y="155"/>
                  </a:lnTo>
                  <a:lnTo>
                    <a:pt x="947" y="155"/>
                  </a:lnTo>
                  <a:lnTo>
                    <a:pt x="951" y="160"/>
                  </a:lnTo>
                  <a:lnTo>
                    <a:pt x="951" y="161"/>
                  </a:lnTo>
                  <a:lnTo>
                    <a:pt x="951" y="163"/>
                  </a:lnTo>
                  <a:lnTo>
                    <a:pt x="952" y="165"/>
                  </a:lnTo>
                  <a:lnTo>
                    <a:pt x="954" y="166"/>
                  </a:lnTo>
                  <a:lnTo>
                    <a:pt x="955" y="167"/>
                  </a:lnTo>
                  <a:lnTo>
                    <a:pt x="958" y="167"/>
                  </a:lnTo>
                  <a:lnTo>
                    <a:pt x="962" y="165"/>
                  </a:lnTo>
                  <a:lnTo>
                    <a:pt x="975" y="165"/>
                  </a:lnTo>
                  <a:lnTo>
                    <a:pt x="989" y="167"/>
                  </a:lnTo>
                  <a:lnTo>
                    <a:pt x="990" y="178"/>
                  </a:lnTo>
                  <a:lnTo>
                    <a:pt x="986" y="186"/>
                  </a:lnTo>
                  <a:lnTo>
                    <a:pt x="977" y="192"/>
                  </a:lnTo>
                  <a:lnTo>
                    <a:pt x="973" y="194"/>
                  </a:lnTo>
                  <a:lnTo>
                    <a:pt x="969" y="195"/>
                  </a:lnTo>
                  <a:lnTo>
                    <a:pt x="967" y="196"/>
                  </a:lnTo>
                  <a:lnTo>
                    <a:pt x="966" y="198"/>
                  </a:lnTo>
                  <a:lnTo>
                    <a:pt x="966" y="200"/>
                  </a:lnTo>
                  <a:lnTo>
                    <a:pt x="966" y="204"/>
                  </a:lnTo>
                  <a:lnTo>
                    <a:pt x="966" y="206"/>
                  </a:lnTo>
                  <a:lnTo>
                    <a:pt x="966" y="208"/>
                  </a:lnTo>
                  <a:lnTo>
                    <a:pt x="968" y="209"/>
                  </a:lnTo>
                  <a:lnTo>
                    <a:pt x="971" y="209"/>
                  </a:lnTo>
                  <a:lnTo>
                    <a:pt x="976" y="209"/>
                  </a:lnTo>
                  <a:lnTo>
                    <a:pt x="979" y="206"/>
                  </a:lnTo>
                  <a:lnTo>
                    <a:pt x="983" y="200"/>
                  </a:lnTo>
                  <a:lnTo>
                    <a:pt x="986" y="196"/>
                  </a:lnTo>
                  <a:lnTo>
                    <a:pt x="989" y="192"/>
                  </a:lnTo>
                  <a:lnTo>
                    <a:pt x="997" y="189"/>
                  </a:lnTo>
                  <a:lnTo>
                    <a:pt x="1006" y="191"/>
                  </a:lnTo>
                  <a:lnTo>
                    <a:pt x="1012" y="195"/>
                  </a:lnTo>
                  <a:lnTo>
                    <a:pt x="1018" y="200"/>
                  </a:lnTo>
                  <a:lnTo>
                    <a:pt x="1018" y="204"/>
                  </a:lnTo>
                  <a:lnTo>
                    <a:pt x="1018" y="206"/>
                  </a:lnTo>
                  <a:lnTo>
                    <a:pt x="1017" y="208"/>
                  </a:lnTo>
                  <a:lnTo>
                    <a:pt x="1016" y="209"/>
                  </a:lnTo>
                  <a:lnTo>
                    <a:pt x="1013" y="209"/>
                  </a:lnTo>
                  <a:lnTo>
                    <a:pt x="1010" y="212"/>
                  </a:lnTo>
                  <a:lnTo>
                    <a:pt x="1009" y="213"/>
                  </a:lnTo>
                  <a:lnTo>
                    <a:pt x="1008" y="216"/>
                  </a:lnTo>
                  <a:lnTo>
                    <a:pt x="1009" y="218"/>
                  </a:lnTo>
                  <a:lnTo>
                    <a:pt x="1011" y="220"/>
                  </a:lnTo>
                  <a:lnTo>
                    <a:pt x="1016" y="223"/>
                  </a:lnTo>
                  <a:lnTo>
                    <a:pt x="1021" y="225"/>
                  </a:lnTo>
                  <a:lnTo>
                    <a:pt x="1027" y="227"/>
                  </a:lnTo>
                  <a:lnTo>
                    <a:pt x="1031" y="229"/>
                  </a:lnTo>
                  <a:lnTo>
                    <a:pt x="1031" y="234"/>
                  </a:lnTo>
                  <a:lnTo>
                    <a:pt x="1029" y="235"/>
                  </a:lnTo>
                  <a:lnTo>
                    <a:pt x="1024" y="234"/>
                  </a:lnTo>
                  <a:lnTo>
                    <a:pt x="1019" y="232"/>
                  </a:lnTo>
                  <a:lnTo>
                    <a:pt x="1013" y="231"/>
                  </a:lnTo>
                  <a:lnTo>
                    <a:pt x="1009" y="231"/>
                  </a:lnTo>
                  <a:lnTo>
                    <a:pt x="1007" y="231"/>
                  </a:lnTo>
                  <a:lnTo>
                    <a:pt x="1005" y="231"/>
                  </a:lnTo>
                  <a:lnTo>
                    <a:pt x="1002" y="231"/>
                  </a:lnTo>
                  <a:lnTo>
                    <a:pt x="1000" y="232"/>
                  </a:lnTo>
                  <a:lnTo>
                    <a:pt x="998" y="234"/>
                  </a:lnTo>
                  <a:lnTo>
                    <a:pt x="997" y="235"/>
                  </a:lnTo>
                  <a:lnTo>
                    <a:pt x="996" y="236"/>
                  </a:lnTo>
                  <a:lnTo>
                    <a:pt x="996" y="238"/>
                  </a:lnTo>
                  <a:lnTo>
                    <a:pt x="998" y="241"/>
                  </a:lnTo>
                  <a:lnTo>
                    <a:pt x="1000" y="243"/>
                  </a:lnTo>
                  <a:lnTo>
                    <a:pt x="1002" y="246"/>
                  </a:lnTo>
                  <a:lnTo>
                    <a:pt x="1004" y="249"/>
                  </a:lnTo>
                  <a:lnTo>
                    <a:pt x="1005" y="251"/>
                  </a:lnTo>
                  <a:lnTo>
                    <a:pt x="1005" y="256"/>
                  </a:lnTo>
                  <a:lnTo>
                    <a:pt x="1005" y="259"/>
                  </a:lnTo>
                  <a:lnTo>
                    <a:pt x="1006" y="261"/>
                  </a:lnTo>
                  <a:lnTo>
                    <a:pt x="1006" y="264"/>
                  </a:lnTo>
                  <a:lnTo>
                    <a:pt x="1008" y="268"/>
                  </a:lnTo>
                  <a:lnTo>
                    <a:pt x="1011" y="271"/>
                  </a:lnTo>
                  <a:lnTo>
                    <a:pt x="1024" y="278"/>
                  </a:lnTo>
                  <a:lnTo>
                    <a:pt x="1029" y="281"/>
                  </a:lnTo>
                  <a:lnTo>
                    <a:pt x="1033" y="285"/>
                  </a:lnTo>
                  <a:lnTo>
                    <a:pt x="1037" y="289"/>
                  </a:lnTo>
                  <a:lnTo>
                    <a:pt x="1040" y="293"/>
                  </a:lnTo>
                  <a:lnTo>
                    <a:pt x="1049" y="298"/>
                  </a:lnTo>
                  <a:lnTo>
                    <a:pt x="1060" y="302"/>
                  </a:lnTo>
                  <a:lnTo>
                    <a:pt x="1071" y="305"/>
                  </a:lnTo>
                  <a:lnTo>
                    <a:pt x="1081" y="311"/>
                  </a:lnTo>
                  <a:lnTo>
                    <a:pt x="1084" y="316"/>
                  </a:lnTo>
                  <a:lnTo>
                    <a:pt x="1085" y="322"/>
                  </a:lnTo>
                  <a:lnTo>
                    <a:pt x="1087" y="327"/>
                  </a:lnTo>
                  <a:lnTo>
                    <a:pt x="1092" y="330"/>
                  </a:lnTo>
                  <a:lnTo>
                    <a:pt x="1095" y="332"/>
                  </a:lnTo>
                  <a:lnTo>
                    <a:pt x="1098" y="334"/>
                  </a:lnTo>
                  <a:lnTo>
                    <a:pt x="1100" y="337"/>
                  </a:lnTo>
                  <a:lnTo>
                    <a:pt x="1103" y="340"/>
                  </a:lnTo>
                  <a:lnTo>
                    <a:pt x="1105" y="343"/>
                  </a:lnTo>
                  <a:lnTo>
                    <a:pt x="1107" y="345"/>
                  </a:lnTo>
                  <a:lnTo>
                    <a:pt x="1109" y="345"/>
                  </a:lnTo>
                  <a:lnTo>
                    <a:pt x="1116" y="345"/>
                  </a:lnTo>
                  <a:lnTo>
                    <a:pt x="1122" y="343"/>
                  </a:lnTo>
                  <a:lnTo>
                    <a:pt x="1128" y="341"/>
                  </a:lnTo>
                  <a:lnTo>
                    <a:pt x="1135" y="344"/>
                  </a:lnTo>
                  <a:lnTo>
                    <a:pt x="1140" y="349"/>
                  </a:lnTo>
                  <a:lnTo>
                    <a:pt x="1141" y="359"/>
                  </a:lnTo>
                  <a:lnTo>
                    <a:pt x="1138" y="368"/>
                  </a:lnTo>
                  <a:lnTo>
                    <a:pt x="1132" y="376"/>
                  </a:lnTo>
                  <a:lnTo>
                    <a:pt x="1127" y="382"/>
                  </a:lnTo>
                  <a:lnTo>
                    <a:pt x="1125" y="389"/>
                  </a:lnTo>
                  <a:lnTo>
                    <a:pt x="1122" y="394"/>
                  </a:lnTo>
                  <a:lnTo>
                    <a:pt x="1120" y="400"/>
                  </a:lnTo>
                  <a:lnTo>
                    <a:pt x="1120" y="401"/>
                  </a:lnTo>
                  <a:lnTo>
                    <a:pt x="1120" y="403"/>
                  </a:lnTo>
                  <a:lnTo>
                    <a:pt x="1119" y="405"/>
                  </a:lnTo>
                  <a:lnTo>
                    <a:pt x="1119" y="406"/>
                  </a:lnTo>
                  <a:lnTo>
                    <a:pt x="1118" y="409"/>
                  </a:lnTo>
                  <a:lnTo>
                    <a:pt x="1117" y="409"/>
                  </a:lnTo>
                  <a:lnTo>
                    <a:pt x="1116" y="409"/>
                  </a:lnTo>
                  <a:lnTo>
                    <a:pt x="1111" y="407"/>
                  </a:lnTo>
                  <a:lnTo>
                    <a:pt x="1109" y="406"/>
                  </a:lnTo>
                  <a:lnTo>
                    <a:pt x="1106" y="405"/>
                  </a:lnTo>
                  <a:lnTo>
                    <a:pt x="1104" y="405"/>
                  </a:lnTo>
                  <a:lnTo>
                    <a:pt x="1103" y="406"/>
                  </a:lnTo>
                  <a:lnTo>
                    <a:pt x="1103" y="407"/>
                  </a:lnTo>
                  <a:lnTo>
                    <a:pt x="1103" y="411"/>
                  </a:lnTo>
                  <a:lnTo>
                    <a:pt x="1103" y="415"/>
                  </a:lnTo>
                  <a:lnTo>
                    <a:pt x="1103" y="417"/>
                  </a:lnTo>
                  <a:lnTo>
                    <a:pt x="1104" y="421"/>
                  </a:lnTo>
                  <a:lnTo>
                    <a:pt x="1104" y="423"/>
                  </a:lnTo>
                  <a:lnTo>
                    <a:pt x="1104" y="425"/>
                  </a:lnTo>
                  <a:lnTo>
                    <a:pt x="1104" y="427"/>
                  </a:lnTo>
                  <a:lnTo>
                    <a:pt x="1103" y="428"/>
                  </a:lnTo>
                  <a:lnTo>
                    <a:pt x="1102" y="429"/>
                  </a:lnTo>
                  <a:lnTo>
                    <a:pt x="1099" y="431"/>
                  </a:lnTo>
                  <a:lnTo>
                    <a:pt x="1097" y="429"/>
                  </a:lnTo>
                  <a:lnTo>
                    <a:pt x="1095" y="428"/>
                  </a:lnTo>
                  <a:lnTo>
                    <a:pt x="1092" y="426"/>
                  </a:lnTo>
                  <a:lnTo>
                    <a:pt x="1085" y="423"/>
                  </a:lnTo>
                  <a:lnTo>
                    <a:pt x="1078" y="417"/>
                  </a:lnTo>
                  <a:lnTo>
                    <a:pt x="1072" y="413"/>
                  </a:lnTo>
                  <a:lnTo>
                    <a:pt x="1067" y="406"/>
                  </a:lnTo>
                  <a:lnTo>
                    <a:pt x="1067" y="400"/>
                  </a:lnTo>
                  <a:lnTo>
                    <a:pt x="1071" y="394"/>
                  </a:lnTo>
                  <a:lnTo>
                    <a:pt x="1075" y="391"/>
                  </a:lnTo>
                  <a:lnTo>
                    <a:pt x="1078" y="387"/>
                  </a:lnTo>
                  <a:lnTo>
                    <a:pt x="1078" y="382"/>
                  </a:lnTo>
                  <a:lnTo>
                    <a:pt x="1076" y="380"/>
                  </a:lnTo>
                  <a:lnTo>
                    <a:pt x="1071" y="381"/>
                  </a:lnTo>
                  <a:lnTo>
                    <a:pt x="1064" y="382"/>
                  </a:lnTo>
                  <a:lnTo>
                    <a:pt x="1058" y="383"/>
                  </a:lnTo>
                  <a:lnTo>
                    <a:pt x="1053" y="382"/>
                  </a:lnTo>
                  <a:lnTo>
                    <a:pt x="1050" y="379"/>
                  </a:lnTo>
                  <a:lnTo>
                    <a:pt x="1047" y="374"/>
                  </a:lnTo>
                  <a:lnTo>
                    <a:pt x="1043" y="371"/>
                  </a:lnTo>
                  <a:lnTo>
                    <a:pt x="1039" y="367"/>
                  </a:lnTo>
                  <a:lnTo>
                    <a:pt x="1036" y="365"/>
                  </a:lnTo>
                  <a:lnTo>
                    <a:pt x="1032" y="366"/>
                  </a:lnTo>
                  <a:lnTo>
                    <a:pt x="1031" y="370"/>
                  </a:lnTo>
                  <a:lnTo>
                    <a:pt x="1031" y="377"/>
                  </a:lnTo>
                  <a:lnTo>
                    <a:pt x="1031" y="382"/>
                  </a:lnTo>
                  <a:lnTo>
                    <a:pt x="1031" y="387"/>
                  </a:lnTo>
                  <a:lnTo>
                    <a:pt x="1029" y="388"/>
                  </a:lnTo>
                  <a:lnTo>
                    <a:pt x="1024" y="385"/>
                  </a:lnTo>
                  <a:lnTo>
                    <a:pt x="1019" y="382"/>
                  </a:lnTo>
                  <a:lnTo>
                    <a:pt x="1013" y="379"/>
                  </a:lnTo>
                  <a:lnTo>
                    <a:pt x="1009" y="378"/>
                  </a:lnTo>
                  <a:lnTo>
                    <a:pt x="1012" y="387"/>
                  </a:lnTo>
                  <a:lnTo>
                    <a:pt x="1017" y="395"/>
                  </a:lnTo>
                  <a:lnTo>
                    <a:pt x="1022" y="403"/>
                  </a:lnTo>
                  <a:lnTo>
                    <a:pt x="1031" y="409"/>
                  </a:lnTo>
                  <a:lnTo>
                    <a:pt x="1037" y="415"/>
                  </a:lnTo>
                  <a:lnTo>
                    <a:pt x="1041" y="423"/>
                  </a:lnTo>
                  <a:lnTo>
                    <a:pt x="1045" y="431"/>
                  </a:lnTo>
                  <a:lnTo>
                    <a:pt x="1051" y="437"/>
                  </a:lnTo>
                  <a:lnTo>
                    <a:pt x="1054" y="438"/>
                  </a:lnTo>
                  <a:lnTo>
                    <a:pt x="1058" y="440"/>
                  </a:lnTo>
                  <a:lnTo>
                    <a:pt x="1062" y="443"/>
                  </a:lnTo>
                  <a:lnTo>
                    <a:pt x="1065" y="446"/>
                  </a:lnTo>
                  <a:lnTo>
                    <a:pt x="1069" y="449"/>
                  </a:lnTo>
                  <a:lnTo>
                    <a:pt x="1070" y="453"/>
                  </a:lnTo>
                  <a:lnTo>
                    <a:pt x="1071" y="457"/>
                  </a:lnTo>
                  <a:lnTo>
                    <a:pt x="1072" y="461"/>
                  </a:lnTo>
                  <a:lnTo>
                    <a:pt x="1078" y="469"/>
                  </a:lnTo>
                  <a:lnTo>
                    <a:pt x="1085" y="476"/>
                  </a:lnTo>
                  <a:lnTo>
                    <a:pt x="1091" y="483"/>
                  </a:lnTo>
                  <a:lnTo>
                    <a:pt x="1094" y="494"/>
                  </a:lnTo>
                  <a:lnTo>
                    <a:pt x="1094" y="497"/>
                  </a:lnTo>
                  <a:lnTo>
                    <a:pt x="1093" y="500"/>
                  </a:lnTo>
                  <a:lnTo>
                    <a:pt x="1092" y="502"/>
                  </a:lnTo>
                  <a:lnTo>
                    <a:pt x="1091" y="505"/>
                  </a:lnTo>
                  <a:lnTo>
                    <a:pt x="1091" y="509"/>
                  </a:lnTo>
                  <a:lnTo>
                    <a:pt x="1092" y="511"/>
                  </a:lnTo>
                  <a:lnTo>
                    <a:pt x="1093" y="514"/>
                  </a:lnTo>
                  <a:lnTo>
                    <a:pt x="1093" y="519"/>
                  </a:lnTo>
                  <a:lnTo>
                    <a:pt x="1093" y="522"/>
                  </a:lnTo>
                  <a:lnTo>
                    <a:pt x="1092" y="526"/>
                  </a:lnTo>
                  <a:lnTo>
                    <a:pt x="1089" y="529"/>
                  </a:lnTo>
                  <a:lnTo>
                    <a:pt x="1082" y="531"/>
                  </a:lnTo>
                  <a:lnTo>
                    <a:pt x="1074" y="531"/>
                  </a:lnTo>
                  <a:lnTo>
                    <a:pt x="1065" y="527"/>
                  </a:lnTo>
                  <a:lnTo>
                    <a:pt x="1058" y="522"/>
                  </a:lnTo>
                  <a:lnTo>
                    <a:pt x="1053" y="515"/>
                  </a:lnTo>
                  <a:lnTo>
                    <a:pt x="1050" y="512"/>
                  </a:lnTo>
                  <a:lnTo>
                    <a:pt x="1044" y="507"/>
                  </a:lnTo>
                  <a:lnTo>
                    <a:pt x="1037" y="500"/>
                  </a:lnTo>
                  <a:lnTo>
                    <a:pt x="1028" y="493"/>
                  </a:lnTo>
                  <a:lnTo>
                    <a:pt x="1019" y="488"/>
                  </a:lnTo>
                  <a:lnTo>
                    <a:pt x="1012" y="486"/>
                  </a:lnTo>
                  <a:lnTo>
                    <a:pt x="1007" y="486"/>
                  </a:lnTo>
                  <a:lnTo>
                    <a:pt x="1009" y="496"/>
                  </a:lnTo>
                  <a:lnTo>
                    <a:pt x="1013" y="503"/>
                  </a:lnTo>
                  <a:lnTo>
                    <a:pt x="1020" y="510"/>
                  </a:lnTo>
                  <a:lnTo>
                    <a:pt x="1029" y="515"/>
                  </a:lnTo>
                  <a:lnTo>
                    <a:pt x="1040" y="524"/>
                  </a:lnTo>
                  <a:lnTo>
                    <a:pt x="1049" y="533"/>
                  </a:lnTo>
                  <a:lnTo>
                    <a:pt x="1056" y="544"/>
                  </a:lnTo>
                  <a:lnTo>
                    <a:pt x="1058" y="548"/>
                  </a:lnTo>
                  <a:lnTo>
                    <a:pt x="1059" y="552"/>
                  </a:lnTo>
                  <a:lnTo>
                    <a:pt x="1059" y="555"/>
                  </a:lnTo>
                  <a:lnTo>
                    <a:pt x="1056" y="558"/>
                  </a:lnTo>
                  <a:lnTo>
                    <a:pt x="1055" y="559"/>
                  </a:lnTo>
                  <a:lnTo>
                    <a:pt x="1050" y="560"/>
                  </a:lnTo>
                  <a:lnTo>
                    <a:pt x="1044" y="558"/>
                  </a:lnTo>
                  <a:lnTo>
                    <a:pt x="1039" y="556"/>
                  </a:lnTo>
                  <a:lnTo>
                    <a:pt x="1033" y="553"/>
                  </a:lnTo>
                  <a:lnTo>
                    <a:pt x="1026" y="551"/>
                  </a:lnTo>
                  <a:lnTo>
                    <a:pt x="1019" y="547"/>
                  </a:lnTo>
                  <a:lnTo>
                    <a:pt x="1011" y="542"/>
                  </a:lnTo>
                  <a:lnTo>
                    <a:pt x="998" y="529"/>
                  </a:lnTo>
                  <a:lnTo>
                    <a:pt x="991" y="525"/>
                  </a:lnTo>
                  <a:lnTo>
                    <a:pt x="985" y="523"/>
                  </a:lnTo>
                  <a:lnTo>
                    <a:pt x="978" y="522"/>
                  </a:lnTo>
                  <a:lnTo>
                    <a:pt x="976" y="521"/>
                  </a:lnTo>
                  <a:lnTo>
                    <a:pt x="975" y="519"/>
                  </a:lnTo>
                  <a:lnTo>
                    <a:pt x="973" y="516"/>
                  </a:lnTo>
                  <a:lnTo>
                    <a:pt x="972" y="514"/>
                  </a:lnTo>
                  <a:lnTo>
                    <a:pt x="969" y="513"/>
                  </a:lnTo>
                  <a:lnTo>
                    <a:pt x="967" y="512"/>
                  </a:lnTo>
                  <a:lnTo>
                    <a:pt x="964" y="511"/>
                  </a:lnTo>
                  <a:lnTo>
                    <a:pt x="957" y="510"/>
                  </a:lnTo>
                  <a:lnTo>
                    <a:pt x="953" y="505"/>
                  </a:lnTo>
                  <a:lnTo>
                    <a:pt x="950" y="500"/>
                  </a:lnTo>
                  <a:lnTo>
                    <a:pt x="949" y="493"/>
                  </a:lnTo>
                  <a:lnTo>
                    <a:pt x="949" y="488"/>
                  </a:lnTo>
                  <a:lnTo>
                    <a:pt x="949" y="485"/>
                  </a:lnTo>
                  <a:lnTo>
                    <a:pt x="947" y="483"/>
                  </a:lnTo>
                  <a:lnTo>
                    <a:pt x="945" y="482"/>
                  </a:lnTo>
                  <a:lnTo>
                    <a:pt x="944" y="482"/>
                  </a:lnTo>
                  <a:lnTo>
                    <a:pt x="942" y="482"/>
                  </a:lnTo>
                  <a:lnTo>
                    <a:pt x="940" y="481"/>
                  </a:lnTo>
                  <a:lnTo>
                    <a:pt x="938" y="481"/>
                  </a:lnTo>
                  <a:lnTo>
                    <a:pt x="934" y="479"/>
                  </a:lnTo>
                  <a:lnTo>
                    <a:pt x="932" y="476"/>
                  </a:lnTo>
                  <a:lnTo>
                    <a:pt x="930" y="472"/>
                  </a:lnTo>
                  <a:lnTo>
                    <a:pt x="929" y="469"/>
                  </a:lnTo>
                  <a:lnTo>
                    <a:pt x="927" y="466"/>
                  </a:lnTo>
                  <a:lnTo>
                    <a:pt x="924" y="464"/>
                  </a:lnTo>
                  <a:lnTo>
                    <a:pt x="923" y="459"/>
                  </a:lnTo>
                  <a:lnTo>
                    <a:pt x="920" y="457"/>
                  </a:lnTo>
                  <a:lnTo>
                    <a:pt x="917" y="454"/>
                  </a:lnTo>
                  <a:lnTo>
                    <a:pt x="913" y="452"/>
                  </a:lnTo>
                  <a:lnTo>
                    <a:pt x="909" y="450"/>
                  </a:lnTo>
                  <a:lnTo>
                    <a:pt x="907" y="448"/>
                  </a:lnTo>
                  <a:lnTo>
                    <a:pt x="905" y="447"/>
                  </a:lnTo>
                  <a:lnTo>
                    <a:pt x="902" y="447"/>
                  </a:lnTo>
                  <a:lnTo>
                    <a:pt x="901" y="447"/>
                  </a:lnTo>
                  <a:lnTo>
                    <a:pt x="899" y="448"/>
                  </a:lnTo>
                  <a:lnTo>
                    <a:pt x="896" y="450"/>
                  </a:lnTo>
                  <a:lnTo>
                    <a:pt x="892" y="450"/>
                  </a:lnTo>
                  <a:lnTo>
                    <a:pt x="887" y="448"/>
                  </a:lnTo>
                  <a:lnTo>
                    <a:pt x="881" y="446"/>
                  </a:lnTo>
                  <a:lnTo>
                    <a:pt x="877" y="443"/>
                  </a:lnTo>
                  <a:lnTo>
                    <a:pt x="873" y="443"/>
                  </a:lnTo>
                  <a:lnTo>
                    <a:pt x="870" y="446"/>
                  </a:lnTo>
                  <a:lnTo>
                    <a:pt x="869" y="448"/>
                  </a:lnTo>
                  <a:lnTo>
                    <a:pt x="869" y="450"/>
                  </a:lnTo>
                  <a:lnTo>
                    <a:pt x="869" y="452"/>
                  </a:lnTo>
                  <a:lnTo>
                    <a:pt x="868" y="454"/>
                  </a:lnTo>
                  <a:lnTo>
                    <a:pt x="867" y="454"/>
                  </a:lnTo>
                  <a:lnTo>
                    <a:pt x="866" y="455"/>
                  </a:lnTo>
                  <a:lnTo>
                    <a:pt x="864" y="455"/>
                  </a:lnTo>
                  <a:lnTo>
                    <a:pt x="862" y="455"/>
                  </a:lnTo>
                  <a:lnTo>
                    <a:pt x="859" y="455"/>
                  </a:lnTo>
                  <a:lnTo>
                    <a:pt x="857" y="455"/>
                  </a:lnTo>
                  <a:lnTo>
                    <a:pt x="855" y="456"/>
                  </a:lnTo>
                  <a:lnTo>
                    <a:pt x="853" y="457"/>
                  </a:lnTo>
                  <a:lnTo>
                    <a:pt x="851" y="459"/>
                  </a:lnTo>
                  <a:lnTo>
                    <a:pt x="845" y="460"/>
                  </a:lnTo>
                  <a:lnTo>
                    <a:pt x="837" y="459"/>
                  </a:lnTo>
                  <a:lnTo>
                    <a:pt x="831" y="455"/>
                  </a:lnTo>
                  <a:lnTo>
                    <a:pt x="824" y="450"/>
                  </a:lnTo>
                  <a:lnTo>
                    <a:pt x="820" y="446"/>
                  </a:lnTo>
                  <a:lnTo>
                    <a:pt x="820" y="440"/>
                  </a:lnTo>
                  <a:lnTo>
                    <a:pt x="820" y="436"/>
                  </a:lnTo>
                  <a:lnTo>
                    <a:pt x="821" y="432"/>
                  </a:lnTo>
                  <a:lnTo>
                    <a:pt x="822" y="428"/>
                  </a:lnTo>
                  <a:lnTo>
                    <a:pt x="824" y="422"/>
                  </a:lnTo>
                  <a:lnTo>
                    <a:pt x="826" y="416"/>
                  </a:lnTo>
                  <a:lnTo>
                    <a:pt x="829" y="411"/>
                  </a:lnTo>
                  <a:lnTo>
                    <a:pt x="833" y="405"/>
                  </a:lnTo>
                  <a:lnTo>
                    <a:pt x="837" y="404"/>
                  </a:lnTo>
                  <a:lnTo>
                    <a:pt x="844" y="404"/>
                  </a:lnTo>
                  <a:lnTo>
                    <a:pt x="851" y="406"/>
                  </a:lnTo>
                  <a:lnTo>
                    <a:pt x="857" y="409"/>
                  </a:lnTo>
                  <a:lnTo>
                    <a:pt x="867" y="410"/>
                  </a:lnTo>
                  <a:lnTo>
                    <a:pt x="879" y="410"/>
                  </a:lnTo>
                  <a:lnTo>
                    <a:pt x="891" y="407"/>
                  </a:lnTo>
                  <a:lnTo>
                    <a:pt x="900" y="404"/>
                  </a:lnTo>
                  <a:lnTo>
                    <a:pt x="902" y="403"/>
                  </a:lnTo>
                  <a:lnTo>
                    <a:pt x="905" y="401"/>
                  </a:lnTo>
                  <a:lnTo>
                    <a:pt x="905" y="399"/>
                  </a:lnTo>
                  <a:lnTo>
                    <a:pt x="905" y="395"/>
                  </a:lnTo>
                  <a:lnTo>
                    <a:pt x="905" y="393"/>
                  </a:lnTo>
                  <a:lnTo>
                    <a:pt x="905" y="390"/>
                  </a:lnTo>
                  <a:lnTo>
                    <a:pt x="903" y="388"/>
                  </a:lnTo>
                  <a:lnTo>
                    <a:pt x="901" y="384"/>
                  </a:lnTo>
                  <a:lnTo>
                    <a:pt x="899" y="382"/>
                  </a:lnTo>
                  <a:lnTo>
                    <a:pt x="896" y="380"/>
                  </a:lnTo>
                  <a:lnTo>
                    <a:pt x="893" y="376"/>
                  </a:lnTo>
                  <a:lnTo>
                    <a:pt x="895" y="371"/>
                  </a:lnTo>
                  <a:lnTo>
                    <a:pt x="899" y="366"/>
                  </a:lnTo>
                  <a:lnTo>
                    <a:pt x="903" y="361"/>
                  </a:lnTo>
                  <a:lnTo>
                    <a:pt x="907" y="358"/>
                  </a:lnTo>
                  <a:lnTo>
                    <a:pt x="914" y="355"/>
                  </a:lnTo>
                  <a:lnTo>
                    <a:pt x="922" y="356"/>
                  </a:lnTo>
                  <a:lnTo>
                    <a:pt x="929" y="356"/>
                  </a:lnTo>
                  <a:lnTo>
                    <a:pt x="933" y="356"/>
                  </a:lnTo>
                  <a:lnTo>
                    <a:pt x="936" y="357"/>
                  </a:lnTo>
                  <a:lnTo>
                    <a:pt x="940" y="357"/>
                  </a:lnTo>
                  <a:lnTo>
                    <a:pt x="943" y="358"/>
                  </a:lnTo>
                  <a:lnTo>
                    <a:pt x="946" y="360"/>
                  </a:lnTo>
                  <a:lnTo>
                    <a:pt x="949" y="365"/>
                  </a:lnTo>
                  <a:lnTo>
                    <a:pt x="951" y="371"/>
                  </a:lnTo>
                  <a:lnTo>
                    <a:pt x="954" y="378"/>
                  </a:lnTo>
                  <a:lnTo>
                    <a:pt x="957" y="383"/>
                  </a:lnTo>
                  <a:lnTo>
                    <a:pt x="962" y="384"/>
                  </a:lnTo>
                  <a:lnTo>
                    <a:pt x="967" y="382"/>
                  </a:lnTo>
                  <a:lnTo>
                    <a:pt x="974" y="379"/>
                  </a:lnTo>
                  <a:lnTo>
                    <a:pt x="982" y="373"/>
                  </a:lnTo>
                  <a:lnTo>
                    <a:pt x="986" y="368"/>
                  </a:lnTo>
                  <a:lnTo>
                    <a:pt x="987" y="362"/>
                  </a:lnTo>
                  <a:lnTo>
                    <a:pt x="986" y="360"/>
                  </a:lnTo>
                  <a:lnTo>
                    <a:pt x="984" y="358"/>
                  </a:lnTo>
                  <a:lnTo>
                    <a:pt x="980" y="356"/>
                  </a:lnTo>
                  <a:lnTo>
                    <a:pt x="978" y="354"/>
                  </a:lnTo>
                  <a:lnTo>
                    <a:pt x="977" y="349"/>
                  </a:lnTo>
                  <a:lnTo>
                    <a:pt x="976" y="348"/>
                  </a:lnTo>
                  <a:lnTo>
                    <a:pt x="974" y="346"/>
                  </a:lnTo>
                  <a:lnTo>
                    <a:pt x="973" y="345"/>
                  </a:lnTo>
                  <a:lnTo>
                    <a:pt x="971" y="343"/>
                  </a:lnTo>
                  <a:lnTo>
                    <a:pt x="968" y="341"/>
                  </a:lnTo>
                  <a:lnTo>
                    <a:pt x="966" y="340"/>
                  </a:lnTo>
                  <a:lnTo>
                    <a:pt x="963" y="340"/>
                  </a:lnTo>
                  <a:lnTo>
                    <a:pt x="961" y="339"/>
                  </a:lnTo>
                  <a:lnTo>
                    <a:pt x="957" y="339"/>
                  </a:lnTo>
                  <a:lnTo>
                    <a:pt x="954" y="340"/>
                  </a:lnTo>
                  <a:lnTo>
                    <a:pt x="952" y="341"/>
                  </a:lnTo>
                  <a:lnTo>
                    <a:pt x="951" y="343"/>
                  </a:lnTo>
                  <a:lnTo>
                    <a:pt x="949" y="346"/>
                  </a:lnTo>
                  <a:lnTo>
                    <a:pt x="947" y="347"/>
                  </a:lnTo>
                  <a:lnTo>
                    <a:pt x="946" y="349"/>
                  </a:lnTo>
                  <a:lnTo>
                    <a:pt x="945" y="350"/>
                  </a:lnTo>
                  <a:lnTo>
                    <a:pt x="942" y="351"/>
                  </a:lnTo>
                  <a:lnTo>
                    <a:pt x="938" y="352"/>
                  </a:lnTo>
                  <a:lnTo>
                    <a:pt x="932" y="352"/>
                  </a:lnTo>
                  <a:lnTo>
                    <a:pt x="927" y="354"/>
                  </a:lnTo>
                  <a:lnTo>
                    <a:pt x="921" y="352"/>
                  </a:lnTo>
                  <a:lnTo>
                    <a:pt x="918" y="349"/>
                  </a:lnTo>
                  <a:lnTo>
                    <a:pt x="918" y="343"/>
                  </a:lnTo>
                  <a:lnTo>
                    <a:pt x="921" y="335"/>
                  </a:lnTo>
                  <a:lnTo>
                    <a:pt x="924" y="328"/>
                  </a:lnTo>
                  <a:lnTo>
                    <a:pt x="925" y="318"/>
                  </a:lnTo>
                  <a:lnTo>
                    <a:pt x="924" y="308"/>
                  </a:lnTo>
                  <a:lnTo>
                    <a:pt x="922" y="300"/>
                  </a:lnTo>
                  <a:lnTo>
                    <a:pt x="921" y="295"/>
                  </a:lnTo>
                  <a:lnTo>
                    <a:pt x="918" y="292"/>
                  </a:lnTo>
                  <a:lnTo>
                    <a:pt x="916" y="290"/>
                  </a:lnTo>
                  <a:lnTo>
                    <a:pt x="912" y="286"/>
                  </a:lnTo>
                  <a:lnTo>
                    <a:pt x="909" y="284"/>
                  </a:lnTo>
                  <a:lnTo>
                    <a:pt x="907" y="281"/>
                  </a:lnTo>
                  <a:lnTo>
                    <a:pt x="903" y="278"/>
                  </a:lnTo>
                  <a:lnTo>
                    <a:pt x="900" y="275"/>
                  </a:lnTo>
                  <a:lnTo>
                    <a:pt x="897" y="272"/>
                  </a:lnTo>
                  <a:lnTo>
                    <a:pt x="895" y="269"/>
                  </a:lnTo>
                  <a:lnTo>
                    <a:pt x="891" y="263"/>
                  </a:lnTo>
                  <a:lnTo>
                    <a:pt x="887" y="258"/>
                  </a:lnTo>
                  <a:lnTo>
                    <a:pt x="881" y="253"/>
                  </a:lnTo>
                  <a:lnTo>
                    <a:pt x="875" y="253"/>
                  </a:lnTo>
                  <a:lnTo>
                    <a:pt x="871" y="254"/>
                  </a:lnTo>
                  <a:lnTo>
                    <a:pt x="869" y="256"/>
                  </a:lnTo>
                  <a:lnTo>
                    <a:pt x="867" y="257"/>
                  </a:lnTo>
                  <a:lnTo>
                    <a:pt x="865" y="258"/>
                  </a:lnTo>
                  <a:lnTo>
                    <a:pt x="863" y="258"/>
                  </a:lnTo>
                  <a:lnTo>
                    <a:pt x="859" y="258"/>
                  </a:lnTo>
                  <a:lnTo>
                    <a:pt x="857" y="258"/>
                  </a:lnTo>
                  <a:lnTo>
                    <a:pt x="854" y="257"/>
                  </a:lnTo>
                  <a:lnTo>
                    <a:pt x="852" y="256"/>
                  </a:lnTo>
                  <a:lnTo>
                    <a:pt x="849" y="253"/>
                  </a:lnTo>
                  <a:lnTo>
                    <a:pt x="848" y="252"/>
                  </a:lnTo>
                  <a:lnTo>
                    <a:pt x="847" y="250"/>
                  </a:lnTo>
                  <a:lnTo>
                    <a:pt x="848" y="249"/>
                  </a:lnTo>
                  <a:lnTo>
                    <a:pt x="851" y="247"/>
                  </a:lnTo>
                  <a:lnTo>
                    <a:pt x="852" y="246"/>
                  </a:lnTo>
                  <a:lnTo>
                    <a:pt x="854" y="246"/>
                  </a:lnTo>
                  <a:lnTo>
                    <a:pt x="856" y="246"/>
                  </a:lnTo>
                  <a:lnTo>
                    <a:pt x="858" y="245"/>
                  </a:lnTo>
                  <a:lnTo>
                    <a:pt x="860" y="245"/>
                  </a:lnTo>
                  <a:lnTo>
                    <a:pt x="862" y="242"/>
                  </a:lnTo>
                  <a:lnTo>
                    <a:pt x="863" y="240"/>
                  </a:lnTo>
                  <a:lnTo>
                    <a:pt x="863" y="238"/>
                  </a:lnTo>
                  <a:lnTo>
                    <a:pt x="862" y="236"/>
                  </a:lnTo>
                  <a:lnTo>
                    <a:pt x="859" y="234"/>
                  </a:lnTo>
                  <a:lnTo>
                    <a:pt x="857" y="231"/>
                  </a:lnTo>
                  <a:lnTo>
                    <a:pt x="854" y="230"/>
                  </a:lnTo>
                  <a:lnTo>
                    <a:pt x="852" y="229"/>
                  </a:lnTo>
                  <a:lnTo>
                    <a:pt x="849" y="230"/>
                  </a:lnTo>
                  <a:lnTo>
                    <a:pt x="848" y="231"/>
                  </a:lnTo>
                  <a:lnTo>
                    <a:pt x="846" y="232"/>
                  </a:lnTo>
                  <a:lnTo>
                    <a:pt x="844" y="234"/>
                  </a:lnTo>
                  <a:lnTo>
                    <a:pt x="843" y="234"/>
                  </a:lnTo>
                  <a:lnTo>
                    <a:pt x="841" y="232"/>
                  </a:lnTo>
                  <a:lnTo>
                    <a:pt x="838" y="231"/>
                  </a:lnTo>
                  <a:lnTo>
                    <a:pt x="836" y="229"/>
                  </a:lnTo>
                  <a:lnTo>
                    <a:pt x="835" y="227"/>
                  </a:lnTo>
                  <a:lnTo>
                    <a:pt x="835" y="225"/>
                  </a:lnTo>
                  <a:lnTo>
                    <a:pt x="836" y="224"/>
                  </a:lnTo>
                  <a:lnTo>
                    <a:pt x="837" y="223"/>
                  </a:lnTo>
                  <a:lnTo>
                    <a:pt x="838" y="220"/>
                  </a:lnTo>
                  <a:lnTo>
                    <a:pt x="841" y="218"/>
                  </a:lnTo>
                  <a:lnTo>
                    <a:pt x="842" y="217"/>
                  </a:lnTo>
                  <a:lnTo>
                    <a:pt x="842" y="215"/>
                  </a:lnTo>
                  <a:lnTo>
                    <a:pt x="842" y="214"/>
                  </a:lnTo>
                  <a:lnTo>
                    <a:pt x="841" y="213"/>
                  </a:lnTo>
                  <a:lnTo>
                    <a:pt x="838" y="213"/>
                  </a:lnTo>
                  <a:lnTo>
                    <a:pt x="836" y="213"/>
                  </a:lnTo>
                  <a:lnTo>
                    <a:pt x="835" y="213"/>
                  </a:lnTo>
                  <a:lnTo>
                    <a:pt x="833" y="212"/>
                  </a:lnTo>
                  <a:lnTo>
                    <a:pt x="831" y="212"/>
                  </a:lnTo>
                  <a:lnTo>
                    <a:pt x="829" y="210"/>
                  </a:lnTo>
                  <a:lnTo>
                    <a:pt x="826" y="210"/>
                  </a:lnTo>
                  <a:lnTo>
                    <a:pt x="824" y="209"/>
                  </a:lnTo>
                  <a:lnTo>
                    <a:pt x="822" y="207"/>
                  </a:lnTo>
                  <a:lnTo>
                    <a:pt x="821" y="205"/>
                  </a:lnTo>
                  <a:lnTo>
                    <a:pt x="821" y="203"/>
                  </a:lnTo>
                  <a:lnTo>
                    <a:pt x="822" y="200"/>
                  </a:lnTo>
                  <a:lnTo>
                    <a:pt x="822" y="197"/>
                  </a:lnTo>
                  <a:lnTo>
                    <a:pt x="822" y="194"/>
                  </a:lnTo>
                  <a:lnTo>
                    <a:pt x="822" y="192"/>
                  </a:lnTo>
                  <a:lnTo>
                    <a:pt x="821" y="187"/>
                  </a:lnTo>
                  <a:lnTo>
                    <a:pt x="819" y="184"/>
                  </a:lnTo>
                  <a:lnTo>
                    <a:pt x="818" y="181"/>
                  </a:lnTo>
                  <a:lnTo>
                    <a:pt x="815" y="178"/>
                  </a:lnTo>
                  <a:lnTo>
                    <a:pt x="811" y="174"/>
                  </a:lnTo>
                  <a:lnTo>
                    <a:pt x="804" y="172"/>
                  </a:lnTo>
                  <a:lnTo>
                    <a:pt x="797" y="172"/>
                  </a:lnTo>
                  <a:lnTo>
                    <a:pt x="790" y="174"/>
                  </a:lnTo>
                  <a:lnTo>
                    <a:pt x="790" y="175"/>
                  </a:lnTo>
                  <a:lnTo>
                    <a:pt x="791" y="177"/>
                  </a:lnTo>
                  <a:lnTo>
                    <a:pt x="793" y="180"/>
                  </a:lnTo>
                  <a:lnTo>
                    <a:pt x="796" y="182"/>
                  </a:lnTo>
                  <a:lnTo>
                    <a:pt x="798" y="184"/>
                  </a:lnTo>
                  <a:lnTo>
                    <a:pt x="800" y="186"/>
                  </a:lnTo>
                  <a:lnTo>
                    <a:pt x="802" y="188"/>
                  </a:lnTo>
                  <a:lnTo>
                    <a:pt x="804" y="189"/>
                  </a:lnTo>
                  <a:lnTo>
                    <a:pt x="805" y="189"/>
                  </a:lnTo>
                  <a:lnTo>
                    <a:pt x="807" y="193"/>
                  </a:lnTo>
                  <a:lnTo>
                    <a:pt x="807" y="196"/>
                  </a:lnTo>
                  <a:lnTo>
                    <a:pt x="805" y="198"/>
                  </a:lnTo>
                  <a:lnTo>
                    <a:pt x="804" y="199"/>
                  </a:lnTo>
                  <a:lnTo>
                    <a:pt x="802" y="202"/>
                  </a:lnTo>
                  <a:lnTo>
                    <a:pt x="799" y="202"/>
                  </a:lnTo>
                  <a:lnTo>
                    <a:pt x="796" y="203"/>
                  </a:lnTo>
                  <a:lnTo>
                    <a:pt x="793" y="203"/>
                  </a:lnTo>
                  <a:lnTo>
                    <a:pt x="790" y="203"/>
                  </a:lnTo>
                  <a:lnTo>
                    <a:pt x="777" y="199"/>
                  </a:lnTo>
                  <a:lnTo>
                    <a:pt x="764" y="196"/>
                  </a:lnTo>
                  <a:lnTo>
                    <a:pt x="760" y="197"/>
                  </a:lnTo>
                  <a:lnTo>
                    <a:pt x="758" y="199"/>
                  </a:lnTo>
                  <a:lnTo>
                    <a:pt x="756" y="200"/>
                  </a:lnTo>
                  <a:lnTo>
                    <a:pt x="754" y="202"/>
                  </a:lnTo>
                  <a:lnTo>
                    <a:pt x="750" y="203"/>
                  </a:lnTo>
                  <a:lnTo>
                    <a:pt x="746" y="203"/>
                  </a:lnTo>
                  <a:lnTo>
                    <a:pt x="732" y="202"/>
                  </a:lnTo>
                  <a:lnTo>
                    <a:pt x="716" y="200"/>
                  </a:lnTo>
                  <a:lnTo>
                    <a:pt x="694" y="200"/>
                  </a:lnTo>
                  <a:lnTo>
                    <a:pt x="681" y="199"/>
                  </a:lnTo>
                  <a:lnTo>
                    <a:pt x="669" y="195"/>
                  </a:lnTo>
                  <a:lnTo>
                    <a:pt x="657" y="192"/>
                  </a:lnTo>
                  <a:lnTo>
                    <a:pt x="649" y="192"/>
                  </a:lnTo>
                  <a:lnTo>
                    <a:pt x="640" y="191"/>
                  </a:lnTo>
                  <a:lnTo>
                    <a:pt x="634" y="187"/>
                  </a:lnTo>
                  <a:lnTo>
                    <a:pt x="629" y="184"/>
                  </a:lnTo>
                  <a:lnTo>
                    <a:pt x="625" y="180"/>
                  </a:lnTo>
                  <a:lnTo>
                    <a:pt x="620" y="176"/>
                  </a:lnTo>
                  <a:lnTo>
                    <a:pt x="616" y="172"/>
                  </a:lnTo>
                  <a:lnTo>
                    <a:pt x="614" y="171"/>
                  </a:lnTo>
                  <a:lnTo>
                    <a:pt x="611" y="169"/>
                  </a:lnTo>
                  <a:lnTo>
                    <a:pt x="608" y="166"/>
                  </a:lnTo>
                  <a:lnTo>
                    <a:pt x="605" y="164"/>
                  </a:lnTo>
                  <a:lnTo>
                    <a:pt x="604" y="162"/>
                  </a:lnTo>
                  <a:lnTo>
                    <a:pt x="603" y="160"/>
                  </a:lnTo>
                  <a:lnTo>
                    <a:pt x="603" y="156"/>
                  </a:lnTo>
                  <a:lnTo>
                    <a:pt x="604" y="153"/>
                  </a:lnTo>
                  <a:lnTo>
                    <a:pt x="605" y="152"/>
                  </a:lnTo>
                  <a:lnTo>
                    <a:pt x="606" y="150"/>
                  </a:lnTo>
                  <a:lnTo>
                    <a:pt x="608" y="150"/>
                  </a:lnTo>
                  <a:lnTo>
                    <a:pt x="612" y="151"/>
                  </a:lnTo>
                  <a:lnTo>
                    <a:pt x="618" y="152"/>
                  </a:lnTo>
                  <a:lnTo>
                    <a:pt x="626" y="154"/>
                  </a:lnTo>
                  <a:lnTo>
                    <a:pt x="634" y="155"/>
                  </a:lnTo>
                  <a:lnTo>
                    <a:pt x="635" y="154"/>
                  </a:lnTo>
                  <a:lnTo>
                    <a:pt x="635" y="154"/>
                  </a:lnTo>
                  <a:lnTo>
                    <a:pt x="634" y="153"/>
                  </a:lnTo>
                  <a:lnTo>
                    <a:pt x="633" y="151"/>
                  </a:lnTo>
                  <a:lnTo>
                    <a:pt x="631" y="150"/>
                  </a:lnTo>
                  <a:lnTo>
                    <a:pt x="629" y="149"/>
                  </a:lnTo>
                  <a:lnTo>
                    <a:pt x="628" y="148"/>
                  </a:lnTo>
                  <a:lnTo>
                    <a:pt x="627" y="147"/>
                  </a:lnTo>
                  <a:lnTo>
                    <a:pt x="618" y="143"/>
                  </a:lnTo>
                  <a:lnTo>
                    <a:pt x="608" y="141"/>
                  </a:lnTo>
                  <a:lnTo>
                    <a:pt x="598" y="138"/>
                  </a:lnTo>
                  <a:lnTo>
                    <a:pt x="592" y="133"/>
                  </a:lnTo>
                  <a:lnTo>
                    <a:pt x="591" y="128"/>
                  </a:lnTo>
                  <a:lnTo>
                    <a:pt x="592" y="120"/>
                  </a:lnTo>
                  <a:lnTo>
                    <a:pt x="592" y="114"/>
                  </a:lnTo>
                  <a:lnTo>
                    <a:pt x="592" y="96"/>
                  </a:lnTo>
                  <a:lnTo>
                    <a:pt x="596" y="82"/>
                  </a:lnTo>
                  <a:lnTo>
                    <a:pt x="603" y="67"/>
                  </a:lnTo>
                  <a:lnTo>
                    <a:pt x="609" y="54"/>
                  </a:lnTo>
                  <a:lnTo>
                    <a:pt x="613" y="51"/>
                  </a:lnTo>
                  <a:lnTo>
                    <a:pt x="615" y="46"/>
                  </a:lnTo>
                  <a:lnTo>
                    <a:pt x="617" y="43"/>
                  </a:lnTo>
                  <a:lnTo>
                    <a:pt x="620" y="39"/>
                  </a:lnTo>
                  <a:lnTo>
                    <a:pt x="625" y="36"/>
                  </a:lnTo>
                  <a:lnTo>
                    <a:pt x="630" y="34"/>
                  </a:lnTo>
                  <a:lnTo>
                    <a:pt x="634" y="32"/>
                  </a:lnTo>
                  <a:lnTo>
                    <a:pt x="638" y="30"/>
                  </a:lnTo>
                  <a:lnTo>
                    <a:pt x="650" y="23"/>
                  </a:lnTo>
                  <a:lnTo>
                    <a:pt x="665" y="19"/>
                  </a:lnTo>
                  <a:lnTo>
                    <a:pt x="679" y="17"/>
                  </a:lnTo>
                  <a:close/>
                  <a:moveTo>
                    <a:pt x="2227" y="17"/>
                  </a:moveTo>
                  <a:lnTo>
                    <a:pt x="2228" y="18"/>
                  </a:lnTo>
                  <a:lnTo>
                    <a:pt x="2230" y="20"/>
                  </a:lnTo>
                  <a:lnTo>
                    <a:pt x="2231" y="24"/>
                  </a:lnTo>
                  <a:lnTo>
                    <a:pt x="2232" y="28"/>
                  </a:lnTo>
                  <a:lnTo>
                    <a:pt x="2232" y="31"/>
                  </a:lnTo>
                  <a:lnTo>
                    <a:pt x="2233" y="33"/>
                  </a:lnTo>
                  <a:lnTo>
                    <a:pt x="2233" y="35"/>
                  </a:lnTo>
                  <a:lnTo>
                    <a:pt x="2235" y="39"/>
                  </a:lnTo>
                  <a:lnTo>
                    <a:pt x="2237" y="42"/>
                  </a:lnTo>
                  <a:lnTo>
                    <a:pt x="2238" y="45"/>
                  </a:lnTo>
                  <a:lnTo>
                    <a:pt x="2238" y="47"/>
                  </a:lnTo>
                  <a:lnTo>
                    <a:pt x="2238" y="49"/>
                  </a:lnTo>
                  <a:lnTo>
                    <a:pt x="2238" y="49"/>
                  </a:lnTo>
                  <a:lnTo>
                    <a:pt x="2237" y="49"/>
                  </a:lnTo>
                  <a:lnTo>
                    <a:pt x="2237" y="47"/>
                  </a:lnTo>
                  <a:lnTo>
                    <a:pt x="2235" y="46"/>
                  </a:lnTo>
                  <a:lnTo>
                    <a:pt x="2234" y="46"/>
                  </a:lnTo>
                  <a:lnTo>
                    <a:pt x="2233" y="46"/>
                  </a:lnTo>
                  <a:lnTo>
                    <a:pt x="2233" y="46"/>
                  </a:lnTo>
                  <a:lnTo>
                    <a:pt x="2233" y="47"/>
                  </a:lnTo>
                  <a:lnTo>
                    <a:pt x="2233" y="54"/>
                  </a:lnTo>
                  <a:lnTo>
                    <a:pt x="2232" y="54"/>
                  </a:lnTo>
                  <a:lnTo>
                    <a:pt x="2231" y="53"/>
                  </a:lnTo>
                  <a:lnTo>
                    <a:pt x="2231" y="52"/>
                  </a:lnTo>
                  <a:lnTo>
                    <a:pt x="2230" y="52"/>
                  </a:lnTo>
                  <a:lnTo>
                    <a:pt x="2229" y="50"/>
                  </a:lnTo>
                  <a:lnTo>
                    <a:pt x="2228" y="47"/>
                  </a:lnTo>
                  <a:lnTo>
                    <a:pt x="2227" y="46"/>
                  </a:lnTo>
                  <a:lnTo>
                    <a:pt x="2227" y="45"/>
                  </a:lnTo>
                  <a:lnTo>
                    <a:pt x="2226" y="43"/>
                  </a:lnTo>
                  <a:lnTo>
                    <a:pt x="2224" y="42"/>
                  </a:lnTo>
                  <a:lnTo>
                    <a:pt x="2223" y="41"/>
                  </a:lnTo>
                  <a:lnTo>
                    <a:pt x="2223" y="40"/>
                  </a:lnTo>
                  <a:lnTo>
                    <a:pt x="2223" y="39"/>
                  </a:lnTo>
                  <a:lnTo>
                    <a:pt x="2223" y="38"/>
                  </a:lnTo>
                  <a:lnTo>
                    <a:pt x="2223" y="36"/>
                  </a:lnTo>
                  <a:lnTo>
                    <a:pt x="2223" y="34"/>
                  </a:lnTo>
                  <a:lnTo>
                    <a:pt x="2223" y="32"/>
                  </a:lnTo>
                  <a:lnTo>
                    <a:pt x="2222" y="30"/>
                  </a:lnTo>
                  <a:lnTo>
                    <a:pt x="2221" y="28"/>
                  </a:lnTo>
                  <a:lnTo>
                    <a:pt x="2221" y="27"/>
                  </a:lnTo>
                  <a:lnTo>
                    <a:pt x="2222" y="25"/>
                  </a:lnTo>
                  <a:lnTo>
                    <a:pt x="2222" y="23"/>
                  </a:lnTo>
                  <a:lnTo>
                    <a:pt x="2223" y="22"/>
                  </a:lnTo>
                  <a:lnTo>
                    <a:pt x="2224" y="20"/>
                  </a:lnTo>
                  <a:lnTo>
                    <a:pt x="2224" y="18"/>
                  </a:lnTo>
                  <a:lnTo>
                    <a:pt x="2226" y="17"/>
                  </a:lnTo>
                  <a:lnTo>
                    <a:pt x="2227" y="17"/>
                  </a:lnTo>
                  <a:close/>
                  <a:moveTo>
                    <a:pt x="1659" y="12"/>
                  </a:moveTo>
                  <a:lnTo>
                    <a:pt x="1661" y="12"/>
                  </a:lnTo>
                  <a:lnTo>
                    <a:pt x="1663" y="14"/>
                  </a:lnTo>
                  <a:lnTo>
                    <a:pt x="1665" y="18"/>
                  </a:lnTo>
                  <a:lnTo>
                    <a:pt x="1666" y="21"/>
                  </a:lnTo>
                  <a:lnTo>
                    <a:pt x="1667" y="24"/>
                  </a:lnTo>
                  <a:lnTo>
                    <a:pt x="1669" y="27"/>
                  </a:lnTo>
                  <a:lnTo>
                    <a:pt x="1670" y="30"/>
                  </a:lnTo>
                  <a:lnTo>
                    <a:pt x="1672" y="34"/>
                  </a:lnTo>
                  <a:lnTo>
                    <a:pt x="1674" y="39"/>
                  </a:lnTo>
                  <a:lnTo>
                    <a:pt x="1674" y="43"/>
                  </a:lnTo>
                  <a:lnTo>
                    <a:pt x="1674" y="44"/>
                  </a:lnTo>
                  <a:lnTo>
                    <a:pt x="1674" y="46"/>
                  </a:lnTo>
                  <a:lnTo>
                    <a:pt x="1673" y="47"/>
                  </a:lnTo>
                  <a:lnTo>
                    <a:pt x="1673" y="49"/>
                  </a:lnTo>
                  <a:lnTo>
                    <a:pt x="1672" y="49"/>
                  </a:lnTo>
                  <a:lnTo>
                    <a:pt x="1671" y="49"/>
                  </a:lnTo>
                  <a:lnTo>
                    <a:pt x="1670" y="45"/>
                  </a:lnTo>
                  <a:lnTo>
                    <a:pt x="1665" y="36"/>
                  </a:lnTo>
                  <a:lnTo>
                    <a:pt x="1660" y="28"/>
                  </a:lnTo>
                  <a:lnTo>
                    <a:pt x="1655" y="19"/>
                  </a:lnTo>
                  <a:lnTo>
                    <a:pt x="1655" y="17"/>
                  </a:lnTo>
                  <a:lnTo>
                    <a:pt x="1656" y="16"/>
                  </a:lnTo>
                  <a:lnTo>
                    <a:pt x="1656" y="13"/>
                  </a:lnTo>
                  <a:lnTo>
                    <a:pt x="1656" y="12"/>
                  </a:lnTo>
                  <a:lnTo>
                    <a:pt x="1658" y="12"/>
                  </a:lnTo>
                  <a:lnTo>
                    <a:pt x="1659" y="12"/>
                  </a:lnTo>
                  <a:close/>
                  <a:moveTo>
                    <a:pt x="537" y="10"/>
                  </a:moveTo>
                  <a:lnTo>
                    <a:pt x="548" y="12"/>
                  </a:lnTo>
                  <a:lnTo>
                    <a:pt x="551" y="12"/>
                  </a:lnTo>
                  <a:lnTo>
                    <a:pt x="554" y="13"/>
                  </a:lnTo>
                  <a:lnTo>
                    <a:pt x="557" y="13"/>
                  </a:lnTo>
                  <a:lnTo>
                    <a:pt x="560" y="14"/>
                  </a:lnTo>
                  <a:lnTo>
                    <a:pt x="563" y="14"/>
                  </a:lnTo>
                  <a:lnTo>
                    <a:pt x="580" y="14"/>
                  </a:lnTo>
                  <a:lnTo>
                    <a:pt x="585" y="13"/>
                  </a:lnTo>
                  <a:lnTo>
                    <a:pt x="592" y="14"/>
                  </a:lnTo>
                  <a:lnTo>
                    <a:pt x="597" y="17"/>
                  </a:lnTo>
                  <a:lnTo>
                    <a:pt x="600" y="21"/>
                  </a:lnTo>
                  <a:lnTo>
                    <a:pt x="596" y="27"/>
                  </a:lnTo>
                  <a:lnTo>
                    <a:pt x="590" y="31"/>
                  </a:lnTo>
                  <a:lnTo>
                    <a:pt x="582" y="33"/>
                  </a:lnTo>
                  <a:lnTo>
                    <a:pt x="579" y="34"/>
                  </a:lnTo>
                  <a:lnTo>
                    <a:pt x="578" y="35"/>
                  </a:lnTo>
                  <a:lnTo>
                    <a:pt x="576" y="35"/>
                  </a:lnTo>
                  <a:lnTo>
                    <a:pt x="576" y="36"/>
                  </a:lnTo>
                  <a:lnTo>
                    <a:pt x="576" y="38"/>
                  </a:lnTo>
                  <a:lnTo>
                    <a:pt x="576" y="40"/>
                  </a:lnTo>
                  <a:lnTo>
                    <a:pt x="576" y="42"/>
                  </a:lnTo>
                  <a:lnTo>
                    <a:pt x="575" y="44"/>
                  </a:lnTo>
                  <a:lnTo>
                    <a:pt x="574" y="46"/>
                  </a:lnTo>
                  <a:lnTo>
                    <a:pt x="573" y="47"/>
                  </a:lnTo>
                  <a:lnTo>
                    <a:pt x="572" y="51"/>
                  </a:lnTo>
                  <a:lnTo>
                    <a:pt x="569" y="53"/>
                  </a:lnTo>
                  <a:lnTo>
                    <a:pt x="567" y="55"/>
                  </a:lnTo>
                  <a:lnTo>
                    <a:pt x="563" y="58"/>
                  </a:lnTo>
                  <a:lnTo>
                    <a:pt x="561" y="61"/>
                  </a:lnTo>
                  <a:lnTo>
                    <a:pt x="560" y="64"/>
                  </a:lnTo>
                  <a:lnTo>
                    <a:pt x="559" y="67"/>
                  </a:lnTo>
                  <a:lnTo>
                    <a:pt x="558" y="69"/>
                  </a:lnTo>
                  <a:lnTo>
                    <a:pt x="557" y="72"/>
                  </a:lnTo>
                  <a:lnTo>
                    <a:pt x="552" y="75"/>
                  </a:lnTo>
                  <a:lnTo>
                    <a:pt x="547" y="75"/>
                  </a:lnTo>
                  <a:lnTo>
                    <a:pt x="540" y="73"/>
                  </a:lnTo>
                  <a:lnTo>
                    <a:pt x="534" y="71"/>
                  </a:lnTo>
                  <a:lnTo>
                    <a:pt x="528" y="69"/>
                  </a:lnTo>
                  <a:lnTo>
                    <a:pt x="526" y="69"/>
                  </a:lnTo>
                  <a:lnTo>
                    <a:pt x="525" y="71"/>
                  </a:lnTo>
                  <a:lnTo>
                    <a:pt x="525" y="72"/>
                  </a:lnTo>
                  <a:lnTo>
                    <a:pt x="525" y="73"/>
                  </a:lnTo>
                  <a:lnTo>
                    <a:pt x="526" y="74"/>
                  </a:lnTo>
                  <a:lnTo>
                    <a:pt x="527" y="75"/>
                  </a:lnTo>
                  <a:lnTo>
                    <a:pt x="528" y="76"/>
                  </a:lnTo>
                  <a:lnTo>
                    <a:pt x="529" y="77"/>
                  </a:lnTo>
                  <a:lnTo>
                    <a:pt x="530" y="78"/>
                  </a:lnTo>
                  <a:lnTo>
                    <a:pt x="532" y="84"/>
                  </a:lnTo>
                  <a:lnTo>
                    <a:pt x="531" y="92"/>
                  </a:lnTo>
                  <a:lnTo>
                    <a:pt x="526" y="97"/>
                  </a:lnTo>
                  <a:lnTo>
                    <a:pt x="519" y="103"/>
                  </a:lnTo>
                  <a:lnTo>
                    <a:pt x="511" y="107"/>
                  </a:lnTo>
                  <a:lnTo>
                    <a:pt x="504" y="110"/>
                  </a:lnTo>
                  <a:lnTo>
                    <a:pt x="500" y="109"/>
                  </a:lnTo>
                  <a:lnTo>
                    <a:pt x="498" y="108"/>
                  </a:lnTo>
                  <a:lnTo>
                    <a:pt x="496" y="106"/>
                  </a:lnTo>
                  <a:lnTo>
                    <a:pt x="494" y="103"/>
                  </a:lnTo>
                  <a:lnTo>
                    <a:pt x="493" y="100"/>
                  </a:lnTo>
                  <a:lnTo>
                    <a:pt x="492" y="97"/>
                  </a:lnTo>
                  <a:lnTo>
                    <a:pt x="491" y="95"/>
                  </a:lnTo>
                  <a:lnTo>
                    <a:pt x="491" y="93"/>
                  </a:lnTo>
                  <a:lnTo>
                    <a:pt x="489" y="83"/>
                  </a:lnTo>
                  <a:lnTo>
                    <a:pt x="492" y="72"/>
                  </a:lnTo>
                  <a:lnTo>
                    <a:pt x="493" y="61"/>
                  </a:lnTo>
                  <a:lnTo>
                    <a:pt x="494" y="54"/>
                  </a:lnTo>
                  <a:lnTo>
                    <a:pt x="496" y="49"/>
                  </a:lnTo>
                  <a:lnTo>
                    <a:pt x="499" y="43"/>
                  </a:lnTo>
                  <a:lnTo>
                    <a:pt x="506" y="40"/>
                  </a:lnTo>
                  <a:lnTo>
                    <a:pt x="508" y="39"/>
                  </a:lnTo>
                  <a:lnTo>
                    <a:pt x="509" y="38"/>
                  </a:lnTo>
                  <a:lnTo>
                    <a:pt x="509" y="35"/>
                  </a:lnTo>
                  <a:lnTo>
                    <a:pt x="509" y="34"/>
                  </a:lnTo>
                  <a:lnTo>
                    <a:pt x="507" y="32"/>
                  </a:lnTo>
                  <a:lnTo>
                    <a:pt x="506" y="31"/>
                  </a:lnTo>
                  <a:lnTo>
                    <a:pt x="505" y="29"/>
                  </a:lnTo>
                  <a:lnTo>
                    <a:pt x="504" y="27"/>
                  </a:lnTo>
                  <a:lnTo>
                    <a:pt x="503" y="25"/>
                  </a:lnTo>
                  <a:lnTo>
                    <a:pt x="503" y="23"/>
                  </a:lnTo>
                  <a:lnTo>
                    <a:pt x="504" y="22"/>
                  </a:lnTo>
                  <a:lnTo>
                    <a:pt x="506" y="20"/>
                  </a:lnTo>
                  <a:lnTo>
                    <a:pt x="509" y="19"/>
                  </a:lnTo>
                  <a:lnTo>
                    <a:pt x="511" y="18"/>
                  </a:lnTo>
                  <a:lnTo>
                    <a:pt x="515" y="17"/>
                  </a:lnTo>
                  <a:lnTo>
                    <a:pt x="526" y="12"/>
                  </a:lnTo>
                  <a:lnTo>
                    <a:pt x="537" y="10"/>
                  </a:lnTo>
                  <a:close/>
                  <a:moveTo>
                    <a:pt x="2196" y="10"/>
                  </a:moveTo>
                  <a:lnTo>
                    <a:pt x="2197" y="10"/>
                  </a:lnTo>
                  <a:lnTo>
                    <a:pt x="2198" y="11"/>
                  </a:lnTo>
                  <a:lnTo>
                    <a:pt x="2199" y="12"/>
                  </a:lnTo>
                  <a:lnTo>
                    <a:pt x="2199" y="14"/>
                  </a:lnTo>
                  <a:lnTo>
                    <a:pt x="2199" y="16"/>
                  </a:lnTo>
                  <a:lnTo>
                    <a:pt x="2198" y="17"/>
                  </a:lnTo>
                  <a:lnTo>
                    <a:pt x="2198" y="17"/>
                  </a:lnTo>
                  <a:lnTo>
                    <a:pt x="2197" y="16"/>
                  </a:lnTo>
                  <a:lnTo>
                    <a:pt x="2196" y="14"/>
                  </a:lnTo>
                  <a:lnTo>
                    <a:pt x="2196" y="13"/>
                  </a:lnTo>
                  <a:lnTo>
                    <a:pt x="2195" y="11"/>
                  </a:lnTo>
                  <a:lnTo>
                    <a:pt x="2196" y="10"/>
                  </a:lnTo>
                  <a:lnTo>
                    <a:pt x="2196" y="10"/>
                  </a:lnTo>
                  <a:close/>
                  <a:moveTo>
                    <a:pt x="2074" y="9"/>
                  </a:moveTo>
                  <a:lnTo>
                    <a:pt x="2075" y="10"/>
                  </a:lnTo>
                  <a:lnTo>
                    <a:pt x="2078" y="11"/>
                  </a:lnTo>
                  <a:lnTo>
                    <a:pt x="2080" y="12"/>
                  </a:lnTo>
                  <a:lnTo>
                    <a:pt x="2082" y="12"/>
                  </a:lnTo>
                  <a:lnTo>
                    <a:pt x="2082" y="17"/>
                  </a:lnTo>
                  <a:lnTo>
                    <a:pt x="2080" y="17"/>
                  </a:lnTo>
                  <a:lnTo>
                    <a:pt x="2078" y="14"/>
                  </a:lnTo>
                  <a:lnTo>
                    <a:pt x="2075" y="12"/>
                  </a:lnTo>
                  <a:lnTo>
                    <a:pt x="2074" y="11"/>
                  </a:lnTo>
                  <a:lnTo>
                    <a:pt x="2074" y="10"/>
                  </a:lnTo>
                  <a:lnTo>
                    <a:pt x="2074" y="9"/>
                  </a:lnTo>
                  <a:lnTo>
                    <a:pt x="2074" y="9"/>
                  </a:lnTo>
                  <a:close/>
                  <a:moveTo>
                    <a:pt x="2147" y="1"/>
                  </a:moveTo>
                  <a:lnTo>
                    <a:pt x="2150" y="1"/>
                  </a:lnTo>
                  <a:lnTo>
                    <a:pt x="2151" y="1"/>
                  </a:lnTo>
                  <a:lnTo>
                    <a:pt x="2153" y="1"/>
                  </a:lnTo>
                  <a:lnTo>
                    <a:pt x="2154" y="2"/>
                  </a:lnTo>
                  <a:lnTo>
                    <a:pt x="2156" y="3"/>
                  </a:lnTo>
                  <a:lnTo>
                    <a:pt x="2156" y="8"/>
                  </a:lnTo>
                  <a:lnTo>
                    <a:pt x="2152" y="6"/>
                  </a:lnTo>
                  <a:lnTo>
                    <a:pt x="2150" y="3"/>
                  </a:lnTo>
                  <a:lnTo>
                    <a:pt x="2148" y="2"/>
                  </a:lnTo>
                  <a:lnTo>
                    <a:pt x="2147" y="1"/>
                  </a:lnTo>
                  <a:close/>
                  <a:moveTo>
                    <a:pt x="1897" y="0"/>
                  </a:moveTo>
                  <a:lnTo>
                    <a:pt x="1897" y="0"/>
                  </a:lnTo>
                  <a:lnTo>
                    <a:pt x="1899" y="1"/>
                  </a:lnTo>
                  <a:lnTo>
                    <a:pt x="1900" y="3"/>
                  </a:lnTo>
                  <a:lnTo>
                    <a:pt x="1903" y="5"/>
                  </a:lnTo>
                  <a:lnTo>
                    <a:pt x="1905" y="7"/>
                  </a:lnTo>
                  <a:lnTo>
                    <a:pt x="1906" y="9"/>
                  </a:lnTo>
                  <a:lnTo>
                    <a:pt x="1909" y="12"/>
                  </a:lnTo>
                  <a:lnTo>
                    <a:pt x="1910" y="14"/>
                  </a:lnTo>
                  <a:lnTo>
                    <a:pt x="1912" y="17"/>
                  </a:lnTo>
                  <a:lnTo>
                    <a:pt x="1913" y="19"/>
                  </a:lnTo>
                  <a:lnTo>
                    <a:pt x="1914" y="22"/>
                  </a:lnTo>
                  <a:lnTo>
                    <a:pt x="1914" y="22"/>
                  </a:lnTo>
                  <a:lnTo>
                    <a:pt x="1915" y="24"/>
                  </a:lnTo>
                  <a:lnTo>
                    <a:pt x="1917" y="25"/>
                  </a:lnTo>
                  <a:lnTo>
                    <a:pt x="1918" y="28"/>
                  </a:lnTo>
                  <a:lnTo>
                    <a:pt x="1920" y="29"/>
                  </a:lnTo>
                  <a:lnTo>
                    <a:pt x="1920" y="30"/>
                  </a:lnTo>
                  <a:lnTo>
                    <a:pt x="1920" y="31"/>
                  </a:lnTo>
                  <a:lnTo>
                    <a:pt x="1920" y="31"/>
                  </a:lnTo>
                  <a:lnTo>
                    <a:pt x="1918" y="30"/>
                  </a:lnTo>
                  <a:lnTo>
                    <a:pt x="1916" y="29"/>
                  </a:lnTo>
                  <a:lnTo>
                    <a:pt x="1914" y="24"/>
                  </a:lnTo>
                  <a:lnTo>
                    <a:pt x="1912" y="21"/>
                  </a:lnTo>
                  <a:lnTo>
                    <a:pt x="1909" y="17"/>
                  </a:lnTo>
                  <a:lnTo>
                    <a:pt x="1905" y="12"/>
                  </a:lnTo>
                  <a:lnTo>
                    <a:pt x="1903" y="11"/>
                  </a:lnTo>
                  <a:lnTo>
                    <a:pt x="1901" y="9"/>
                  </a:lnTo>
                  <a:lnTo>
                    <a:pt x="1899" y="7"/>
                  </a:lnTo>
                  <a:lnTo>
                    <a:pt x="1897" y="5"/>
                  </a:lnTo>
                  <a:lnTo>
                    <a:pt x="1896" y="3"/>
                  </a:lnTo>
                  <a:lnTo>
                    <a:pt x="1896" y="2"/>
                  </a:lnTo>
                  <a:lnTo>
                    <a:pt x="1896" y="1"/>
                  </a:lnTo>
                  <a:lnTo>
                    <a:pt x="1897"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01" name="Freeform 37"/>
            <p:cNvSpPr>
              <a:spLocks noEditPoints="1"/>
            </p:cNvSpPr>
            <p:nvPr/>
          </p:nvSpPr>
          <p:spPr bwMode="auto">
            <a:xfrm>
              <a:off x="5656" y="667"/>
              <a:ext cx="304" cy="155"/>
            </a:xfrm>
            <a:custGeom>
              <a:avLst/>
              <a:gdLst>
                <a:gd name="T0" fmla="*/ 2064 w 2128"/>
                <a:gd name="T1" fmla="*/ 478 h 1086"/>
                <a:gd name="T2" fmla="*/ 1956 w 2128"/>
                <a:gd name="T3" fmla="*/ 421 h 1086"/>
                <a:gd name="T4" fmla="*/ 2104 w 2128"/>
                <a:gd name="T5" fmla="*/ 456 h 1086"/>
                <a:gd name="T6" fmla="*/ 2084 w 2128"/>
                <a:gd name="T7" fmla="*/ 446 h 1086"/>
                <a:gd name="T8" fmla="*/ 2115 w 2128"/>
                <a:gd name="T9" fmla="*/ 411 h 1086"/>
                <a:gd name="T10" fmla="*/ 269 w 2128"/>
                <a:gd name="T11" fmla="*/ 403 h 1086"/>
                <a:gd name="T12" fmla="*/ 1838 w 2128"/>
                <a:gd name="T13" fmla="*/ 404 h 1086"/>
                <a:gd name="T14" fmla="*/ 1887 w 2128"/>
                <a:gd name="T15" fmla="*/ 472 h 1086"/>
                <a:gd name="T16" fmla="*/ 1853 w 2128"/>
                <a:gd name="T17" fmla="*/ 480 h 1086"/>
                <a:gd name="T18" fmla="*/ 1824 w 2128"/>
                <a:gd name="T19" fmla="*/ 418 h 1086"/>
                <a:gd name="T20" fmla="*/ 1876 w 2128"/>
                <a:gd name="T21" fmla="*/ 383 h 1086"/>
                <a:gd name="T22" fmla="*/ 1899 w 2128"/>
                <a:gd name="T23" fmla="*/ 439 h 1086"/>
                <a:gd name="T24" fmla="*/ 1855 w 2128"/>
                <a:gd name="T25" fmla="*/ 385 h 1086"/>
                <a:gd name="T26" fmla="*/ 699 w 2128"/>
                <a:gd name="T27" fmla="*/ 339 h 1086"/>
                <a:gd name="T28" fmla="*/ 221 w 2128"/>
                <a:gd name="T29" fmla="*/ 369 h 1086"/>
                <a:gd name="T30" fmla="*/ 143 w 2128"/>
                <a:gd name="T31" fmla="*/ 427 h 1086"/>
                <a:gd name="T32" fmla="*/ 94 w 2128"/>
                <a:gd name="T33" fmla="*/ 401 h 1086"/>
                <a:gd name="T34" fmla="*/ 197 w 2128"/>
                <a:gd name="T35" fmla="*/ 386 h 1086"/>
                <a:gd name="T36" fmla="*/ 365 w 2128"/>
                <a:gd name="T37" fmla="*/ 395 h 1086"/>
                <a:gd name="T38" fmla="*/ 123 w 2128"/>
                <a:gd name="T39" fmla="*/ 314 h 1086"/>
                <a:gd name="T40" fmla="*/ 36 w 2128"/>
                <a:gd name="T41" fmla="*/ 414 h 1086"/>
                <a:gd name="T42" fmla="*/ 1551 w 2128"/>
                <a:gd name="T43" fmla="*/ 320 h 1086"/>
                <a:gd name="T44" fmla="*/ 261 w 2128"/>
                <a:gd name="T45" fmla="*/ 298 h 1086"/>
                <a:gd name="T46" fmla="*/ 502 w 2128"/>
                <a:gd name="T47" fmla="*/ 284 h 1086"/>
                <a:gd name="T48" fmla="*/ 434 w 2128"/>
                <a:gd name="T49" fmla="*/ 260 h 1086"/>
                <a:gd name="T50" fmla="*/ 441 w 2128"/>
                <a:gd name="T51" fmla="*/ 222 h 1086"/>
                <a:gd name="T52" fmla="*/ 393 w 2128"/>
                <a:gd name="T53" fmla="*/ 217 h 1086"/>
                <a:gd name="T54" fmla="*/ 347 w 2128"/>
                <a:gd name="T55" fmla="*/ 254 h 1086"/>
                <a:gd name="T56" fmla="*/ 401 w 2128"/>
                <a:gd name="T57" fmla="*/ 163 h 1086"/>
                <a:gd name="T58" fmla="*/ 1311 w 2128"/>
                <a:gd name="T59" fmla="*/ 28 h 1086"/>
                <a:gd name="T60" fmla="*/ 1367 w 2128"/>
                <a:gd name="T61" fmla="*/ 73 h 1086"/>
                <a:gd name="T62" fmla="*/ 1304 w 2128"/>
                <a:gd name="T63" fmla="*/ 123 h 1086"/>
                <a:gd name="T64" fmla="*/ 1431 w 2128"/>
                <a:gd name="T65" fmla="*/ 149 h 1086"/>
                <a:gd name="T66" fmla="*/ 1481 w 2128"/>
                <a:gd name="T67" fmla="*/ 173 h 1086"/>
                <a:gd name="T68" fmla="*/ 1538 w 2128"/>
                <a:gd name="T69" fmla="*/ 216 h 1086"/>
                <a:gd name="T70" fmla="*/ 1511 w 2128"/>
                <a:gd name="T71" fmla="*/ 253 h 1086"/>
                <a:gd name="T72" fmla="*/ 1527 w 2128"/>
                <a:gd name="T73" fmla="*/ 306 h 1086"/>
                <a:gd name="T74" fmla="*/ 1552 w 2128"/>
                <a:gd name="T75" fmla="*/ 401 h 1086"/>
                <a:gd name="T76" fmla="*/ 1564 w 2128"/>
                <a:gd name="T77" fmla="*/ 456 h 1086"/>
                <a:gd name="T78" fmla="*/ 1591 w 2128"/>
                <a:gd name="T79" fmla="*/ 533 h 1086"/>
                <a:gd name="T80" fmla="*/ 1549 w 2128"/>
                <a:gd name="T81" fmla="*/ 591 h 1086"/>
                <a:gd name="T82" fmla="*/ 1546 w 2128"/>
                <a:gd name="T83" fmla="*/ 653 h 1086"/>
                <a:gd name="T84" fmla="*/ 1559 w 2128"/>
                <a:gd name="T85" fmla="*/ 702 h 1086"/>
                <a:gd name="T86" fmla="*/ 1503 w 2128"/>
                <a:gd name="T87" fmla="*/ 789 h 1086"/>
                <a:gd name="T88" fmla="*/ 1416 w 2128"/>
                <a:gd name="T89" fmla="*/ 866 h 1086"/>
                <a:gd name="T90" fmla="*/ 1388 w 2128"/>
                <a:gd name="T91" fmla="*/ 979 h 1086"/>
                <a:gd name="T92" fmla="*/ 1313 w 2128"/>
                <a:gd name="T93" fmla="*/ 1046 h 1086"/>
                <a:gd name="T94" fmla="*/ 1191 w 2128"/>
                <a:gd name="T95" fmla="*/ 800 h 1086"/>
                <a:gd name="T96" fmla="*/ 1192 w 2128"/>
                <a:gd name="T97" fmla="*/ 731 h 1086"/>
                <a:gd name="T98" fmla="*/ 1150 w 2128"/>
                <a:gd name="T99" fmla="*/ 667 h 1086"/>
                <a:gd name="T100" fmla="*/ 1161 w 2128"/>
                <a:gd name="T101" fmla="*/ 570 h 1086"/>
                <a:gd name="T102" fmla="*/ 1109 w 2128"/>
                <a:gd name="T103" fmla="*/ 483 h 1086"/>
                <a:gd name="T104" fmla="*/ 937 w 2128"/>
                <a:gd name="T105" fmla="*/ 340 h 1086"/>
                <a:gd name="T106" fmla="*/ 826 w 2128"/>
                <a:gd name="T107" fmla="*/ 291 h 1086"/>
                <a:gd name="T108" fmla="*/ 844 w 2128"/>
                <a:gd name="T109" fmla="*/ 263 h 1086"/>
                <a:gd name="T110" fmla="*/ 904 w 2128"/>
                <a:gd name="T111" fmla="*/ 158 h 1086"/>
                <a:gd name="T112" fmla="*/ 896 w 2128"/>
                <a:gd name="T113" fmla="*/ 100 h 1086"/>
                <a:gd name="T114" fmla="*/ 960 w 2128"/>
                <a:gd name="T115" fmla="*/ 44 h 1086"/>
                <a:gd name="T116" fmla="*/ 1049 w 2128"/>
                <a:gd name="T117" fmla="*/ 47 h 1086"/>
                <a:gd name="T118" fmla="*/ 1137 w 2128"/>
                <a:gd name="T119" fmla="*/ 71 h 1086"/>
                <a:gd name="T120" fmla="*/ 1194 w 2128"/>
                <a:gd name="T121" fmla="*/ 45 h 1086"/>
                <a:gd name="T122" fmla="*/ 1142 w 2128"/>
                <a:gd name="T123" fmla="*/ 9 h 1086"/>
                <a:gd name="T124" fmla="*/ 1210 w 2128"/>
                <a:gd name="T125" fmla="*/ 23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8" h="1086">
                  <a:moveTo>
                    <a:pt x="2056" y="426"/>
                  </a:moveTo>
                  <a:lnTo>
                    <a:pt x="2056" y="427"/>
                  </a:lnTo>
                  <a:lnTo>
                    <a:pt x="2056" y="427"/>
                  </a:lnTo>
                  <a:lnTo>
                    <a:pt x="2056" y="427"/>
                  </a:lnTo>
                  <a:lnTo>
                    <a:pt x="2056" y="426"/>
                  </a:lnTo>
                  <a:close/>
                  <a:moveTo>
                    <a:pt x="2034" y="426"/>
                  </a:moveTo>
                  <a:lnTo>
                    <a:pt x="2037" y="427"/>
                  </a:lnTo>
                  <a:lnTo>
                    <a:pt x="2039" y="427"/>
                  </a:lnTo>
                  <a:lnTo>
                    <a:pt x="2041" y="428"/>
                  </a:lnTo>
                  <a:lnTo>
                    <a:pt x="2043" y="429"/>
                  </a:lnTo>
                  <a:lnTo>
                    <a:pt x="2045" y="432"/>
                  </a:lnTo>
                  <a:lnTo>
                    <a:pt x="2048" y="434"/>
                  </a:lnTo>
                  <a:lnTo>
                    <a:pt x="2050" y="436"/>
                  </a:lnTo>
                  <a:lnTo>
                    <a:pt x="2053" y="438"/>
                  </a:lnTo>
                  <a:lnTo>
                    <a:pt x="2054" y="438"/>
                  </a:lnTo>
                  <a:lnTo>
                    <a:pt x="2055" y="438"/>
                  </a:lnTo>
                  <a:lnTo>
                    <a:pt x="2056" y="439"/>
                  </a:lnTo>
                  <a:lnTo>
                    <a:pt x="2057" y="438"/>
                  </a:lnTo>
                  <a:lnTo>
                    <a:pt x="2057" y="438"/>
                  </a:lnTo>
                  <a:lnTo>
                    <a:pt x="2057" y="436"/>
                  </a:lnTo>
                  <a:lnTo>
                    <a:pt x="2057" y="435"/>
                  </a:lnTo>
                  <a:lnTo>
                    <a:pt x="2056" y="434"/>
                  </a:lnTo>
                  <a:lnTo>
                    <a:pt x="2056" y="434"/>
                  </a:lnTo>
                  <a:lnTo>
                    <a:pt x="2057" y="434"/>
                  </a:lnTo>
                  <a:lnTo>
                    <a:pt x="2057" y="433"/>
                  </a:lnTo>
                  <a:lnTo>
                    <a:pt x="2059" y="433"/>
                  </a:lnTo>
                  <a:lnTo>
                    <a:pt x="2060" y="434"/>
                  </a:lnTo>
                  <a:lnTo>
                    <a:pt x="2062" y="435"/>
                  </a:lnTo>
                  <a:lnTo>
                    <a:pt x="2063" y="437"/>
                  </a:lnTo>
                  <a:lnTo>
                    <a:pt x="2064" y="438"/>
                  </a:lnTo>
                  <a:lnTo>
                    <a:pt x="2064" y="440"/>
                  </a:lnTo>
                  <a:lnTo>
                    <a:pt x="2065" y="443"/>
                  </a:lnTo>
                  <a:lnTo>
                    <a:pt x="2066" y="445"/>
                  </a:lnTo>
                  <a:lnTo>
                    <a:pt x="2066" y="447"/>
                  </a:lnTo>
                  <a:lnTo>
                    <a:pt x="2067" y="448"/>
                  </a:lnTo>
                  <a:lnTo>
                    <a:pt x="2069" y="449"/>
                  </a:lnTo>
                  <a:lnTo>
                    <a:pt x="2070" y="451"/>
                  </a:lnTo>
                  <a:lnTo>
                    <a:pt x="2071" y="454"/>
                  </a:lnTo>
                  <a:lnTo>
                    <a:pt x="2072" y="456"/>
                  </a:lnTo>
                  <a:lnTo>
                    <a:pt x="2072" y="457"/>
                  </a:lnTo>
                  <a:lnTo>
                    <a:pt x="2072" y="458"/>
                  </a:lnTo>
                  <a:lnTo>
                    <a:pt x="2071" y="459"/>
                  </a:lnTo>
                  <a:lnTo>
                    <a:pt x="2070" y="460"/>
                  </a:lnTo>
                  <a:lnTo>
                    <a:pt x="2069" y="460"/>
                  </a:lnTo>
                  <a:lnTo>
                    <a:pt x="2067" y="459"/>
                  </a:lnTo>
                  <a:lnTo>
                    <a:pt x="2066" y="459"/>
                  </a:lnTo>
                  <a:lnTo>
                    <a:pt x="2066" y="460"/>
                  </a:lnTo>
                  <a:lnTo>
                    <a:pt x="2067" y="462"/>
                  </a:lnTo>
                  <a:lnTo>
                    <a:pt x="2069" y="465"/>
                  </a:lnTo>
                  <a:lnTo>
                    <a:pt x="2069" y="467"/>
                  </a:lnTo>
                  <a:lnTo>
                    <a:pt x="2070" y="468"/>
                  </a:lnTo>
                  <a:lnTo>
                    <a:pt x="2069" y="468"/>
                  </a:lnTo>
                  <a:lnTo>
                    <a:pt x="2069" y="468"/>
                  </a:lnTo>
                  <a:lnTo>
                    <a:pt x="2067" y="467"/>
                  </a:lnTo>
                  <a:lnTo>
                    <a:pt x="2065" y="466"/>
                  </a:lnTo>
                  <a:lnTo>
                    <a:pt x="2064" y="465"/>
                  </a:lnTo>
                  <a:lnTo>
                    <a:pt x="2063" y="464"/>
                  </a:lnTo>
                  <a:lnTo>
                    <a:pt x="2062" y="464"/>
                  </a:lnTo>
                  <a:lnTo>
                    <a:pt x="2061" y="464"/>
                  </a:lnTo>
                  <a:lnTo>
                    <a:pt x="2061" y="465"/>
                  </a:lnTo>
                  <a:lnTo>
                    <a:pt x="2062" y="467"/>
                  </a:lnTo>
                  <a:lnTo>
                    <a:pt x="2063" y="468"/>
                  </a:lnTo>
                  <a:lnTo>
                    <a:pt x="2064" y="470"/>
                  </a:lnTo>
                  <a:lnTo>
                    <a:pt x="2065" y="472"/>
                  </a:lnTo>
                  <a:lnTo>
                    <a:pt x="2065" y="475"/>
                  </a:lnTo>
                  <a:lnTo>
                    <a:pt x="2064" y="476"/>
                  </a:lnTo>
                  <a:lnTo>
                    <a:pt x="2064" y="478"/>
                  </a:lnTo>
                  <a:lnTo>
                    <a:pt x="2064" y="479"/>
                  </a:lnTo>
                  <a:lnTo>
                    <a:pt x="2063" y="479"/>
                  </a:lnTo>
                  <a:lnTo>
                    <a:pt x="2062" y="478"/>
                  </a:lnTo>
                  <a:lnTo>
                    <a:pt x="2061" y="477"/>
                  </a:lnTo>
                  <a:lnTo>
                    <a:pt x="2060" y="476"/>
                  </a:lnTo>
                  <a:lnTo>
                    <a:pt x="2057" y="472"/>
                  </a:lnTo>
                  <a:lnTo>
                    <a:pt x="2055" y="469"/>
                  </a:lnTo>
                  <a:lnTo>
                    <a:pt x="2053" y="467"/>
                  </a:lnTo>
                  <a:lnTo>
                    <a:pt x="2052" y="465"/>
                  </a:lnTo>
                  <a:lnTo>
                    <a:pt x="2050" y="462"/>
                  </a:lnTo>
                  <a:lnTo>
                    <a:pt x="2050" y="460"/>
                  </a:lnTo>
                  <a:lnTo>
                    <a:pt x="2050" y="458"/>
                  </a:lnTo>
                  <a:lnTo>
                    <a:pt x="2050" y="456"/>
                  </a:lnTo>
                  <a:lnTo>
                    <a:pt x="2049" y="454"/>
                  </a:lnTo>
                  <a:lnTo>
                    <a:pt x="2048" y="451"/>
                  </a:lnTo>
                  <a:lnTo>
                    <a:pt x="2045" y="449"/>
                  </a:lnTo>
                  <a:lnTo>
                    <a:pt x="2045" y="447"/>
                  </a:lnTo>
                  <a:lnTo>
                    <a:pt x="2044" y="445"/>
                  </a:lnTo>
                  <a:lnTo>
                    <a:pt x="2043" y="443"/>
                  </a:lnTo>
                  <a:lnTo>
                    <a:pt x="2043" y="442"/>
                  </a:lnTo>
                  <a:lnTo>
                    <a:pt x="2042" y="440"/>
                  </a:lnTo>
                  <a:lnTo>
                    <a:pt x="2042" y="439"/>
                  </a:lnTo>
                  <a:lnTo>
                    <a:pt x="2041" y="440"/>
                  </a:lnTo>
                  <a:lnTo>
                    <a:pt x="2041" y="443"/>
                  </a:lnTo>
                  <a:lnTo>
                    <a:pt x="2041" y="444"/>
                  </a:lnTo>
                  <a:lnTo>
                    <a:pt x="2042" y="446"/>
                  </a:lnTo>
                  <a:lnTo>
                    <a:pt x="2042" y="447"/>
                  </a:lnTo>
                  <a:lnTo>
                    <a:pt x="2041" y="449"/>
                  </a:lnTo>
                  <a:lnTo>
                    <a:pt x="2041" y="450"/>
                  </a:lnTo>
                  <a:lnTo>
                    <a:pt x="2039" y="449"/>
                  </a:lnTo>
                  <a:lnTo>
                    <a:pt x="2038" y="449"/>
                  </a:lnTo>
                  <a:lnTo>
                    <a:pt x="2035" y="447"/>
                  </a:lnTo>
                  <a:lnTo>
                    <a:pt x="2034" y="445"/>
                  </a:lnTo>
                  <a:lnTo>
                    <a:pt x="2031" y="440"/>
                  </a:lnTo>
                  <a:lnTo>
                    <a:pt x="2030" y="437"/>
                  </a:lnTo>
                  <a:lnTo>
                    <a:pt x="2029" y="435"/>
                  </a:lnTo>
                  <a:lnTo>
                    <a:pt x="2029" y="432"/>
                  </a:lnTo>
                  <a:lnTo>
                    <a:pt x="2030" y="429"/>
                  </a:lnTo>
                  <a:lnTo>
                    <a:pt x="2031" y="427"/>
                  </a:lnTo>
                  <a:lnTo>
                    <a:pt x="2032" y="426"/>
                  </a:lnTo>
                  <a:lnTo>
                    <a:pt x="2033" y="426"/>
                  </a:lnTo>
                  <a:lnTo>
                    <a:pt x="2034" y="426"/>
                  </a:lnTo>
                  <a:close/>
                  <a:moveTo>
                    <a:pt x="1956" y="420"/>
                  </a:moveTo>
                  <a:lnTo>
                    <a:pt x="1957" y="420"/>
                  </a:lnTo>
                  <a:lnTo>
                    <a:pt x="1960" y="421"/>
                  </a:lnTo>
                  <a:lnTo>
                    <a:pt x="1961" y="423"/>
                  </a:lnTo>
                  <a:lnTo>
                    <a:pt x="1962" y="425"/>
                  </a:lnTo>
                  <a:lnTo>
                    <a:pt x="1962" y="428"/>
                  </a:lnTo>
                  <a:lnTo>
                    <a:pt x="1960" y="429"/>
                  </a:lnTo>
                  <a:lnTo>
                    <a:pt x="1958" y="431"/>
                  </a:lnTo>
                  <a:lnTo>
                    <a:pt x="1957" y="431"/>
                  </a:lnTo>
                  <a:lnTo>
                    <a:pt x="1956" y="431"/>
                  </a:lnTo>
                  <a:lnTo>
                    <a:pt x="1955" y="432"/>
                  </a:lnTo>
                  <a:lnTo>
                    <a:pt x="1954" y="432"/>
                  </a:lnTo>
                  <a:lnTo>
                    <a:pt x="1953" y="432"/>
                  </a:lnTo>
                  <a:lnTo>
                    <a:pt x="1951" y="431"/>
                  </a:lnTo>
                  <a:lnTo>
                    <a:pt x="1945" y="423"/>
                  </a:lnTo>
                  <a:lnTo>
                    <a:pt x="1945" y="422"/>
                  </a:lnTo>
                  <a:lnTo>
                    <a:pt x="1946" y="421"/>
                  </a:lnTo>
                  <a:lnTo>
                    <a:pt x="1949" y="421"/>
                  </a:lnTo>
                  <a:lnTo>
                    <a:pt x="1951" y="422"/>
                  </a:lnTo>
                  <a:lnTo>
                    <a:pt x="1952" y="422"/>
                  </a:lnTo>
                  <a:lnTo>
                    <a:pt x="1954" y="423"/>
                  </a:lnTo>
                  <a:lnTo>
                    <a:pt x="1955" y="423"/>
                  </a:lnTo>
                  <a:lnTo>
                    <a:pt x="1955" y="423"/>
                  </a:lnTo>
                  <a:lnTo>
                    <a:pt x="1955" y="422"/>
                  </a:lnTo>
                  <a:lnTo>
                    <a:pt x="1956" y="421"/>
                  </a:lnTo>
                  <a:lnTo>
                    <a:pt x="1956" y="420"/>
                  </a:lnTo>
                  <a:lnTo>
                    <a:pt x="1956" y="420"/>
                  </a:lnTo>
                  <a:close/>
                  <a:moveTo>
                    <a:pt x="2114" y="417"/>
                  </a:moveTo>
                  <a:lnTo>
                    <a:pt x="2115" y="417"/>
                  </a:lnTo>
                  <a:lnTo>
                    <a:pt x="2115" y="418"/>
                  </a:lnTo>
                  <a:lnTo>
                    <a:pt x="2117" y="418"/>
                  </a:lnTo>
                  <a:lnTo>
                    <a:pt x="2119" y="420"/>
                  </a:lnTo>
                  <a:lnTo>
                    <a:pt x="2121" y="420"/>
                  </a:lnTo>
                  <a:lnTo>
                    <a:pt x="2121" y="422"/>
                  </a:lnTo>
                  <a:lnTo>
                    <a:pt x="2120" y="423"/>
                  </a:lnTo>
                  <a:lnTo>
                    <a:pt x="2120" y="423"/>
                  </a:lnTo>
                  <a:lnTo>
                    <a:pt x="2119" y="423"/>
                  </a:lnTo>
                  <a:lnTo>
                    <a:pt x="2118" y="422"/>
                  </a:lnTo>
                  <a:lnTo>
                    <a:pt x="2118" y="422"/>
                  </a:lnTo>
                  <a:lnTo>
                    <a:pt x="2117" y="421"/>
                  </a:lnTo>
                  <a:lnTo>
                    <a:pt x="2116" y="421"/>
                  </a:lnTo>
                  <a:lnTo>
                    <a:pt x="2115" y="420"/>
                  </a:lnTo>
                  <a:lnTo>
                    <a:pt x="2115" y="418"/>
                  </a:lnTo>
                  <a:lnTo>
                    <a:pt x="2114" y="417"/>
                  </a:lnTo>
                  <a:lnTo>
                    <a:pt x="2114" y="417"/>
                  </a:lnTo>
                  <a:close/>
                  <a:moveTo>
                    <a:pt x="2087" y="416"/>
                  </a:moveTo>
                  <a:lnTo>
                    <a:pt x="2087" y="416"/>
                  </a:lnTo>
                  <a:lnTo>
                    <a:pt x="2088" y="417"/>
                  </a:lnTo>
                  <a:lnTo>
                    <a:pt x="2091" y="420"/>
                  </a:lnTo>
                  <a:lnTo>
                    <a:pt x="2092" y="422"/>
                  </a:lnTo>
                  <a:lnTo>
                    <a:pt x="2094" y="423"/>
                  </a:lnTo>
                  <a:lnTo>
                    <a:pt x="2095" y="424"/>
                  </a:lnTo>
                  <a:lnTo>
                    <a:pt x="2097" y="423"/>
                  </a:lnTo>
                  <a:lnTo>
                    <a:pt x="2097" y="422"/>
                  </a:lnTo>
                  <a:lnTo>
                    <a:pt x="2098" y="422"/>
                  </a:lnTo>
                  <a:lnTo>
                    <a:pt x="2099" y="421"/>
                  </a:lnTo>
                  <a:lnTo>
                    <a:pt x="2100" y="422"/>
                  </a:lnTo>
                  <a:lnTo>
                    <a:pt x="2102" y="422"/>
                  </a:lnTo>
                  <a:lnTo>
                    <a:pt x="2104" y="424"/>
                  </a:lnTo>
                  <a:lnTo>
                    <a:pt x="2105" y="426"/>
                  </a:lnTo>
                  <a:lnTo>
                    <a:pt x="2105" y="427"/>
                  </a:lnTo>
                  <a:lnTo>
                    <a:pt x="2106" y="429"/>
                  </a:lnTo>
                  <a:lnTo>
                    <a:pt x="2106" y="431"/>
                  </a:lnTo>
                  <a:lnTo>
                    <a:pt x="2105" y="431"/>
                  </a:lnTo>
                  <a:lnTo>
                    <a:pt x="2105" y="431"/>
                  </a:lnTo>
                  <a:lnTo>
                    <a:pt x="2104" y="429"/>
                  </a:lnTo>
                  <a:lnTo>
                    <a:pt x="2103" y="429"/>
                  </a:lnTo>
                  <a:lnTo>
                    <a:pt x="2100" y="429"/>
                  </a:lnTo>
                  <a:lnTo>
                    <a:pt x="2099" y="429"/>
                  </a:lnTo>
                  <a:lnTo>
                    <a:pt x="2097" y="428"/>
                  </a:lnTo>
                  <a:lnTo>
                    <a:pt x="2096" y="429"/>
                  </a:lnTo>
                  <a:lnTo>
                    <a:pt x="2095" y="429"/>
                  </a:lnTo>
                  <a:lnTo>
                    <a:pt x="2097" y="432"/>
                  </a:lnTo>
                  <a:lnTo>
                    <a:pt x="2099" y="435"/>
                  </a:lnTo>
                  <a:lnTo>
                    <a:pt x="2103" y="437"/>
                  </a:lnTo>
                  <a:lnTo>
                    <a:pt x="2104" y="439"/>
                  </a:lnTo>
                  <a:lnTo>
                    <a:pt x="2105" y="442"/>
                  </a:lnTo>
                  <a:lnTo>
                    <a:pt x="2105" y="443"/>
                  </a:lnTo>
                  <a:lnTo>
                    <a:pt x="2105" y="444"/>
                  </a:lnTo>
                  <a:lnTo>
                    <a:pt x="2105" y="445"/>
                  </a:lnTo>
                  <a:lnTo>
                    <a:pt x="2106" y="446"/>
                  </a:lnTo>
                  <a:lnTo>
                    <a:pt x="2107" y="448"/>
                  </a:lnTo>
                  <a:lnTo>
                    <a:pt x="2109" y="450"/>
                  </a:lnTo>
                  <a:lnTo>
                    <a:pt x="2109" y="453"/>
                  </a:lnTo>
                  <a:lnTo>
                    <a:pt x="2109" y="455"/>
                  </a:lnTo>
                  <a:lnTo>
                    <a:pt x="2110" y="456"/>
                  </a:lnTo>
                  <a:lnTo>
                    <a:pt x="2109" y="457"/>
                  </a:lnTo>
                  <a:lnTo>
                    <a:pt x="2109" y="457"/>
                  </a:lnTo>
                  <a:lnTo>
                    <a:pt x="2107" y="457"/>
                  </a:lnTo>
                  <a:lnTo>
                    <a:pt x="2106" y="457"/>
                  </a:lnTo>
                  <a:lnTo>
                    <a:pt x="2105" y="457"/>
                  </a:lnTo>
                  <a:lnTo>
                    <a:pt x="2104" y="456"/>
                  </a:lnTo>
                  <a:lnTo>
                    <a:pt x="2104" y="457"/>
                  </a:lnTo>
                  <a:lnTo>
                    <a:pt x="2104" y="458"/>
                  </a:lnTo>
                  <a:lnTo>
                    <a:pt x="2104" y="459"/>
                  </a:lnTo>
                  <a:lnTo>
                    <a:pt x="2105" y="461"/>
                  </a:lnTo>
                  <a:lnTo>
                    <a:pt x="2105" y="462"/>
                  </a:lnTo>
                  <a:lnTo>
                    <a:pt x="2106" y="464"/>
                  </a:lnTo>
                  <a:lnTo>
                    <a:pt x="2108" y="465"/>
                  </a:lnTo>
                  <a:lnTo>
                    <a:pt x="2109" y="466"/>
                  </a:lnTo>
                  <a:lnTo>
                    <a:pt x="2109" y="467"/>
                  </a:lnTo>
                  <a:lnTo>
                    <a:pt x="2111" y="467"/>
                  </a:lnTo>
                  <a:lnTo>
                    <a:pt x="2114" y="469"/>
                  </a:lnTo>
                  <a:lnTo>
                    <a:pt x="2114" y="471"/>
                  </a:lnTo>
                  <a:lnTo>
                    <a:pt x="2115" y="473"/>
                  </a:lnTo>
                  <a:lnTo>
                    <a:pt x="2115" y="473"/>
                  </a:lnTo>
                  <a:lnTo>
                    <a:pt x="2116" y="475"/>
                  </a:lnTo>
                  <a:lnTo>
                    <a:pt x="2118" y="477"/>
                  </a:lnTo>
                  <a:lnTo>
                    <a:pt x="2119" y="478"/>
                  </a:lnTo>
                  <a:lnTo>
                    <a:pt x="2119" y="479"/>
                  </a:lnTo>
                  <a:lnTo>
                    <a:pt x="2119" y="481"/>
                  </a:lnTo>
                  <a:lnTo>
                    <a:pt x="2118" y="481"/>
                  </a:lnTo>
                  <a:lnTo>
                    <a:pt x="2117" y="482"/>
                  </a:lnTo>
                  <a:lnTo>
                    <a:pt x="2116" y="483"/>
                  </a:lnTo>
                  <a:lnTo>
                    <a:pt x="2116" y="483"/>
                  </a:lnTo>
                  <a:lnTo>
                    <a:pt x="2116" y="486"/>
                  </a:lnTo>
                  <a:lnTo>
                    <a:pt x="2116" y="487"/>
                  </a:lnTo>
                  <a:lnTo>
                    <a:pt x="2116" y="488"/>
                  </a:lnTo>
                  <a:lnTo>
                    <a:pt x="2116" y="489"/>
                  </a:lnTo>
                  <a:lnTo>
                    <a:pt x="2114" y="489"/>
                  </a:lnTo>
                  <a:lnTo>
                    <a:pt x="2114" y="489"/>
                  </a:lnTo>
                  <a:lnTo>
                    <a:pt x="2113" y="488"/>
                  </a:lnTo>
                  <a:lnTo>
                    <a:pt x="2111" y="487"/>
                  </a:lnTo>
                  <a:lnTo>
                    <a:pt x="2109" y="486"/>
                  </a:lnTo>
                  <a:lnTo>
                    <a:pt x="2108" y="484"/>
                  </a:lnTo>
                  <a:lnTo>
                    <a:pt x="2107" y="484"/>
                  </a:lnTo>
                  <a:lnTo>
                    <a:pt x="2107" y="486"/>
                  </a:lnTo>
                  <a:lnTo>
                    <a:pt x="2106" y="486"/>
                  </a:lnTo>
                  <a:lnTo>
                    <a:pt x="2105" y="486"/>
                  </a:lnTo>
                  <a:lnTo>
                    <a:pt x="2104" y="484"/>
                  </a:lnTo>
                  <a:lnTo>
                    <a:pt x="2103" y="483"/>
                  </a:lnTo>
                  <a:lnTo>
                    <a:pt x="2102" y="482"/>
                  </a:lnTo>
                  <a:lnTo>
                    <a:pt x="2102" y="480"/>
                  </a:lnTo>
                  <a:lnTo>
                    <a:pt x="2100" y="479"/>
                  </a:lnTo>
                  <a:lnTo>
                    <a:pt x="2098" y="478"/>
                  </a:lnTo>
                  <a:lnTo>
                    <a:pt x="2098" y="477"/>
                  </a:lnTo>
                  <a:lnTo>
                    <a:pt x="2097" y="477"/>
                  </a:lnTo>
                  <a:lnTo>
                    <a:pt x="2095" y="475"/>
                  </a:lnTo>
                  <a:lnTo>
                    <a:pt x="2094" y="475"/>
                  </a:lnTo>
                  <a:lnTo>
                    <a:pt x="2094" y="473"/>
                  </a:lnTo>
                  <a:lnTo>
                    <a:pt x="2094" y="472"/>
                  </a:lnTo>
                  <a:lnTo>
                    <a:pt x="2093" y="470"/>
                  </a:lnTo>
                  <a:lnTo>
                    <a:pt x="2093" y="469"/>
                  </a:lnTo>
                  <a:lnTo>
                    <a:pt x="2091" y="466"/>
                  </a:lnTo>
                  <a:lnTo>
                    <a:pt x="2088" y="464"/>
                  </a:lnTo>
                  <a:lnTo>
                    <a:pt x="2085" y="462"/>
                  </a:lnTo>
                  <a:lnTo>
                    <a:pt x="2082" y="460"/>
                  </a:lnTo>
                  <a:lnTo>
                    <a:pt x="2080" y="457"/>
                  </a:lnTo>
                  <a:lnTo>
                    <a:pt x="2080" y="453"/>
                  </a:lnTo>
                  <a:lnTo>
                    <a:pt x="2080" y="448"/>
                  </a:lnTo>
                  <a:lnTo>
                    <a:pt x="2080" y="447"/>
                  </a:lnTo>
                  <a:lnTo>
                    <a:pt x="2078" y="445"/>
                  </a:lnTo>
                  <a:lnTo>
                    <a:pt x="2078" y="444"/>
                  </a:lnTo>
                  <a:lnTo>
                    <a:pt x="2078" y="443"/>
                  </a:lnTo>
                  <a:lnTo>
                    <a:pt x="2078" y="442"/>
                  </a:lnTo>
                  <a:lnTo>
                    <a:pt x="2080" y="442"/>
                  </a:lnTo>
                  <a:lnTo>
                    <a:pt x="2081" y="443"/>
                  </a:lnTo>
                  <a:lnTo>
                    <a:pt x="2082" y="445"/>
                  </a:lnTo>
                  <a:lnTo>
                    <a:pt x="2084" y="446"/>
                  </a:lnTo>
                  <a:lnTo>
                    <a:pt x="2085" y="448"/>
                  </a:lnTo>
                  <a:lnTo>
                    <a:pt x="2086" y="450"/>
                  </a:lnTo>
                  <a:lnTo>
                    <a:pt x="2086" y="450"/>
                  </a:lnTo>
                  <a:lnTo>
                    <a:pt x="2087" y="451"/>
                  </a:lnTo>
                  <a:lnTo>
                    <a:pt x="2089" y="453"/>
                  </a:lnTo>
                  <a:lnTo>
                    <a:pt x="2091" y="453"/>
                  </a:lnTo>
                  <a:lnTo>
                    <a:pt x="2091" y="451"/>
                  </a:lnTo>
                  <a:lnTo>
                    <a:pt x="2091" y="450"/>
                  </a:lnTo>
                  <a:lnTo>
                    <a:pt x="2089" y="449"/>
                  </a:lnTo>
                  <a:lnTo>
                    <a:pt x="2088" y="448"/>
                  </a:lnTo>
                  <a:lnTo>
                    <a:pt x="2088" y="446"/>
                  </a:lnTo>
                  <a:lnTo>
                    <a:pt x="2086" y="445"/>
                  </a:lnTo>
                  <a:lnTo>
                    <a:pt x="2084" y="444"/>
                  </a:lnTo>
                  <a:lnTo>
                    <a:pt x="2082" y="442"/>
                  </a:lnTo>
                  <a:lnTo>
                    <a:pt x="2082" y="440"/>
                  </a:lnTo>
                  <a:lnTo>
                    <a:pt x="2081" y="438"/>
                  </a:lnTo>
                  <a:lnTo>
                    <a:pt x="2080" y="436"/>
                  </a:lnTo>
                  <a:lnTo>
                    <a:pt x="2080" y="434"/>
                  </a:lnTo>
                  <a:lnTo>
                    <a:pt x="2078" y="432"/>
                  </a:lnTo>
                  <a:lnTo>
                    <a:pt x="2077" y="431"/>
                  </a:lnTo>
                  <a:lnTo>
                    <a:pt x="2077" y="431"/>
                  </a:lnTo>
                  <a:lnTo>
                    <a:pt x="2078" y="431"/>
                  </a:lnTo>
                  <a:lnTo>
                    <a:pt x="2080" y="432"/>
                  </a:lnTo>
                  <a:lnTo>
                    <a:pt x="2081" y="432"/>
                  </a:lnTo>
                  <a:lnTo>
                    <a:pt x="2082" y="433"/>
                  </a:lnTo>
                  <a:lnTo>
                    <a:pt x="2084" y="434"/>
                  </a:lnTo>
                  <a:lnTo>
                    <a:pt x="2086" y="436"/>
                  </a:lnTo>
                  <a:lnTo>
                    <a:pt x="2088" y="437"/>
                  </a:lnTo>
                  <a:lnTo>
                    <a:pt x="2091" y="438"/>
                  </a:lnTo>
                  <a:lnTo>
                    <a:pt x="2091" y="432"/>
                  </a:lnTo>
                  <a:lnTo>
                    <a:pt x="2089" y="431"/>
                  </a:lnTo>
                  <a:lnTo>
                    <a:pt x="2087" y="429"/>
                  </a:lnTo>
                  <a:lnTo>
                    <a:pt x="2086" y="428"/>
                  </a:lnTo>
                  <a:lnTo>
                    <a:pt x="2086" y="427"/>
                  </a:lnTo>
                  <a:lnTo>
                    <a:pt x="2083" y="426"/>
                  </a:lnTo>
                  <a:lnTo>
                    <a:pt x="2082" y="425"/>
                  </a:lnTo>
                  <a:lnTo>
                    <a:pt x="2081" y="423"/>
                  </a:lnTo>
                  <a:lnTo>
                    <a:pt x="2081" y="422"/>
                  </a:lnTo>
                  <a:lnTo>
                    <a:pt x="2082" y="421"/>
                  </a:lnTo>
                  <a:lnTo>
                    <a:pt x="2084" y="422"/>
                  </a:lnTo>
                  <a:lnTo>
                    <a:pt x="2085" y="422"/>
                  </a:lnTo>
                  <a:lnTo>
                    <a:pt x="2086" y="422"/>
                  </a:lnTo>
                  <a:lnTo>
                    <a:pt x="2086" y="421"/>
                  </a:lnTo>
                  <a:lnTo>
                    <a:pt x="2086" y="420"/>
                  </a:lnTo>
                  <a:lnTo>
                    <a:pt x="2086" y="417"/>
                  </a:lnTo>
                  <a:lnTo>
                    <a:pt x="2086" y="417"/>
                  </a:lnTo>
                  <a:lnTo>
                    <a:pt x="2086" y="416"/>
                  </a:lnTo>
                  <a:lnTo>
                    <a:pt x="2087" y="416"/>
                  </a:lnTo>
                  <a:close/>
                  <a:moveTo>
                    <a:pt x="2115" y="410"/>
                  </a:moveTo>
                  <a:lnTo>
                    <a:pt x="2116" y="410"/>
                  </a:lnTo>
                  <a:lnTo>
                    <a:pt x="2118" y="411"/>
                  </a:lnTo>
                  <a:lnTo>
                    <a:pt x="2120" y="412"/>
                  </a:lnTo>
                  <a:lnTo>
                    <a:pt x="2121" y="414"/>
                  </a:lnTo>
                  <a:lnTo>
                    <a:pt x="2124" y="416"/>
                  </a:lnTo>
                  <a:lnTo>
                    <a:pt x="2126" y="418"/>
                  </a:lnTo>
                  <a:lnTo>
                    <a:pt x="2127" y="420"/>
                  </a:lnTo>
                  <a:lnTo>
                    <a:pt x="2127" y="422"/>
                  </a:lnTo>
                  <a:lnTo>
                    <a:pt x="2128" y="423"/>
                  </a:lnTo>
                  <a:lnTo>
                    <a:pt x="2127" y="423"/>
                  </a:lnTo>
                  <a:lnTo>
                    <a:pt x="2126" y="422"/>
                  </a:lnTo>
                  <a:lnTo>
                    <a:pt x="2124" y="421"/>
                  </a:lnTo>
                  <a:lnTo>
                    <a:pt x="2122" y="420"/>
                  </a:lnTo>
                  <a:lnTo>
                    <a:pt x="2120" y="417"/>
                  </a:lnTo>
                  <a:lnTo>
                    <a:pt x="2118" y="415"/>
                  </a:lnTo>
                  <a:lnTo>
                    <a:pt x="2116" y="414"/>
                  </a:lnTo>
                  <a:lnTo>
                    <a:pt x="2115" y="412"/>
                  </a:lnTo>
                  <a:lnTo>
                    <a:pt x="2115" y="411"/>
                  </a:lnTo>
                  <a:lnTo>
                    <a:pt x="2115" y="410"/>
                  </a:lnTo>
                  <a:lnTo>
                    <a:pt x="2115" y="410"/>
                  </a:lnTo>
                  <a:close/>
                  <a:moveTo>
                    <a:pt x="2086" y="399"/>
                  </a:moveTo>
                  <a:lnTo>
                    <a:pt x="2087" y="399"/>
                  </a:lnTo>
                  <a:lnTo>
                    <a:pt x="2093" y="401"/>
                  </a:lnTo>
                  <a:lnTo>
                    <a:pt x="2096" y="404"/>
                  </a:lnTo>
                  <a:lnTo>
                    <a:pt x="2097" y="406"/>
                  </a:lnTo>
                  <a:lnTo>
                    <a:pt x="2098" y="409"/>
                  </a:lnTo>
                  <a:lnTo>
                    <a:pt x="2098" y="411"/>
                  </a:lnTo>
                  <a:lnTo>
                    <a:pt x="2097" y="413"/>
                  </a:lnTo>
                  <a:lnTo>
                    <a:pt x="2096" y="414"/>
                  </a:lnTo>
                  <a:lnTo>
                    <a:pt x="2095" y="415"/>
                  </a:lnTo>
                  <a:lnTo>
                    <a:pt x="2092" y="411"/>
                  </a:lnTo>
                  <a:lnTo>
                    <a:pt x="2089" y="410"/>
                  </a:lnTo>
                  <a:lnTo>
                    <a:pt x="2087" y="409"/>
                  </a:lnTo>
                  <a:lnTo>
                    <a:pt x="2086" y="406"/>
                  </a:lnTo>
                  <a:lnTo>
                    <a:pt x="2084" y="405"/>
                  </a:lnTo>
                  <a:lnTo>
                    <a:pt x="2084" y="404"/>
                  </a:lnTo>
                  <a:lnTo>
                    <a:pt x="2084" y="402"/>
                  </a:lnTo>
                  <a:lnTo>
                    <a:pt x="2084" y="401"/>
                  </a:lnTo>
                  <a:lnTo>
                    <a:pt x="2085" y="399"/>
                  </a:lnTo>
                  <a:lnTo>
                    <a:pt x="2086" y="399"/>
                  </a:lnTo>
                  <a:close/>
                  <a:moveTo>
                    <a:pt x="77" y="399"/>
                  </a:moveTo>
                  <a:lnTo>
                    <a:pt x="79" y="399"/>
                  </a:lnTo>
                  <a:lnTo>
                    <a:pt x="80" y="400"/>
                  </a:lnTo>
                  <a:lnTo>
                    <a:pt x="79" y="402"/>
                  </a:lnTo>
                  <a:lnTo>
                    <a:pt x="77" y="403"/>
                  </a:lnTo>
                  <a:lnTo>
                    <a:pt x="75" y="405"/>
                  </a:lnTo>
                  <a:lnTo>
                    <a:pt x="74" y="406"/>
                  </a:lnTo>
                  <a:lnTo>
                    <a:pt x="72" y="407"/>
                  </a:lnTo>
                  <a:lnTo>
                    <a:pt x="69" y="411"/>
                  </a:lnTo>
                  <a:lnTo>
                    <a:pt x="66" y="414"/>
                  </a:lnTo>
                  <a:lnTo>
                    <a:pt x="64" y="418"/>
                  </a:lnTo>
                  <a:lnTo>
                    <a:pt x="58" y="425"/>
                  </a:lnTo>
                  <a:lnTo>
                    <a:pt x="51" y="431"/>
                  </a:lnTo>
                  <a:lnTo>
                    <a:pt x="43" y="432"/>
                  </a:lnTo>
                  <a:lnTo>
                    <a:pt x="41" y="428"/>
                  </a:lnTo>
                  <a:lnTo>
                    <a:pt x="43" y="423"/>
                  </a:lnTo>
                  <a:lnTo>
                    <a:pt x="46" y="416"/>
                  </a:lnTo>
                  <a:lnTo>
                    <a:pt x="53" y="412"/>
                  </a:lnTo>
                  <a:lnTo>
                    <a:pt x="58" y="407"/>
                  </a:lnTo>
                  <a:lnTo>
                    <a:pt x="62" y="406"/>
                  </a:lnTo>
                  <a:lnTo>
                    <a:pt x="64" y="405"/>
                  </a:lnTo>
                  <a:lnTo>
                    <a:pt x="66" y="403"/>
                  </a:lnTo>
                  <a:lnTo>
                    <a:pt x="66" y="403"/>
                  </a:lnTo>
                  <a:lnTo>
                    <a:pt x="67" y="402"/>
                  </a:lnTo>
                  <a:lnTo>
                    <a:pt x="67" y="402"/>
                  </a:lnTo>
                  <a:lnTo>
                    <a:pt x="69" y="401"/>
                  </a:lnTo>
                  <a:lnTo>
                    <a:pt x="70" y="400"/>
                  </a:lnTo>
                  <a:lnTo>
                    <a:pt x="73" y="399"/>
                  </a:lnTo>
                  <a:lnTo>
                    <a:pt x="75" y="399"/>
                  </a:lnTo>
                  <a:lnTo>
                    <a:pt x="77" y="399"/>
                  </a:lnTo>
                  <a:close/>
                  <a:moveTo>
                    <a:pt x="278" y="381"/>
                  </a:moveTo>
                  <a:lnTo>
                    <a:pt x="281" y="382"/>
                  </a:lnTo>
                  <a:lnTo>
                    <a:pt x="283" y="382"/>
                  </a:lnTo>
                  <a:lnTo>
                    <a:pt x="286" y="383"/>
                  </a:lnTo>
                  <a:lnTo>
                    <a:pt x="286" y="385"/>
                  </a:lnTo>
                  <a:lnTo>
                    <a:pt x="285" y="389"/>
                  </a:lnTo>
                  <a:lnTo>
                    <a:pt x="285" y="392"/>
                  </a:lnTo>
                  <a:lnTo>
                    <a:pt x="284" y="395"/>
                  </a:lnTo>
                  <a:lnTo>
                    <a:pt x="283" y="398"/>
                  </a:lnTo>
                  <a:lnTo>
                    <a:pt x="281" y="399"/>
                  </a:lnTo>
                  <a:lnTo>
                    <a:pt x="278" y="401"/>
                  </a:lnTo>
                  <a:lnTo>
                    <a:pt x="275" y="403"/>
                  </a:lnTo>
                  <a:lnTo>
                    <a:pt x="273" y="404"/>
                  </a:lnTo>
                  <a:lnTo>
                    <a:pt x="271" y="404"/>
                  </a:lnTo>
                  <a:lnTo>
                    <a:pt x="269" y="403"/>
                  </a:lnTo>
                  <a:lnTo>
                    <a:pt x="267" y="401"/>
                  </a:lnTo>
                  <a:lnTo>
                    <a:pt x="267" y="398"/>
                  </a:lnTo>
                  <a:lnTo>
                    <a:pt x="269" y="393"/>
                  </a:lnTo>
                  <a:lnTo>
                    <a:pt x="271" y="389"/>
                  </a:lnTo>
                  <a:lnTo>
                    <a:pt x="273" y="385"/>
                  </a:lnTo>
                  <a:lnTo>
                    <a:pt x="275" y="382"/>
                  </a:lnTo>
                  <a:lnTo>
                    <a:pt x="276" y="381"/>
                  </a:lnTo>
                  <a:lnTo>
                    <a:pt x="278" y="381"/>
                  </a:lnTo>
                  <a:close/>
                  <a:moveTo>
                    <a:pt x="1567" y="380"/>
                  </a:moveTo>
                  <a:lnTo>
                    <a:pt x="1568" y="381"/>
                  </a:lnTo>
                  <a:lnTo>
                    <a:pt x="1570" y="381"/>
                  </a:lnTo>
                  <a:lnTo>
                    <a:pt x="1571" y="382"/>
                  </a:lnTo>
                  <a:lnTo>
                    <a:pt x="1572" y="384"/>
                  </a:lnTo>
                  <a:lnTo>
                    <a:pt x="1572" y="388"/>
                  </a:lnTo>
                  <a:lnTo>
                    <a:pt x="1573" y="389"/>
                  </a:lnTo>
                  <a:lnTo>
                    <a:pt x="1573" y="391"/>
                  </a:lnTo>
                  <a:lnTo>
                    <a:pt x="1573" y="393"/>
                  </a:lnTo>
                  <a:lnTo>
                    <a:pt x="1573" y="394"/>
                  </a:lnTo>
                  <a:lnTo>
                    <a:pt x="1572" y="394"/>
                  </a:lnTo>
                  <a:lnTo>
                    <a:pt x="1571" y="395"/>
                  </a:lnTo>
                  <a:lnTo>
                    <a:pt x="1570" y="395"/>
                  </a:lnTo>
                  <a:lnTo>
                    <a:pt x="1569" y="394"/>
                  </a:lnTo>
                  <a:lnTo>
                    <a:pt x="1568" y="392"/>
                  </a:lnTo>
                  <a:lnTo>
                    <a:pt x="1568" y="391"/>
                  </a:lnTo>
                  <a:lnTo>
                    <a:pt x="1568" y="389"/>
                  </a:lnTo>
                  <a:lnTo>
                    <a:pt x="1568" y="386"/>
                  </a:lnTo>
                  <a:lnTo>
                    <a:pt x="1567" y="384"/>
                  </a:lnTo>
                  <a:lnTo>
                    <a:pt x="1567" y="382"/>
                  </a:lnTo>
                  <a:lnTo>
                    <a:pt x="1567" y="381"/>
                  </a:lnTo>
                  <a:lnTo>
                    <a:pt x="1567" y="380"/>
                  </a:lnTo>
                  <a:close/>
                  <a:moveTo>
                    <a:pt x="1811" y="380"/>
                  </a:moveTo>
                  <a:lnTo>
                    <a:pt x="1812" y="380"/>
                  </a:lnTo>
                  <a:lnTo>
                    <a:pt x="1812" y="381"/>
                  </a:lnTo>
                  <a:lnTo>
                    <a:pt x="1813" y="382"/>
                  </a:lnTo>
                  <a:lnTo>
                    <a:pt x="1814" y="384"/>
                  </a:lnTo>
                  <a:lnTo>
                    <a:pt x="1816" y="386"/>
                  </a:lnTo>
                  <a:lnTo>
                    <a:pt x="1818" y="386"/>
                  </a:lnTo>
                  <a:lnTo>
                    <a:pt x="1819" y="386"/>
                  </a:lnTo>
                  <a:lnTo>
                    <a:pt x="1820" y="385"/>
                  </a:lnTo>
                  <a:lnTo>
                    <a:pt x="1820" y="384"/>
                  </a:lnTo>
                  <a:lnTo>
                    <a:pt x="1821" y="384"/>
                  </a:lnTo>
                  <a:lnTo>
                    <a:pt x="1822" y="384"/>
                  </a:lnTo>
                  <a:lnTo>
                    <a:pt x="1823" y="386"/>
                  </a:lnTo>
                  <a:lnTo>
                    <a:pt x="1825" y="389"/>
                  </a:lnTo>
                  <a:lnTo>
                    <a:pt x="1826" y="391"/>
                  </a:lnTo>
                  <a:lnTo>
                    <a:pt x="1826" y="392"/>
                  </a:lnTo>
                  <a:lnTo>
                    <a:pt x="1826" y="393"/>
                  </a:lnTo>
                  <a:lnTo>
                    <a:pt x="1826" y="393"/>
                  </a:lnTo>
                  <a:lnTo>
                    <a:pt x="1825" y="394"/>
                  </a:lnTo>
                  <a:lnTo>
                    <a:pt x="1825" y="395"/>
                  </a:lnTo>
                  <a:lnTo>
                    <a:pt x="1826" y="398"/>
                  </a:lnTo>
                  <a:lnTo>
                    <a:pt x="1826" y="399"/>
                  </a:lnTo>
                  <a:lnTo>
                    <a:pt x="1827" y="401"/>
                  </a:lnTo>
                  <a:lnTo>
                    <a:pt x="1829" y="403"/>
                  </a:lnTo>
                  <a:lnTo>
                    <a:pt x="1831" y="404"/>
                  </a:lnTo>
                  <a:lnTo>
                    <a:pt x="1832" y="405"/>
                  </a:lnTo>
                  <a:lnTo>
                    <a:pt x="1833" y="405"/>
                  </a:lnTo>
                  <a:lnTo>
                    <a:pt x="1833" y="404"/>
                  </a:lnTo>
                  <a:lnTo>
                    <a:pt x="1832" y="402"/>
                  </a:lnTo>
                  <a:lnTo>
                    <a:pt x="1832" y="400"/>
                  </a:lnTo>
                  <a:lnTo>
                    <a:pt x="1832" y="398"/>
                  </a:lnTo>
                  <a:lnTo>
                    <a:pt x="1832" y="395"/>
                  </a:lnTo>
                  <a:lnTo>
                    <a:pt x="1832" y="395"/>
                  </a:lnTo>
                  <a:lnTo>
                    <a:pt x="1834" y="396"/>
                  </a:lnTo>
                  <a:lnTo>
                    <a:pt x="1835" y="399"/>
                  </a:lnTo>
                  <a:lnTo>
                    <a:pt x="1837" y="401"/>
                  </a:lnTo>
                  <a:lnTo>
                    <a:pt x="1838" y="404"/>
                  </a:lnTo>
                  <a:lnTo>
                    <a:pt x="1841" y="406"/>
                  </a:lnTo>
                  <a:lnTo>
                    <a:pt x="1843" y="409"/>
                  </a:lnTo>
                  <a:lnTo>
                    <a:pt x="1844" y="410"/>
                  </a:lnTo>
                  <a:lnTo>
                    <a:pt x="1845" y="411"/>
                  </a:lnTo>
                  <a:lnTo>
                    <a:pt x="1846" y="410"/>
                  </a:lnTo>
                  <a:lnTo>
                    <a:pt x="1846" y="404"/>
                  </a:lnTo>
                  <a:lnTo>
                    <a:pt x="1844" y="398"/>
                  </a:lnTo>
                  <a:lnTo>
                    <a:pt x="1842" y="391"/>
                  </a:lnTo>
                  <a:lnTo>
                    <a:pt x="1841" y="390"/>
                  </a:lnTo>
                  <a:lnTo>
                    <a:pt x="1841" y="388"/>
                  </a:lnTo>
                  <a:lnTo>
                    <a:pt x="1841" y="386"/>
                  </a:lnTo>
                  <a:lnTo>
                    <a:pt x="1841" y="385"/>
                  </a:lnTo>
                  <a:lnTo>
                    <a:pt x="1842" y="384"/>
                  </a:lnTo>
                  <a:lnTo>
                    <a:pt x="1844" y="385"/>
                  </a:lnTo>
                  <a:lnTo>
                    <a:pt x="1846" y="388"/>
                  </a:lnTo>
                  <a:lnTo>
                    <a:pt x="1847" y="390"/>
                  </a:lnTo>
                  <a:lnTo>
                    <a:pt x="1849" y="392"/>
                  </a:lnTo>
                  <a:lnTo>
                    <a:pt x="1851" y="395"/>
                  </a:lnTo>
                  <a:lnTo>
                    <a:pt x="1855" y="400"/>
                  </a:lnTo>
                  <a:lnTo>
                    <a:pt x="1855" y="402"/>
                  </a:lnTo>
                  <a:lnTo>
                    <a:pt x="1857" y="404"/>
                  </a:lnTo>
                  <a:lnTo>
                    <a:pt x="1858" y="405"/>
                  </a:lnTo>
                  <a:lnTo>
                    <a:pt x="1858" y="406"/>
                  </a:lnTo>
                  <a:lnTo>
                    <a:pt x="1858" y="407"/>
                  </a:lnTo>
                  <a:lnTo>
                    <a:pt x="1859" y="410"/>
                  </a:lnTo>
                  <a:lnTo>
                    <a:pt x="1860" y="412"/>
                  </a:lnTo>
                  <a:lnTo>
                    <a:pt x="1863" y="414"/>
                  </a:lnTo>
                  <a:lnTo>
                    <a:pt x="1863" y="412"/>
                  </a:lnTo>
                  <a:lnTo>
                    <a:pt x="1865" y="414"/>
                  </a:lnTo>
                  <a:lnTo>
                    <a:pt x="1866" y="417"/>
                  </a:lnTo>
                  <a:lnTo>
                    <a:pt x="1867" y="421"/>
                  </a:lnTo>
                  <a:lnTo>
                    <a:pt x="1868" y="424"/>
                  </a:lnTo>
                  <a:lnTo>
                    <a:pt x="1868" y="427"/>
                  </a:lnTo>
                  <a:lnTo>
                    <a:pt x="1875" y="434"/>
                  </a:lnTo>
                  <a:lnTo>
                    <a:pt x="1876" y="436"/>
                  </a:lnTo>
                  <a:lnTo>
                    <a:pt x="1877" y="437"/>
                  </a:lnTo>
                  <a:lnTo>
                    <a:pt x="1879" y="438"/>
                  </a:lnTo>
                  <a:lnTo>
                    <a:pt x="1880" y="439"/>
                  </a:lnTo>
                  <a:lnTo>
                    <a:pt x="1882" y="440"/>
                  </a:lnTo>
                  <a:lnTo>
                    <a:pt x="1884" y="442"/>
                  </a:lnTo>
                  <a:lnTo>
                    <a:pt x="1885" y="444"/>
                  </a:lnTo>
                  <a:lnTo>
                    <a:pt x="1886" y="445"/>
                  </a:lnTo>
                  <a:lnTo>
                    <a:pt x="1887" y="446"/>
                  </a:lnTo>
                  <a:lnTo>
                    <a:pt x="1887" y="447"/>
                  </a:lnTo>
                  <a:lnTo>
                    <a:pt x="1888" y="448"/>
                  </a:lnTo>
                  <a:lnTo>
                    <a:pt x="1890" y="450"/>
                  </a:lnTo>
                  <a:lnTo>
                    <a:pt x="1891" y="451"/>
                  </a:lnTo>
                  <a:lnTo>
                    <a:pt x="1892" y="451"/>
                  </a:lnTo>
                  <a:lnTo>
                    <a:pt x="1893" y="453"/>
                  </a:lnTo>
                  <a:lnTo>
                    <a:pt x="1895" y="455"/>
                  </a:lnTo>
                  <a:lnTo>
                    <a:pt x="1895" y="457"/>
                  </a:lnTo>
                  <a:lnTo>
                    <a:pt x="1896" y="459"/>
                  </a:lnTo>
                  <a:lnTo>
                    <a:pt x="1897" y="460"/>
                  </a:lnTo>
                  <a:lnTo>
                    <a:pt x="1898" y="461"/>
                  </a:lnTo>
                  <a:lnTo>
                    <a:pt x="1899" y="464"/>
                  </a:lnTo>
                  <a:lnTo>
                    <a:pt x="1898" y="464"/>
                  </a:lnTo>
                  <a:lnTo>
                    <a:pt x="1897" y="465"/>
                  </a:lnTo>
                  <a:lnTo>
                    <a:pt x="1896" y="465"/>
                  </a:lnTo>
                  <a:lnTo>
                    <a:pt x="1893" y="465"/>
                  </a:lnTo>
                  <a:lnTo>
                    <a:pt x="1892" y="465"/>
                  </a:lnTo>
                  <a:lnTo>
                    <a:pt x="1891" y="465"/>
                  </a:lnTo>
                  <a:lnTo>
                    <a:pt x="1890" y="465"/>
                  </a:lnTo>
                  <a:lnTo>
                    <a:pt x="1889" y="466"/>
                  </a:lnTo>
                  <a:lnTo>
                    <a:pt x="1889" y="467"/>
                  </a:lnTo>
                  <a:lnTo>
                    <a:pt x="1888" y="468"/>
                  </a:lnTo>
                  <a:lnTo>
                    <a:pt x="1888" y="469"/>
                  </a:lnTo>
                  <a:lnTo>
                    <a:pt x="1887" y="472"/>
                  </a:lnTo>
                  <a:lnTo>
                    <a:pt x="1887" y="475"/>
                  </a:lnTo>
                  <a:lnTo>
                    <a:pt x="1887" y="477"/>
                  </a:lnTo>
                  <a:lnTo>
                    <a:pt x="1888" y="480"/>
                  </a:lnTo>
                  <a:lnTo>
                    <a:pt x="1889" y="483"/>
                  </a:lnTo>
                  <a:lnTo>
                    <a:pt x="1889" y="487"/>
                  </a:lnTo>
                  <a:lnTo>
                    <a:pt x="1890" y="489"/>
                  </a:lnTo>
                  <a:lnTo>
                    <a:pt x="1890" y="491"/>
                  </a:lnTo>
                  <a:lnTo>
                    <a:pt x="1889" y="491"/>
                  </a:lnTo>
                  <a:lnTo>
                    <a:pt x="1889" y="492"/>
                  </a:lnTo>
                  <a:lnTo>
                    <a:pt x="1889" y="494"/>
                  </a:lnTo>
                  <a:lnTo>
                    <a:pt x="1888" y="497"/>
                  </a:lnTo>
                  <a:lnTo>
                    <a:pt x="1888" y="499"/>
                  </a:lnTo>
                  <a:lnTo>
                    <a:pt x="1890" y="503"/>
                  </a:lnTo>
                  <a:lnTo>
                    <a:pt x="1890" y="508"/>
                  </a:lnTo>
                  <a:lnTo>
                    <a:pt x="1890" y="512"/>
                  </a:lnTo>
                  <a:lnTo>
                    <a:pt x="1891" y="514"/>
                  </a:lnTo>
                  <a:lnTo>
                    <a:pt x="1891" y="515"/>
                  </a:lnTo>
                  <a:lnTo>
                    <a:pt x="1891" y="518"/>
                  </a:lnTo>
                  <a:lnTo>
                    <a:pt x="1890" y="520"/>
                  </a:lnTo>
                  <a:lnTo>
                    <a:pt x="1890" y="523"/>
                  </a:lnTo>
                  <a:lnTo>
                    <a:pt x="1893" y="538"/>
                  </a:lnTo>
                  <a:lnTo>
                    <a:pt x="1895" y="554"/>
                  </a:lnTo>
                  <a:lnTo>
                    <a:pt x="1892" y="552"/>
                  </a:lnTo>
                  <a:lnTo>
                    <a:pt x="1890" y="549"/>
                  </a:lnTo>
                  <a:lnTo>
                    <a:pt x="1888" y="546"/>
                  </a:lnTo>
                  <a:lnTo>
                    <a:pt x="1886" y="543"/>
                  </a:lnTo>
                  <a:lnTo>
                    <a:pt x="1885" y="540"/>
                  </a:lnTo>
                  <a:lnTo>
                    <a:pt x="1885" y="537"/>
                  </a:lnTo>
                  <a:lnTo>
                    <a:pt x="1885" y="535"/>
                  </a:lnTo>
                  <a:lnTo>
                    <a:pt x="1886" y="533"/>
                  </a:lnTo>
                  <a:lnTo>
                    <a:pt x="1887" y="531"/>
                  </a:lnTo>
                  <a:lnTo>
                    <a:pt x="1885" y="531"/>
                  </a:lnTo>
                  <a:lnTo>
                    <a:pt x="1884" y="532"/>
                  </a:lnTo>
                  <a:lnTo>
                    <a:pt x="1882" y="532"/>
                  </a:lnTo>
                  <a:lnTo>
                    <a:pt x="1881" y="531"/>
                  </a:lnTo>
                  <a:lnTo>
                    <a:pt x="1880" y="529"/>
                  </a:lnTo>
                  <a:lnTo>
                    <a:pt x="1878" y="526"/>
                  </a:lnTo>
                  <a:lnTo>
                    <a:pt x="1877" y="524"/>
                  </a:lnTo>
                  <a:lnTo>
                    <a:pt x="1876" y="523"/>
                  </a:lnTo>
                  <a:lnTo>
                    <a:pt x="1874" y="520"/>
                  </a:lnTo>
                  <a:lnTo>
                    <a:pt x="1871" y="518"/>
                  </a:lnTo>
                  <a:lnTo>
                    <a:pt x="1870" y="515"/>
                  </a:lnTo>
                  <a:lnTo>
                    <a:pt x="1868" y="514"/>
                  </a:lnTo>
                  <a:lnTo>
                    <a:pt x="1866" y="511"/>
                  </a:lnTo>
                  <a:lnTo>
                    <a:pt x="1864" y="509"/>
                  </a:lnTo>
                  <a:lnTo>
                    <a:pt x="1863" y="505"/>
                  </a:lnTo>
                  <a:lnTo>
                    <a:pt x="1863" y="504"/>
                  </a:lnTo>
                  <a:lnTo>
                    <a:pt x="1864" y="503"/>
                  </a:lnTo>
                  <a:lnTo>
                    <a:pt x="1864" y="503"/>
                  </a:lnTo>
                  <a:lnTo>
                    <a:pt x="1865" y="503"/>
                  </a:lnTo>
                  <a:lnTo>
                    <a:pt x="1866" y="503"/>
                  </a:lnTo>
                  <a:lnTo>
                    <a:pt x="1866" y="503"/>
                  </a:lnTo>
                  <a:lnTo>
                    <a:pt x="1867" y="503"/>
                  </a:lnTo>
                  <a:lnTo>
                    <a:pt x="1868" y="504"/>
                  </a:lnTo>
                  <a:lnTo>
                    <a:pt x="1869" y="504"/>
                  </a:lnTo>
                  <a:lnTo>
                    <a:pt x="1870" y="503"/>
                  </a:lnTo>
                  <a:lnTo>
                    <a:pt x="1870" y="501"/>
                  </a:lnTo>
                  <a:lnTo>
                    <a:pt x="1868" y="499"/>
                  </a:lnTo>
                  <a:lnTo>
                    <a:pt x="1866" y="495"/>
                  </a:lnTo>
                  <a:lnTo>
                    <a:pt x="1864" y="493"/>
                  </a:lnTo>
                  <a:lnTo>
                    <a:pt x="1863" y="492"/>
                  </a:lnTo>
                  <a:lnTo>
                    <a:pt x="1862" y="492"/>
                  </a:lnTo>
                  <a:lnTo>
                    <a:pt x="1859" y="491"/>
                  </a:lnTo>
                  <a:lnTo>
                    <a:pt x="1858" y="489"/>
                  </a:lnTo>
                  <a:lnTo>
                    <a:pt x="1856" y="486"/>
                  </a:lnTo>
                  <a:lnTo>
                    <a:pt x="1854" y="482"/>
                  </a:lnTo>
                  <a:lnTo>
                    <a:pt x="1853" y="480"/>
                  </a:lnTo>
                  <a:lnTo>
                    <a:pt x="1851" y="477"/>
                  </a:lnTo>
                  <a:lnTo>
                    <a:pt x="1851" y="476"/>
                  </a:lnTo>
                  <a:lnTo>
                    <a:pt x="1851" y="475"/>
                  </a:lnTo>
                  <a:lnTo>
                    <a:pt x="1852" y="473"/>
                  </a:lnTo>
                  <a:lnTo>
                    <a:pt x="1852" y="473"/>
                  </a:lnTo>
                  <a:lnTo>
                    <a:pt x="1854" y="473"/>
                  </a:lnTo>
                  <a:lnTo>
                    <a:pt x="1855" y="473"/>
                  </a:lnTo>
                  <a:lnTo>
                    <a:pt x="1856" y="473"/>
                  </a:lnTo>
                  <a:lnTo>
                    <a:pt x="1857" y="473"/>
                  </a:lnTo>
                  <a:lnTo>
                    <a:pt x="1858" y="472"/>
                  </a:lnTo>
                  <a:lnTo>
                    <a:pt x="1858" y="470"/>
                  </a:lnTo>
                  <a:lnTo>
                    <a:pt x="1858" y="469"/>
                  </a:lnTo>
                  <a:lnTo>
                    <a:pt x="1858" y="467"/>
                  </a:lnTo>
                  <a:lnTo>
                    <a:pt x="1859" y="467"/>
                  </a:lnTo>
                  <a:lnTo>
                    <a:pt x="1862" y="467"/>
                  </a:lnTo>
                  <a:lnTo>
                    <a:pt x="1863" y="467"/>
                  </a:lnTo>
                  <a:lnTo>
                    <a:pt x="1864" y="467"/>
                  </a:lnTo>
                  <a:lnTo>
                    <a:pt x="1866" y="468"/>
                  </a:lnTo>
                  <a:lnTo>
                    <a:pt x="1868" y="467"/>
                  </a:lnTo>
                  <a:lnTo>
                    <a:pt x="1868" y="466"/>
                  </a:lnTo>
                  <a:lnTo>
                    <a:pt x="1868" y="464"/>
                  </a:lnTo>
                  <a:lnTo>
                    <a:pt x="1868" y="461"/>
                  </a:lnTo>
                  <a:lnTo>
                    <a:pt x="1867" y="458"/>
                  </a:lnTo>
                  <a:lnTo>
                    <a:pt x="1866" y="455"/>
                  </a:lnTo>
                  <a:lnTo>
                    <a:pt x="1865" y="453"/>
                  </a:lnTo>
                  <a:lnTo>
                    <a:pt x="1864" y="453"/>
                  </a:lnTo>
                  <a:lnTo>
                    <a:pt x="1863" y="453"/>
                  </a:lnTo>
                  <a:lnTo>
                    <a:pt x="1863" y="454"/>
                  </a:lnTo>
                  <a:lnTo>
                    <a:pt x="1863" y="455"/>
                  </a:lnTo>
                  <a:lnTo>
                    <a:pt x="1863" y="455"/>
                  </a:lnTo>
                  <a:lnTo>
                    <a:pt x="1863" y="457"/>
                  </a:lnTo>
                  <a:lnTo>
                    <a:pt x="1862" y="458"/>
                  </a:lnTo>
                  <a:lnTo>
                    <a:pt x="1862" y="460"/>
                  </a:lnTo>
                  <a:lnTo>
                    <a:pt x="1862" y="461"/>
                  </a:lnTo>
                  <a:lnTo>
                    <a:pt x="1860" y="461"/>
                  </a:lnTo>
                  <a:lnTo>
                    <a:pt x="1859" y="458"/>
                  </a:lnTo>
                  <a:lnTo>
                    <a:pt x="1858" y="456"/>
                  </a:lnTo>
                  <a:lnTo>
                    <a:pt x="1857" y="454"/>
                  </a:lnTo>
                  <a:lnTo>
                    <a:pt x="1856" y="453"/>
                  </a:lnTo>
                  <a:lnTo>
                    <a:pt x="1855" y="451"/>
                  </a:lnTo>
                  <a:lnTo>
                    <a:pt x="1854" y="451"/>
                  </a:lnTo>
                  <a:lnTo>
                    <a:pt x="1853" y="453"/>
                  </a:lnTo>
                  <a:lnTo>
                    <a:pt x="1853" y="453"/>
                  </a:lnTo>
                  <a:lnTo>
                    <a:pt x="1853" y="456"/>
                  </a:lnTo>
                  <a:lnTo>
                    <a:pt x="1853" y="458"/>
                  </a:lnTo>
                  <a:lnTo>
                    <a:pt x="1854" y="460"/>
                  </a:lnTo>
                  <a:lnTo>
                    <a:pt x="1854" y="464"/>
                  </a:lnTo>
                  <a:lnTo>
                    <a:pt x="1854" y="465"/>
                  </a:lnTo>
                  <a:lnTo>
                    <a:pt x="1853" y="465"/>
                  </a:lnTo>
                  <a:lnTo>
                    <a:pt x="1852" y="465"/>
                  </a:lnTo>
                  <a:lnTo>
                    <a:pt x="1851" y="465"/>
                  </a:lnTo>
                  <a:lnTo>
                    <a:pt x="1848" y="467"/>
                  </a:lnTo>
                  <a:lnTo>
                    <a:pt x="1847" y="467"/>
                  </a:lnTo>
                  <a:lnTo>
                    <a:pt x="1846" y="466"/>
                  </a:lnTo>
                  <a:lnTo>
                    <a:pt x="1844" y="464"/>
                  </a:lnTo>
                  <a:lnTo>
                    <a:pt x="1843" y="461"/>
                  </a:lnTo>
                  <a:lnTo>
                    <a:pt x="1842" y="458"/>
                  </a:lnTo>
                  <a:lnTo>
                    <a:pt x="1841" y="456"/>
                  </a:lnTo>
                  <a:lnTo>
                    <a:pt x="1838" y="453"/>
                  </a:lnTo>
                  <a:lnTo>
                    <a:pt x="1832" y="444"/>
                  </a:lnTo>
                  <a:lnTo>
                    <a:pt x="1826" y="434"/>
                  </a:lnTo>
                  <a:lnTo>
                    <a:pt x="1825" y="432"/>
                  </a:lnTo>
                  <a:lnTo>
                    <a:pt x="1824" y="429"/>
                  </a:lnTo>
                  <a:lnTo>
                    <a:pt x="1825" y="427"/>
                  </a:lnTo>
                  <a:lnTo>
                    <a:pt x="1825" y="424"/>
                  </a:lnTo>
                  <a:lnTo>
                    <a:pt x="1825" y="422"/>
                  </a:lnTo>
                  <a:lnTo>
                    <a:pt x="1824" y="418"/>
                  </a:lnTo>
                  <a:lnTo>
                    <a:pt x="1818" y="412"/>
                  </a:lnTo>
                  <a:lnTo>
                    <a:pt x="1816" y="410"/>
                  </a:lnTo>
                  <a:lnTo>
                    <a:pt x="1814" y="407"/>
                  </a:lnTo>
                  <a:lnTo>
                    <a:pt x="1814" y="406"/>
                  </a:lnTo>
                  <a:lnTo>
                    <a:pt x="1813" y="404"/>
                  </a:lnTo>
                  <a:lnTo>
                    <a:pt x="1812" y="402"/>
                  </a:lnTo>
                  <a:lnTo>
                    <a:pt x="1811" y="399"/>
                  </a:lnTo>
                  <a:lnTo>
                    <a:pt x="1810" y="396"/>
                  </a:lnTo>
                  <a:lnTo>
                    <a:pt x="1809" y="393"/>
                  </a:lnTo>
                  <a:lnTo>
                    <a:pt x="1808" y="390"/>
                  </a:lnTo>
                  <a:lnTo>
                    <a:pt x="1806" y="386"/>
                  </a:lnTo>
                  <a:lnTo>
                    <a:pt x="1805" y="384"/>
                  </a:lnTo>
                  <a:lnTo>
                    <a:pt x="1806" y="382"/>
                  </a:lnTo>
                  <a:lnTo>
                    <a:pt x="1808" y="381"/>
                  </a:lnTo>
                  <a:lnTo>
                    <a:pt x="1810" y="380"/>
                  </a:lnTo>
                  <a:lnTo>
                    <a:pt x="1811" y="380"/>
                  </a:lnTo>
                  <a:close/>
                  <a:moveTo>
                    <a:pt x="428" y="372"/>
                  </a:moveTo>
                  <a:lnTo>
                    <a:pt x="436" y="374"/>
                  </a:lnTo>
                  <a:lnTo>
                    <a:pt x="440" y="378"/>
                  </a:lnTo>
                  <a:lnTo>
                    <a:pt x="446" y="384"/>
                  </a:lnTo>
                  <a:lnTo>
                    <a:pt x="450" y="390"/>
                  </a:lnTo>
                  <a:lnTo>
                    <a:pt x="454" y="396"/>
                  </a:lnTo>
                  <a:lnTo>
                    <a:pt x="455" y="403"/>
                  </a:lnTo>
                  <a:lnTo>
                    <a:pt x="450" y="411"/>
                  </a:lnTo>
                  <a:lnTo>
                    <a:pt x="443" y="417"/>
                  </a:lnTo>
                  <a:lnTo>
                    <a:pt x="434" y="420"/>
                  </a:lnTo>
                  <a:lnTo>
                    <a:pt x="423" y="418"/>
                  </a:lnTo>
                  <a:lnTo>
                    <a:pt x="413" y="416"/>
                  </a:lnTo>
                  <a:lnTo>
                    <a:pt x="404" y="413"/>
                  </a:lnTo>
                  <a:lnTo>
                    <a:pt x="398" y="410"/>
                  </a:lnTo>
                  <a:lnTo>
                    <a:pt x="397" y="405"/>
                  </a:lnTo>
                  <a:lnTo>
                    <a:pt x="398" y="399"/>
                  </a:lnTo>
                  <a:lnTo>
                    <a:pt x="402" y="392"/>
                  </a:lnTo>
                  <a:lnTo>
                    <a:pt x="406" y="385"/>
                  </a:lnTo>
                  <a:lnTo>
                    <a:pt x="409" y="380"/>
                  </a:lnTo>
                  <a:lnTo>
                    <a:pt x="414" y="374"/>
                  </a:lnTo>
                  <a:lnTo>
                    <a:pt x="420" y="372"/>
                  </a:lnTo>
                  <a:lnTo>
                    <a:pt x="428" y="372"/>
                  </a:lnTo>
                  <a:close/>
                  <a:moveTo>
                    <a:pt x="1855" y="372"/>
                  </a:moveTo>
                  <a:lnTo>
                    <a:pt x="1856" y="373"/>
                  </a:lnTo>
                  <a:lnTo>
                    <a:pt x="1857" y="374"/>
                  </a:lnTo>
                  <a:lnTo>
                    <a:pt x="1858" y="375"/>
                  </a:lnTo>
                  <a:lnTo>
                    <a:pt x="1859" y="378"/>
                  </a:lnTo>
                  <a:lnTo>
                    <a:pt x="1860" y="379"/>
                  </a:lnTo>
                  <a:lnTo>
                    <a:pt x="1862" y="381"/>
                  </a:lnTo>
                  <a:lnTo>
                    <a:pt x="1863" y="383"/>
                  </a:lnTo>
                  <a:lnTo>
                    <a:pt x="1864" y="385"/>
                  </a:lnTo>
                  <a:lnTo>
                    <a:pt x="1866" y="386"/>
                  </a:lnTo>
                  <a:lnTo>
                    <a:pt x="1868" y="389"/>
                  </a:lnTo>
                  <a:lnTo>
                    <a:pt x="1869" y="390"/>
                  </a:lnTo>
                  <a:lnTo>
                    <a:pt x="1869" y="390"/>
                  </a:lnTo>
                  <a:lnTo>
                    <a:pt x="1870" y="389"/>
                  </a:lnTo>
                  <a:lnTo>
                    <a:pt x="1870" y="388"/>
                  </a:lnTo>
                  <a:lnTo>
                    <a:pt x="1870" y="388"/>
                  </a:lnTo>
                  <a:lnTo>
                    <a:pt x="1870" y="386"/>
                  </a:lnTo>
                  <a:lnTo>
                    <a:pt x="1871" y="385"/>
                  </a:lnTo>
                  <a:lnTo>
                    <a:pt x="1871" y="385"/>
                  </a:lnTo>
                  <a:lnTo>
                    <a:pt x="1873" y="386"/>
                  </a:lnTo>
                  <a:lnTo>
                    <a:pt x="1876" y="389"/>
                  </a:lnTo>
                  <a:lnTo>
                    <a:pt x="1876" y="390"/>
                  </a:lnTo>
                  <a:lnTo>
                    <a:pt x="1876" y="389"/>
                  </a:lnTo>
                  <a:lnTo>
                    <a:pt x="1876" y="389"/>
                  </a:lnTo>
                  <a:lnTo>
                    <a:pt x="1876" y="388"/>
                  </a:lnTo>
                  <a:lnTo>
                    <a:pt x="1876" y="386"/>
                  </a:lnTo>
                  <a:lnTo>
                    <a:pt x="1876" y="386"/>
                  </a:lnTo>
                  <a:lnTo>
                    <a:pt x="1876" y="385"/>
                  </a:lnTo>
                  <a:lnTo>
                    <a:pt x="1876" y="383"/>
                  </a:lnTo>
                  <a:lnTo>
                    <a:pt x="1876" y="382"/>
                  </a:lnTo>
                  <a:lnTo>
                    <a:pt x="1877" y="381"/>
                  </a:lnTo>
                  <a:lnTo>
                    <a:pt x="1878" y="382"/>
                  </a:lnTo>
                  <a:lnTo>
                    <a:pt x="1880" y="383"/>
                  </a:lnTo>
                  <a:lnTo>
                    <a:pt x="1882" y="384"/>
                  </a:lnTo>
                  <a:lnTo>
                    <a:pt x="1885" y="386"/>
                  </a:lnTo>
                  <a:lnTo>
                    <a:pt x="1886" y="390"/>
                  </a:lnTo>
                  <a:lnTo>
                    <a:pt x="1887" y="392"/>
                  </a:lnTo>
                  <a:lnTo>
                    <a:pt x="1887" y="393"/>
                  </a:lnTo>
                  <a:lnTo>
                    <a:pt x="1887" y="395"/>
                  </a:lnTo>
                  <a:lnTo>
                    <a:pt x="1887" y="396"/>
                  </a:lnTo>
                  <a:lnTo>
                    <a:pt x="1887" y="399"/>
                  </a:lnTo>
                  <a:lnTo>
                    <a:pt x="1887" y="400"/>
                  </a:lnTo>
                  <a:lnTo>
                    <a:pt x="1888" y="402"/>
                  </a:lnTo>
                  <a:lnTo>
                    <a:pt x="1889" y="402"/>
                  </a:lnTo>
                  <a:lnTo>
                    <a:pt x="1890" y="402"/>
                  </a:lnTo>
                  <a:lnTo>
                    <a:pt x="1890" y="400"/>
                  </a:lnTo>
                  <a:lnTo>
                    <a:pt x="1890" y="399"/>
                  </a:lnTo>
                  <a:lnTo>
                    <a:pt x="1889" y="396"/>
                  </a:lnTo>
                  <a:lnTo>
                    <a:pt x="1889" y="395"/>
                  </a:lnTo>
                  <a:lnTo>
                    <a:pt x="1890" y="394"/>
                  </a:lnTo>
                  <a:lnTo>
                    <a:pt x="1890" y="393"/>
                  </a:lnTo>
                  <a:lnTo>
                    <a:pt x="1892" y="393"/>
                  </a:lnTo>
                  <a:lnTo>
                    <a:pt x="1893" y="393"/>
                  </a:lnTo>
                  <a:lnTo>
                    <a:pt x="1901" y="400"/>
                  </a:lnTo>
                  <a:lnTo>
                    <a:pt x="1902" y="402"/>
                  </a:lnTo>
                  <a:lnTo>
                    <a:pt x="1904" y="404"/>
                  </a:lnTo>
                  <a:lnTo>
                    <a:pt x="1906" y="405"/>
                  </a:lnTo>
                  <a:lnTo>
                    <a:pt x="1908" y="406"/>
                  </a:lnTo>
                  <a:lnTo>
                    <a:pt x="1910" y="407"/>
                  </a:lnTo>
                  <a:lnTo>
                    <a:pt x="1913" y="409"/>
                  </a:lnTo>
                  <a:lnTo>
                    <a:pt x="1915" y="410"/>
                  </a:lnTo>
                  <a:lnTo>
                    <a:pt x="1918" y="411"/>
                  </a:lnTo>
                  <a:lnTo>
                    <a:pt x="1920" y="413"/>
                  </a:lnTo>
                  <a:lnTo>
                    <a:pt x="1922" y="414"/>
                  </a:lnTo>
                  <a:lnTo>
                    <a:pt x="1923" y="416"/>
                  </a:lnTo>
                  <a:lnTo>
                    <a:pt x="1923" y="417"/>
                  </a:lnTo>
                  <a:lnTo>
                    <a:pt x="1923" y="418"/>
                  </a:lnTo>
                  <a:lnTo>
                    <a:pt x="1922" y="420"/>
                  </a:lnTo>
                  <a:lnTo>
                    <a:pt x="1922" y="421"/>
                  </a:lnTo>
                  <a:lnTo>
                    <a:pt x="1922" y="422"/>
                  </a:lnTo>
                  <a:lnTo>
                    <a:pt x="1922" y="423"/>
                  </a:lnTo>
                  <a:lnTo>
                    <a:pt x="1923" y="424"/>
                  </a:lnTo>
                  <a:lnTo>
                    <a:pt x="1924" y="426"/>
                  </a:lnTo>
                  <a:lnTo>
                    <a:pt x="1925" y="428"/>
                  </a:lnTo>
                  <a:lnTo>
                    <a:pt x="1925" y="429"/>
                  </a:lnTo>
                  <a:lnTo>
                    <a:pt x="1924" y="431"/>
                  </a:lnTo>
                  <a:lnTo>
                    <a:pt x="1924" y="432"/>
                  </a:lnTo>
                  <a:lnTo>
                    <a:pt x="1924" y="433"/>
                  </a:lnTo>
                  <a:lnTo>
                    <a:pt x="1922" y="435"/>
                  </a:lnTo>
                  <a:lnTo>
                    <a:pt x="1922" y="437"/>
                  </a:lnTo>
                  <a:lnTo>
                    <a:pt x="1922" y="439"/>
                  </a:lnTo>
                  <a:lnTo>
                    <a:pt x="1921" y="442"/>
                  </a:lnTo>
                  <a:lnTo>
                    <a:pt x="1921" y="444"/>
                  </a:lnTo>
                  <a:lnTo>
                    <a:pt x="1920" y="446"/>
                  </a:lnTo>
                  <a:lnTo>
                    <a:pt x="1920" y="448"/>
                  </a:lnTo>
                  <a:lnTo>
                    <a:pt x="1920" y="449"/>
                  </a:lnTo>
                  <a:lnTo>
                    <a:pt x="1919" y="450"/>
                  </a:lnTo>
                  <a:lnTo>
                    <a:pt x="1917" y="450"/>
                  </a:lnTo>
                  <a:lnTo>
                    <a:pt x="1914" y="450"/>
                  </a:lnTo>
                  <a:lnTo>
                    <a:pt x="1913" y="449"/>
                  </a:lnTo>
                  <a:lnTo>
                    <a:pt x="1911" y="448"/>
                  </a:lnTo>
                  <a:lnTo>
                    <a:pt x="1909" y="447"/>
                  </a:lnTo>
                  <a:lnTo>
                    <a:pt x="1907" y="445"/>
                  </a:lnTo>
                  <a:lnTo>
                    <a:pt x="1906" y="444"/>
                  </a:lnTo>
                  <a:lnTo>
                    <a:pt x="1902" y="442"/>
                  </a:lnTo>
                  <a:lnTo>
                    <a:pt x="1899" y="439"/>
                  </a:lnTo>
                  <a:lnTo>
                    <a:pt x="1896" y="437"/>
                  </a:lnTo>
                  <a:lnTo>
                    <a:pt x="1889" y="436"/>
                  </a:lnTo>
                  <a:lnTo>
                    <a:pt x="1882" y="434"/>
                  </a:lnTo>
                  <a:lnTo>
                    <a:pt x="1876" y="428"/>
                  </a:lnTo>
                  <a:lnTo>
                    <a:pt x="1875" y="427"/>
                  </a:lnTo>
                  <a:lnTo>
                    <a:pt x="1874" y="425"/>
                  </a:lnTo>
                  <a:lnTo>
                    <a:pt x="1874" y="424"/>
                  </a:lnTo>
                  <a:lnTo>
                    <a:pt x="1873" y="422"/>
                  </a:lnTo>
                  <a:lnTo>
                    <a:pt x="1873" y="421"/>
                  </a:lnTo>
                  <a:lnTo>
                    <a:pt x="1873" y="420"/>
                  </a:lnTo>
                  <a:lnTo>
                    <a:pt x="1878" y="422"/>
                  </a:lnTo>
                  <a:lnTo>
                    <a:pt x="1878" y="422"/>
                  </a:lnTo>
                  <a:lnTo>
                    <a:pt x="1878" y="421"/>
                  </a:lnTo>
                  <a:lnTo>
                    <a:pt x="1878" y="420"/>
                  </a:lnTo>
                  <a:lnTo>
                    <a:pt x="1877" y="418"/>
                  </a:lnTo>
                  <a:lnTo>
                    <a:pt x="1877" y="417"/>
                  </a:lnTo>
                  <a:lnTo>
                    <a:pt x="1878" y="417"/>
                  </a:lnTo>
                  <a:lnTo>
                    <a:pt x="1879" y="417"/>
                  </a:lnTo>
                  <a:lnTo>
                    <a:pt x="1880" y="417"/>
                  </a:lnTo>
                  <a:lnTo>
                    <a:pt x="1880" y="417"/>
                  </a:lnTo>
                  <a:lnTo>
                    <a:pt x="1881" y="417"/>
                  </a:lnTo>
                  <a:lnTo>
                    <a:pt x="1880" y="416"/>
                  </a:lnTo>
                  <a:lnTo>
                    <a:pt x="1880" y="415"/>
                  </a:lnTo>
                  <a:lnTo>
                    <a:pt x="1879" y="413"/>
                  </a:lnTo>
                  <a:lnTo>
                    <a:pt x="1878" y="411"/>
                  </a:lnTo>
                  <a:lnTo>
                    <a:pt x="1877" y="410"/>
                  </a:lnTo>
                  <a:lnTo>
                    <a:pt x="1875" y="409"/>
                  </a:lnTo>
                  <a:lnTo>
                    <a:pt x="1874" y="409"/>
                  </a:lnTo>
                  <a:lnTo>
                    <a:pt x="1871" y="409"/>
                  </a:lnTo>
                  <a:lnTo>
                    <a:pt x="1870" y="409"/>
                  </a:lnTo>
                  <a:lnTo>
                    <a:pt x="1869" y="410"/>
                  </a:lnTo>
                  <a:lnTo>
                    <a:pt x="1868" y="411"/>
                  </a:lnTo>
                  <a:lnTo>
                    <a:pt x="1867" y="412"/>
                  </a:lnTo>
                  <a:lnTo>
                    <a:pt x="1866" y="412"/>
                  </a:lnTo>
                  <a:lnTo>
                    <a:pt x="1864" y="411"/>
                  </a:lnTo>
                  <a:lnTo>
                    <a:pt x="1863" y="411"/>
                  </a:lnTo>
                  <a:lnTo>
                    <a:pt x="1862" y="411"/>
                  </a:lnTo>
                  <a:lnTo>
                    <a:pt x="1862" y="410"/>
                  </a:lnTo>
                  <a:lnTo>
                    <a:pt x="1860" y="409"/>
                  </a:lnTo>
                  <a:lnTo>
                    <a:pt x="1859" y="406"/>
                  </a:lnTo>
                  <a:lnTo>
                    <a:pt x="1858" y="405"/>
                  </a:lnTo>
                  <a:lnTo>
                    <a:pt x="1857" y="404"/>
                  </a:lnTo>
                  <a:lnTo>
                    <a:pt x="1856" y="402"/>
                  </a:lnTo>
                  <a:lnTo>
                    <a:pt x="1855" y="400"/>
                  </a:lnTo>
                  <a:lnTo>
                    <a:pt x="1855" y="400"/>
                  </a:lnTo>
                  <a:lnTo>
                    <a:pt x="1855" y="399"/>
                  </a:lnTo>
                  <a:lnTo>
                    <a:pt x="1856" y="398"/>
                  </a:lnTo>
                  <a:lnTo>
                    <a:pt x="1856" y="398"/>
                  </a:lnTo>
                  <a:lnTo>
                    <a:pt x="1857" y="398"/>
                  </a:lnTo>
                  <a:lnTo>
                    <a:pt x="1856" y="396"/>
                  </a:lnTo>
                  <a:lnTo>
                    <a:pt x="1855" y="394"/>
                  </a:lnTo>
                  <a:lnTo>
                    <a:pt x="1854" y="392"/>
                  </a:lnTo>
                  <a:lnTo>
                    <a:pt x="1852" y="390"/>
                  </a:lnTo>
                  <a:lnTo>
                    <a:pt x="1849" y="389"/>
                  </a:lnTo>
                  <a:lnTo>
                    <a:pt x="1848" y="389"/>
                  </a:lnTo>
                  <a:lnTo>
                    <a:pt x="1846" y="386"/>
                  </a:lnTo>
                  <a:lnTo>
                    <a:pt x="1845" y="385"/>
                  </a:lnTo>
                  <a:lnTo>
                    <a:pt x="1845" y="383"/>
                  </a:lnTo>
                  <a:lnTo>
                    <a:pt x="1845" y="382"/>
                  </a:lnTo>
                  <a:lnTo>
                    <a:pt x="1846" y="381"/>
                  </a:lnTo>
                  <a:lnTo>
                    <a:pt x="1847" y="381"/>
                  </a:lnTo>
                  <a:lnTo>
                    <a:pt x="1848" y="382"/>
                  </a:lnTo>
                  <a:lnTo>
                    <a:pt x="1851" y="383"/>
                  </a:lnTo>
                  <a:lnTo>
                    <a:pt x="1853" y="384"/>
                  </a:lnTo>
                  <a:lnTo>
                    <a:pt x="1854" y="385"/>
                  </a:lnTo>
                  <a:lnTo>
                    <a:pt x="1855" y="385"/>
                  </a:lnTo>
                  <a:lnTo>
                    <a:pt x="1855" y="385"/>
                  </a:lnTo>
                  <a:lnTo>
                    <a:pt x="1855" y="384"/>
                  </a:lnTo>
                  <a:lnTo>
                    <a:pt x="1855" y="382"/>
                  </a:lnTo>
                  <a:lnTo>
                    <a:pt x="1855" y="381"/>
                  </a:lnTo>
                  <a:lnTo>
                    <a:pt x="1855" y="380"/>
                  </a:lnTo>
                  <a:lnTo>
                    <a:pt x="1854" y="379"/>
                  </a:lnTo>
                  <a:lnTo>
                    <a:pt x="1854" y="378"/>
                  </a:lnTo>
                  <a:lnTo>
                    <a:pt x="1854" y="378"/>
                  </a:lnTo>
                  <a:lnTo>
                    <a:pt x="1854" y="377"/>
                  </a:lnTo>
                  <a:lnTo>
                    <a:pt x="1855" y="375"/>
                  </a:lnTo>
                  <a:lnTo>
                    <a:pt x="1854" y="373"/>
                  </a:lnTo>
                  <a:lnTo>
                    <a:pt x="1854" y="372"/>
                  </a:lnTo>
                  <a:lnTo>
                    <a:pt x="1855" y="372"/>
                  </a:lnTo>
                  <a:close/>
                  <a:moveTo>
                    <a:pt x="1843" y="361"/>
                  </a:moveTo>
                  <a:lnTo>
                    <a:pt x="1844" y="361"/>
                  </a:lnTo>
                  <a:lnTo>
                    <a:pt x="1845" y="361"/>
                  </a:lnTo>
                  <a:lnTo>
                    <a:pt x="1847" y="362"/>
                  </a:lnTo>
                  <a:lnTo>
                    <a:pt x="1849" y="363"/>
                  </a:lnTo>
                  <a:lnTo>
                    <a:pt x="1853" y="367"/>
                  </a:lnTo>
                  <a:lnTo>
                    <a:pt x="1852" y="368"/>
                  </a:lnTo>
                  <a:lnTo>
                    <a:pt x="1851" y="368"/>
                  </a:lnTo>
                  <a:lnTo>
                    <a:pt x="1849" y="367"/>
                  </a:lnTo>
                  <a:lnTo>
                    <a:pt x="1848" y="367"/>
                  </a:lnTo>
                  <a:lnTo>
                    <a:pt x="1846" y="366"/>
                  </a:lnTo>
                  <a:lnTo>
                    <a:pt x="1845" y="364"/>
                  </a:lnTo>
                  <a:lnTo>
                    <a:pt x="1844" y="363"/>
                  </a:lnTo>
                  <a:lnTo>
                    <a:pt x="1843" y="362"/>
                  </a:lnTo>
                  <a:lnTo>
                    <a:pt x="1843" y="362"/>
                  </a:lnTo>
                  <a:lnTo>
                    <a:pt x="1843" y="361"/>
                  </a:lnTo>
                  <a:lnTo>
                    <a:pt x="1843" y="361"/>
                  </a:lnTo>
                  <a:close/>
                  <a:moveTo>
                    <a:pt x="431" y="352"/>
                  </a:moveTo>
                  <a:lnTo>
                    <a:pt x="437" y="352"/>
                  </a:lnTo>
                  <a:lnTo>
                    <a:pt x="441" y="353"/>
                  </a:lnTo>
                  <a:lnTo>
                    <a:pt x="444" y="355"/>
                  </a:lnTo>
                  <a:lnTo>
                    <a:pt x="439" y="358"/>
                  </a:lnTo>
                  <a:lnTo>
                    <a:pt x="433" y="359"/>
                  </a:lnTo>
                  <a:lnTo>
                    <a:pt x="427" y="358"/>
                  </a:lnTo>
                  <a:lnTo>
                    <a:pt x="425" y="355"/>
                  </a:lnTo>
                  <a:lnTo>
                    <a:pt x="427" y="353"/>
                  </a:lnTo>
                  <a:lnTo>
                    <a:pt x="431" y="352"/>
                  </a:lnTo>
                  <a:close/>
                  <a:moveTo>
                    <a:pt x="133" y="345"/>
                  </a:moveTo>
                  <a:lnTo>
                    <a:pt x="134" y="345"/>
                  </a:lnTo>
                  <a:lnTo>
                    <a:pt x="135" y="346"/>
                  </a:lnTo>
                  <a:lnTo>
                    <a:pt x="135" y="347"/>
                  </a:lnTo>
                  <a:lnTo>
                    <a:pt x="136" y="348"/>
                  </a:lnTo>
                  <a:lnTo>
                    <a:pt x="136" y="350"/>
                  </a:lnTo>
                  <a:lnTo>
                    <a:pt x="138" y="352"/>
                  </a:lnTo>
                  <a:lnTo>
                    <a:pt x="136" y="355"/>
                  </a:lnTo>
                  <a:lnTo>
                    <a:pt x="136" y="356"/>
                  </a:lnTo>
                  <a:lnTo>
                    <a:pt x="135" y="357"/>
                  </a:lnTo>
                  <a:lnTo>
                    <a:pt x="132" y="358"/>
                  </a:lnTo>
                  <a:lnTo>
                    <a:pt x="129" y="359"/>
                  </a:lnTo>
                  <a:lnTo>
                    <a:pt x="125" y="360"/>
                  </a:lnTo>
                  <a:lnTo>
                    <a:pt x="122" y="360"/>
                  </a:lnTo>
                  <a:lnTo>
                    <a:pt x="121" y="358"/>
                  </a:lnTo>
                  <a:lnTo>
                    <a:pt x="120" y="355"/>
                  </a:lnTo>
                  <a:lnTo>
                    <a:pt x="120" y="352"/>
                  </a:lnTo>
                  <a:lnTo>
                    <a:pt x="122" y="349"/>
                  </a:lnTo>
                  <a:lnTo>
                    <a:pt x="124" y="347"/>
                  </a:lnTo>
                  <a:lnTo>
                    <a:pt x="127" y="347"/>
                  </a:lnTo>
                  <a:lnTo>
                    <a:pt x="128" y="347"/>
                  </a:lnTo>
                  <a:lnTo>
                    <a:pt x="130" y="346"/>
                  </a:lnTo>
                  <a:lnTo>
                    <a:pt x="131" y="345"/>
                  </a:lnTo>
                  <a:lnTo>
                    <a:pt x="133" y="345"/>
                  </a:lnTo>
                  <a:close/>
                  <a:moveTo>
                    <a:pt x="696" y="334"/>
                  </a:moveTo>
                  <a:lnTo>
                    <a:pt x="698" y="335"/>
                  </a:lnTo>
                  <a:lnTo>
                    <a:pt x="699" y="337"/>
                  </a:lnTo>
                  <a:lnTo>
                    <a:pt x="699" y="339"/>
                  </a:lnTo>
                  <a:lnTo>
                    <a:pt x="699" y="341"/>
                  </a:lnTo>
                  <a:lnTo>
                    <a:pt x="698" y="344"/>
                  </a:lnTo>
                  <a:lnTo>
                    <a:pt x="697" y="347"/>
                  </a:lnTo>
                  <a:lnTo>
                    <a:pt x="695" y="348"/>
                  </a:lnTo>
                  <a:lnTo>
                    <a:pt x="692" y="350"/>
                  </a:lnTo>
                  <a:lnTo>
                    <a:pt x="689" y="350"/>
                  </a:lnTo>
                  <a:lnTo>
                    <a:pt x="686" y="349"/>
                  </a:lnTo>
                  <a:lnTo>
                    <a:pt x="684" y="348"/>
                  </a:lnTo>
                  <a:lnTo>
                    <a:pt x="681" y="347"/>
                  </a:lnTo>
                  <a:lnTo>
                    <a:pt x="680" y="346"/>
                  </a:lnTo>
                  <a:lnTo>
                    <a:pt x="680" y="344"/>
                  </a:lnTo>
                  <a:lnTo>
                    <a:pt x="681" y="341"/>
                  </a:lnTo>
                  <a:lnTo>
                    <a:pt x="685" y="340"/>
                  </a:lnTo>
                  <a:lnTo>
                    <a:pt x="686" y="339"/>
                  </a:lnTo>
                  <a:lnTo>
                    <a:pt x="688" y="337"/>
                  </a:lnTo>
                  <a:lnTo>
                    <a:pt x="690" y="336"/>
                  </a:lnTo>
                  <a:lnTo>
                    <a:pt x="692" y="335"/>
                  </a:lnTo>
                  <a:lnTo>
                    <a:pt x="694" y="334"/>
                  </a:lnTo>
                  <a:lnTo>
                    <a:pt x="696" y="334"/>
                  </a:lnTo>
                  <a:close/>
                  <a:moveTo>
                    <a:pt x="281" y="331"/>
                  </a:moveTo>
                  <a:lnTo>
                    <a:pt x="282" y="333"/>
                  </a:lnTo>
                  <a:lnTo>
                    <a:pt x="283" y="333"/>
                  </a:lnTo>
                  <a:lnTo>
                    <a:pt x="283" y="333"/>
                  </a:lnTo>
                  <a:lnTo>
                    <a:pt x="284" y="333"/>
                  </a:lnTo>
                  <a:lnTo>
                    <a:pt x="285" y="331"/>
                  </a:lnTo>
                  <a:lnTo>
                    <a:pt x="288" y="335"/>
                  </a:lnTo>
                  <a:lnTo>
                    <a:pt x="292" y="336"/>
                  </a:lnTo>
                  <a:lnTo>
                    <a:pt x="294" y="337"/>
                  </a:lnTo>
                  <a:lnTo>
                    <a:pt x="296" y="339"/>
                  </a:lnTo>
                  <a:lnTo>
                    <a:pt x="298" y="340"/>
                  </a:lnTo>
                  <a:lnTo>
                    <a:pt x="300" y="341"/>
                  </a:lnTo>
                  <a:lnTo>
                    <a:pt x="303" y="342"/>
                  </a:lnTo>
                  <a:lnTo>
                    <a:pt x="303" y="345"/>
                  </a:lnTo>
                  <a:lnTo>
                    <a:pt x="302" y="347"/>
                  </a:lnTo>
                  <a:lnTo>
                    <a:pt x="299" y="348"/>
                  </a:lnTo>
                  <a:lnTo>
                    <a:pt x="296" y="349"/>
                  </a:lnTo>
                  <a:lnTo>
                    <a:pt x="294" y="350"/>
                  </a:lnTo>
                  <a:lnTo>
                    <a:pt x="292" y="350"/>
                  </a:lnTo>
                  <a:lnTo>
                    <a:pt x="288" y="350"/>
                  </a:lnTo>
                  <a:lnTo>
                    <a:pt x="285" y="349"/>
                  </a:lnTo>
                  <a:lnTo>
                    <a:pt x="282" y="348"/>
                  </a:lnTo>
                  <a:lnTo>
                    <a:pt x="278" y="347"/>
                  </a:lnTo>
                  <a:lnTo>
                    <a:pt x="277" y="345"/>
                  </a:lnTo>
                  <a:lnTo>
                    <a:pt x="276" y="342"/>
                  </a:lnTo>
                  <a:lnTo>
                    <a:pt x="277" y="340"/>
                  </a:lnTo>
                  <a:lnTo>
                    <a:pt x="277" y="337"/>
                  </a:lnTo>
                  <a:lnTo>
                    <a:pt x="280" y="335"/>
                  </a:lnTo>
                  <a:lnTo>
                    <a:pt x="281" y="331"/>
                  </a:lnTo>
                  <a:close/>
                  <a:moveTo>
                    <a:pt x="210" y="326"/>
                  </a:moveTo>
                  <a:lnTo>
                    <a:pt x="212" y="327"/>
                  </a:lnTo>
                  <a:lnTo>
                    <a:pt x="215" y="331"/>
                  </a:lnTo>
                  <a:lnTo>
                    <a:pt x="214" y="336"/>
                  </a:lnTo>
                  <a:lnTo>
                    <a:pt x="211" y="342"/>
                  </a:lnTo>
                  <a:lnTo>
                    <a:pt x="210" y="347"/>
                  </a:lnTo>
                  <a:lnTo>
                    <a:pt x="211" y="350"/>
                  </a:lnTo>
                  <a:lnTo>
                    <a:pt x="211" y="352"/>
                  </a:lnTo>
                  <a:lnTo>
                    <a:pt x="211" y="353"/>
                  </a:lnTo>
                  <a:lnTo>
                    <a:pt x="211" y="356"/>
                  </a:lnTo>
                  <a:lnTo>
                    <a:pt x="210" y="359"/>
                  </a:lnTo>
                  <a:lnTo>
                    <a:pt x="210" y="361"/>
                  </a:lnTo>
                  <a:lnTo>
                    <a:pt x="210" y="363"/>
                  </a:lnTo>
                  <a:lnTo>
                    <a:pt x="211" y="364"/>
                  </a:lnTo>
                  <a:lnTo>
                    <a:pt x="212" y="364"/>
                  </a:lnTo>
                  <a:lnTo>
                    <a:pt x="215" y="366"/>
                  </a:lnTo>
                  <a:lnTo>
                    <a:pt x="218" y="366"/>
                  </a:lnTo>
                  <a:lnTo>
                    <a:pt x="219" y="367"/>
                  </a:lnTo>
                  <a:lnTo>
                    <a:pt x="221" y="369"/>
                  </a:lnTo>
                  <a:lnTo>
                    <a:pt x="222" y="371"/>
                  </a:lnTo>
                  <a:lnTo>
                    <a:pt x="223" y="372"/>
                  </a:lnTo>
                  <a:lnTo>
                    <a:pt x="225" y="373"/>
                  </a:lnTo>
                  <a:lnTo>
                    <a:pt x="226" y="374"/>
                  </a:lnTo>
                  <a:lnTo>
                    <a:pt x="228" y="374"/>
                  </a:lnTo>
                  <a:lnTo>
                    <a:pt x="230" y="373"/>
                  </a:lnTo>
                  <a:lnTo>
                    <a:pt x="231" y="372"/>
                  </a:lnTo>
                  <a:lnTo>
                    <a:pt x="232" y="370"/>
                  </a:lnTo>
                  <a:lnTo>
                    <a:pt x="234" y="367"/>
                  </a:lnTo>
                  <a:lnTo>
                    <a:pt x="236" y="366"/>
                  </a:lnTo>
                  <a:lnTo>
                    <a:pt x="238" y="363"/>
                  </a:lnTo>
                  <a:lnTo>
                    <a:pt x="241" y="363"/>
                  </a:lnTo>
                  <a:lnTo>
                    <a:pt x="249" y="363"/>
                  </a:lnTo>
                  <a:lnTo>
                    <a:pt x="253" y="367"/>
                  </a:lnTo>
                  <a:lnTo>
                    <a:pt x="254" y="372"/>
                  </a:lnTo>
                  <a:lnTo>
                    <a:pt x="253" y="380"/>
                  </a:lnTo>
                  <a:lnTo>
                    <a:pt x="250" y="388"/>
                  </a:lnTo>
                  <a:lnTo>
                    <a:pt x="247" y="395"/>
                  </a:lnTo>
                  <a:lnTo>
                    <a:pt x="242" y="403"/>
                  </a:lnTo>
                  <a:lnTo>
                    <a:pt x="239" y="407"/>
                  </a:lnTo>
                  <a:lnTo>
                    <a:pt x="233" y="414"/>
                  </a:lnTo>
                  <a:lnTo>
                    <a:pt x="227" y="420"/>
                  </a:lnTo>
                  <a:lnTo>
                    <a:pt x="220" y="423"/>
                  </a:lnTo>
                  <a:lnTo>
                    <a:pt x="212" y="422"/>
                  </a:lnTo>
                  <a:lnTo>
                    <a:pt x="210" y="420"/>
                  </a:lnTo>
                  <a:lnTo>
                    <a:pt x="208" y="420"/>
                  </a:lnTo>
                  <a:lnTo>
                    <a:pt x="206" y="420"/>
                  </a:lnTo>
                  <a:lnTo>
                    <a:pt x="205" y="421"/>
                  </a:lnTo>
                  <a:lnTo>
                    <a:pt x="204" y="423"/>
                  </a:lnTo>
                  <a:lnTo>
                    <a:pt x="203" y="424"/>
                  </a:lnTo>
                  <a:lnTo>
                    <a:pt x="201" y="425"/>
                  </a:lnTo>
                  <a:lnTo>
                    <a:pt x="200" y="427"/>
                  </a:lnTo>
                  <a:lnTo>
                    <a:pt x="199" y="428"/>
                  </a:lnTo>
                  <a:lnTo>
                    <a:pt x="198" y="428"/>
                  </a:lnTo>
                  <a:lnTo>
                    <a:pt x="189" y="427"/>
                  </a:lnTo>
                  <a:lnTo>
                    <a:pt x="182" y="427"/>
                  </a:lnTo>
                  <a:lnTo>
                    <a:pt x="174" y="431"/>
                  </a:lnTo>
                  <a:lnTo>
                    <a:pt x="171" y="434"/>
                  </a:lnTo>
                  <a:lnTo>
                    <a:pt x="168" y="437"/>
                  </a:lnTo>
                  <a:lnTo>
                    <a:pt x="166" y="439"/>
                  </a:lnTo>
                  <a:lnTo>
                    <a:pt x="163" y="442"/>
                  </a:lnTo>
                  <a:lnTo>
                    <a:pt x="160" y="445"/>
                  </a:lnTo>
                  <a:lnTo>
                    <a:pt x="155" y="447"/>
                  </a:lnTo>
                  <a:lnTo>
                    <a:pt x="151" y="450"/>
                  </a:lnTo>
                  <a:lnTo>
                    <a:pt x="147" y="453"/>
                  </a:lnTo>
                  <a:lnTo>
                    <a:pt x="144" y="456"/>
                  </a:lnTo>
                  <a:lnTo>
                    <a:pt x="142" y="459"/>
                  </a:lnTo>
                  <a:lnTo>
                    <a:pt x="139" y="462"/>
                  </a:lnTo>
                  <a:lnTo>
                    <a:pt x="134" y="467"/>
                  </a:lnTo>
                  <a:lnTo>
                    <a:pt x="131" y="468"/>
                  </a:lnTo>
                  <a:lnTo>
                    <a:pt x="127" y="469"/>
                  </a:lnTo>
                  <a:lnTo>
                    <a:pt x="123" y="470"/>
                  </a:lnTo>
                  <a:lnTo>
                    <a:pt x="119" y="471"/>
                  </a:lnTo>
                  <a:lnTo>
                    <a:pt x="111" y="469"/>
                  </a:lnTo>
                  <a:lnTo>
                    <a:pt x="103" y="466"/>
                  </a:lnTo>
                  <a:lnTo>
                    <a:pt x="100" y="459"/>
                  </a:lnTo>
                  <a:lnTo>
                    <a:pt x="100" y="454"/>
                  </a:lnTo>
                  <a:lnTo>
                    <a:pt x="103" y="450"/>
                  </a:lnTo>
                  <a:lnTo>
                    <a:pt x="109" y="447"/>
                  </a:lnTo>
                  <a:lnTo>
                    <a:pt x="113" y="444"/>
                  </a:lnTo>
                  <a:lnTo>
                    <a:pt x="117" y="439"/>
                  </a:lnTo>
                  <a:lnTo>
                    <a:pt x="122" y="436"/>
                  </a:lnTo>
                  <a:lnTo>
                    <a:pt x="128" y="435"/>
                  </a:lnTo>
                  <a:lnTo>
                    <a:pt x="134" y="434"/>
                  </a:lnTo>
                  <a:lnTo>
                    <a:pt x="140" y="432"/>
                  </a:lnTo>
                  <a:lnTo>
                    <a:pt x="143" y="428"/>
                  </a:lnTo>
                  <a:lnTo>
                    <a:pt x="143" y="427"/>
                  </a:lnTo>
                  <a:lnTo>
                    <a:pt x="143" y="426"/>
                  </a:lnTo>
                  <a:lnTo>
                    <a:pt x="141" y="426"/>
                  </a:lnTo>
                  <a:lnTo>
                    <a:pt x="140" y="426"/>
                  </a:lnTo>
                  <a:lnTo>
                    <a:pt x="136" y="427"/>
                  </a:lnTo>
                  <a:lnTo>
                    <a:pt x="134" y="428"/>
                  </a:lnTo>
                  <a:lnTo>
                    <a:pt x="132" y="428"/>
                  </a:lnTo>
                  <a:lnTo>
                    <a:pt x="130" y="429"/>
                  </a:lnTo>
                  <a:lnTo>
                    <a:pt x="128" y="431"/>
                  </a:lnTo>
                  <a:lnTo>
                    <a:pt x="125" y="431"/>
                  </a:lnTo>
                  <a:lnTo>
                    <a:pt x="123" y="429"/>
                  </a:lnTo>
                  <a:lnTo>
                    <a:pt x="122" y="429"/>
                  </a:lnTo>
                  <a:lnTo>
                    <a:pt x="120" y="429"/>
                  </a:lnTo>
                  <a:lnTo>
                    <a:pt x="117" y="431"/>
                  </a:lnTo>
                  <a:lnTo>
                    <a:pt x="114" y="432"/>
                  </a:lnTo>
                  <a:lnTo>
                    <a:pt x="112" y="432"/>
                  </a:lnTo>
                  <a:lnTo>
                    <a:pt x="110" y="432"/>
                  </a:lnTo>
                  <a:lnTo>
                    <a:pt x="109" y="431"/>
                  </a:lnTo>
                  <a:lnTo>
                    <a:pt x="106" y="429"/>
                  </a:lnTo>
                  <a:lnTo>
                    <a:pt x="105" y="431"/>
                  </a:lnTo>
                  <a:lnTo>
                    <a:pt x="103" y="432"/>
                  </a:lnTo>
                  <a:lnTo>
                    <a:pt x="102" y="434"/>
                  </a:lnTo>
                  <a:lnTo>
                    <a:pt x="102" y="435"/>
                  </a:lnTo>
                  <a:lnTo>
                    <a:pt x="96" y="442"/>
                  </a:lnTo>
                  <a:lnTo>
                    <a:pt x="89" y="446"/>
                  </a:lnTo>
                  <a:lnTo>
                    <a:pt x="83" y="446"/>
                  </a:lnTo>
                  <a:lnTo>
                    <a:pt x="80" y="445"/>
                  </a:lnTo>
                  <a:lnTo>
                    <a:pt x="79" y="443"/>
                  </a:lnTo>
                  <a:lnTo>
                    <a:pt x="79" y="440"/>
                  </a:lnTo>
                  <a:lnTo>
                    <a:pt x="79" y="438"/>
                  </a:lnTo>
                  <a:lnTo>
                    <a:pt x="78" y="437"/>
                  </a:lnTo>
                  <a:lnTo>
                    <a:pt x="77" y="436"/>
                  </a:lnTo>
                  <a:lnTo>
                    <a:pt x="76" y="436"/>
                  </a:lnTo>
                  <a:lnTo>
                    <a:pt x="74" y="436"/>
                  </a:lnTo>
                  <a:lnTo>
                    <a:pt x="72" y="437"/>
                  </a:lnTo>
                  <a:lnTo>
                    <a:pt x="69" y="437"/>
                  </a:lnTo>
                  <a:lnTo>
                    <a:pt x="67" y="437"/>
                  </a:lnTo>
                  <a:lnTo>
                    <a:pt x="65" y="436"/>
                  </a:lnTo>
                  <a:lnTo>
                    <a:pt x="63" y="436"/>
                  </a:lnTo>
                  <a:lnTo>
                    <a:pt x="62" y="435"/>
                  </a:lnTo>
                  <a:lnTo>
                    <a:pt x="60" y="433"/>
                  </a:lnTo>
                  <a:lnTo>
                    <a:pt x="59" y="432"/>
                  </a:lnTo>
                  <a:lnTo>
                    <a:pt x="60" y="429"/>
                  </a:lnTo>
                  <a:lnTo>
                    <a:pt x="62" y="426"/>
                  </a:lnTo>
                  <a:lnTo>
                    <a:pt x="65" y="424"/>
                  </a:lnTo>
                  <a:lnTo>
                    <a:pt x="73" y="418"/>
                  </a:lnTo>
                  <a:lnTo>
                    <a:pt x="81" y="416"/>
                  </a:lnTo>
                  <a:lnTo>
                    <a:pt x="91" y="415"/>
                  </a:lnTo>
                  <a:lnTo>
                    <a:pt x="94" y="413"/>
                  </a:lnTo>
                  <a:lnTo>
                    <a:pt x="95" y="412"/>
                  </a:lnTo>
                  <a:lnTo>
                    <a:pt x="95" y="412"/>
                  </a:lnTo>
                  <a:lnTo>
                    <a:pt x="94" y="411"/>
                  </a:lnTo>
                  <a:lnTo>
                    <a:pt x="92" y="411"/>
                  </a:lnTo>
                  <a:lnTo>
                    <a:pt x="90" y="411"/>
                  </a:lnTo>
                  <a:lnTo>
                    <a:pt x="88" y="411"/>
                  </a:lnTo>
                  <a:lnTo>
                    <a:pt x="86" y="411"/>
                  </a:lnTo>
                  <a:lnTo>
                    <a:pt x="84" y="411"/>
                  </a:lnTo>
                  <a:lnTo>
                    <a:pt x="81" y="411"/>
                  </a:lnTo>
                  <a:lnTo>
                    <a:pt x="80" y="411"/>
                  </a:lnTo>
                  <a:lnTo>
                    <a:pt x="80" y="411"/>
                  </a:lnTo>
                  <a:lnTo>
                    <a:pt x="80" y="409"/>
                  </a:lnTo>
                  <a:lnTo>
                    <a:pt x="81" y="407"/>
                  </a:lnTo>
                  <a:lnTo>
                    <a:pt x="84" y="406"/>
                  </a:lnTo>
                  <a:lnTo>
                    <a:pt x="86" y="405"/>
                  </a:lnTo>
                  <a:lnTo>
                    <a:pt x="88" y="404"/>
                  </a:lnTo>
                  <a:lnTo>
                    <a:pt x="91" y="403"/>
                  </a:lnTo>
                  <a:lnTo>
                    <a:pt x="92" y="402"/>
                  </a:lnTo>
                  <a:lnTo>
                    <a:pt x="94" y="401"/>
                  </a:lnTo>
                  <a:lnTo>
                    <a:pt x="92" y="400"/>
                  </a:lnTo>
                  <a:lnTo>
                    <a:pt x="91" y="400"/>
                  </a:lnTo>
                  <a:lnTo>
                    <a:pt x="90" y="399"/>
                  </a:lnTo>
                  <a:lnTo>
                    <a:pt x="88" y="399"/>
                  </a:lnTo>
                  <a:lnTo>
                    <a:pt x="86" y="399"/>
                  </a:lnTo>
                  <a:lnTo>
                    <a:pt x="84" y="399"/>
                  </a:lnTo>
                  <a:lnTo>
                    <a:pt x="83" y="398"/>
                  </a:lnTo>
                  <a:lnTo>
                    <a:pt x="83" y="396"/>
                  </a:lnTo>
                  <a:lnTo>
                    <a:pt x="85" y="390"/>
                  </a:lnTo>
                  <a:lnTo>
                    <a:pt x="91" y="384"/>
                  </a:lnTo>
                  <a:lnTo>
                    <a:pt x="100" y="379"/>
                  </a:lnTo>
                  <a:lnTo>
                    <a:pt x="102" y="377"/>
                  </a:lnTo>
                  <a:lnTo>
                    <a:pt x="105" y="373"/>
                  </a:lnTo>
                  <a:lnTo>
                    <a:pt x="106" y="371"/>
                  </a:lnTo>
                  <a:lnTo>
                    <a:pt x="107" y="368"/>
                  </a:lnTo>
                  <a:lnTo>
                    <a:pt x="109" y="366"/>
                  </a:lnTo>
                  <a:lnTo>
                    <a:pt x="110" y="363"/>
                  </a:lnTo>
                  <a:lnTo>
                    <a:pt x="113" y="363"/>
                  </a:lnTo>
                  <a:lnTo>
                    <a:pt x="117" y="362"/>
                  </a:lnTo>
                  <a:lnTo>
                    <a:pt x="120" y="362"/>
                  </a:lnTo>
                  <a:lnTo>
                    <a:pt x="122" y="362"/>
                  </a:lnTo>
                  <a:lnTo>
                    <a:pt x="124" y="363"/>
                  </a:lnTo>
                  <a:lnTo>
                    <a:pt x="125" y="366"/>
                  </a:lnTo>
                  <a:lnTo>
                    <a:pt x="125" y="367"/>
                  </a:lnTo>
                  <a:lnTo>
                    <a:pt x="125" y="370"/>
                  </a:lnTo>
                  <a:lnTo>
                    <a:pt x="127" y="372"/>
                  </a:lnTo>
                  <a:lnTo>
                    <a:pt x="128" y="373"/>
                  </a:lnTo>
                  <a:lnTo>
                    <a:pt x="130" y="374"/>
                  </a:lnTo>
                  <a:lnTo>
                    <a:pt x="132" y="374"/>
                  </a:lnTo>
                  <a:lnTo>
                    <a:pt x="134" y="373"/>
                  </a:lnTo>
                  <a:lnTo>
                    <a:pt x="136" y="372"/>
                  </a:lnTo>
                  <a:lnTo>
                    <a:pt x="139" y="371"/>
                  </a:lnTo>
                  <a:lnTo>
                    <a:pt x="141" y="370"/>
                  </a:lnTo>
                  <a:lnTo>
                    <a:pt x="145" y="368"/>
                  </a:lnTo>
                  <a:lnTo>
                    <a:pt x="149" y="368"/>
                  </a:lnTo>
                  <a:lnTo>
                    <a:pt x="152" y="368"/>
                  </a:lnTo>
                  <a:lnTo>
                    <a:pt x="154" y="370"/>
                  </a:lnTo>
                  <a:lnTo>
                    <a:pt x="156" y="372"/>
                  </a:lnTo>
                  <a:lnTo>
                    <a:pt x="157" y="373"/>
                  </a:lnTo>
                  <a:lnTo>
                    <a:pt x="157" y="375"/>
                  </a:lnTo>
                  <a:lnTo>
                    <a:pt x="157" y="378"/>
                  </a:lnTo>
                  <a:lnTo>
                    <a:pt x="156" y="381"/>
                  </a:lnTo>
                  <a:lnTo>
                    <a:pt x="156" y="383"/>
                  </a:lnTo>
                  <a:lnTo>
                    <a:pt x="156" y="384"/>
                  </a:lnTo>
                  <a:lnTo>
                    <a:pt x="157" y="384"/>
                  </a:lnTo>
                  <a:lnTo>
                    <a:pt x="158" y="384"/>
                  </a:lnTo>
                  <a:lnTo>
                    <a:pt x="161" y="384"/>
                  </a:lnTo>
                  <a:lnTo>
                    <a:pt x="162" y="385"/>
                  </a:lnTo>
                  <a:lnTo>
                    <a:pt x="163" y="386"/>
                  </a:lnTo>
                  <a:lnTo>
                    <a:pt x="163" y="388"/>
                  </a:lnTo>
                  <a:lnTo>
                    <a:pt x="164" y="389"/>
                  </a:lnTo>
                  <a:lnTo>
                    <a:pt x="163" y="391"/>
                  </a:lnTo>
                  <a:lnTo>
                    <a:pt x="163" y="392"/>
                  </a:lnTo>
                  <a:lnTo>
                    <a:pt x="162" y="393"/>
                  </a:lnTo>
                  <a:lnTo>
                    <a:pt x="163" y="394"/>
                  </a:lnTo>
                  <a:lnTo>
                    <a:pt x="165" y="395"/>
                  </a:lnTo>
                  <a:lnTo>
                    <a:pt x="167" y="396"/>
                  </a:lnTo>
                  <a:lnTo>
                    <a:pt x="169" y="396"/>
                  </a:lnTo>
                  <a:lnTo>
                    <a:pt x="172" y="396"/>
                  </a:lnTo>
                  <a:lnTo>
                    <a:pt x="174" y="396"/>
                  </a:lnTo>
                  <a:lnTo>
                    <a:pt x="178" y="398"/>
                  </a:lnTo>
                  <a:lnTo>
                    <a:pt x="184" y="399"/>
                  </a:lnTo>
                  <a:lnTo>
                    <a:pt x="189" y="399"/>
                  </a:lnTo>
                  <a:lnTo>
                    <a:pt x="194" y="398"/>
                  </a:lnTo>
                  <a:lnTo>
                    <a:pt x="198" y="392"/>
                  </a:lnTo>
                  <a:lnTo>
                    <a:pt x="198" y="389"/>
                  </a:lnTo>
                  <a:lnTo>
                    <a:pt x="197" y="386"/>
                  </a:lnTo>
                  <a:lnTo>
                    <a:pt x="196" y="384"/>
                  </a:lnTo>
                  <a:lnTo>
                    <a:pt x="194" y="382"/>
                  </a:lnTo>
                  <a:lnTo>
                    <a:pt x="193" y="380"/>
                  </a:lnTo>
                  <a:lnTo>
                    <a:pt x="192" y="377"/>
                  </a:lnTo>
                  <a:lnTo>
                    <a:pt x="192" y="373"/>
                  </a:lnTo>
                  <a:lnTo>
                    <a:pt x="192" y="371"/>
                  </a:lnTo>
                  <a:lnTo>
                    <a:pt x="192" y="369"/>
                  </a:lnTo>
                  <a:lnTo>
                    <a:pt x="192" y="367"/>
                  </a:lnTo>
                  <a:lnTo>
                    <a:pt x="192" y="366"/>
                  </a:lnTo>
                  <a:lnTo>
                    <a:pt x="189" y="364"/>
                  </a:lnTo>
                  <a:lnTo>
                    <a:pt x="187" y="363"/>
                  </a:lnTo>
                  <a:lnTo>
                    <a:pt x="185" y="363"/>
                  </a:lnTo>
                  <a:lnTo>
                    <a:pt x="183" y="363"/>
                  </a:lnTo>
                  <a:lnTo>
                    <a:pt x="179" y="362"/>
                  </a:lnTo>
                  <a:lnTo>
                    <a:pt x="178" y="360"/>
                  </a:lnTo>
                  <a:lnTo>
                    <a:pt x="177" y="358"/>
                  </a:lnTo>
                  <a:lnTo>
                    <a:pt x="178" y="356"/>
                  </a:lnTo>
                  <a:lnTo>
                    <a:pt x="178" y="353"/>
                  </a:lnTo>
                  <a:lnTo>
                    <a:pt x="180" y="351"/>
                  </a:lnTo>
                  <a:lnTo>
                    <a:pt x="183" y="349"/>
                  </a:lnTo>
                  <a:lnTo>
                    <a:pt x="185" y="347"/>
                  </a:lnTo>
                  <a:lnTo>
                    <a:pt x="189" y="345"/>
                  </a:lnTo>
                  <a:lnTo>
                    <a:pt x="194" y="342"/>
                  </a:lnTo>
                  <a:lnTo>
                    <a:pt x="197" y="340"/>
                  </a:lnTo>
                  <a:lnTo>
                    <a:pt x="199" y="337"/>
                  </a:lnTo>
                  <a:lnTo>
                    <a:pt x="203" y="334"/>
                  </a:lnTo>
                  <a:lnTo>
                    <a:pt x="203" y="333"/>
                  </a:lnTo>
                  <a:lnTo>
                    <a:pt x="203" y="330"/>
                  </a:lnTo>
                  <a:lnTo>
                    <a:pt x="205" y="329"/>
                  </a:lnTo>
                  <a:lnTo>
                    <a:pt x="206" y="327"/>
                  </a:lnTo>
                  <a:lnTo>
                    <a:pt x="208" y="326"/>
                  </a:lnTo>
                  <a:lnTo>
                    <a:pt x="210" y="326"/>
                  </a:lnTo>
                  <a:close/>
                  <a:moveTo>
                    <a:pt x="347" y="315"/>
                  </a:moveTo>
                  <a:lnTo>
                    <a:pt x="357" y="316"/>
                  </a:lnTo>
                  <a:lnTo>
                    <a:pt x="360" y="316"/>
                  </a:lnTo>
                  <a:lnTo>
                    <a:pt x="363" y="316"/>
                  </a:lnTo>
                  <a:lnTo>
                    <a:pt x="365" y="317"/>
                  </a:lnTo>
                  <a:lnTo>
                    <a:pt x="368" y="317"/>
                  </a:lnTo>
                  <a:lnTo>
                    <a:pt x="370" y="318"/>
                  </a:lnTo>
                  <a:lnTo>
                    <a:pt x="373" y="319"/>
                  </a:lnTo>
                  <a:lnTo>
                    <a:pt x="376" y="320"/>
                  </a:lnTo>
                  <a:lnTo>
                    <a:pt x="379" y="320"/>
                  </a:lnTo>
                  <a:lnTo>
                    <a:pt x="381" y="323"/>
                  </a:lnTo>
                  <a:lnTo>
                    <a:pt x="385" y="327"/>
                  </a:lnTo>
                  <a:lnTo>
                    <a:pt x="386" y="334"/>
                  </a:lnTo>
                  <a:lnTo>
                    <a:pt x="386" y="340"/>
                  </a:lnTo>
                  <a:lnTo>
                    <a:pt x="385" y="347"/>
                  </a:lnTo>
                  <a:lnTo>
                    <a:pt x="385" y="352"/>
                  </a:lnTo>
                  <a:lnTo>
                    <a:pt x="387" y="357"/>
                  </a:lnTo>
                  <a:lnTo>
                    <a:pt x="391" y="361"/>
                  </a:lnTo>
                  <a:lnTo>
                    <a:pt x="395" y="367"/>
                  </a:lnTo>
                  <a:lnTo>
                    <a:pt x="395" y="369"/>
                  </a:lnTo>
                  <a:lnTo>
                    <a:pt x="394" y="370"/>
                  </a:lnTo>
                  <a:lnTo>
                    <a:pt x="393" y="371"/>
                  </a:lnTo>
                  <a:lnTo>
                    <a:pt x="391" y="371"/>
                  </a:lnTo>
                  <a:lnTo>
                    <a:pt x="389" y="372"/>
                  </a:lnTo>
                  <a:lnTo>
                    <a:pt x="385" y="373"/>
                  </a:lnTo>
                  <a:lnTo>
                    <a:pt x="383" y="373"/>
                  </a:lnTo>
                  <a:lnTo>
                    <a:pt x="381" y="375"/>
                  </a:lnTo>
                  <a:lnTo>
                    <a:pt x="379" y="379"/>
                  </a:lnTo>
                  <a:lnTo>
                    <a:pt x="376" y="381"/>
                  </a:lnTo>
                  <a:lnTo>
                    <a:pt x="375" y="384"/>
                  </a:lnTo>
                  <a:lnTo>
                    <a:pt x="374" y="386"/>
                  </a:lnTo>
                  <a:lnTo>
                    <a:pt x="372" y="389"/>
                  </a:lnTo>
                  <a:lnTo>
                    <a:pt x="370" y="391"/>
                  </a:lnTo>
                  <a:lnTo>
                    <a:pt x="368" y="393"/>
                  </a:lnTo>
                  <a:lnTo>
                    <a:pt x="365" y="395"/>
                  </a:lnTo>
                  <a:lnTo>
                    <a:pt x="359" y="400"/>
                  </a:lnTo>
                  <a:lnTo>
                    <a:pt x="351" y="402"/>
                  </a:lnTo>
                  <a:lnTo>
                    <a:pt x="343" y="403"/>
                  </a:lnTo>
                  <a:lnTo>
                    <a:pt x="336" y="402"/>
                  </a:lnTo>
                  <a:lnTo>
                    <a:pt x="334" y="400"/>
                  </a:lnTo>
                  <a:lnTo>
                    <a:pt x="331" y="398"/>
                  </a:lnTo>
                  <a:lnTo>
                    <a:pt x="329" y="395"/>
                  </a:lnTo>
                  <a:lnTo>
                    <a:pt x="327" y="393"/>
                  </a:lnTo>
                  <a:lnTo>
                    <a:pt x="326" y="391"/>
                  </a:lnTo>
                  <a:lnTo>
                    <a:pt x="325" y="389"/>
                  </a:lnTo>
                  <a:lnTo>
                    <a:pt x="326" y="386"/>
                  </a:lnTo>
                  <a:lnTo>
                    <a:pt x="327" y="384"/>
                  </a:lnTo>
                  <a:lnTo>
                    <a:pt x="330" y="382"/>
                  </a:lnTo>
                  <a:lnTo>
                    <a:pt x="335" y="379"/>
                  </a:lnTo>
                  <a:lnTo>
                    <a:pt x="340" y="375"/>
                  </a:lnTo>
                  <a:lnTo>
                    <a:pt x="345" y="371"/>
                  </a:lnTo>
                  <a:lnTo>
                    <a:pt x="345" y="369"/>
                  </a:lnTo>
                  <a:lnTo>
                    <a:pt x="341" y="368"/>
                  </a:lnTo>
                  <a:lnTo>
                    <a:pt x="336" y="370"/>
                  </a:lnTo>
                  <a:lnTo>
                    <a:pt x="329" y="372"/>
                  </a:lnTo>
                  <a:lnTo>
                    <a:pt x="325" y="373"/>
                  </a:lnTo>
                  <a:lnTo>
                    <a:pt x="320" y="375"/>
                  </a:lnTo>
                  <a:lnTo>
                    <a:pt x="316" y="379"/>
                  </a:lnTo>
                  <a:lnTo>
                    <a:pt x="310" y="380"/>
                  </a:lnTo>
                  <a:lnTo>
                    <a:pt x="306" y="380"/>
                  </a:lnTo>
                  <a:lnTo>
                    <a:pt x="304" y="378"/>
                  </a:lnTo>
                  <a:lnTo>
                    <a:pt x="305" y="372"/>
                  </a:lnTo>
                  <a:lnTo>
                    <a:pt x="306" y="366"/>
                  </a:lnTo>
                  <a:lnTo>
                    <a:pt x="309" y="360"/>
                  </a:lnTo>
                  <a:lnTo>
                    <a:pt x="314" y="356"/>
                  </a:lnTo>
                  <a:lnTo>
                    <a:pt x="319" y="353"/>
                  </a:lnTo>
                  <a:lnTo>
                    <a:pt x="325" y="350"/>
                  </a:lnTo>
                  <a:lnTo>
                    <a:pt x="327" y="347"/>
                  </a:lnTo>
                  <a:lnTo>
                    <a:pt x="327" y="346"/>
                  </a:lnTo>
                  <a:lnTo>
                    <a:pt x="325" y="345"/>
                  </a:lnTo>
                  <a:lnTo>
                    <a:pt x="324" y="345"/>
                  </a:lnTo>
                  <a:lnTo>
                    <a:pt x="321" y="344"/>
                  </a:lnTo>
                  <a:lnTo>
                    <a:pt x="319" y="342"/>
                  </a:lnTo>
                  <a:lnTo>
                    <a:pt x="318" y="341"/>
                  </a:lnTo>
                  <a:lnTo>
                    <a:pt x="317" y="340"/>
                  </a:lnTo>
                  <a:lnTo>
                    <a:pt x="317" y="339"/>
                  </a:lnTo>
                  <a:lnTo>
                    <a:pt x="318" y="337"/>
                  </a:lnTo>
                  <a:lnTo>
                    <a:pt x="320" y="336"/>
                  </a:lnTo>
                  <a:lnTo>
                    <a:pt x="320" y="335"/>
                  </a:lnTo>
                  <a:lnTo>
                    <a:pt x="323" y="335"/>
                  </a:lnTo>
                  <a:lnTo>
                    <a:pt x="325" y="335"/>
                  </a:lnTo>
                  <a:lnTo>
                    <a:pt x="328" y="334"/>
                  </a:lnTo>
                  <a:lnTo>
                    <a:pt x="331" y="333"/>
                  </a:lnTo>
                  <a:lnTo>
                    <a:pt x="334" y="333"/>
                  </a:lnTo>
                  <a:lnTo>
                    <a:pt x="336" y="331"/>
                  </a:lnTo>
                  <a:lnTo>
                    <a:pt x="338" y="330"/>
                  </a:lnTo>
                  <a:lnTo>
                    <a:pt x="339" y="329"/>
                  </a:lnTo>
                  <a:lnTo>
                    <a:pt x="338" y="328"/>
                  </a:lnTo>
                  <a:lnTo>
                    <a:pt x="336" y="327"/>
                  </a:lnTo>
                  <a:lnTo>
                    <a:pt x="335" y="327"/>
                  </a:lnTo>
                  <a:lnTo>
                    <a:pt x="332" y="327"/>
                  </a:lnTo>
                  <a:lnTo>
                    <a:pt x="330" y="326"/>
                  </a:lnTo>
                  <a:lnTo>
                    <a:pt x="328" y="326"/>
                  </a:lnTo>
                  <a:lnTo>
                    <a:pt x="326" y="326"/>
                  </a:lnTo>
                  <a:lnTo>
                    <a:pt x="324" y="325"/>
                  </a:lnTo>
                  <a:lnTo>
                    <a:pt x="323" y="324"/>
                  </a:lnTo>
                  <a:lnTo>
                    <a:pt x="324" y="323"/>
                  </a:lnTo>
                  <a:lnTo>
                    <a:pt x="325" y="322"/>
                  </a:lnTo>
                  <a:lnTo>
                    <a:pt x="327" y="320"/>
                  </a:lnTo>
                  <a:lnTo>
                    <a:pt x="337" y="316"/>
                  </a:lnTo>
                  <a:lnTo>
                    <a:pt x="347" y="315"/>
                  </a:lnTo>
                  <a:close/>
                  <a:moveTo>
                    <a:pt x="123" y="314"/>
                  </a:moveTo>
                  <a:lnTo>
                    <a:pt x="124" y="314"/>
                  </a:lnTo>
                  <a:lnTo>
                    <a:pt x="125" y="315"/>
                  </a:lnTo>
                  <a:lnTo>
                    <a:pt x="124" y="316"/>
                  </a:lnTo>
                  <a:lnTo>
                    <a:pt x="123" y="317"/>
                  </a:lnTo>
                  <a:lnTo>
                    <a:pt x="122" y="319"/>
                  </a:lnTo>
                  <a:lnTo>
                    <a:pt x="121" y="320"/>
                  </a:lnTo>
                  <a:lnTo>
                    <a:pt x="120" y="322"/>
                  </a:lnTo>
                  <a:lnTo>
                    <a:pt x="120" y="322"/>
                  </a:lnTo>
                  <a:lnTo>
                    <a:pt x="118" y="324"/>
                  </a:lnTo>
                  <a:lnTo>
                    <a:pt x="118" y="325"/>
                  </a:lnTo>
                  <a:lnTo>
                    <a:pt x="118" y="326"/>
                  </a:lnTo>
                  <a:lnTo>
                    <a:pt x="119" y="326"/>
                  </a:lnTo>
                  <a:lnTo>
                    <a:pt x="119" y="327"/>
                  </a:lnTo>
                  <a:lnTo>
                    <a:pt x="120" y="328"/>
                  </a:lnTo>
                  <a:lnTo>
                    <a:pt x="121" y="329"/>
                  </a:lnTo>
                  <a:lnTo>
                    <a:pt x="122" y="331"/>
                  </a:lnTo>
                  <a:lnTo>
                    <a:pt x="121" y="333"/>
                  </a:lnTo>
                  <a:lnTo>
                    <a:pt x="120" y="334"/>
                  </a:lnTo>
                  <a:lnTo>
                    <a:pt x="118" y="335"/>
                  </a:lnTo>
                  <a:lnTo>
                    <a:pt x="116" y="336"/>
                  </a:lnTo>
                  <a:lnTo>
                    <a:pt x="112" y="339"/>
                  </a:lnTo>
                  <a:lnTo>
                    <a:pt x="111" y="341"/>
                  </a:lnTo>
                  <a:lnTo>
                    <a:pt x="110" y="344"/>
                  </a:lnTo>
                  <a:lnTo>
                    <a:pt x="110" y="346"/>
                  </a:lnTo>
                  <a:lnTo>
                    <a:pt x="111" y="349"/>
                  </a:lnTo>
                  <a:lnTo>
                    <a:pt x="110" y="351"/>
                  </a:lnTo>
                  <a:lnTo>
                    <a:pt x="110" y="355"/>
                  </a:lnTo>
                  <a:lnTo>
                    <a:pt x="108" y="357"/>
                  </a:lnTo>
                  <a:lnTo>
                    <a:pt x="107" y="359"/>
                  </a:lnTo>
                  <a:lnTo>
                    <a:pt x="105" y="361"/>
                  </a:lnTo>
                  <a:lnTo>
                    <a:pt x="100" y="366"/>
                  </a:lnTo>
                  <a:lnTo>
                    <a:pt x="96" y="370"/>
                  </a:lnTo>
                  <a:lnTo>
                    <a:pt x="94" y="373"/>
                  </a:lnTo>
                  <a:lnTo>
                    <a:pt x="91" y="377"/>
                  </a:lnTo>
                  <a:lnTo>
                    <a:pt x="89" y="380"/>
                  </a:lnTo>
                  <a:lnTo>
                    <a:pt x="87" y="382"/>
                  </a:lnTo>
                  <a:lnTo>
                    <a:pt x="85" y="384"/>
                  </a:lnTo>
                  <a:lnTo>
                    <a:pt x="84" y="385"/>
                  </a:lnTo>
                  <a:lnTo>
                    <a:pt x="81" y="386"/>
                  </a:lnTo>
                  <a:lnTo>
                    <a:pt x="80" y="385"/>
                  </a:lnTo>
                  <a:lnTo>
                    <a:pt x="79" y="384"/>
                  </a:lnTo>
                  <a:lnTo>
                    <a:pt x="78" y="382"/>
                  </a:lnTo>
                  <a:lnTo>
                    <a:pt x="77" y="380"/>
                  </a:lnTo>
                  <a:lnTo>
                    <a:pt x="76" y="378"/>
                  </a:lnTo>
                  <a:lnTo>
                    <a:pt x="76" y="375"/>
                  </a:lnTo>
                  <a:lnTo>
                    <a:pt x="75" y="374"/>
                  </a:lnTo>
                  <a:lnTo>
                    <a:pt x="74" y="373"/>
                  </a:lnTo>
                  <a:lnTo>
                    <a:pt x="73" y="373"/>
                  </a:lnTo>
                  <a:lnTo>
                    <a:pt x="70" y="374"/>
                  </a:lnTo>
                  <a:lnTo>
                    <a:pt x="68" y="375"/>
                  </a:lnTo>
                  <a:lnTo>
                    <a:pt x="67" y="377"/>
                  </a:lnTo>
                  <a:lnTo>
                    <a:pt x="65" y="378"/>
                  </a:lnTo>
                  <a:lnTo>
                    <a:pt x="64" y="379"/>
                  </a:lnTo>
                  <a:lnTo>
                    <a:pt x="63" y="380"/>
                  </a:lnTo>
                  <a:lnTo>
                    <a:pt x="59" y="383"/>
                  </a:lnTo>
                  <a:lnTo>
                    <a:pt x="58" y="385"/>
                  </a:lnTo>
                  <a:lnTo>
                    <a:pt x="57" y="389"/>
                  </a:lnTo>
                  <a:lnTo>
                    <a:pt x="56" y="391"/>
                  </a:lnTo>
                  <a:lnTo>
                    <a:pt x="55" y="393"/>
                  </a:lnTo>
                  <a:lnTo>
                    <a:pt x="54" y="396"/>
                  </a:lnTo>
                  <a:lnTo>
                    <a:pt x="52" y="399"/>
                  </a:lnTo>
                  <a:lnTo>
                    <a:pt x="49" y="402"/>
                  </a:lnTo>
                  <a:lnTo>
                    <a:pt x="47" y="405"/>
                  </a:lnTo>
                  <a:lnTo>
                    <a:pt x="44" y="409"/>
                  </a:lnTo>
                  <a:lnTo>
                    <a:pt x="42" y="412"/>
                  </a:lnTo>
                  <a:lnTo>
                    <a:pt x="38" y="413"/>
                  </a:lnTo>
                  <a:lnTo>
                    <a:pt x="36" y="414"/>
                  </a:lnTo>
                  <a:lnTo>
                    <a:pt x="34" y="413"/>
                  </a:lnTo>
                  <a:lnTo>
                    <a:pt x="33" y="412"/>
                  </a:lnTo>
                  <a:lnTo>
                    <a:pt x="32" y="411"/>
                  </a:lnTo>
                  <a:lnTo>
                    <a:pt x="31" y="410"/>
                  </a:lnTo>
                  <a:lnTo>
                    <a:pt x="30" y="409"/>
                  </a:lnTo>
                  <a:lnTo>
                    <a:pt x="27" y="409"/>
                  </a:lnTo>
                  <a:lnTo>
                    <a:pt x="25" y="409"/>
                  </a:lnTo>
                  <a:lnTo>
                    <a:pt x="23" y="410"/>
                  </a:lnTo>
                  <a:lnTo>
                    <a:pt x="22" y="411"/>
                  </a:lnTo>
                  <a:lnTo>
                    <a:pt x="20" y="412"/>
                  </a:lnTo>
                  <a:lnTo>
                    <a:pt x="18" y="414"/>
                  </a:lnTo>
                  <a:lnTo>
                    <a:pt x="16" y="415"/>
                  </a:lnTo>
                  <a:lnTo>
                    <a:pt x="14" y="415"/>
                  </a:lnTo>
                  <a:lnTo>
                    <a:pt x="12" y="413"/>
                  </a:lnTo>
                  <a:lnTo>
                    <a:pt x="11" y="412"/>
                  </a:lnTo>
                  <a:lnTo>
                    <a:pt x="9" y="412"/>
                  </a:lnTo>
                  <a:lnTo>
                    <a:pt x="7" y="413"/>
                  </a:lnTo>
                  <a:lnTo>
                    <a:pt x="3" y="414"/>
                  </a:lnTo>
                  <a:lnTo>
                    <a:pt x="1" y="415"/>
                  </a:lnTo>
                  <a:lnTo>
                    <a:pt x="0" y="415"/>
                  </a:lnTo>
                  <a:lnTo>
                    <a:pt x="0" y="414"/>
                  </a:lnTo>
                  <a:lnTo>
                    <a:pt x="1" y="412"/>
                  </a:lnTo>
                  <a:lnTo>
                    <a:pt x="2" y="410"/>
                  </a:lnTo>
                  <a:lnTo>
                    <a:pt x="2" y="409"/>
                  </a:lnTo>
                  <a:lnTo>
                    <a:pt x="3" y="407"/>
                  </a:lnTo>
                  <a:lnTo>
                    <a:pt x="4" y="405"/>
                  </a:lnTo>
                  <a:lnTo>
                    <a:pt x="5" y="403"/>
                  </a:lnTo>
                  <a:lnTo>
                    <a:pt x="5" y="403"/>
                  </a:lnTo>
                  <a:lnTo>
                    <a:pt x="4" y="401"/>
                  </a:lnTo>
                  <a:lnTo>
                    <a:pt x="3" y="399"/>
                  </a:lnTo>
                  <a:lnTo>
                    <a:pt x="3" y="396"/>
                  </a:lnTo>
                  <a:lnTo>
                    <a:pt x="4" y="394"/>
                  </a:lnTo>
                  <a:lnTo>
                    <a:pt x="8" y="392"/>
                  </a:lnTo>
                  <a:lnTo>
                    <a:pt x="11" y="390"/>
                  </a:lnTo>
                  <a:lnTo>
                    <a:pt x="14" y="389"/>
                  </a:lnTo>
                  <a:lnTo>
                    <a:pt x="18" y="388"/>
                  </a:lnTo>
                  <a:lnTo>
                    <a:pt x="21" y="386"/>
                  </a:lnTo>
                  <a:lnTo>
                    <a:pt x="26" y="382"/>
                  </a:lnTo>
                  <a:lnTo>
                    <a:pt x="31" y="378"/>
                  </a:lnTo>
                  <a:lnTo>
                    <a:pt x="34" y="373"/>
                  </a:lnTo>
                  <a:lnTo>
                    <a:pt x="40" y="367"/>
                  </a:lnTo>
                  <a:lnTo>
                    <a:pt x="46" y="361"/>
                  </a:lnTo>
                  <a:lnTo>
                    <a:pt x="54" y="355"/>
                  </a:lnTo>
                  <a:lnTo>
                    <a:pt x="65" y="347"/>
                  </a:lnTo>
                  <a:lnTo>
                    <a:pt x="76" y="338"/>
                  </a:lnTo>
                  <a:lnTo>
                    <a:pt x="83" y="335"/>
                  </a:lnTo>
                  <a:lnTo>
                    <a:pt x="90" y="333"/>
                  </a:lnTo>
                  <a:lnTo>
                    <a:pt x="98" y="330"/>
                  </a:lnTo>
                  <a:lnTo>
                    <a:pt x="102" y="327"/>
                  </a:lnTo>
                  <a:lnTo>
                    <a:pt x="107" y="324"/>
                  </a:lnTo>
                  <a:lnTo>
                    <a:pt x="111" y="322"/>
                  </a:lnTo>
                  <a:lnTo>
                    <a:pt x="112" y="320"/>
                  </a:lnTo>
                  <a:lnTo>
                    <a:pt x="114" y="318"/>
                  </a:lnTo>
                  <a:lnTo>
                    <a:pt x="118" y="316"/>
                  </a:lnTo>
                  <a:lnTo>
                    <a:pt x="121" y="314"/>
                  </a:lnTo>
                  <a:lnTo>
                    <a:pt x="123" y="314"/>
                  </a:lnTo>
                  <a:close/>
                  <a:moveTo>
                    <a:pt x="1539" y="307"/>
                  </a:moveTo>
                  <a:lnTo>
                    <a:pt x="1540" y="307"/>
                  </a:lnTo>
                  <a:lnTo>
                    <a:pt x="1542" y="308"/>
                  </a:lnTo>
                  <a:lnTo>
                    <a:pt x="1544" y="309"/>
                  </a:lnTo>
                  <a:lnTo>
                    <a:pt x="1547" y="311"/>
                  </a:lnTo>
                  <a:lnTo>
                    <a:pt x="1548" y="312"/>
                  </a:lnTo>
                  <a:lnTo>
                    <a:pt x="1549" y="313"/>
                  </a:lnTo>
                  <a:lnTo>
                    <a:pt x="1549" y="314"/>
                  </a:lnTo>
                  <a:lnTo>
                    <a:pt x="1550" y="316"/>
                  </a:lnTo>
                  <a:lnTo>
                    <a:pt x="1551" y="318"/>
                  </a:lnTo>
                  <a:lnTo>
                    <a:pt x="1551" y="320"/>
                  </a:lnTo>
                  <a:lnTo>
                    <a:pt x="1552" y="323"/>
                  </a:lnTo>
                  <a:lnTo>
                    <a:pt x="1552" y="325"/>
                  </a:lnTo>
                  <a:lnTo>
                    <a:pt x="1551" y="326"/>
                  </a:lnTo>
                  <a:lnTo>
                    <a:pt x="1551" y="326"/>
                  </a:lnTo>
                  <a:lnTo>
                    <a:pt x="1550" y="326"/>
                  </a:lnTo>
                  <a:lnTo>
                    <a:pt x="1548" y="324"/>
                  </a:lnTo>
                  <a:lnTo>
                    <a:pt x="1542" y="320"/>
                  </a:lnTo>
                  <a:lnTo>
                    <a:pt x="1539" y="317"/>
                  </a:lnTo>
                  <a:lnTo>
                    <a:pt x="1538" y="313"/>
                  </a:lnTo>
                  <a:lnTo>
                    <a:pt x="1537" y="309"/>
                  </a:lnTo>
                  <a:lnTo>
                    <a:pt x="1538" y="307"/>
                  </a:lnTo>
                  <a:lnTo>
                    <a:pt x="1539" y="307"/>
                  </a:lnTo>
                  <a:close/>
                  <a:moveTo>
                    <a:pt x="139" y="287"/>
                  </a:moveTo>
                  <a:lnTo>
                    <a:pt x="141" y="287"/>
                  </a:lnTo>
                  <a:lnTo>
                    <a:pt x="142" y="289"/>
                  </a:lnTo>
                  <a:lnTo>
                    <a:pt x="143" y="290"/>
                  </a:lnTo>
                  <a:lnTo>
                    <a:pt x="144" y="291"/>
                  </a:lnTo>
                  <a:lnTo>
                    <a:pt x="145" y="292"/>
                  </a:lnTo>
                  <a:lnTo>
                    <a:pt x="145" y="293"/>
                  </a:lnTo>
                  <a:lnTo>
                    <a:pt x="144" y="295"/>
                  </a:lnTo>
                  <a:lnTo>
                    <a:pt x="143" y="297"/>
                  </a:lnTo>
                  <a:lnTo>
                    <a:pt x="142" y="300"/>
                  </a:lnTo>
                  <a:lnTo>
                    <a:pt x="139" y="301"/>
                  </a:lnTo>
                  <a:lnTo>
                    <a:pt x="136" y="301"/>
                  </a:lnTo>
                  <a:lnTo>
                    <a:pt x="135" y="298"/>
                  </a:lnTo>
                  <a:lnTo>
                    <a:pt x="133" y="297"/>
                  </a:lnTo>
                  <a:lnTo>
                    <a:pt x="133" y="294"/>
                  </a:lnTo>
                  <a:lnTo>
                    <a:pt x="133" y="292"/>
                  </a:lnTo>
                  <a:lnTo>
                    <a:pt x="134" y="290"/>
                  </a:lnTo>
                  <a:lnTo>
                    <a:pt x="136" y="287"/>
                  </a:lnTo>
                  <a:lnTo>
                    <a:pt x="139" y="287"/>
                  </a:lnTo>
                  <a:close/>
                  <a:moveTo>
                    <a:pt x="434" y="285"/>
                  </a:moveTo>
                  <a:lnTo>
                    <a:pt x="434" y="287"/>
                  </a:lnTo>
                  <a:lnTo>
                    <a:pt x="434" y="289"/>
                  </a:lnTo>
                  <a:lnTo>
                    <a:pt x="433" y="290"/>
                  </a:lnTo>
                  <a:lnTo>
                    <a:pt x="433" y="291"/>
                  </a:lnTo>
                  <a:lnTo>
                    <a:pt x="431" y="292"/>
                  </a:lnTo>
                  <a:lnTo>
                    <a:pt x="429" y="293"/>
                  </a:lnTo>
                  <a:lnTo>
                    <a:pt x="428" y="293"/>
                  </a:lnTo>
                  <a:lnTo>
                    <a:pt x="427" y="292"/>
                  </a:lnTo>
                  <a:lnTo>
                    <a:pt x="426" y="291"/>
                  </a:lnTo>
                  <a:lnTo>
                    <a:pt x="426" y="291"/>
                  </a:lnTo>
                  <a:lnTo>
                    <a:pt x="426" y="289"/>
                  </a:lnTo>
                  <a:lnTo>
                    <a:pt x="427" y="287"/>
                  </a:lnTo>
                  <a:lnTo>
                    <a:pt x="429" y="286"/>
                  </a:lnTo>
                  <a:lnTo>
                    <a:pt x="431" y="285"/>
                  </a:lnTo>
                  <a:lnTo>
                    <a:pt x="434" y="285"/>
                  </a:lnTo>
                  <a:close/>
                  <a:moveTo>
                    <a:pt x="266" y="280"/>
                  </a:moveTo>
                  <a:lnTo>
                    <a:pt x="269" y="280"/>
                  </a:lnTo>
                  <a:lnTo>
                    <a:pt x="271" y="281"/>
                  </a:lnTo>
                  <a:lnTo>
                    <a:pt x="273" y="282"/>
                  </a:lnTo>
                  <a:lnTo>
                    <a:pt x="274" y="283"/>
                  </a:lnTo>
                  <a:lnTo>
                    <a:pt x="275" y="284"/>
                  </a:lnTo>
                  <a:lnTo>
                    <a:pt x="282" y="296"/>
                  </a:lnTo>
                  <a:lnTo>
                    <a:pt x="283" y="297"/>
                  </a:lnTo>
                  <a:lnTo>
                    <a:pt x="284" y="298"/>
                  </a:lnTo>
                  <a:lnTo>
                    <a:pt x="284" y="300"/>
                  </a:lnTo>
                  <a:lnTo>
                    <a:pt x="284" y="302"/>
                  </a:lnTo>
                  <a:lnTo>
                    <a:pt x="284" y="304"/>
                  </a:lnTo>
                  <a:lnTo>
                    <a:pt x="280" y="308"/>
                  </a:lnTo>
                  <a:lnTo>
                    <a:pt x="275" y="309"/>
                  </a:lnTo>
                  <a:lnTo>
                    <a:pt x="270" y="309"/>
                  </a:lnTo>
                  <a:lnTo>
                    <a:pt x="265" y="307"/>
                  </a:lnTo>
                  <a:lnTo>
                    <a:pt x="262" y="305"/>
                  </a:lnTo>
                  <a:lnTo>
                    <a:pt x="261" y="304"/>
                  </a:lnTo>
                  <a:lnTo>
                    <a:pt x="261" y="301"/>
                  </a:lnTo>
                  <a:lnTo>
                    <a:pt x="261" y="298"/>
                  </a:lnTo>
                  <a:lnTo>
                    <a:pt x="261" y="296"/>
                  </a:lnTo>
                  <a:lnTo>
                    <a:pt x="262" y="294"/>
                  </a:lnTo>
                  <a:lnTo>
                    <a:pt x="262" y="292"/>
                  </a:lnTo>
                  <a:lnTo>
                    <a:pt x="262" y="286"/>
                  </a:lnTo>
                  <a:lnTo>
                    <a:pt x="263" y="283"/>
                  </a:lnTo>
                  <a:lnTo>
                    <a:pt x="264" y="282"/>
                  </a:lnTo>
                  <a:lnTo>
                    <a:pt x="265" y="281"/>
                  </a:lnTo>
                  <a:lnTo>
                    <a:pt x="266" y="280"/>
                  </a:lnTo>
                  <a:close/>
                  <a:moveTo>
                    <a:pt x="210" y="270"/>
                  </a:moveTo>
                  <a:lnTo>
                    <a:pt x="211" y="271"/>
                  </a:lnTo>
                  <a:lnTo>
                    <a:pt x="211" y="272"/>
                  </a:lnTo>
                  <a:lnTo>
                    <a:pt x="211" y="273"/>
                  </a:lnTo>
                  <a:lnTo>
                    <a:pt x="211" y="275"/>
                  </a:lnTo>
                  <a:lnTo>
                    <a:pt x="211" y="278"/>
                  </a:lnTo>
                  <a:lnTo>
                    <a:pt x="210" y="279"/>
                  </a:lnTo>
                  <a:lnTo>
                    <a:pt x="209" y="279"/>
                  </a:lnTo>
                  <a:lnTo>
                    <a:pt x="207" y="281"/>
                  </a:lnTo>
                  <a:lnTo>
                    <a:pt x="204" y="282"/>
                  </a:lnTo>
                  <a:lnTo>
                    <a:pt x="201" y="283"/>
                  </a:lnTo>
                  <a:lnTo>
                    <a:pt x="199" y="283"/>
                  </a:lnTo>
                  <a:lnTo>
                    <a:pt x="196" y="284"/>
                  </a:lnTo>
                  <a:lnTo>
                    <a:pt x="194" y="285"/>
                  </a:lnTo>
                  <a:lnTo>
                    <a:pt x="193" y="287"/>
                  </a:lnTo>
                  <a:lnTo>
                    <a:pt x="193" y="290"/>
                  </a:lnTo>
                  <a:lnTo>
                    <a:pt x="194" y="291"/>
                  </a:lnTo>
                  <a:lnTo>
                    <a:pt x="195" y="293"/>
                  </a:lnTo>
                  <a:lnTo>
                    <a:pt x="197" y="294"/>
                  </a:lnTo>
                  <a:lnTo>
                    <a:pt x="198" y="295"/>
                  </a:lnTo>
                  <a:lnTo>
                    <a:pt x="198" y="296"/>
                  </a:lnTo>
                  <a:lnTo>
                    <a:pt x="197" y="300"/>
                  </a:lnTo>
                  <a:lnTo>
                    <a:pt x="196" y="304"/>
                  </a:lnTo>
                  <a:lnTo>
                    <a:pt x="193" y="307"/>
                  </a:lnTo>
                  <a:lnTo>
                    <a:pt x="189" y="311"/>
                  </a:lnTo>
                  <a:lnTo>
                    <a:pt x="185" y="313"/>
                  </a:lnTo>
                  <a:lnTo>
                    <a:pt x="175" y="316"/>
                  </a:lnTo>
                  <a:lnTo>
                    <a:pt x="167" y="316"/>
                  </a:lnTo>
                  <a:lnTo>
                    <a:pt x="161" y="313"/>
                  </a:lnTo>
                  <a:lnTo>
                    <a:pt x="157" y="307"/>
                  </a:lnTo>
                  <a:lnTo>
                    <a:pt x="156" y="301"/>
                  </a:lnTo>
                  <a:lnTo>
                    <a:pt x="163" y="291"/>
                  </a:lnTo>
                  <a:lnTo>
                    <a:pt x="174" y="282"/>
                  </a:lnTo>
                  <a:lnTo>
                    <a:pt x="177" y="281"/>
                  </a:lnTo>
                  <a:lnTo>
                    <a:pt x="179" y="280"/>
                  </a:lnTo>
                  <a:lnTo>
                    <a:pt x="182" y="279"/>
                  </a:lnTo>
                  <a:lnTo>
                    <a:pt x="185" y="276"/>
                  </a:lnTo>
                  <a:lnTo>
                    <a:pt x="188" y="275"/>
                  </a:lnTo>
                  <a:lnTo>
                    <a:pt x="192" y="275"/>
                  </a:lnTo>
                  <a:lnTo>
                    <a:pt x="195" y="275"/>
                  </a:lnTo>
                  <a:lnTo>
                    <a:pt x="198" y="274"/>
                  </a:lnTo>
                  <a:lnTo>
                    <a:pt x="199" y="273"/>
                  </a:lnTo>
                  <a:lnTo>
                    <a:pt x="201" y="272"/>
                  </a:lnTo>
                  <a:lnTo>
                    <a:pt x="204" y="271"/>
                  </a:lnTo>
                  <a:lnTo>
                    <a:pt x="206" y="270"/>
                  </a:lnTo>
                  <a:lnTo>
                    <a:pt x="208" y="270"/>
                  </a:lnTo>
                  <a:lnTo>
                    <a:pt x="210" y="270"/>
                  </a:lnTo>
                  <a:close/>
                  <a:moveTo>
                    <a:pt x="517" y="268"/>
                  </a:moveTo>
                  <a:lnTo>
                    <a:pt x="520" y="270"/>
                  </a:lnTo>
                  <a:lnTo>
                    <a:pt x="521" y="271"/>
                  </a:lnTo>
                  <a:lnTo>
                    <a:pt x="522" y="273"/>
                  </a:lnTo>
                  <a:lnTo>
                    <a:pt x="521" y="275"/>
                  </a:lnTo>
                  <a:lnTo>
                    <a:pt x="520" y="278"/>
                  </a:lnTo>
                  <a:lnTo>
                    <a:pt x="517" y="280"/>
                  </a:lnTo>
                  <a:lnTo>
                    <a:pt x="514" y="282"/>
                  </a:lnTo>
                  <a:lnTo>
                    <a:pt x="511" y="284"/>
                  </a:lnTo>
                  <a:lnTo>
                    <a:pt x="507" y="285"/>
                  </a:lnTo>
                  <a:lnTo>
                    <a:pt x="504" y="285"/>
                  </a:lnTo>
                  <a:lnTo>
                    <a:pt x="502" y="284"/>
                  </a:lnTo>
                  <a:lnTo>
                    <a:pt x="501" y="282"/>
                  </a:lnTo>
                  <a:lnTo>
                    <a:pt x="501" y="280"/>
                  </a:lnTo>
                  <a:lnTo>
                    <a:pt x="502" y="278"/>
                  </a:lnTo>
                  <a:lnTo>
                    <a:pt x="504" y="275"/>
                  </a:lnTo>
                  <a:lnTo>
                    <a:pt x="506" y="274"/>
                  </a:lnTo>
                  <a:lnTo>
                    <a:pt x="507" y="272"/>
                  </a:lnTo>
                  <a:lnTo>
                    <a:pt x="510" y="272"/>
                  </a:lnTo>
                  <a:lnTo>
                    <a:pt x="512" y="271"/>
                  </a:lnTo>
                  <a:lnTo>
                    <a:pt x="514" y="270"/>
                  </a:lnTo>
                  <a:lnTo>
                    <a:pt x="515" y="268"/>
                  </a:lnTo>
                  <a:lnTo>
                    <a:pt x="517" y="268"/>
                  </a:lnTo>
                  <a:close/>
                  <a:moveTo>
                    <a:pt x="330" y="266"/>
                  </a:moveTo>
                  <a:lnTo>
                    <a:pt x="332" y="266"/>
                  </a:lnTo>
                  <a:lnTo>
                    <a:pt x="335" y="268"/>
                  </a:lnTo>
                  <a:lnTo>
                    <a:pt x="337" y="268"/>
                  </a:lnTo>
                  <a:lnTo>
                    <a:pt x="338" y="268"/>
                  </a:lnTo>
                  <a:lnTo>
                    <a:pt x="338" y="269"/>
                  </a:lnTo>
                  <a:lnTo>
                    <a:pt x="338" y="271"/>
                  </a:lnTo>
                  <a:lnTo>
                    <a:pt x="337" y="272"/>
                  </a:lnTo>
                  <a:lnTo>
                    <a:pt x="336" y="273"/>
                  </a:lnTo>
                  <a:lnTo>
                    <a:pt x="334" y="274"/>
                  </a:lnTo>
                  <a:lnTo>
                    <a:pt x="330" y="275"/>
                  </a:lnTo>
                  <a:lnTo>
                    <a:pt x="328" y="276"/>
                  </a:lnTo>
                  <a:lnTo>
                    <a:pt x="327" y="276"/>
                  </a:lnTo>
                  <a:lnTo>
                    <a:pt x="324" y="276"/>
                  </a:lnTo>
                  <a:lnTo>
                    <a:pt x="320" y="275"/>
                  </a:lnTo>
                  <a:lnTo>
                    <a:pt x="318" y="275"/>
                  </a:lnTo>
                  <a:lnTo>
                    <a:pt x="317" y="274"/>
                  </a:lnTo>
                  <a:lnTo>
                    <a:pt x="317" y="272"/>
                  </a:lnTo>
                  <a:lnTo>
                    <a:pt x="318" y="271"/>
                  </a:lnTo>
                  <a:lnTo>
                    <a:pt x="319" y="269"/>
                  </a:lnTo>
                  <a:lnTo>
                    <a:pt x="321" y="268"/>
                  </a:lnTo>
                  <a:lnTo>
                    <a:pt x="324" y="268"/>
                  </a:lnTo>
                  <a:lnTo>
                    <a:pt x="327" y="266"/>
                  </a:lnTo>
                  <a:lnTo>
                    <a:pt x="330" y="266"/>
                  </a:lnTo>
                  <a:close/>
                  <a:moveTo>
                    <a:pt x="460" y="258"/>
                  </a:moveTo>
                  <a:lnTo>
                    <a:pt x="463" y="259"/>
                  </a:lnTo>
                  <a:lnTo>
                    <a:pt x="465" y="260"/>
                  </a:lnTo>
                  <a:lnTo>
                    <a:pt x="466" y="262"/>
                  </a:lnTo>
                  <a:lnTo>
                    <a:pt x="466" y="264"/>
                  </a:lnTo>
                  <a:lnTo>
                    <a:pt x="465" y="266"/>
                  </a:lnTo>
                  <a:lnTo>
                    <a:pt x="463" y="269"/>
                  </a:lnTo>
                  <a:lnTo>
                    <a:pt x="461" y="271"/>
                  </a:lnTo>
                  <a:lnTo>
                    <a:pt x="458" y="273"/>
                  </a:lnTo>
                  <a:lnTo>
                    <a:pt x="456" y="274"/>
                  </a:lnTo>
                  <a:lnTo>
                    <a:pt x="448" y="275"/>
                  </a:lnTo>
                  <a:lnTo>
                    <a:pt x="441" y="274"/>
                  </a:lnTo>
                  <a:lnTo>
                    <a:pt x="436" y="274"/>
                  </a:lnTo>
                  <a:lnTo>
                    <a:pt x="431" y="275"/>
                  </a:lnTo>
                  <a:lnTo>
                    <a:pt x="428" y="275"/>
                  </a:lnTo>
                  <a:lnTo>
                    <a:pt x="424" y="275"/>
                  </a:lnTo>
                  <a:lnTo>
                    <a:pt x="420" y="274"/>
                  </a:lnTo>
                  <a:lnTo>
                    <a:pt x="418" y="272"/>
                  </a:lnTo>
                  <a:lnTo>
                    <a:pt x="417" y="270"/>
                  </a:lnTo>
                  <a:lnTo>
                    <a:pt x="416" y="269"/>
                  </a:lnTo>
                  <a:lnTo>
                    <a:pt x="417" y="266"/>
                  </a:lnTo>
                  <a:lnTo>
                    <a:pt x="418" y="264"/>
                  </a:lnTo>
                  <a:lnTo>
                    <a:pt x="420" y="262"/>
                  </a:lnTo>
                  <a:lnTo>
                    <a:pt x="423" y="262"/>
                  </a:lnTo>
                  <a:lnTo>
                    <a:pt x="426" y="261"/>
                  </a:lnTo>
                  <a:lnTo>
                    <a:pt x="428" y="261"/>
                  </a:lnTo>
                  <a:lnTo>
                    <a:pt x="431" y="260"/>
                  </a:lnTo>
                  <a:lnTo>
                    <a:pt x="434" y="260"/>
                  </a:lnTo>
                  <a:lnTo>
                    <a:pt x="435" y="260"/>
                  </a:lnTo>
                  <a:lnTo>
                    <a:pt x="436" y="260"/>
                  </a:lnTo>
                  <a:lnTo>
                    <a:pt x="436" y="260"/>
                  </a:lnTo>
                  <a:lnTo>
                    <a:pt x="434" y="260"/>
                  </a:lnTo>
                  <a:lnTo>
                    <a:pt x="447" y="259"/>
                  </a:lnTo>
                  <a:lnTo>
                    <a:pt x="460" y="258"/>
                  </a:lnTo>
                  <a:close/>
                  <a:moveTo>
                    <a:pt x="208" y="246"/>
                  </a:moveTo>
                  <a:lnTo>
                    <a:pt x="212" y="250"/>
                  </a:lnTo>
                  <a:lnTo>
                    <a:pt x="214" y="251"/>
                  </a:lnTo>
                  <a:lnTo>
                    <a:pt x="215" y="252"/>
                  </a:lnTo>
                  <a:lnTo>
                    <a:pt x="216" y="254"/>
                  </a:lnTo>
                  <a:lnTo>
                    <a:pt x="217" y="255"/>
                  </a:lnTo>
                  <a:lnTo>
                    <a:pt x="217" y="258"/>
                  </a:lnTo>
                  <a:lnTo>
                    <a:pt x="217" y="260"/>
                  </a:lnTo>
                  <a:lnTo>
                    <a:pt x="215" y="262"/>
                  </a:lnTo>
                  <a:lnTo>
                    <a:pt x="211" y="263"/>
                  </a:lnTo>
                  <a:lnTo>
                    <a:pt x="208" y="264"/>
                  </a:lnTo>
                  <a:lnTo>
                    <a:pt x="205" y="264"/>
                  </a:lnTo>
                  <a:lnTo>
                    <a:pt x="201" y="264"/>
                  </a:lnTo>
                  <a:lnTo>
                    <a:pt x="199" y="264"/>
                  </a:lnTo>
                  <a:lnTo>
                    <a:pt x="198" y="263"/>
                  </a:lnTo>
                  <a:lnTo>
                    <a:pt x="196" y="263"/>
                  </a:lnTo>
                  <a:lnTo>
                    <a:pt x="195" y="263"/>
                  </a:lnTo>
                  <a:lnTo>
                    <a:pt x="193" y="264"/>
                  </a:lnTo>
                  <a:lnTo>
                    <a:pt x="192" y="264"/>
                  </a:lnTo>
                  <a:lnTo>
                    <a:pt x="190" y="265"/>
                  </a:lnTo>
                  <a:lnTo>
                    <a:pt x="189" y="265"/>
                  </a:lnTo>
                  <a:lnTo>
                    <a:pt x="188" y="266"/>
                  </a:lnTo>
                  <a:lnTo>
                    <a:pt x="186" y="265"/>
                  </a:lnTo>
                  <a:lnTo>
                    <a:pt x="183" y="265"/>
                  </a:lnTo>
                  <a:lnTo>
                    <a:pt x="179" y="265"/>
                  </a:lnTo>
                  <a:lnTo>
                    <a:pt x="176" y="265"/>
                  </a:lnTo>
                  <a:lnTo>
                    <a:pt x="173" y="266"/>
                  </a:lnTo>
                  <a:lnTo>
                    <a:pt x="172" y="268"/>
                  </a:lnTo>
                  <a:lnTo>
                    <a:pt x="169" y="269"/>
                  </a:lnTo>
                  <a:lnTo>
                    <a:pt x="167" y="270"/>
                  </a:lnTo>
                  <a:lnTo>
                    <a:pt x="165" y="271"/>
                  </a:lnTo>
                  <a:lnTo>
                    <a:pt x="164" y="272"/>
                  </a:lnTo>
                  <a:lnTo>
                    <a:pt x="162" y="272"/>
                  </a:lnTo>
                  <a:lnTo>
                    <a:pt x="161" y="272"/>
                  </a:lnTo>
                  <a:lnTo>
                    <a:pt x="160" y="271"/>
                  </a:lnTo>
                  <a:lnTo>
                    <a:pt x="160" y="270"/>
                  </a:lnTo>
                  <a:lnTo>
                    <a:pt x="161" y="268"/>
                  </a:lnTo>
                  <a:lnTo>
                    <a:pt x="163" y="264"/>
                  </a:lnTo>
                  <a:lnTo>
                    <a:pt x="165" y="262"/>
                  </a:lnTo>
                  <a:lnTo>
                    <a:pt x="169" y="259"/>
                  </a:lnTo>
                  <a:lnTo>
                    <a:pt x="174" y="257"/>
                  </a:lnTo>
                  <a:lnTo>
                    <a:pt x="177" y="255"/>
                  </a:lnTo>
                  <a:lnTo>
                    <a:pt x="186" y="252"/>
                  </a:lnTo>
                  <a:lnTo>
                    <a:pt x="194" y="249"/>
                  </a:lnTo>
                  <a:lnTo>
                    <a:pt x="201" y="246"/>
                  </a:lnTo>
                  <a:lnTo>
                    <a:pt x="208" y="246"/>
                  </a:lnTo>
                  <a:close/>
                  <a:moveTo>
                    <a:pt x="404" y="204"/>
                  </a:moveTo>
                  <a:lnTo>
                    <a:pt x="409" y="204"/>
                  </a:lnTo>
                  <a:lnTo>
                    <a:pt x="413" y="205"/>
                  </a:lnTo>
                  <a:lnTo>
                    <a:pt x="416" y="207"/>
                  </a:lnTo>
                  <a:lnTo>
                    <a:pt x="417" y="208"/>
                  </a:lnTo>
                  <a:lnTo>
                    <a:pt x="418" y="209"/>
                  </a:lnTo>
                  <a:lnTo>
                    <a:pt x="419" y="211"/>
                  </a:lnTo>
                  <a:lnTo>
                    <a:pt x="422" y="213"/>
                  </a:lnTo>
                  <a:lnTo>
                    <a:pt x="423" y="214"/>
                  </a:lnTo>
                  <a:lnTo>
                    <a:pt x="425" y="215"/>
                  </a:lnTo>
                  <a:lnTo>
                    <a:pt x="427" y="216"/>
                  </a:lnTo>
                  <a:lnTo>
                    <a:pt x="430" y="215"/>
                  </a:lnTo>
                  <a:lnTo>
                    <a:pt x="433" y="215"/>
                  </a:lnTo>
                  <a:lnTo>
                    <a:pt x="435" y="215"/>
                  </a:lnTo>
                  <a:lnTo>
                    <a:pt x="437" y="216"/>
                  </a:lnTo>
                  <a:lnTo>
                    <a:pt x="439" y="218"/>
                  </a:lnTo>
                  <a:lnTo>
                    <a:pt x="440" y="219"/>
                  </a:lnTo>
                  <a:lnTo>
                    <a:pt x="440" y="220"/>
                  </a:lnTo>
                  <a:lnTo>
                    <a:pt x="441" y="222"/>
                  </a:lnTo>
                  <a:lnTo>
                    <a:pt x="441" y="225"/>
                  </a:lnTo>
                  <a:lnTo>
                    <a:pt x="441" y="226"/>
                  </a:lnTo>
                  <a:lnTo>
                    <a:pt x="441" y="228"/>
                  </a:lnTo>
                  <a:lnTo>
                    <a:pt x="444" y="229"/>
                  </a:lnTo>
                  <a:lnTo>
                    <a:pt x="445" y="229"/>
                  </a:lnTo>
                  <a:lnTo>
                    <a:pt x="446" y="230"/>
                  </a:lnTo>
                  <a:lnTo>
                    <a:pt x="448" y="230"/>
                  </a:lnTo>
                  <a:lnTo>
                    <a:pt x="449" y="232"/>
                  </a:lnTo>
                  <a:lnTo>
                    <a:pt x="449" y="233"/>
                  </a:lnTo>
                  <a:lnTo>
                    <a:pt x="449" y="235"/>
                  </a:lnTo>
                  <a:lnTo>
                    <a:pt x="448" y="236"/>
                  </a:lnTo>
                  <a:lnTo>
                    <a:pt x="446" y="237"/>
                  </a:lnTo>
                  <a:lnTo>
                    <a:pt x="444" y="238"/>
                  </a:lnTo>
                  <a:lnTo>
                    <a:pt x="441" y="240"/>
                  </a:lnTo>
                  <a:lnTo>
                    <a:pt x="441" y="240"/>
                  </a:lnTo>
                  <a:lnTo>
                    <a:pt x="443" y="241"/>
                  </a:lnTo>
                  <a:lnTo>
                    <a:pt x="443" y="242"/>
                  </a:lnTo>
                  <a:lnTo>
                    <a:pt x="444" y="244"/>
                  </a:lnTo>
                  <a:lnTo>
                    <a:pt x="441" y="247"/>
                  </a:lnTo>
                  <a:lnTo>
                    <a:pt x="439" y="248"/>
                  </a:lnTo>
                  <a:lnTo>
                    <a:pt x="436" y="249"/>
                  </a:lnTo>
                  <a:lnTo>
                    <a:pt x="433" y="250"/>
                  </a:lnTo>
                  <a:lnTo>
                    <a:pt x="429" y="251"/>
                  </a:lnTo>
                  <a:lnTo>
                    <a:pt x="423" y="252"/>
                  </a:lnTo>
                  <a:lnTo>
                    <a:pt x="417" y="255"/>
                  </a:lnTo>
                  <a:lnTo>
                    <a:pt x="411" y="258"/>
                  </a:lnTo>
                  <a:lnTo>
                    <a:pt x="407" y="258"/>
                  </a:lnTo>
                  <a:lnTo>
                    <a:pt x="404" y="257"/>
                  </a:lnTo>
                  <a:lnTo>
                    <a:pt x="403" y="255"/>
                  </a:lnTo>
                  <a:lnTo>
                    <a:pt x="401" y="254"/>
                  </a:lnTo>
                  <a:lnTo>
                    <a:pt x="400" y="253"/>
                  </a:lnTo>
                  <a:lnTo>
                    <a:pt x="398" y="252"/>
                  </a:lnTo>
                  <a:lnTo>
                    <a:pt x="396" y="251"/>
                  </a:lnTo>
                  <a:lnTo>
                    <a:pt x="394" y="250"/>
                  </a:lnTo>
                  <a:lnTo>
                    <a:pt x="393" y="248"/>
                  </a:lnTo>
                  <a:lnTo>
                    <a:pt x="391" y="247"/>
                  </a:lnTo>
                  <a:lnTo>
                    <a:pt x="391" y="246"/>
                  </a:lnTo>
                  <a:lnTo>
                    <a:pt x="392" y="244"/>
                  </a:lnTo>
                  <a:lnTo>
                    <a:pt x="395" y="243"/>
                  </a:lnTo>
                  <a:lnTo>
                    <a:pt x="397" y="243"/>
                  </a:lnTo>
                  <a:lnTo>
                    <a:pt x="401" y="243"/>
                  </a:lnTo>
                  <a:lnTo>
                    <a:pt x="402" y="243"/>
                  </a:lnTo>
                  <a:lnTo>
                    <a:pt x="404" y="242"/>
                  </a:lnTo>
                  <a:lnTo>
                    <a:pt x="407" y="242"/>
                  </a:lnTo>
                  <a:lnTo>
                    <a:pt x="408" y="241"/>
                  </a:lnTo>
                  <a:lnTo>
                    <a:pt x="409" y="240"/>
                  </a:lnTo>
                  <a:lnTo>
                    <a:pt x="409" y="238"/>
                  </a:lnTo>
                  <a:lnTo>
                    <a:pt x="408" y="237"/>
                  </a:lnTo>
                  <a:lnTo>
                    <a:pt x="406" y="236"/>
                  </a:lnTo>
                  <a:lnTo>
                    <a:pt x="404" y="236"/>
                  </a:lnTo>
                  <a:lnTo>
                    <a:pt x="402" y="236"/>
                  </a:lnTo>
                  <a:lnTo>
                    <a:pt x="400" y="235"/>
                  </a:lnTo>
                  <a:lnTo>
                    <a:pt x="397" y="235"/>
                  </a:lnTo>
                  <a:lnTo>
                    <a:pt x="397" y="233"/>
                  </a:lnTo>
                  <a:lnTo>
                    <a:pt x="396" y="231"/>
                  </a:lnTo>
                  <a:lnTo>
                    <a:pt x="396" y="230"/>
                  </a:lnTo>
                  <a:lnTo>
                    <a:pt x="396" y="228"/>
                  </a:lnTo>
                  <a:lnTo>
                    <a:pt x="397" y="227"/>
                  </a:lnTo>
                  <a:lnTo>
                    <a:pt x="396" y="226"/>
                  </a:lnTo>
                  <a:lnTo>
                    <a:pt x="395" y="226"/>
                  </a:lnTo>
                  <a:lnTo>
                    <a:pt x="394" y="225"/>
                  </a:lnTo>
                  <a:lnTo>
                    <a:pt x="392" y="225"/>
                  </a:lnTo>
                  <a:lnTo>
                    <a:pt x="391" y="222"/>
                  </a:lnTo>
                  <a:lnTo>
                    <a:pt x="391" y="221"/>
                  </a:lnTo>
                  <a:lnTo>
                    <a:pt x="392" y="219"/>
                  </a:lnTo>
                  <a:lnTo>
                    <a:pt x="392" y="218"/>
                  </a:lnTo>
                  <a:lnTo>
                    <a:pt x="393" y="217"/>
                  </a:lnTo>
                  <a:lnTo>
                    <a:pt x="394" y="215"/>
                  </a:lnTo>
                  <a:lnTo>
                    <a:pt x="395" y="214"/>
                  </a:lnTo>
                  <a:lnTo>
                    <a:pt x="394" y="211"/>
                  </a:lnTo>
                  <a:lnTo>
                    <a:pt x="394" y="210"/>
                  </a:lnTo>
                  <a:lnTo>
                    <a:pt x="394" y="209"/>
                  </a:lnTo>
                  <a:lnTo>
                    <a:pt x="395" y="207"/>
                  </a:lnTo>
                  <a:lnTo>
                    <a:pt x="396" y="206"/>
                  </a:lnTo>
                  <a:lnTo>
                    <a:pt x="400" y="205"/>
                  </a:lnTo>
                  <a:lnTo>
                    <a:pt x="404" y="204"/>
                  </a:lnTo>
                  <a:close/>
                  <a:moveTo>
                    <a:pt x="310" y="194"/>
                  </a:moveTo>
                  <a:lnTo>
                    <a:pt x="313" y="195"/>
                  </a:lnTo>
                  <a:lnTo>
                    <a:pt x="315" y="196"/>
                  </a:lnTo>
                  <a:lnTo>
                    <a:pt x="317" y="197"/>
                  </a:lnTo>
                  <a:lnTo>
                    <a:pt x="319" y="197"/>
                  </a:lnTo>
                  <a:lnTo>
                    <a:pt x="321" y="199"/>
                  </a:lnTo>
                  <a:lnTo>
                    <a:pt x="323" y="202"/>
                  </a:lnTo>
                  <a:lnTo>
                    <a:pt x="323" y="205"/>
                  </a:lnTo>
                  <a:lnTo>
                    <a:pt x="324" y="207"/>
                  </a:lnTo>
                  <a:lnTo>
                    <a:pt x="324" y="210"/>
                  </a:lnTo>
                  <a:lnTo>
                    <a:pt x="325" y="211"/>
                  </a:lnTo>
                  <a:lnTo>
                    <a:pt x="327" y="213"/>
                  </a:lnTo>
                  <a:lnTo>
                    <a:pt x="328" y="213"/>
                  </a:lnTo>
                  <a:lnTo>
                    <a:pt x="330" y="213"/>
                  </a:lnTo>
                  <a:lnTo>
                    <a:pt x="331" y="210"/>
                  </a:lnTo>
                  <a:lnTo>
                    <a:pt x="332" y="210"/>
                  </a:lnTo>
                  <a:lnTo>
                    <a:pt x="335" y="209"/>
                  </a:lnTo>
                  <a:lnTo>
                    <a:pt x="336" y="208"/>
                  </a:lnTo>
                  <a:lnTo>
                    <a:pt x="337" y="207"/>
                  </a:lnTo>
                  <a:lnTo>
                    <a:pt x="338" y="208"/>
                  </a:lnTo>
                  <a:lnTo>
                    <a:pt x="340" y="209"/>
                  </a:lnTo>
                  <a:lnTo>
                    <a:pt x="342" y="210"/>
                  </a:lnTo>
                  <a:lnTo>
                    <a:pt x="342" y="213"/>
                  </a:lnTo>
                  <a:lnTo>
                    <a:pt x="342" y="214"/>
                  </a:lnTo>
                  <a:lnTo>
                    <a:pt x="343" y="216"/>
                  </a:lnTo>
                  <a:lnTo>
                    <a:pt x="343" y="218"/>
                  </a:lnTo>
                  <a:lnTo>
                    <a:pt x="345" y="219"/>
                  </a:lnTo>
                  <a:lnTo>
                    <a:pt x="347" y="221"/>
                  </a:lnTo>
                  <a:lnTo>
                    <a:pt x="349" y="224"/>
                  </a:lnTo>
                  <a:lnTo>
                    <a:pt x="352" y="225"/>
                  </a:lnTo>
                  <a:lnTo>
                    <a:pt x="354" y="227"/>
                  </a:lnTo>
                  <a:lnTo>
                    <a:pt x="357" y="229"/>
                  </a:lnTo>
                  <a:lnTo>
                    <a:pt x="358" y="231"/>
                  </a:lnTo>
                  <a:lnTo>
                    <a:pt x="359" y="235"/>
                  </a:lnTo>
                  <a:lnTo>
                    <a:pt x="359" y="237"/>
                  </a:lnTo>
                  <a:lnTo>
                    <a:pt x="359" y="239"/>
                  </a:lnTo>
                  <a:lnTo>
                    <a:pt x="359" y="242"/>
                  </a:lnTo>
                  <a:lnTo>
                    <a:pt x="359" y="244"/>
                  </a:lnTo>
                  <a:lnTo>
                    <a:pt x="361" y="248"/>
                  </a:lnTo>
                  <a:lnTo>
                    <a:pt x="362" y="248"/>
                  </a:lnTo>
                  <a:lnTo>
                    <a:pt x="363" y="249"/>
                  </a:lnTo>
                  <a:lnTo>
                    <a:pt x="363" y="250"/>
                  </a:lnTo>
                  <a:lnTo>
                    <a:pt x="365" y="252"/>
                  </a:lnTo>
                  <a:lnTo>
                    <a:pt x="367" y="254"/>
                  </a:lnTo>
                  <a:lnTo>
                    <a:pt x="368" y="257"/>
                  </a:lnTo>
                  <a:lnTo>
                    <a:pt x="368" y="260"/>
                  </a:lnTo>
                  <a:lnTo>
                    <a:pt x="368" y="262"/>
                  </a:lnTo>
                  <a:lnTo>
                    <a:pt x="365" y="264"/>
                  </a:lnTo>
                  <a:lnTo>
                    <a:pt x="364" y="265"/>
                  </a:lnTo>
                  <a:lnTo>
                    <a:pt x="361" y="266"/>
                  </a:lnTo>
                  <a:lnTo>
                    <a:pt x="357" y="266"/>
                  </a:lnTo>
                  <a:lnTo>
                    <a:pt x="353" y="266"/>
                  </a:lnTo>
                  <a:lnTo>
                    <a:pt x="351" y="265"/>
                  </a:lnTo>
                  <a:lnTo>
                    <a:pt x="349" y="264"/>
                  </a:lnTo>
                  <a:lnTo>
                    <a:pt x="348" y="262"/>
                  </a:lnTo>
                  <a:lnTo>
                    <a:pt x="347" y="260"/>
                  </a:lnTo>
                  <a:lnTo>
                    <a:pt x="347" y="257"/>
                  </a:lnTo>
                  <a:lnTo>
                    <a:pt x="347" y="254"/>
                  </a:lnTo>
                  <a:lnTo>
                    <a:pt x="347" y="252"/>
                  </a:lnTo>
                  <a:lnTo>
                    <a:pt x="346" y="251"/>
                  </a:lnTo>
                  <a:lnTo>
                    <a:pt x="345" y="250"/>
                  </a:lnTo>
                  <a:lnTo>
                    <a:pt x="342" y="250"/>
                  </a:lnTo>
                  <a:lnTo>
                    <a:pt x="340" y="250"/>
                  </a:lnTo>
                  <a:lnTo>
                    <a:pt x="338" y="250"/>
                  </a:lnTo>
                  <a:lnTo>
                    <a:pt x="335" y="249"/>
                  </a:lnTo>
                  <a:lnTo>
                    <a:pt x="331" y="249"/>
                  </a:lnTo>
                  <a:lnTo>
                    <a:pt x="329" y="248"/>
                  </a:lnTo>
                  <a:lnTo>
                    <a:pt x="328" y="246"/>
                  </a:lnTo>
                  <a:lnTo>
                    <a:pt x="326" y="246"/>
                  </a:lnTo>
                  <a:lnTo>
                    <a:pt x="324" y="246"/>
                  </a:lnTo>
                  <a:lnTo>
                    <a:pt x="321" y="248"/>
                  </a:lnTo>
                  <a:lnTo>
                    <a:pt x="320" y="249"/>
                  </a:lnTo>
                  <a:lnTo>
                    <a:pt x="319" y="251"/>
                  </a:lnTo>
                  <a:lnTo>
                    <a:pt x="319" y="252"/>
                  </a:lnTo>
                  <a:lnTo>
                    <a:pt x="318" y="253"/>
                  </a:lnTo>
                  <a:lnTo>
                    <a:pt x="317" y="254"/>
                  </a:lnTo>
                  <a:lnTo>
                    <a:pt x="310" y="255"/>
                  </a:lnTo>
                  <a:lnTo>
                    <a:pt x="303" y="254"/>
                  </a:lnTo>
                  <a:lnTo>
                    <a:pt x="296" y="251"/>
                  </a:lnTo>
                  <a:lnTo>
                    <a:pt x="291" y="248"/>
                  </a:lnTo>
                  <a:lnTo>
                    <a:pt x="288" y="243"/>
                  </a:lnTo>
                  <a:lnTo>
                    <a:pt x="288" y="241"/>
                  </a:lnTo>
                  <a:lnTo>
                    <a:pt x="291" y="240"/>
                  </a:lnTo>
                  <a:lnTo>
                    <a:pt x="293" y="238"/>
                  </a:lnTo>
                  <a:lnTo>
                    <a:pt x="296" y="237"/>
                  </a:lnTo>
                  <a:lnTo>
                    <a:pt x="298" y="237"/>
                  </a:lnTo>
                  <a:lnTo>
                    <a:pt x="300" y="236"/>
                  </a:lnTo>
                  <a:lnTo>
                    <a:pt x="303" y="236"/>
                  </a:lnTo>
                  <a:lnTo>
                    <a:pt x="305" y="235"/>
                  </a:lnTo>
                  <a:lnTo>
                    <a:pt x="307" y="232"/>
                  </a:lnTo>
                  <a:lnTo>
                    <a:pt x="308" y="231"/>
                  </a:lnTo>
                  <a:lnTo>
                    <a:pt x="308" y="229"/>
                  </a:lnTo>
                  <a:lnTo>
                    <a:pt x="307" y="227"/>
                  </a:lnTo>
                  <a:lnTo>
                    <a:pt x="305" y="225"/>
                  </a:lnTo>
                  <a:lnTo>
                    <a:pt x="303" y="222"/>
                  </a:lnTo>
                  <a:lnTo>
                    <a:pt x="300" y="221"/>
                  </a:lnTo>
                  <a:lnTo>
                    <a:pt x="298" y="220"/>
                  </a:lnTo>
                  <a:lnTo>
                    <a:pt x="296" y="219"/>
                  </a:lnTo>
                  <a:lnTo>
                    <a:pt x="295" y="218"/>
                  </a:lnTo>
                  <a:lnTo>
                    <a:pt x="293" y="218"/>
                  </a:lnTo>
                  <a:lnTo>
                    <a:pt x="291" y="218"/>
                  </a:lnTo>
                  <a:lnTo>
                    <a:pt x="289" y="218"/>
                  </a:lnTo>
                  <a:lnTo>
                    <a:pt x="288" y="218"/>
                  </a:lnTo>
                  <a:lnTo>
                    <a:pt x="287" y="217"/>
                  </a:lnTo>
                  <a:lnTo>
                    <a:pt x="286" y="215"/>
                  </a:lnTo>
                  <a:lnTo>
                    <a:pt x="286" y="213"/>
                  </a:lnTo>
                  <a:lnTo>
                    <a:pt x="287" y="209"/>
                  </a:lnTo>
                  <a:lnTo>
                    <a:pt x="288" y="206"/>
                  </a:lnTo>
                  <a:lnTo>
                    <a:pt x="291" y="203"/>
                  </a:lnTo>
                  <a:lnTo>
                    <a:pt x="294" y="199"/>
                  </a:lnTo>
                  <a:lnTo>
                    <a:pt x="298" y="197"/>
                  </a:lnTo>
                  <a:lnTo>
                    <a:pt x="300" y="196"/>
                  </a:lnTo>
                  <a:lnTo>
                    <a:pt x="304" y="195"/>
                  </a:lnTo>
                  <a:lnTo>
                    <a:pt x="307" y="194"/>
                  </a:lnTo>
                  <a:lnTo>
                    <a:pt x="310" y="194"/>
                  </a:lnTo>
                  <a:close/>
                  <a:moveTo>
                    <a:pt x="401" y="148"/>
                  </a:moveTo>
                  <a:lnTo>
                    <a:pt x="405" y="149"/>
                  </a:lnTo>
                  <a:lnTo>
                    <a:pt x="408" y="151"/>
                  </a:lnTo>
                  <a:lnTo>
                    <a:pt x="411" y="153"/>
                  </a:lnTo>
                  <a:lnTo>
                    <a:pt x="412" y="155"/>
                  </a:lnTo>
                  <a:lnTo>
                    <a:pt x="412" y="158"/>
                  </a:lnTo>
                  <a:lnTo>
                    <a:pt x="411" y="160"/>
                  </a:lnTo>
                  <a:lnTo>
                    <a:pt x="408" y="162"/>
                  </a:lnTo>
                  <a:lnTo>
                    <a:pt x="405" y="163"/>
                  </a:lnTo>
                  <a:lnTo>
                    <a:pt x="401" y="163"/>
                  </a:lnTo>
                  <a:lnTo>
                    <a:pt x="398" y="163"/>
                  </a:lnTo>
                  <a:lnTo>
                    <a:pt x="395" y="162"/>
                  </a:lnTo>
                  <a:lnTo>
                    <a:pt x="394" y="162"/>
                  </a:lnTo>
                  <a:lnTo>
                    <a:pt x="392" y="160"/>
                  </a:lnTo>
                  <a:lnTo>
                    <a:pt x="391" y="159"/>
                  </a:lnTo>
                  <a:lnTo>
                    <a:pt x="389" y="156"/>
                  </a:lnTo>
                  <a:lnTo>
                    <a:pt x="381" y="156"/>
                  </a:lnTo>
                  <a:lnTo>
                    <a:pt x="379" y="156"/>
                  </a:lnTo>
                  <a:lnTo>
                    <a:pt x="378" y="155"/>
                  </a:lnTo>
                  <a:lnTo>
                    <a:pt x="378" y="154"/>
                  </a:lnTo>
                  <a:lnTo>
                    <a:pt x="379" y="153"/>
                  </a:lnTo>
                  <a:lnTo>
                    <a:pt x="380" y="152"/>
                  </a:lnTo>
                  <a:lnTo>
                    <a:pt x="383" y="151"/>
                  </a:lnTo>
                  <a:lnTo>
                    <a:pt x="385" y="150"/>
                  </a:lnTo>
                  <a:lnTo>
                    <a:pt x="389" y="150"/>
                  </a:lnTo>
                  <a:lnTo>
                    <a:pt x="391" y="149"/>
                  </a:lnTo>
                  <a:lnTo>
                    <a:pt x="394" y="149"/>
                  </a:lnTo>
                  <a:lnTo>
                    <a:pt x="396" y="149"/>
                  </a:lnTo>
                  <a:lnTo>
                    <a:pt x="401" y="148"/>
                  </a:lnTo>
                  <a:close/>
                  <a:moveTo>
                    <a:pt x="1203" y="0"/>
                  </a:moveTo>
                  <a:lnTo>
                    <a:pt x="1204" y="0"/>
                  </a:lnTo>
                  <a:lnTo>
                    <a:pt x="1207" y="1"/>
                  </a:lnTo>
                  <a:lnTo>
                    <a:pt x="1210" y="2"/>
                  </a:lnTo>
                  <a:lnTo>
                    <a:pt x="1212" y="4"/>
                  </a:lnTo>
                  <a:lnTo>
                    <a:pt x="1212" y="6"/>
                  </a:lnTo>
                  <a:lnTo>
                    <a:pt x="1213" y="6"/>
                  </a:lnTo>
                  <a:lnTo>
                    <a:pt x="1215" y="8"/>
                  </a:lnTo>
                  <a:lnTo>
                    <a:pt x="1216" y="9"/>
                  </a:lnTo>
                  <a:lnTo>
                    <a:pt x="1219" y="10"/>
                  </a:lnTo>
                  <a:lnTo>
                    <a:pt x="1220" y="10"/>
                  </a:lnTo>
                  <a:lnTo>
                    <a:pt x="1221" y="10"/>
                  </a:lnTo>
                  <a:lnTo>
                    <a:pt x="1221" y="9"/>
                  </a:lnTo>
                  <a:lnTo>
                    <a:pt x="1221" y="8"/>
                  </a:lnTo>
                  <a:lnTo>
                    <a:pt x="1220" y="6"/>
                  </a:lnTo>
                  <a:lnTo>
                    <a:pt x="1219" y="3"/>
                  </a:lnTo>
                  <a:lnTo>
                    <a:pt x="1218" y="2"/>
                  </a:lnTo>
                  <a:lnTo>
                    <a:pt x="1216" y="1"/>
                  </a:lnTo>
                  <a:lnTo>
                    <a:pt x="1216" y="0"/>
                  </a:lnTo>
                  <a:lnTo>
                    <a:pt x="1219" y="0"/>
                  </a:lnTo>
                  <a:lnTo>
                    <a:pt x="1221" y="1"/>
                  </a:lnTo>
                  <a:lnTo>
                    <a:pt x="1223" y="2"/>
                  </a:lnTo>
                  <a:lnTo>
                    <a:pt x="1225" y="2"/>
                  </a:lnTo>
                  <a:lnTo>
                    <a:pt x="1227" y="2"/>
                  </a:lnTo>
                  <a:lnTo>
                    <a:pt x="1230" y="2"/>
                  </a:lnTo>
                  <a:lnTo>
                    <a:pt x="1231" y="2"/>
                  </a:lnTo>
                  <a:lnTo>
                    <a:pt x="1233" y="1"/>
                  </a:lnTo>
                  <a:lnTo>
                    <a:pt x="1234" y="0"/>
                  </a:lnTo>
                  <a:lnTo>
                    <a:pt x="1236" y="0"/>
                  </a:lnTo>
                  <a:lnTo>
                    <a:pt x="1240" y="2"/>
                  </a:lnTo>
                  <a:lnTo>
                    <a:pt x="1243" y="3"/>
                  </a:lnTo>
                  <a:lnTo>
                    <a:pt x="1246" y="6"/>
                  </a:lnTo>
                  <a:lnTo>
                    <a:pt x="1251" y="7"/>
                  </a:lnTo>
                  <a:lnTo>
                    <a:pt x="1254" y="7"/>
                  </a:lnTo>
                  <a:lnTo>
                    <a:pt x="1255" y="6"/>
                  </a:lnTo>
                  <a:lnTo>
                    <a:pt x="1257" y="6"/>
                  </a:lnTo>
                  <a:lnTo>
                    <a:pt x="1259" y="6"/>
                  </a:lnTo>
                  <a:lnTo>
                    <a:pt x="1263" y="7"/>
                  </a:lnTo>
                  <a:lnTo>
                    <a:pt x="1266" y="8"/>
                  </a:lnTo>
                  <a:lnTo>
                    <a:pt x="1270" y="9"/>
                  </a:lnTo>
                  <a:lnTo>
                    <a:pt x="1275" y="10"/>
                  </a:lnTo>
                  <a:lnTo>
                    <a:pt x="1278" y="11"/>
                  </a:lnTo>
                  <a:lnTo>
                    <a:pt x="1291" y="14"/>
                  </a:lnTo>
                  <a:lnTo>
                    <a:pt x="1304" y="20"/>
                  </a:lnTo>
                  <a:lnTo>
                    <a:pt x="1307" y="22"/>
                  </a:lnTo>
                  <a:lnTo>
                    <a:pt x="1308" y="23"/>
                  </a:lnTo>
                  <a:lnTo>
                    <a:pt x="1309" y="25"/>
                  </a:lnTo>
                  <a:lnTo>
                    <a:pt x="1311" y="28"/>
                  </a:lnTo>
                  <a:lnTo>
                    <a:pt x="1313" y="29"/>
                  </a:lnTo>
                  <a:lnTo>
                    <a:pt x="1322" y="29"/>
                  </a:lnTo>
                  <a:lnTo>
                    <a:pt x="1329" y="32"/>
                  </a:lnTo>
                  <a:lnTo>
                    <a:pt x="1335" y="35"/>
                  </a:lnTo>
                  <a:lnTo>
                    <a:pt x="1342" y="38"/>
                  </a:lnTo>
                  <a:lnTo>
                    <a:pt x="1345" y="40"/>
                  </a:lnTo>
                  <a:lnTo>
                    <a:pt x="1349" y="43"/>
                  </a:lnTo>
                  <a:lnTo>
                    <a:pt x="1349" y="45"/>
                  </a:lnTo>
                  <a:lnTo>
                    <a:pt x="1349" y="47"/>
                  </a:lnTo>
                  <a:lnTo>
                    <a:pt x="1346" y="49"/>
                  </a:lnTo>
                  <a:lnTo>
                    <a:pt x="1340" y="49"/>
                  </a:lnTo>
                  <a:lnTo>
                    <a:pt x="1338" y="49"/>
                  </a:lnTo>
                  <a:lnTo>
                    <a:pt x="1336" y="50"/>
                  </a:lnTo>
                  <a:lnTo>
                    <a:pt x="1335" y="50"/>
                  </a:lnTo>
                  <a:lnTo>
                    <a:pt x="1333" y="50"/>
                  </a:lnTo>
                  <a:lnTo>
                    <a:pt x="1331" y="49"/>
                  </a:lnTo>
                  <a:lnTo>
                    <a:pt x="1298" y="42"/>
                  </a:lnTo>
                  <a:lnTo>
                    <a:pt x="1296" y="41"/>
                  </a:lnTo>
                  <a:lnTo>
                    <a:pt x="1295" y="41"/>
                  </a:lnTo>
                  <a:lnTo>
                    <a:pt x="1293" y="41"/>
                  </a:lnTo>
                  <a:lnTo>
                    <a:pt x="1292" y="42"/>
                  </a:lnTo>
                  <a:lnTo>
                    <a:pt x="1291" y="42"/>
                  </a:lnTo>
                  <a:lnTo>
                    <a:pt x="1288" y="43"/>
                  </a:lnTo>
                  <a:lnTo>
                    <a:pt x="1285" y="43"/>
                  </a:lnTo>
                  <a:lnTo>
                    <a:pt x="1282" y="42"/>
                  </a:lnTo>
                  <a:lnTo>
                    <a:pt x="1280" y="42"/>
                  </a:lnTo>
                  <a:lnTo>
                    <a:pt x="1278" y="42"/>
                  </a:lnTo>
                  <a:lnTo>
                    <a:pt x="1276" y="43"/>
                  </a:lnTo>
                  <a:lnTo>
                    <a:pt x="1274" y="43"/>
                  </a:lnTo>
                  <a:lnTo>
                    <a:pt x="1270" y="43"/>
                  </a:lnTo>
                  <a:lnTo>
                    <a:pt x="1267" y="42"/>
                  </a:lnTo>
                  <a:lnTo>
                    <a:pt x="1258" y="42"/>
                  </a:lnTo>
                  <a:lnTo>
                    <a:pt x="1256" y="42"/>
                  </a:lnTo>
                  <a:lnTo>
                    <a:pt x="1253" y="42"/>
                  </a:lnTo>
                  <a:lnTo>
                    <a:pt x="1251" y="42"/>
                  </a:lnTo>
                  <a:lnTo>
                    <a:pt x="1248" y="43"/>
                  </a:lnTo>
                  <a:lnTo>
                    <a:pt x="1247" y="43"/>
                  </a:lnTo>
                  <a:lnTo>
                    <a:pt x="1247" y="44"/>
                  </a:lnTo>
                  <a:lnTo>
                    <a:pt x="1251" y="45"/>
                  </a:lnTo>
                  <a:lnTo>
                    <a:pt x="1254" y="45"/>
                  </a:lnTo>
                  <a:lnTo>
                    <a:pt x="1256" y="44"/>
                  </a:lnTo>
                  <a:lnTo>
                    <a:pt x="1258" y="44"/>
                  </a:lnTo>
                  <a:lnTo>
                    <a:pt x="1265" y="44"/>
                  </a:lnTo>
                  <a:lnTo>
                    <a:pt x="1273" y="45"/>
                  </a:lnTo>
                  <a:lnTo>
                    <a:pt x="1280" y="46"/>
                  </a:lnTo>
                  <a:lnTo>
                    <a:pt x="1298" y="46"/>
                  </a:lnTo>
                  <a:lnTo>
                    <a:pt x="1304" y="45"/>
                  </a:lnTo>
                  <a:lnTo>
                    <a:pt x="1313" y="47"/>
                  </a:lnTo>
                  <a:lnTo>
                    <a:pt x="1322" y="51"/>
                  </a:lnTo>
                  <a:lnTo>
                    <a:pt x="1328" y="53"/>
                  </a:lnTo>
                  <a:lnTo>
                    <a:pt x="1335" y="55"/>
                  </a:lnTo>
                  <a:lnTo>
                    <a:pt x="1342" y="57"/>
                  </a:lnTo>
                  <a:lnTo>
                    <a:pt x="1344" y="56"/>
                  </a:lnTo>
                  <a:lnTo>
                    <a:pt x="1346" y="55"/>
                  </a:lnTo>
                  <a:lnTo>
                    <a:pt x="1349" y="55"/>
                  </a:lnTo>
                  <a:lnTo>
                    <a:pt x="1351" y="55"/>
                  </a:lnTo>
                  <a:lnTo>
                    <a:pt x="1355" y="56"/>
                  </a:lnTo>
                  <a:lnTo>
                    <a:pt x="1360" y="57"/>
                  </a:lnTo>
                  <a:lnTo>
                    <a:pt x="1362" y="57"/>
                  </a:lnTo>
                  <a:lnTo>
                    <a:pt x="1363" y="58"/>
                  </a:lnTo>
                  <a:lnTo>
                    <a:pt x="1365" y="61"/>
                  </a:lnTo>
                  <a:lnTo>
                    <a:pt x="1366" y="63"/>
                  </a:lnTo>
                  <a:lnTo>
                    <a:pt x="1367" y="64"/>
                  </a:lnTo>
                  <a:lnTo>
                    <a:pt x="1368" y="66"/>
                  </a:lnTo>
                  <a:lnTo>
                    <a:pt x="1368" y="68"/>
                  </a:lnTo>
                  <a:lnTo>
                    <a:pt x="1367" y="71"/>
                  </a:lnTo>
                  <a:lnTo>
                    <a:pt x="1367" y="73"/>
                  </a:lnTo>
                  <a:lnTo>
                    <a:pt x="1367" y="75"/>
                  </a:lnTo>
                  <a:lnTo>
                    <a:pt x="1368" y="76"/>
                  </a:lnTo>
                  <a:lnTo>
                    <a:pt x="1371" y="78"/>
                  </a:lnTo>
                  <a:lnTo>
                    <a:pt x="1373" y="78"/>
                  </a:lnTo>
                  <a:lnTo>
                    <a:pt x="1375" y="78"/>
                  </a:lnTo>
                  <a:lnTo>
                    <a:pt x="1377" y="78"/>
                  </a:lnTo>
                  <a:lnTo>
                    <a:pt x="1378" y="77"/>
                  </a:lnTo>
                  <a:lnTo>
                    <a:pt x="1379" y="76"/>
                  </a:lnTo>
                  <a:lnTo>
                    <a:pt x="1380" y="76"/>
                  </a:lnTo>
                  <a:lnTo>
                    <a:pt x="1382" y="76"/>
                  </a:lnTo>
                  <a:lnTo>
                    <a:pt x="1383" y="76"/>
                  </a:lnTo>
                  <a:lnTo>
                    <a:pt x="1385" y="77"/>
                  </a:lnTo>
                  <a:lnTo>
                    <a:pt x="1387" y="79"/>
                  </a:lnTo>
                  <a:lnTo>
                    <a:pt x="1389" y="82"/>
                  </a:lnTo>
                  <a:lnTo>
                    <a:pt x="1393" y="84"/>
                  </a:lnTo>
                  <a:lnTo>
                    <a:pt x="1395" y="85"/>
                  </a:lnTo>
                  <a:lnTo>
                    <a:pt x="1398" y="86"/>
                  </a:lnTo>
                  <a:lnTo>
                    <a:pt x="1401" y="88"/>
                  </a:lnTo>
                  <a:lnTo>
                    <a:pt x="1405" y="90"/>
                  </a:lnTo>
                  <a:lnTo>
                    <a:pt x="1408" y="93"/>
                  </a:lnTo>
                  <a:lnTo>
                    <a:pt x="1409" y="95"/>
                  </a:lnTo>
                  <a:lnTo>
                    <a:pt x="1411" y="97"/>
                  </a:lnTo>
                  <a:lnTo>
                    <a:pt x="1413" y="99"/>
                  </a:lnTo>
                  <a:lnTo>
                    <a:pt x="1416" y="101"/>
                  </a:lnTo>
                  <a:lnTo>
                    <a:pt x="1418" y="104"/>
                  </a:lnTo>
                  <a:lnTo>
                    <a:pt x="1418" y="106"/>
                  </a:lnTo>
                  <a:lnTo>
                    <a:pt x="1418" y="107"/>
                  </a:lnTo>
                  <a:lnTo>
                    <a:pt x="1417" y="108"/>
                  </a:lnTo>
                  <a:lnTo>
                    <a:pt x="1417" y="108"/>
                  </a:lnTo>
                  <a:lnTo>
                    <a:pt x="1416" y="110"/>
                  </a:lnTo>
                  <a:lnTo>
                    <a:pt x="1413" y="110"/>
                  </a:lnTo>
                  <a:lnTo>
                    <a:pt x="1412" y="112"/>
                  </a:lnTo>
                  <a:lnTo>
                    <a:pt x="1411" y="115"/>
                  </a:lnTo>
                  <a:lnTo>
                    <a:pt x="1410" y="116"/>
                  </a:lnTo>
                  <a:lnTo>
                    <a:pt x="1409" y="116"/>
                  </a:lnTo>
                  <a:lnTo>
                    <a:pt x="1409" y="117"/>
                  </a:lnTo>
                  <a:lnTo>
                    <a:pt x="1407" y="117"/>
                  </a:lnTo>
                  <a:lnTo>
                    <a:pt x="1400" y="117"/>
                  </a:lnTo>
                  <a:lnTo>
                    <a:pt x="1398" y="117"/>
                  </a:lnTo>
                  <a:lnTo>
                    <a:pt x="1396" y="118"/>
                  </a:lnTo>
                  <a:lnTo>
                    <a:pt x="1395" y="119"/>
                  </a:lnTo>
                  <a:lnTo>
                    <a:pt x="1393" y="119"/>
                  </a:lnTo>
                  <a:lnTo>
                    <a:pt x="1389" y="119"/>
                  </a:lnTo>
                  <a:lnTo>
                    <a:pt x="1382" y="118"/>
                  </a:lnTo>
                  <a:lnTo>
                    <a:pt x="1375" y="117"/>
                  </a:lnTo>
                  <a:lnTo>
                    <a:pt x="1366" y="115"/>
                  </a:lnTo>
                  <a:lnTo>
                    <a:pt x="1362" y="112"/>
                  </a:lnTo>
                  <a:lnTo>
                    <a:pt x="1358" y="112"/>
                  </a:lnTo>
                  <a:lnTo>
                    <a:pt x="1354" y="111"/>
                  </a:lnTo>
                  <a:lnTo>
                    <a:pt x="1351" y="110"/>
                  </a:lnTo>
                  <a:lnTo>
                    <a:pt x="1340" y="110"/>
                  </a:lnTo>
                  <a:lnTo>
                    <a:pt x="1333" y="108"/>
                  </a:lnTo>
                  <a:lnTo>
                    <a:pt x="1329" y="109"/>
                  </a:lnTo>
                  <a:lnTo>
                    <a:pt x="1324" y="110"/>
                  </a:lnTo>
                  <a:lnTo>
                    <a:pt x="1320" y="110"/>
                  </a:lnTo>
                  <a:lnTo>
                    <a:pt x="1309" y="110"/>
                  </a:lnTo>
                  <a:lnTo>
                    <a:pt x="1306" y="110"/>
                  </a:lnTo>
                  <a:lnTo>
                    <a:pt x="1303" y="110"/>
                  </a:lnTo>
                  <a:lnTo>
                    <a:pt x="1301" y="110"/>
                  </a:lnTo>
                  <a:lnTo>
                    <a:pt x="1300" y="111"/>
                  </a:lnTo>
                  <a:lnTo>
                    <a:pt x="1300" y="112"/>
                  </a:lnTo>
                  <a:lnTo>
                    <a:pt x="1300" y="112"/>
                  </a:lnTo>
                  <a:lnTo>
                    <a:pt x="1300" y="115"/>
                  </a:lnTo>
                  <a:lnTo>
                    <a:pt x="1300" y="117"/>
                  </a:lnTo>
                  <a:lnTo>
                    <a:pt x="1301" y="119"/>
                  </a:lnTo>
                  <a:lnTo>
                    <a:pt x="1302" y="121"/>
                  </a:lnTo>
                  <a:lnTo>
                    <a:pt x="1304" y="123"/>
                  </a:lnTo>
                  <a:lnTo>
                    <a:pt x="1307" y="124"/>
                  </a:lnTo>
                  <a:lnTo>
                    <a:pt x="1309" y="124"/>
                  </a:lnTo>
                  <a:lnTo>
                    <a:pt x="1310" y="123"/>
                  </a:lnTo>
                  <a:lnTo>
                    <a:pt x="1311" y="122"/>
                  </a:lnTo>
                  <a:lnTo>
                    <a:pt x="1312" y="121"/>
                  </a:lnTo>
                  <a:lnTo>
                    <a:pt x="1313" y="120"/>
                  </a:lnTo>
                  <a:lnTo>
                    <a:pt x="1313" y="119"/>
                  </a:lnTo>
                  <a:lnTo>
                    <a:pt x="1314" y="118"/>
                  </a:lnTo>
                  <a:lnTo>
                    <a:pt x="1318" y="118"/>
                  </a:lnTo>
                  <a:lnTo>
                    <a:pt x="1320" y="118"/>
                  </a:lnTo>
                  <a:lnTo>
                    <a:pt x="1323" y="118"/>
                  </a:lnTo>
                  <a:lnTo>
                    <a:pt x="1327" y="119"/>
                  </a:lnTo>
                  <a:lnTo>
                    <a:pt x="1330" y="120"/>
                  </a:lnTo>
                  <a:lnTo>
                    <a:pt x="1332" y="120"/>
                  </a:lnTo>
                  <a:lnTo>
                    <a:pt x="1335" y="120"/>
                  </a:lnTo>
                  <a:lnTo>
                    <a:pt x="1338" y="119"/>
                  </a:lnTo>
                  <a:lnTo>
                    <a:pt x="1343" y="117"/>
                  </a:lnTo>
                  <a:lnTo>
                    <a:pt x="1350" y="117"/>
                  </a:lnTo>
                  <a:lnTo>
                    <a:pt x="1360" y="119"/>
                  </a:lnTo>
                  <a:lnTo>
                    <a:pt x="1371" y="123"/>
                  </a:lnTo>
                  <a:lnTo>
                    <a:pt x="1383" y="128"/>
                  </a:lnTo>
                  <a:lnTo>
                    <a:pt x="1387" y="129"/>
                  </a:lnTo>
                  <a:lnTo>
                    <a:pt x="1390" y="131"/>
                  </a:lnTo>
                  <a:lnTo>
                    <a:pt x="1393" y="134"/>
                  </a:lnTo>
                  <a:lnTo>
                    <a:pt x="1394" y="138"/>
                  </a:lnTo>
                  <a:lnTo>
                    <a:pt x="1395" y="141"/>
                  </a:lnTo>
                  <a:lnTo>
                    <a:pt x="1394" y="142"/>
                  </a:lnTo>
                  <a:lnTo>
                    <a:pt x="1393" y="143"/>
                  </a:lnTo>
                  <a:lnTo>
                    <a:pt x="1391" y="143"/>
                  </a:lnTo>
                  <a:lnTo>
                    <a:pt x="1388" y="143"/>
                  </a:lnTo>
                  <a:lnTo>
                    <a:pt x="1386" y="144"/>
                  </a:lnTo>
                  <a:lnTo>
                    <a:pt x="1383" y="144"/>
                  </a:lnTo>
                  <a:lnTo>
                    <a:pt x="1382" y="145"/>
                  </a:lnTo>
                  <a:lnTo>
                    <a:pt x="1379" y="147"/>
                  </a:lnTo>
                  <a:lnTo>
                    <a:pt x="1377" y="149"/>
                  </a:lnTo>
                  <a:lnTo>
                    <a:pt x="1376" y="151"/>
                  </a:lnTo>
                  <a:lnTo>
                    <a:pt x="1376" y="153"/>
                  </a:lnTo>
                  <a:lnTo>
                    <a:pt x="1378" y="155"/>
                  </a:lnTo>
                  <a:lnTo>
                    <a:pt x="1382" y="155"/>
                  </a:lnTo>
                  <a:lnTo>
                    <a:pt x="1384" y="154"/>
                  </a:lnTo>
                  <a:lnTo>
                    <a:pt x="1386" y="153"/>
                  </a:lnTo>
                  <a:lnTo>
                    <a:pt x="1388" y="152"/>
                  </a:lnTo>
                  <a:lnTo>
                    <a:pt x="1389" y="152"/>
                  </a:lnTo>
                  <a:lnTo>
                    <a:pt x="1389" y="151"/>
                  </a:lnTo>
                  <a:lnTo>
                    <a:pt x="1393" y="151"/>
                  </a:lnTo>
                  <a:lnTo>
                    <a:pt x="1397" y="150"/>
                  </a:lnTo>
                  <a:lnTo>
                    <a:pt x="1400" y="150"/>
                  </a:lnTo>
                  <a:lnTo>
                    <a:pt x="1405" y="150"/>
                  </a:lnTo>
                  <a:lnTo>
                    <a:pt x="1407" y="149"/>
                  </a:lnTo>
                  <a:lnTo>
                    <a:pt x="1409" y="148"/>
                  </a:lnTo>
                  <a:lnTo>
                    <a:pt x="1410" y="147"/>
                  </a:lnTo>
                  <a:lnTo>
                    <a:pt x="1410" y="144"/>
                  </a:lnTo>
                  <a:lnTo>
                    <a:pt x="1410" y="142"/>
                  </a:lnTo>
                  <a:lnTo>
                    <a:pt x="1409" y="140"/>
                  </a:lnTo>
                  <a:lnTo>
                    <a:pt x="1409" y="138"/>
                  </a:lnTo>
                  <a:lnTo>
                    <a:pt x="1409" y="135"/>
                  </a:lnTo>
                  <a:lnTo>
                    <a:pt x="1410" y="134"/>
                  </a:lnTo>
                  <a:lnTo>
                    <a:pt x="1412" y="133"/>
                  </a:lnTo>
                  <a:lnTo>
                    <a:pt x="1415" y="132"/>
                  </a:lnTo>
                  <a:lnTo>
                    <a:pt x="1418" y="133"/>
                  </a:lnTo>
                  <a:lnTo>
                    <a:pt x="1421" y="134"/>
                  </a:lnTo>
                  <a:lnTo>
                    <a:pt x="1424" y="135"/>
                  </a:lnTo>
                  <a:lnTo>
                    <a:pt x="1427" y="139"/>
                  </a:lnTo>
                  <a:lnTo>
                    <a:pt x="1429" y="142"/>
                  </a:lnTo>
                  <a:lnTo>
                    <a:pt x="1430" y="144"/>
                  </a:lnTo>
                  <a:lnTo>
                    <a:pt x="1431" y="148"/>
                  </a:lnTo>
                  <a:lnTo>
                    <a:pt x="1431" y="149"/>
                  </a:lnTo>
                  <a:lnTo>
                    <a:pt x="1434" y="160"/>
                  </a:lnTo>
                  <a:lnTo>
                    <a:pt x="1440" y="171"/>
                  </a:lnTo>
                  <a:lnTo>
                    <a:pt x="1440" y="180"/>
                  </a:lnTo>
                  <a:lnTo>
                    <a:pt x="1439" y="182"/>
                  </a:lnTo>
                  <a:lnTo>
                    <a:pt x="1439" y="183"/>
                  </a:lnTo>
                  <a:lnTo>
                    <a:pt x="1440" y="185"/>
                  </a:lnTo>
                  <a:lnTo>
                    <a:pt x="1440" y="186"/>
                  </a:lnTo>
                  <a:lnTo>
                    <a:pt x="1440" y="191"/>
                  </a:lnTo>
                  <a:lnTo>
                    <a:pt x="1440" y="193"/>
                  </a:lnTo>
                  <a:lnTo>
                    <a:pt x="1438" y="195"/>
                  </a:lnTo>
                  <a:lnTo>
                    <a:pt x="1437" y="197"/>
                  </a:lnTo>
                  <a:lnTo>
                    <a:pt x="1436" y="199"/>
                  </a:lnTo>
                  <a:lnTo>
                    <a:pt x="1436" y="202"/>
                  </a:lnTo>
                  <a:lnTo>
                    <a:pt x="1436" y="204"/>
                  </a:lnTo>
                  <a:lnTo>
                    <a:pt x="1438" y="208"/>
                  </a:lnTo>
                  <a:lnTo>
                    <a:pt x="1440" y="207"/>
                  </a:lnTo>
                  <a:lnTo>
                    <a:pt x="1441" y="206"/>
                  </a:lnTo>
                  <a:lnTo>
                    <a:pt x="1443" y="205"/>
                  </a:lnTo>
                  <a:lnTo>
                    <a:pt x="1444" y="204"/>
                  </a:lnTo>
                  <a:lnTo>
                    <a:pt x="1444" y="203"/>
                  </a:lnTo>
                  <a:lnTo>
                    <a:pt x="1444" y="200"/>
                  </a:lnTo>
                  <a:lnTo>
                    <a:pt x="1445" y="199"/>
                  </a:lnTo>
                  <a:lnTo>
                    <a:pt x="1445" y="198"/>
                  </a:lnTo>
                  <a:lnTo>
                    <a:pt x="1447" y="197"/>
                  </a:lnTo>
                  <a:lnTo>
                    <a:pt x="1449" y="196"/>
                  </a:lnTo>
                  <a:lnTo>
                    <a:pt x="1450" y="195"/>
                  </a:lnTo>
                  <a:lnTo>
                    <a:pt x="1451" y="194"/>
                  </a:lnTo>
                  <a:lnTo>
                    <a:pt x="1451" y="193"/>
                  </a:lnTo>
                  <a:lnTo>
                    <a:pt x="1451" y="184"/>
                  </a:lnTo>
                  <a:lnTo>
                    <a:pt x="1451" y="182"/>
                  </a:lnTo>
                  <a:lnTo>
                    <a:pt x="1452" y="181"/>
                  </a:lnTo>
                  <a:lnTo>
                    <a:pt x="1452" y="180"/>
                  </a:lnTo>
                  <a:lnTo>
                    <a:pt x="1453" y="177"/>
                  </a:lnTo>
                  <a:lnTo>
                    <a:pt x="1453" y="175"/>
                  </a:lnTo>
                  <a:lnTo>
                    <a:pt x="1454" y="173"/>
                  </a:lnTo>
                  <a:lnTo>
                    <a:pt x="1455" y="172"/>
                  </a:lnTo>
                  <a:lnTo>
                    <a:pt x="1455" y="170"/>
                  </a:lnTo>
                  <a:lnTo>
                    <a:pt x="1455" y="167"/>
                  </a:lnTo>
                  <a:lnTo>
                    <a:pt x="1454" y="165"/>
                  </a:lnTo>
                  <a:lnTo>
                    <a:pt x="1451" y="162"/>
                  </a:lnTo>
                  <a:lnTo>
                    <a:pt x="1450" y="161"/>
                  </a:lnTo>
                  <a:lnTo>
                    <a:pt x="1450" y="160"/>
                  </a:lnTo>
                  <a:lnTo>
                    <a:pt x="1450" y="160"/>
                  </a:lnTo>
                  <a:lnTo>
                    <a:pt x="1452" y="160"/>
                  </a:lnTo>
                  <a:lnTo>
                    <a:pt x="1453" y="161"/>
                  </a:lnTo>
                  <a:lnTo>
                    <a:pt x="1454" y="161"/>
                  </a:lnTo>
                  <a:lnTo>
                    <a:pt x="1455" y="162"/>
                  </a:lnTo>
                  <a:lnTo>
                    <a:pt x="1462" y="169"/>
                  </a:lnTo>
                  <a:lnTo>
                    <a:pt x="1464" y="171"/>
                  </a:lnTo>
                  <a:lnTo>
                    <a:pt x="1466" y="172"/>
                  </a:lnTo>
                  <a:lnTo>
                    <a:pt x="1467" y="173"/>
                  </a:lnTo>
                  <a:lnTo>
                    <a:pt x="1469" y="173"/>
                  </a:lnTo>
                  <a:lnTo>
                    <a:pt x="1471" y="173"/>
                  </a:lnTo>
                  <a:lnTo>
                    <a:pt x="1472" y="174"/>
                  </a:lnTo>
                  <a:lnTo>
                    <a:pt x="1473" y="175"/>
                  </a:lnTo>
                  <a:lnTo>
                    <a:pt x="1474" y="176"/>
                  </a:lnTo>
                  <a:lnTo>
                    <a:pt x="1476" y="178"/>
                  </a:lnTo>
                  <a:lnTo>
                    <a:pt x="1477" y="180"/>
                  </a:lnTo>
                  <a:lnTo>
                    <a:pt x="1481" y="182"/>
                  </a:lnTo>
                  <a:lnTo>
                    <a:pt x="1483" y="183"/>
                  </a:lnTo>
                  <a:lnTo>
                    <a:pt x="1485" y="183"/>
                  </a:lnTo>
                  <a:lnTo>
                    <a:pt x="1486" y="183"/>
                  </a:lnTo>
                  <a:lnTo>
                    <a:pt x="1487" y="182"/>
                  </a:lnTo>
                  <a:lnTo>
                    <a:pt x="1487" y="180"/>
                  </a:lnTo>
                  <a:lnTo>
                    <a:pt x="1486" y="177"/>
                  </a:lnTo>
                  <a:lnTo>
                    <a:pt x="1484" y="175"/>
                  </a:lnTo>
                  <a:lnTo>
                    <a:pt x="1481" y="173"/>
                  </a:lnTo>
                  <a:lnTo>
                    <a:pt x="1477" y="171"/>
                  </a:lnTo>
                  <a:lnTo>
                    <a:pt x="1474" y="169"/>
                  </a:lnTo>
                  <a:lnTo>
                    <a:pt x="1472" y="166"/>
                  </a:lnTo>
                  <a:lnTo>
                    <a:pt x="1471" y="164"/>
                  </a:lnTo>
                  <a:lnTo>
                    <a:pt x="1469" y="162"/>
                  </a:lnTo>
                  <a:lnTo>
                    <a:pt x="1467" y="161"/>
                  </a:lnTo>
                  <a:lnTo>
                    <a:pt x="1465" y="160"/>
                  </a:lnTo>
                  <a:lnTo>
                    <a:pt x="1464" y="160"/>
                  </a:lnTo>
                  <a:lnTo>
                    <a:pt x="1463" y="159"/>
                  </a:lnTo>
                  <a:lnTo>
                    <a:pt x="1463" y="158"/>
                  </a:lnTo>
                  <a:lnTo>
                    <a:pt x="1464" y="158"/>
                  </a:lnTo>
                  <a:lnTo>
                    <a:pt x="1465" y="158"/>
                  </a:lnTo>
                  <a:lnTo>
                    <a:pt x="1466" y="158"/>
                  </a:lnTo>
                  <a:lnTo>
                    <a:pt x="1467" y="158"/>
                  </a:lnTo>
                  <a:lnTo>
                    <a:pt x="1470" y="159"/>
                  </a:lnTo>
                  <a:lnTo>
                    <a:pt x="1471" y="160"/>
                  </a:lnTo>
                  <a:lnTo>
                    <a:pt x="1472" y="161"/>
                  </a:lnTo>
                  <a:lnTo>
                    <a:pt x="1474" y="163"/>
                  </a:lnTo>
                  <a:lnTo>
                    <a:pt x="1476" y="165"/>
                  </a:lnTo>
                  <a:lnTo>
                    <a:pt x="1478" y="167"/>
                  </a:lnTo>
                  <a:lnTo>
                    <a:pt x="1481" y="170"/>
                  </a:lnTo>
                  <a:lnTo>
                    <a:pt x="1483" y="171"/>
                  </a:lnTo>
                  <a:lnTo>
                    <a:pt x="1485" y="173"/>
                  </a:lnTo>
                  <a:lnTo>
                    <a:pt x="1486" y="173"/>
                  </a:lnTo>
                  <a:lnTo>
                    <a:pt x="1486" y="173"/>
                  </a:lnTo>
                  <a:lnTo>
                    <a:pt x="1486" y="171"/>
                  </a:lnTo>
                  <a:lnTo>
                    <a:pt x="1485" y="169"/>
                  </a:lnTo>
                  <a:lnTo>
                    <a:pt x="1484" y="166"/>
                  </a:lnTo>
                  <a:lnTo>
                    <a:pt x="1484" y="165"/>
                  </a:lnTo>
                  <a:lnTo>
                    <a:pt x="1485" y="165"/>
                  </a:lnTo>
                  <a:lnTo>
                    <a:pt x="1487" y="164"/>
                  </a:lnTo>
                  <a:lnTo>
                    <a:pt x="1488" y="164"/>
                  </a:lnTo>
                  <a:lnTo>
                    <a:pt x="1489" y="163"/>
                  </a:lnTo>
                  <a:lnTo>
                    <a:pt x="1492" y="164"/>
                  </a:lnTo>
                  <a:lnTo>
                    <a:pt x="1493" y="164"/>
                  </a:lnTo>
                  <a:lnTo>
                    <a:pt x="1493" y="164"/>
                  </a:lnTo>
                  <a:lnTo>
                    <a:pt x="1494" y="164"/>
                  </a:lnTo>
                  <a:lnTo>
                    <a:pt x="1495" y="163"/>
                  </a:lnTo>
                  <a:lnTo>
                    <a:pt x="1496" y="163"/>
                  </a:lnTo>
                  <a:lnTo>
                    <a:pt x="1497" y="162"/>
                  </a:lnTo>
                  <a:lnTo>
                    <a:pt x="1499" y="162"/>
                  </a:lnTo>
                  <a:lnTo>
                    <a:pt x="1500" y="163"/>
                  </a:lnTo>
                  <a:lnTo>
                    <a:pt x="1503" y="163"/>
                  </a:lnTo>
                  <a:lnTo>
                    <a:pt x="1506" y="164"/>
                  </a:lnTo>
                  <a:lnTo>
                    <a:pt x="1509" y="166"/>
                  </a:lnTo>
                  <a:lnTo>
                    <a:pt x="1513" y="169"/>
                  </a:lnTo>
                  <a:lnTo>
                    <a:pt x="1515" y="171"/>
                  </a:lnTo>
                  <a:lnTo>
                    <a:pt x="1517" y="173"/>
                  </a:lnTo>
                  <a:lnTo>
                    <a:pt x="1521" y="177"/>
                  </a:lnTo>
                  <a:lnTo>
                    <a:pt x="1526" y="181"/>
                  </a:lnTo>
                  <a:lnTo>
                    <a:pt x="1530" y="184"/>
                  </a:lnTo>
                  <a:lnTo>
                    <a:pt x="1532" y="186"/>
                  </a:lnTo>
                  <a:lnTo>
                    <a:pt x="1536" y="188"/>
                  </a:lnTo>
                  <a:lnTo>
                    <a:pt x="1539" y="191"/>
                  </a:lnTo>
                  <a:lnTo>
                    <a:pt x="1542" y="193"/>
                  </a:lnTo>
                  <a:lnTo>
                    <a:pt x="1544" y="195"/>
                  </a:lnTo>
                  <a:lnTo>
                    <a:pt x="1546" y="197"/>
                  </a:lnTo>
                  <a:lnTo>
                    <a:pt x="1547" y="199"/>
                  </a:lnTo>
                  <a:lnTo>
                    <a:pt x="1546" y="202"/>
                  </a:lnTo>
                  <a:lnTo>
                    <a:pt x="1544" y="204"/>
                  </a:lnTo>
                  <a:lnTo>
                    <a:pt x="1543" y="206"/>
                  </a:lnTo>
                  <a:lnTo>
                    <a:pt x="1542" y="207"/>
                  </a:lnTo>
                  <a:lnTo>
                    <a:pt x="1540" y="209"/>
                  </a:lnTo>
                  <a:lnTo>
                    <a:pt x="1539" y="211"/>
                  </a:lnTo>
                  <a:lnTo>
                    <a:pt x="1539" y="215"/>
                  </a:lnTo>
                  <a:lnTo>
                    <a:pt x="1539" y="216"/>
                  </a:lnTo>
                  <a:lnTo>
                    <a:pt x="1538" y="216"/>
                  </a:lnTo>
                  <a:lnTo>
                    <a:pt x="1536" y="216"/>
                  </a:lnTo>
                  <a:lnTo>
                    <a:pt x="1535" y="215"/>
                  </a:lnTo>
                  <a:lnTo>
                    <a:pt x="1532" y="215"/>
                  </a:lnTo>
                  <a:lnTo>
                    <a:pt x="1531" y="215"/>
                  </a:lnTo>
                  <a:lnTo>
                    <a:pt x="1530" y="216"/>
                  </a:lnTo>
                  <a:lnTo>
                    <a:pt x="1530" y="217"/>
                  </a:lnTo>
                  <a:lnTo>
                    <a:pt x="1530" y="219"/>
                  </a:lnTo>
                  <a:lnTo>
                    <a:pt x="1531" y="220"/>
                  </a:lnTo>
                  <a:lnTo>
                    <a:pt x="1533" y="222"/>
                  </a:lnTo>
                  <a:lnTo>
                    <a:pt x="1535" y="224"/>
                  </a:lnTo>
                  <a:lnTo>
                    <a:pt x="1535" y="226"/>
                  </a:lnTo>
                  <a:lnTo>
                    <a:pt x="1535" y="228"/>
                  </a:lnTo>
                  <a:lnTo>
                    <a:pt x="1530" y="228"/>
                  </a:lnTo>
                  <a:lnTo>
                    <a:pt x="1529" y="228"/>
                  </a:lnTo>
                  <a:lnTo>
                    <a:pt x="1529" y="229"/>
                  </a:lnTo>
                  <a:lnTo>
                    <a:pt x="1529" y="230"/>
                  </a:lnTo>
                  <a:lnTo>
                    <a:pt x="1529" y="231"/>
                  </a:lnTo>
                  <a:lnTo>
                    <a:pt x="1528" y="232"/>
                  </a:lnTo>
                  <a:lnTo>
                    <a:pt x="1526" y="232"/>
                  </a:lnTo>
                  <a:lnTo>
                    <a:pt x="1525" y="232"/>
                  </a:lnTo>
                  <a:lnTo>
                    <a:pt x="1522" y="231"/>
                  </a:lnTo>
                  <a:lnTo>
                    <a:pt x="1520" y="230"/>
                  </a:lnTo>
                  <a:lnTo>
                    <a:pt x="1519" y="230"/>
                  </a:lnTo>
                  <a:lnTo>
                    <a:pt x="1517" y="229"/>
                  </a:lnTo>
                  <a:lnTo>
                    <a:pt x="1515" y="228"/>
                  </a:lnTo>
                  <a:lnTo>
                    <a:pt x="1513" y="227"/>
                  </a:lnTo>
                  <a:lnTo>
                    <a:pt x="1510" y="226"/>
                  </a:lnTo>
                  <a:lnTo>
                    <a:pt x="1507" y="224"/>
                  </a:lnTo>
                  <a:lnTo>
                    <a:pt x="1503" y="221"/>
                  </a:lnTo>
                  <a:lnTo>
                    <a:pt x="1499" y="219"/>
                  </a:lnTo>
                  <a:lnTo>
                    <a:pt x="1499" y="219"/>
                  </a:lnTo>
                  <a:lnTo>
                    <a:pt x="1499" y="220"/>
                  </a:lnTo>
                  <a:lnTo>
                    <a:pt x="1499" y="221"/>
                  </a:lnTo>
                  <a:lnTo>
                    <a:pt x="1500" y="224"/>
                  </a:lnTo>
                  <a:lnTo>
                    <a:pt x="1500" y="225"/>
                  </a:lnTo>
                  <a:lnTo>
                    <a:pt x="1500" y="227"/>
                  </a:lnTo>
                  <a:lnTo>
                    <a:pt x="1500" y="228"/>
                  </a:lnTo>
                  <a:lnTo>
                    <a:pt x="1499" y="228"/>
                  </a:lnTo>
                  <a:lnTo>
                    <a:pt x="1498" y="228"/>
                  </a:lnTo>
                  <a:lnTo>
                    <a:pt x="1497" y="227"/>
                  </a:lnTo>
                  <a:lnTo>
                    <a:pt x="1495" y="227"/>
                  </a:lnTo>
                  <a:lnTo>
                    <a:pt x="1494" y="226"/>
                  </a:lnTo>
                  <a:lnTo>
                    <a:pt x="1492" y="225"/>
                  </a:lnTo>
                  <a:lnTo>
                    <a:pt x="1491" y="225"/>
                  </a:lnTo>
                  <a:lnTo>
                    <a:pt x="1489" y="225"/>
                  </a:lnTo>
                  <a:lnTo>
                    <a:pt x="1489" y="226"/>
                  </a:lnTo>
                  <a:lnTo>
                    <a:pt x="1491" y="228"/>
                  </a:lnTo>
                  <a:lnTo>
                    <a:pt x="1493" y="230"/>
                  </a:lnTo>
                  <a:lnTo>
                    <a:pt x="1495" y="231"/>
                  </a:lnTo>
                  <a:lnTo>
                    <a:pt x="1496" y="232"/>
                  </a:lnTo>
                  <a:lnTo>
                    <a:pt x="1498" y="233"/>
                  </a:lnTo>
                  <a:lnTo>
                    <a:pt x="1499" y="235"/>
                  </a:lnTo>
                  <a:lnTo>
                    <a:pt x="1502" y="233"/>
                  </a:lnTo>
                  <a:lnTo>
                    <a:pt x="1503" y="233"/>
                  </a:lnTo>
                  <a:lnTo>
                    <a:pt x="1504" y="232"/>
                  </a:lnTo>
                  <a:lnTo>
                    <a:pt x="1505" y="231"/>
                  </a:lnTo>
                  <a:lnTo>
                    <a:pt x="1506" y="232"/>
                  </a:lnTo>
                  <a:lnTo>
                    <a:pt x="1514" y="236"/>
                  </a:lnTo>
                  <a:lnTo>
                    <a:pt x="1524" y="240"/>
                  </a:lnTo>
                  <a:lnTo>
                    <a:pt x="1530" y="248"/>
                  </a:lnTo>
                  <a:lnTo>
                    <a:pt x="1531" y="251"/>
                  </a:lnTo>
                  <a:lnTo>
                    <a:pt x="1530" y="254"/>
                  </a:lnTo>
                  <a:lnTo>
                    <a:pt x="1528" y="257"/>
                  </a:lnTo>
                  <a:lnTo>
                    <a:pt x="1526" y="259"/>
                  </a:lnTo>
                  <a:lnTo>
                    <a:pt x="1522" y="259"/>
                  </a:lnTo>
                  <a:lnTo>
                    <a:pt x="1517" y="257"/>
                  </a:lnTo>
                  <a:lnTo>
                    <a:pt x="1511" y="253"/>
                  </a:lnTo>
                  <a:lnTo>
                    <a:pt x="1506" y="250"/>
                  </a:lnTo>
                  <a:lnTo>
                    <a:pt x="1502" y="248"/>
                  </a:lnTo>
                  <a:lnTo>
                    <a:pt x="1498" y="247"/>
                  </a:lnTo>
                  <a:lnTo>
                    <a:pt x="1496" y="246"/>
                  </a:lnTo>
                  <a:lnTo>
                    <a:pt x="1494" y="246"/>
                  </a:lnTo>
                  <a:lnTo>
                    <a:pt x="1493" y="247"/>
                  </a:lnTo>
                  <a:lnTo>
                    <a:pt x="1492" y="249"/>
                  </a:lnTo>
                  <a:lnTo>
                    <a:pt x="1492" y="250"/>
                  </a:lnTo>
                  <a:lnTo>
                    <a:pt x="1493" y="252"/>
                  </a:lnTo>
                  <a:lnTo>
                    <a:pt x="1493" y="254"/>
                  </a:lnTo>
                  <a:lnTo>
                    <a:pt x="1494" y="258"/>
                  </a:lnTo>
                  <a:lnTo>
                    <a:pt x="1495" y="261"/>
                  </a:lnTo>
                  <a:lnTo>
                    <a:pt x="1496" y="265"/>
                  </a:lnTo>
                  <a:lnTo>
                    <a:pt x="1498" y="268"/>
                  </a:lnTo>
                  <a:lnTo>
                    <a:pt x="1502" y="270"/>
                  </a:lnTo>
                  <a:lnTo>
                    <a:pt x="1504" y="270"/>
                  </a:lnTo>
                  <a:lnTo>
                    <a:pt x="1505" y="270"/>
                  </a:lnTo>
                  <a:lnTo>
                    <a:pt x="1505" y="269"/>
                  </a:lnTo>
                  <a:lnTo>
                    <a:pt x="1505" y="268"/>
                  </a:lnTo>
                  <a:lnTo>
                    <a:pt x="1505" y="265"/>
                  </a:lnTo>
                  <a:lnTo>
                    <a:pt x="1505" y="263"/>
                  </a:lnTo>
                  <a:lnTo>
                    <a:pt x="1504" y="261"/>
                  </a:lnTo>
                  <a:lnTo>
                    <a:pt x="1504" y="260"/>
                  </a:lnTo>
                  <a:lnTo>
                    <a:pt x="1504" y="259"/>
                  </a:lnTo>
                  <a:lnTo>
                    <a:pt x="1504" y="258"/>
                  </a:lnTo>
                  <a:lnTo>
                    <a:pt x="1506" y="258"/>
                  </a:lnTo>
                  <a:lnTo>
                    <a:pt x="1507" y="259"/>
                  </a:lnTo>
                  <a:lnTo>
                    <a:pt x="1509" y="260"/>
                  </a:lnTo>
                  <a:lnTo>
                    <a:pt x="1510" y="261"/>
                  </a:lnTo>
                  <a:lnTo>
                    <a:pt x="1514" y="261"/>
                  </a:lnTo>
                  <a:lnTo>
                    <a:pt x="1517" y="261"/>
                  </a:lnTo>
                  <a:lnTo>
                    <a:pt x="1521" y="261"/>
                  </a:lnTo>
                  <a:lnTo>
                    <a:pt x="1525" y="263"/>
                  </a:lnTo>
                  <a:lnTo>
                    <a:pt x="1526" y="265"/>
                  </a:lnTo>
                  <a:lnTo>
                    <a:pt x="1527" y="268"/>
                  </a:lnTo>
                  <a:lnTo>
                    <a:pt x="1527" y="270"/>
                  </a:lnTo>
                  <a:lnTo>
                    <a:pt x="1527" y="272"/>
                  </a:lnTo>
                  <a:lnTo>
                    <a:pt x="1526" y="274"/>
                  </a:lnTo>
                  <a:lnTo>
                    <a:pt x="1526" y="276"/>
                  </a:lnTo>
                  <a:lnTo>
                    <a:pt x="1526" y="276"/>
                  </a:lnTo>
                  <a:lnTo>
                    <a:pt x="1526" y="278"/>
                  </a:lnTo>
                  <a:lnTo>
                    <a:pt x="1526" y="279"/>
                  </a:lnTo>
                  <a:lnTo>
                    <a:pt x="1525" y="280"/>
                  </a:lnTo>
                  <a:lnTo>
                    <a:pt x="1525" y="281"/>
                  </a:lnTo>
                  <a:lnTo>
                    <a:pt x="1524" y="281"/>
                  </a:lnTo>
                  <a:lnTo>
                    <a:pt x="1520" y="280"/>
                  </a:lnTo>
                  <a:lnTo>
                    <a:pt x="1518" y="280"/>
                  </a:lnTo>
                  <a:lnTo>
                    <a:pt x="1516" y="279"/>
                  </a:lnTo>
                  <a:lnTo>
                    <a:pt x="1515" y="279"/>
                  </a:lnTo>
                  <a:lnTo>
                    <a:pt x="1513" y="278"/>
                  </a:lnTo>
                  <a:lnTo>
                    <a:pt x="1511" y="279"/>
                  </a:lnTo>
                  <a:lnTo>
                    <a:pt x="1511" y="280"/>
                  </a:lnTo>
                  <a:lnTo>
                    <a:pt x="1511" y="282"/>
                  </a:lnTo>
                  <a:lnTo>
                    <a:pt x="1511" y="284"/>
                  </a:lnTo>
                  <a:lnTo>
                    <a:pt x="1513" y="287"/>
                  </a:lnTo>
                  <a:lnTo>
                    <a:pt x="1513" y="290"/>
                  </a:lnTo>
                  <a:lnTo>
                    <a:pt x="1514" y="292"/>
                  </a:lnTo>
                  <a:lnTo>
                    <a:pt x="1515" y="294"/>
                  </a:lnTo>
                  <a:lnTo>
                    <a:pt x="1517" y="295"/>
                  </a:lnTo>
                  <a:lnTo>
                    <a:pt x="1519" y="297"/>
                  </a:lnTo>
                  <a:lnTo>
                    <a:pt x="1521" y="297"/>
                  </a:lnTo>
                  <a:lnTo>
                    <a:pt x="1521" y="300"/>
                  </a:lnTo>
                  <a:lnTo>
                    <a:pt x="1522" y="300"/>
                  </a:lnTo>
                  <a:lnTo>
                    <a:pt x="1524" y="301"/>
                  </a:lnTo>
                  <a:lnTo>
                    <a:pt x="1526" y="302"/>
                  </a:lnTo>
                  <a:lnTo>
                    <a:pt x="1527" y="304"/>
                  </a:lnTo>
                  <a:lnTo>
                    <a:pt x="1527" y="306"/>
                  </a:lnTo>
                  <a:lnTo>
                    <a:pt x="1526" y="307"/>
                  </a:lnTo>
                  <a:lnTo>
                    <a:pt x="1525" y="307"/>
                  </a:lnTo>
                  <a:lnTo>
                    <a:pt x="1524" y="308"/>
                  </a:lnTo>
                  <a:lnTo>
                    <a:pt x="1521" y="308"/>
                  </a:lnTo>
                  <a:lnTo>
                    <a:pt x="1520" y="309"/>
                  </a:lnTo>
                  <a:lnTo>
                    <a:pt x="1519" y="309"/>
                  </a:lnTo>
                  <a:lnTo>
                    <a:pt x="1519" y="311"/>
                  </a:lnTo>
                  <a:lnTo>
                    <a:pt x="1519" y="313"/>
                  </a:lnTo>
                  <a:lnTo>
                    <a:pt x="1520" y="315"/>
                  </a:lnTo>
                  <a:lnTo>
                    <a:pt x="1521" y="318"/>
                  </a:lnTo>
                  <a:lnTo>
                    <a:pt x="1521" y="319"/>
                  </a:lnTo>
                  <a:lnTo>
                    <a:pt x="1522" y="320"/>
                  </a:lnTo>
                  <a:lnTo>
                    <a:pt x="1522" y="322"/>
                  </a:lnTo>
                  <a:lnTo>
                    <a:pt x="1521" y="322"/>
                  </a:lnTo>
                  <a:lnTo>
                    <a:pt x="1519" y="322"/>
                  </a:lnTo>
                  <a:lnTo>
                    <a:pt x="1517" y="322"/>
                  </a:lnTo>
                  <a:lnTo>
                    <a:pt x="1515" y="323"/>
                  </a:lnTo>
                  <a:lnTo>
                    <a:pt x="1514" y="323"/>
                  </a:lnTo>
                  <a:lnTo>
                    <a:pt x="1513" y="325"/>
                  </a:lnTo>
                  <a:lnTo>
                    <a:pt x="1513" y="326"/>
                  </a:lnTo>
                  <a:lnTo>
                    <a:pt x="1513" y="328"/>
                  </a:lnTo>
                  <a:lnTo>
                    <a:pt x="1515" y="339"/>
                  </a:lnTo>
                  <a:lnTo>
                    <a:pt x="1519" y="350"/>
                  </a:lnTo>
                  <a:lnTo>
                    <a:pt x="1520" y="352"/>
                  </a:lnTo>
                  <a:lnTo>
                    <a:pt x="1520" y="355"/>
                  </a:lnTo>
                  <a:lnTo>
                    <a:pt x="1520" y="357"/>
                  </a:lnTo>
                  <a:lnTo>
                    <a:pt x="1519" y="359"/>
                  </a:lnTo>
                  <a:lnTo>
                    <a:pt x="1519" y="361"/>
                  </a:lnTo>
                  <a:lnTo>
                    <a:pt x="1519" y="363"/>
                  </a:lnTo>
                  <a:lnTo>
                    <a:pt x="1519" y="366"/>
                  </a:lnTo>
                  <a:lnTo>
                    <a:pt x="1520" y="368"/>
                  </a:lnTo>
                  <a:lnTo>
                    <a:pt x="1521" y="370"/>
                  </a:lnTo>
                  <a:lnTo>
                    <a:pt x="1522" y="372"/>
                  </a:lnTo>
                  <a:lnTo>
                    <a:pt x="1525" y="373"/>
                  </a:lnTo>
                  <a:lnTo>
                    <a:pt x="1526" y="372"/>
                  </a:lnTo>
                  <a:lnTo>
                    <a:pt x="1526" y="372"/>
                  </a:lnTo>
                  <a:lnTo>
                    <a:pt x="1527" y="370"/>
                  </a:lnTo>
                  <a:lnTo>
                    <a:pt x="1527" y="369"/>
                  </a:lnTo>
                  <a:lnTo>
                    <a:pt x="1528" y="368"/>
                  </a:lnTo>
                  <a:lnTo>
                    <a:pt x="1528" y="367"/>
                  </a:lnTo>
                  <a:lnTo>
                    <a:pt x="1529" y="366"/>
                  </a:lnTo>
                  <a:lnTo>
                    <a:pt x="1530" y="366"/>
                  </a:lnTo>
                  <a:lnTo>
                    <a:pt x="1532" y="368"/>
                  </a:lnTo>
                  <a:lnTo>
                    <a:pt x="1535" y="370"/>
                  </a:lnTo>
                  <a:lnTo>
                    <a:pt x="1537" y="372"/>
                  </a:lnTo>
                  <a:lnTo>
                    <a:pt x="1539" y="374"/>
                  </a:lnTo>
                  <a:lnTo>
                    <a:pt x="1541" y="377"/>
                  </a:lnTo>
                  <a:lnTo>
                    <a:pt x="1548" y="383"/>
                  </a:lnTo>
                  <a:lnTo>
                    <a:pt x="1549" y="385"/>
                  </a:lnTo>
                  <a:lnTo>
                    <a:pt x="1549" y="386"/>
                  </a:lnTo>
                  <a:lnTo>
                    <a:pt x="1549" y="388"/>
                  </a:lnTo>
                  <a:lnTo>
                    <a:pt x="1548" y="388"/>
                  </a:lnTo>
                  <a:lnTo>
                    <a:pt x="1547" y="388"/>
                  </a:lnTo>
                  <a:lnTo>
                    <a:pt x="1544" y="388"/>
                  </a:lnTo>
                  <a:lnTo>
                    <a:pt x="1542" y="388"/>
                  </a:lnTo>
                  <a:lnTo>
                    <a:pt x="1541" y="388"/>
                  </a:lnTo>
                  <a:lnTo>
                    <a:pt x="1539" y="389"/>
                  </a:lnTo>
                  <a:lnTo>
                    <a:pt x="1538" y="389"/>
                  </a:lnTo>
                  <a:lnTo>
                    <a:pt x="1537" y="390"/>
                  </a:lnTo>
                  <a:lnTo>
                    <a:pt x="1537" y="391"/>
                  </a:lnTo>
                  <a:lnTo>
                    <a:pt x="1539" y="393"/>
                  </a:lnTo>
                  <a:lnTo>
                    <a:pt x="1541" y="395"/>
                  </a:lnTo>
                  <a:lnTo>
                    <a:pt x="1543" y="396"/>
                  </a:lnTo>
                  <a:lnTo>
                    <a:pt x="1546" y="399"/>
                  </a:lnTo>
                  <a:lnTo>
                    <a:pt x="1548" y="399"/>
                  </a:lnTo>
                  <a:lnTo>
                    <a:pt x="1550" y="400"/>
                  </a:lnTo>
                  <a:lnTo>
                    <a:pt x="1552" y="401"/>
                  </a:lnTo>
                  <a:lnTo>
                    <a:pt x="1553" y="402"/>
                  </a:lnTo>
                  <a:lnTo>
                    <a:pt x="1554" y="404"/>
                  </a:lnTo>
                  <a:lnTo>
                    <a:pt x="1555" y="405"/>
                  </a:lnTo>
                  <a:lnTo>
                    <a:pt x="1557" y="405"/>
                  </a:lnTo>
                  <a:lnTo>
                    <a:pt x="1558" y="406"/>
                  </a:lnTo>
                  <a:lnTo>
                    <a:pt x="1560" y="406"/>
                  </a:lnTo>
                  <a:lnTo>
                    <a:pt x="1561" y="406"/>
                  </a:lnTo>
                  <a:lnTo>
                    <a:pt x="1562" y="406"/>
                  </a:lnTo>
                  <a:lnTo>
                    <a:pt x="1563" y="407"/>
                  </a:lnTo>
                  <a:lnTo>
                    <a:pt x="1565" y="410"/>
                  </a:lnTo>
                  <a:lnTo>
                    <a:pt x="1568" y="412"/>
                  </a:lnTo>
                  <a:lnTo>
                    <a:pt x="1570" y="414"/>
                  </a:lnTo>
                  <a:lnTo>
                    <a:pt x="1572" y="417"/>
                  </a:lnTo>
                  <a:lnTo>
                    <a:pt x="1574" y="421"/>
                  </a:lnTo>
                  <a:lnTo>
                    <a:pt x="1574" y="422"/>
                  </a:lnTo>
                  <a:lnTo>
                    <a:pt x="1574" y="425"/>
                  </a:lnTo>
                  <a:lnTo>
                    <a:pt x="1575" y="427"/>
                  </a:lnTo>
                  <a:lnTo>
                    <a:pt x="1575" y="429"/>
                  </a:lnTo>
                  <a:lnTo>
                    <a:pt x="1574" y="432"/>
                  </a:lnTo>
                  <a:lnTo>
                    <a:pt x="1573" y="432"/>
                  </a:lnTo>
                  <a:lnTo>
                    <a:pt x="1572" y="432"/>
                  </a:lnTo>
                  <a:lnTo>
                    <a:pt x="1571" y="432"/>
                  </a:lnTo>
                  <a:lnTo>
                    <a:pt x="1569" y="431"/>
                  </a:lnTo>
                  <a:lnTo>
                    <a:pt x="1568" y="429"/>
                  </a:lnTo>
                  <a:lnTo>
                    <a:pt x="1564" y="428"/>
                  </a:lnTo>
                  <a:lnTo>
                    <a:pt x="1561" y="427"/>
                  </a:lnTo>
                  <a:lnTo>
                    <a:pt x="1559" y="425"/>
                  </a:lnTo>
                  <a:lnTo>
                    <a:pt x="1557" y="423"/>
                  </a:lnTo>
                  <a:lnTo>
                    <a:pt x="1553" y="420"/>
                  </a:lnTo>
                  <a:lnTo>
                    <a:pt x="1550" y="418"/>
                  </a:lnTo>
                  <a:lnTo>
                    <a:pt x="1548" y="418"/>
                  </a:lnTo>
                  <a:lnTo>
                    <a:pt x="1546" y="418"/>
                  </a:lnTo>
                  <a:lnTo>
                    <a:pt x="1544" y="420"/>
                  </a:lnTo>
                  <a:lnTo>
                    <a:pt x="1546" y="422"/>
                  </a:lnTo>
                  <a:lnTo>
                    <a:pt x="1546" y="424"/>
                  </a:lnTo>
                  <a:lnTo>
                    <a:pt x="1546" y="425"/>
                  </a:lnTo>
                  <a:lnTo>
                    <a:pt x="1546" y="427"/>
                  </a:lnTo>
                  <a:lnTo>
                    <a:pt x="1543" y="428"/>
                  </a:lnTo>
                  <a:lnTo>
                    <a:pt x="1542" y="427"/>
                  </a:lnTo>
                  <a:lnTo>
                    <a:pt x="1540" y="426"/>
                  </a:lnTo>
                  <a:lnTo>
                    <a:pt x="1537" y="425"/>
                  </a:lnTo>
                  <a:lnTo>
                    <a:pt x="1535" y="423"/>
                  </a:lnTo>
                  <a:lnTo>
                    <a:pt x="1532" y="423"/>
                  </a:lnTo>
                  <a:lnTo>
                    <a:pt x="1531" y="423"/>
                  </a:lnTo>
                  <a:lnTo>
                    <a:pt x="1531" y="424"/>
                  </a:lnTo>
                  <a:lnTo>
                    <a:pt x="1531" y="425"/>
                  </a:lnTo>
                  <a:lnTo>
                    <a:pt x="1532" y="427"/>
                  </a:lnTo>
                  <a:lnTo>
                    <a:pt x="1535" y="429"/>
                  </a:lnTo>
                  <a:lnTo>
                    <a:pt x="1535" y="432"/>
                  </a:lnTo>
                  <a:lnTo>
                    <a:pt x="1536" y="433"/>
                  </a:lnTo>
                  <a:lnTo>
                    <a:pt x="1537" y="434"/>
                  </a:lnTo>
                  <a:lnTo>
                    <a:pt x="1539" y="435"/>
                  </a:lnTo>
                  <a:lnTo>
                    <a:pt x="1541" y="436"/>
                  </a:lnTo>
                  <a:lnTo>
                    <a:pt x="1542" y="436"/>
                  </a:lnTo>
                  <a:lnTo>
                    <a:pt x="1543" y="437"/>
                  </a:lnTo>
                  <a:lnTo>
                    <a:pt x="1544" y="438"/>
                  </a:lnTo>
                  <a:lnTo>
                    <a:pt x="1544" y="439"/>
                  </a:lnTo>
                  <a:lnTo>
                    <a:pt x="1544" y="442"/>
                  </a:lnTo>
                  <a:lnTo>
                    <a:pt x="1546" y="443"/>
                  </a:lnTo>
                  <a:lnTo>
                    <a:pt x="1548" y="445"/>
                  </a:lnTo>
                  <a:lnTo>
                    <a:pt x="1551" y="446"/>
                  </a:lnTo>
                  <a:lnTo>
                    <a:pt x="1553" y="447"/>
                  </a:lnTo>
                  <a:lnTo>
                    <a:pt x="1555" y="447"/>
                  </a:lnTo>
                  <a:lnTo>
                    <a:pt x="1558" y="448"/>
                  </a:lnTo>
                  <a:lnTo>
                    <a:pt x="1560" y="450"/>
                  </a:lnTo>
                  <a:lnTo>
                    <a:pt x="1563" y="454"/>
                  </a:lnTo>
                  <a:lnTo>
                    <a:pt x="1564" y="456"/>
                  </a:lnTo>
                  <a:lnTo>
                    <a:pt x="1565" y="457"/>
                  </a:lnTo>
                  <a:lnTo>
                    <a:pt x="1567" y="459"/>
                  </a:lnTo>
                  <a:lnTo>
                    <a:pt x="1568" y="460"/>
                  </a:lnTo>
                  <a:lnTo>
                    <a:pt x="1568" y="461"/>
                  </a:lnTo>
                  <a:lnTo>
                    <a:pt x="1568" y="462"/>
                  </a:lnTo>
                  <a:lnTo>
                    <a:pt x="1567" y="464"/>
                  </a:lnTo>
                  <a:lnTo>
                    <a:pt x="1565" y="464"/>
                  </a:lnTo>
                  <a:lnTo>
                    <a:pt x="1564" y="465"/>
                  </a:lnTo>
                  <a:lnTo>
                    <a:pt x="1563" y="466"/>
                  </a:lnTo>
                  <a:lnTo>
                    <a:pt x="1563" y="466"/>
                  </a:lnTo>
                  <a:lnTo>
                    <a:pt x="1563" y="468"/>
                  </a:lnTo>
                  <a:lnTo>
                    <a:pt x="1565" y="470"/>
                  </a:lnTo>
                  <a:lnTo>
                    <a:pt x="1568" y="471"/>
                  </a:lnTo>
                  <a:lnTo>
                    <a:pt x="1571" y="473"/>
                  </a:lnTo>
                  <a:lnTo>
                    <a:pt x="1573" y="476"/>
                  </a:lnTo>
                  <a:lnTo>
                    <a:pt x="1576" y="477"/>
                  </a:lnTo>
                  <a:lnTo>
                    <a:pt x="1578" y="482"/>
                  </a:lnTo>
                  <a:lnTo>
                    <a:pt x="1579" y="487"/>
                  </a:lnTo>
                  <a:lnTo>
                    <a:pt x="1580" y="491"/>
                  </a:lnTo>
                  <a:lnTo>
                    <a:pt x="1581" y="494"/>
                  </a:lnTo>
                  <a:lnTo>
                    <a:pt x="1581" y="497"/>
                  </a:lnTo>
                  <a:lnTo>
                    <a:pt x="1581" y="499"/>
                  </a:lnTo>
                  <a:lnTo>
                    <a:pt x="1582" y="500"/>
                  </a:lnTo>
                  <a:lnTo>
                    <a:pt x="1582" y="502"/>
                  </a:lnTo>
                  <a:lnTo>
                    <a:pt x="1582" y="504"/>
                  </a:lnTo>
                  <a:lnTo>
                    <a:pt x="1582" y="505"/>
                  </a:lnTo>
                  <a:lnTo>
                    <a:pt x="1581" y="505"/>
                  </a:lnTo>
                  <a:lnTo>
                    <a:pt x="1580" y="505"/>
                  </a:lnTo>
                  <a:lnTo>
                    <a:pt x="1579" y="503"/>
                  </a:lnTo>
                  <a:lnTo>
                    <a:pt x="1574" y="501"/>
                  </a:lnTo>
                  <a:lnTo>
                    <a:pt x="1570" y="497"/>
                  </a:lnTo>
                  <a:lnTo>
                    <a:pt x="1568" y="492"/>
                  </a:lnTo>
                  <a:lnTo>
                    <a:pt x="1567" y="492"/>
                  </a:lnTo>
                  <a:lnTo>
                    <a:pt x="1564" y="492"/>
                  </a:lnTo>
                  <a:lnTo>
                    <a:pt x="1563" y="491"/>
                  </a:lnTo>
                  <a:lnTo>
                    <a:pt x="1562" y="491"/>
                  </a:lnTo>
                  <a:lnTo>
                    <a:pt x="1561" y="491"/>
                  </a:lnTo>
                  <a:lnTo>
                    <a:pt x="1560" y="491"/>
                  </a:lnTo>
                  <a:lnTo>
                    <a:pt x="1561" y="492"/>
                  </a:lnTo>
                  <a:lnTo>
                    <a:pt x="1564" y="495"/>
                  </a:lnTo>
                  <a:lnTo>
                    <a:pt x="1568" y="498"/>
                  </a:lnTo>
                  <a:lnTo>
                    <a:pt x="1571" y="500"/>
                  </a:lnTo>
                  <a:lnTo>
                    <a:pt x="1573" y="502"/>
                  </a:lnTo>
                  <a:lnTo>
                    <a:pt x="1576" y="505"/>
                  </a:lnTo>
                  <a:lnTo>
                    <a:pt x="1578" y="508"/>
                  </a:lnTo>
                  <a:lnTo>
                    <a:pt x="1578" y="509"/>
                  </a:lnTo>
                  <a:lnTo>
                    <a:pt x="1578" y="509"/>
                  </a:lnTo>
                  <a:lnTo>
                    <a:pt x="1576" y="510"/>
                  </a:lnTo>
                  <a:lnTo>
                    <a:pt x="1575" y="510"/>
                  </a:lnTo>
                  <a:lnTo>
                    <a:pt x="1574" y="509"/>
                  </a:lnTo>
                  <a:lnTo>
                    <a:pt x="1572" y="509"/>
                  </a:lnTo>
                  <a:lnTo>
                    <a:pt x="1571" y="509"/>
                  </a:lnTo>
                  <a:lnTo>
                    <a:pt x="1571" y="510"/>
                  </a:lnTo>
                  <a:lnTo>
                    <a:pt x="1570" y="511"/>
                  </a:lnTo>
                  <a:lnTo>
                    <a:pt x="1571" y="512"/>
                  </a:lnTo>
                  <a:lnTo>
                    <a:pt x="1572" y="514"/>
                  </a:lnTo>
                  <a:lnTo>
                    <a:pt x="1573" y="518"/>
                  </a:lnTo>
                  <a:lnTo>
                    <a:pt x="1574" y="520"/>
                  </a:lnTo>
                  <a:lnTo>
                    <a:pt x="1575" y="522"/>
                  </a:lnTo>
                  <a:lnTo>
                    <a:pt x="1576" y="525"/>
                  </a:lnTo>
                  <a:lnTo>
                    <a:pt x="1579" y="527"/>
                  </a:lnTo>
                  <a:lnTo>
                    <a:pt x="1581" y="529"/>
                  </a:lnTo>
                  <a:lnTo>
                    <a:pt x="1583" y="530"/>
                  </a:lnTo>
                  <a:lnTo>
                    <a:pt x="1584" y="530"/>
                  </a:lnTo>
                  <a:lnTo>
                    <a:pt x="1587" y="530"/>
                  </a:lnTo>
                  <a:lnTo>
                    <a:pt x="1589" y="531"/>
                  </a:lnTo>
                  <a:lnTo>
                    <a:pt x="1591" y="533"/>
                  </a:lnTo>
                  <a:lnTo>
                    <a:pt x="1593" y="536"/>
                  </a:lnTo>
                  <a:lnTo>
                    <a:pt x="1595" y="540"/>
                  </a:lnTo>
                  <a:lnTo>
                    <a:pt x="1596" y="542"/>
                  </a:lnTo>
                  <a:lnTo>
                    <a:pt x="1596" y="545"/>
                  </a:lnTo>
                  <a:lnTo>
                    <a:pt x="1596" y="547"/>
                  </a:lnTo>
                  <a:lnTo>
                    <a:pt x="1595" y="548"/>
                  </a:lnTo>
                  <a:lnTo>
                    <a:pt x="1594" y="548"/>
                  </a:lnTo>
                  <a:lnTo>
                    <a:pt x="1592" y="547"/>
                  </a:lnTo>
                  <a:lnTo>
                    <a:pt x="1590" y="546"/>
                  </a:lnTo>
                  <a:lnTo>
                    <a:pt x="1587" y="545"/>
                  </a:lnTo>
                  <a:lnTo>
                    <a:pt x="1583" y="543"/>
                  </a:lnTo>
                  <a:lnTo>
                    <a:pt x="1580" y="541"/>
                  </a:lnTo>
                  <a:lnTo>
                    <a:pt x="1576" y="538"/>
                  </a:lnTo>
                  <a:lnTo>
                    <a:pt x="1573" y="538"/>
                  </a:lnTo>
                  <a:lnTo>
                    <a:pt x="1571" y="538"/>
                  </a:lnTo>
                  <a:lnTo>
                    <a:pt x="1569" y="540"/>
                  </a:lnTo>
                  <a:lnTo>
                    <a:pt x="1568" y="541"/>
                  </a:lnTo>
                  <a:lnTo>
                    <a:pt x="1568" y="543"/>
                  </a:lnTo>
                  <a:lnTo>
                    <a:pt x="1568" y="545"/>
                  </a:lnTo>
                  <a:lnTo>
                    <a:pt x="1568" y="547"/>
                  </a:lnTo>
                  <a:lnTo>
                    <a:pt x="1569" y="549"/>
                  </a:lnTo>
                  <a:lnTo>
                    <a:pt x="1570" y="552"/>
                  </a:lnTo>
                  <a:lnTo>
                    <a:pt x="1571" y="554"/>
                  </a:lnTo>
                  <a:lnTo>
                    <a:pt x="1574" y="556"/>
                  </a:lnTo>
                  <a:lnTo>
                    <a:pt x="1576" y="557"/>
                  </a:lnTo>
                  <a:lnTo>
                    <a:pt x="1580" y="559"/>
                  </a:lnTo>
                  <a:lnTo>
                    <a:pt x="1583" y="560"/>
                  </a:lnTo>
                  <a:lnTo>
                    <a:pt x="1584" y="563"/>
                  </a:lnTo>
                  <a:lnTo>
                    <a:pt x="1587" y="565"/>
                  </a:lnTo>
                  <a:lnTo>
                    <a:pt x="1590" y="567"/>
                  </a:lnTo>
                  <a:lnTo>
                    <a:pt x="1592" y="569"/>
                  </a:lnTo>
                  <a:lnTo>
                    <a:pt x="1592" y="573"/>
                  </a:lnTo>
                  <a:lnTo>
                    <a:pt x="1592" y="575"/>
                  </a:lnTo>
                  <a:lnTo>
                    <a:pt x="1592" y="577"/>
                  </a:lnTo>
                  <a:lnTo>
                    <a:pt x="1591" y="579"/>
                  </a:lnTo>
                  <a:lnTo>
                    <a:pt x="1590" y="580"/>
                  </a:lnTo>
                  <a:lnTo>
                    <a:pt x="1587" y="582"/>
                  </a:lnTo>
                  <a:lnTo>
                    <a:pt x="1587" y="585"/>
                  </a:lnTo>
                  <a:lnTo>
                    <a:pt x="1586" y="587"/>
                  </a:lnTo>
                  <a:lnTo>
                    <a:pt x="1585" y="589"/>
                  </a:lnTo>
                  <a:lnTo>
                    <a:pt x="1579" y="589"/>
                  </a:lnTo>
                  <a:lnTo>
                    <a:pt x="1571" y="586"/>
                  </a:lnTo>
                  <a:lnTo>
                    <a:pt x="1563" y="580"/>
                  </a:lnTo>
                  <a:lnTo>
                    <a:pt x="1558" y="576"/>
                  </a:lnTo>
                  <a:lnTo>
                    <a:pt x="1552" y="571"/>
                  </a:lnTo>
                  <a:lnTo>
                    <a:pt x="1548" y="567"/>
                  </a:lnTo>
                  <a:lnTo>
                    <a:pt x="1546" y="566"/>
                  </a:lnTo>
                  <a:lnTo>
                    <a:pt x="1546" y="566"/>
                  </a:lnTo>
                  <a:lnTo>
                    <a:pt x="1544" y="567"/>
                  </a:lnTo>
                  <a:lnTo>
                    <a:pt x="1544" y="568"/>
                  </a:lnTo>
                  <a:lnTo>
                    <a:pt x="1546" y="569"/>
                  </a:lnTo>
                  <a:lnTo>
                    <a:pt x="1546" y="570"/>
                  </a:lnTo>
                  <a:lnTo>
                    <a:pt x="1546" y="571"/>
                  </a:lnTo>
                  <a:lnTo>
                    <a:pt x="1544" y="573"/>
                  </a:lnTo>
                  <a:lnTo>
                    <a:pt x="1542" y="573"/>
                  </a:lnTo>
                  <a:lnTo>
                    <a:pt x="1540" y="574"/>
                  </a:lnTo>
                  <a:lnTo>
                    <a:pt x="1539" y="575"/>
                  </a:lnTo>
                  <a:lnTo>
                    <a:pt x="1537" y="576"/>
                  </a:lnTo>
                  <a:lnTo>
                    <a:pt x="1537" y="578"/>
                  </a:lnTo>
                  <a:lnTo>
                    <a:pt x="1537" y="580"/>
                  </a:lnTo>
                  <a:lnTo>
                    <a:pt x="1538" y="581"/>
                  </a:lnTo>
                  <a:lnTo>
                    <a:pt x="1540" y="584"/>
                  </a:lnTo>
                  <a:lnTo>
                    <a:pt x="1542" y="585"/>
                  </a:lnTo>
                  <a:lnTo>
                    <a:pt x="1546" y="587"/>
                  </a:lnTo>
                  <a:lnTo>
                    <a:pt x="1548" y="588"/>
                  </a:lnTo>
                  <a:lnTo>
                    <a:pt x="1549" y="590"/>
                  </a:lnTo>
                  <a:lnTo>
                    <a:pt x="1549" y="591"/>
                  </a:lnTo>
                  <a:lnTo>
                    <a:pt x="1548" y="593"/>
                  </a:lnTo>
                  <a:lnTo>
                    <a:pt x="1547" y="595"/>
                  </a:lnTo>
                  <a:lnTo>
                    <a:pt x="1546" y="595"/>
                  </a:lnTo>
                  <a:lnTo>
                    <a:pt x="1544" y="596"/>
                  </a:lnTo>
                  <a:lnTo>
                    <a:pt x="1542" y="596"/>
                  </a:lnTo>
                  <a:lnTo>
                    <a:pt x="1541" y="596"/>
                  </a:lnTo>
                  <a:lnTo>
                    <a:pt x="1540" y="597"/>
                  </a:lnTo>
                  <a:lnTo>
                    <a:pt x="1540" y="599"/>
                  </a:lnTo>
                  <a:lnTo>
                    <a:pt x="1540" y="600"/>
                  </a:lnTo>
                  <a:lnTo>
                    <a:pt x="1541" y="601"/>
                  </a:lnTo>
                  <a:lnTo>
                    <a:pt x="1543" y="602"/>
                  </a:lnTo>
                  <a:lnTo>
                    <a:pt x="1546" y="603"/>
                  </a:lnTo>
                  <a:lnTo>
                    <a:pt x="1549" y="603"/>
                  </a:lnTo>
                  <a:lnTo>
                    <a:pt x="1551" y="604"/>
                  </a:lnTo>
                  <a:lnTo>
                    <a:pt x="1552" y="607"/>
                  </a:lnTo>
                  <a:lnTo>
                    <a:pt x="1554" y="609"/>
                  </a:lnTo>
                  <a:lnTo>
                    <a:pt x="1554" y="613"/>
                  </a:lnTo>
                  <a:lnTo>
                    <a:pt x="1557" y="617"/>
                  </a:lnTo>
                  <a:lnTo>
                    <a:pt x="1559" y="620"/>
                  </a:lnTo>
                  <a:lnTo>
                    <a:pt x="1562" y="622"/>
                  </a:lnTo>
                  <a:lnTo>
                    <a:pt x="1564" y="625"/>
                  </a:lnTo>
                  <a:lnTo>
                    <a:pt x="1568" y="628"/>
                  </a:lnTo>
                  <a:lnTo>
                    <a:pt x="1570" y="631"/>
                  </a:lnTo>
                  <a:lnTo>
                    <a:pt x="1583" y="643"/>
                  </a:lnTo>
                  <a:lnTo>
                    <a:pt x="1591" y="651"/>
                  </a:lnTo>
                  <a:lnTo>
                    <a:pt x="1596" y="660"/>
                  </a:lnTo>
                  <a:lnTo>
                    <a:pt x="1601" y="669"/>
                  </a:lnTo>
                  <a:lnTo>
                    <a:pt x="1601" y="673"/>
                  </a:lnTo>
                  <a:lnTo>
                    <a:pt x="1603" y="676"/>
                  </a:lnTo>
                  <a:lnTo>
                    <a:pt x="1604" y="679"/>
                  </a:lnTo>
                  <a:lnTo>
                    <a:pt x="1605" y="683"/>
                  </a:lnTo>
                  <a:lnTo>
                    <a:pt x="1606" y="687"/>
                  </a:lnTo>
                  <a:lnTo>
                    <a:pt x="1606" y="691"/>
                  </a:lnTo>
                  <a:lnTo>
                    <a:pt x="1607" y="695"/>
                  </a:lnTo>
                  <a:lnTo>
                    <a:pt x="1607" y="698"/>
                  </a:lnTo>
                  <a:lnTo>
                    <a:pt x="1612" y="718"/>
                  </a:lnTo>
                  <a:lnTo>
                    <a:pt x="1611" y="718"/>
                  </a:lnTo>
                  <a:lnTo>
                    <a:pt x="1611" y="718"/>
                  </a:lnTo>
                  <a:lnTo>
                    <a:pt x="1609" y="717"/>
                  </a:lnTo>
                  <a:lnTo>
                    <a:pt x="1608" y="715"/>
                  </a:lnTo>
                  <a:lnTo>
                    <a:pt x="1607" y="713"/>
                  </a:lnTo>
                  <a:lnTo>
                    <a:pt x="1607" y="713"/>
                  </a:lnTo>
                  <a:lnTo>
                    <a:pt x="1605" y="711"/>
                  </a:lnTo>
                  <a:lnTo>
                    <a:pt x="1604" y="709"/>
                  </a:lnTo>
                  <a:lnTo>
                    <a:pt x="1603" y="707"/>
                  </a:lnTo>
                  <a:lnTo>
                    <a:pt x="1601" y="705"/>
                  </a:lnTo>
                  <a:lnTo>
                    <a:pt x="1600" y="704"/>
                  </a:lnTo>
                  <a:lnTo>
                    <a:pt x="1598" y="704"/>
                  </a:lnTo>
                  <a:lnTo>
                    <a:pt x="1598" y="705"/>
                  </a:lnTo>
                  <a:lnTo>
                    <a:pt x="1597" y="706"/>
                  </a:lnTo>
                  <a:lnTo>
                    <a:pt x="1596" y="707"/>
                  </a:lnTo>
                  <a:lnTo>
                    <a:pt x="1596" y="709"/>
                  </a:lnTo>
                  <a:lnTo>
                    <a:pt x="1594" y="711"/>
                  </a:lnTo>
                  <a:lnTo>
                    <a:pt x="1590" y="709"/>
                  </a:lnTo>
                  <a:lnTo>
                    <a:pt x="1585" y="704"/>
                  </a:lnTo>
                  <a:lnTo>
                    <a:pt x="1580" y="698"/>
                  </a:lnTo>
                  <a:lnTo>
                    <a:pt x="1576" y="691"/>
                  </a:lnTo>
                  <a:lnTo>
                    <a:pt x="1574" y="687"/>
                  </a:lnTo>
                  <a:lnTo>
                    <a:pt x="1572" y="680"/>
                  </a:lnTo>
                  <a:lnTo>
                    <a:pt x="1570" y="674"/>
                  </a:lnTo>
                  <a:lnTo>
                    <a:pt x="1567" y="666"/>
                  </a:lnTo>
                  <a:lnTo>
                    <a:pt x="1561" y="661"/>
                  </a:lnTo>
                  <a:lnTo>
                    <a:pt x="1558" y="660"/>
                  </a:lnTo>
                  <a:lnTo>
                    <a:pt x="1554" y="658"/>
                  </a:lnTo>
                  <a:lnTo>
                    <a:pt x="1551" y="657"/>
                  </a:lnTo>
                  <a:lnTo>
                    <a:pt x="1548" y="654"/>
                  </a:lnTo>
                  <a:lnTo>
                    <a:pt x="1546" y="653"/>
                  </a:lnTo>
                  <a:lnTo>
                    <a:pt x="1543" y="650"/>
                  </a:lnTo>
                  <a:lnTo>
                    <a:pt x="1540" y="646"/>
                  </a:lnTo>
                  <a:lnTo>
                    <a:pt x="1537" y="643"/>
                  </a:lnTo>
                  <a:lnTo>
                    <a:pt x="1532" y="640"/>
                  </a:lnTo>
                  <a:lnTo>
                    <a:pt x="1528" y="638"/>
                  </a:lnTo>
                  <a:lnTo>
                    <a:pt x="1524" y="635"/>
                  </a:lnTo>
                  <a:lnTo>
                    <a:pt x="1521" y="633"/>
                  </a:lnTo>
                  <a:lnTo>
                    <a:pt x="1520" y="633"/>
                  </a:lnTo>
                  <a:lnTo>
                    <a:pt x="1519" y="632"/>
                  </a:lnTo>
                  <a:lnTo>
                    <a:pt x="1519" y="631"/>
                  </a:lnTo>
                  <a:lnTo>
                    <a:pt x="1517" y="629"/>
                  </a:lnTo>
                  <a:lnTo>
                    <a:pt x="1515" y="626"/>
                  </a:lnTo>
                  <a:lnTo>
                    <a:pt x="1513" y="626"/>
                  </a:lnTo>
                  <a:lnTo>
                    <a:pt x="1514" y="630"/>
                  </a:lnTo>
                  <a:lnTo>
                    <a:pt x="1516" y="633"/>
                  </a:lnTo>
                  <a:lnTo>
                    <a:pt x="1519" y="636"/>
                  </a:lnTo>
                  <a:lnTo>
                    <a:pt x="1524" y="640"/>
                  </a:lnTo>
                  <a:lnTo>
                    <a:pt x="1528" y="641"/>
                  </a:lnTo>
                  <a:lnTo>
                    <a:pt x="1531" y="645"/>
                  </a:lnTo>
                  <a:lnTo>
                    <a:pt x="1535" y="649"/>
                  </a:lnTo>
                  <a:lnTo>
                    <a:pt x="1539" y="653"/>
                  </a:lnTo>
                  <a:lnTo>
                    <a:pt x="1543" y="656"/>
                  </a:lnTo>
                  <a:lnTo>
                    <a:pt x="1546" y="657"/>
                  </a:lnTo>
                  <a:lnTo>
                    <a:pt x="1549" y="658"/>
                  </a:lnTo>
                  <a:lnTo>
                    <a:pt x="1552" y="661"/>
                  </a:lnTo>
                  <a:lnTo>
                    <a:pt x="1555" y="662"/>
                  </a:lnTo>
                  <a:lnTo>
                    <a:pt x="1559" y="665"/>
                  </a:lnTo>
                  <a:lnTo>
                    <a:pt x="1560" y="668"/>
                  </a:lnTo>
                  <a:lnTo>
                    <a:pt x="1560" y="669"/>
                  </a:lnTo>
                  <a:lnTo>
                    <a:pt x="1559" y="671"/>
                  </a:lnTo>
                  <a:lnTo>
                    <a:pt x="1558" y="672"/>
                  </a:lnTo>
                  <a:lnTo>
                    <a:pt x="1557" y="673"/>
                  </a:lnTo>
                  <a:lnTo>
                    <a:pt x="1555" y="673"/>
                  </a:lnTo>
                  <a:lnTo>
                    <a:pt x="1554" y="674"/>
                  </a:lnTo>
                  <a:lnTo>
                    <a:pt x="1553" y="675"/>
                  </a:lnTo>
                  <a:lnTo>
                    <a:pt x="1552" y="676"/>
                  </a:lnTo>
                  <a:lnTo>
                    <a:pt x="1550" y="676"/>
                  </a:lnTo>
                  <a:lnTo>
                    <a:pt x="1548" y="676"/>
                  </a:lnTo>
                  <a:lnTo>
                    <a:pt x="1547" y="676"/>
                  </a:lnTo>
                  <a:lnTo>
                    <a:pt x="1546" y="675"/>
                  </a:lnTo>
                  <a:lnTo>
                    <a:pt x="1544" y="674"/>
                  </a:lnTo>
                  <a:lnTo>
                    <a:pt x="1542" y="674"/>
                  </a:lnTo>
                  <a:lnTo>
                    <a:pt x="1541" y="674"/>
                  </a:lnTo>
                  <a:lnTo>
                    <a:pt x="1541" y="674"/>
                  </a:lnTo>
                  <a:lnTo>
                    <a:pt x="1543" y="677"/>
                  </a:lnTo>
                  <a:lnTo>
                    <a:pt x="1546" y="679"/>
                  </a:lnTo>
                  <a:lnTo>
                    <a:pt x="1549" y="682"/>
                  </a:lnTo>
                  <a:lnTo>
                    <a:pt x="1552" y="684"/>
                  </a:lnTo>
                  <a:lnTo>
                    <a:pt x="1554" y="685"/>
                  </a:lnTo>
                  <a:lnTo>
                    <a:pt x="1557" y="687"/>
                  </a:lnTo>
                  <a:lnTo>
                    <a:pt x="1558" y="688"/>
                  </a:lnTo>
                  <a:lnTo>
                    <a:pt x="1558" y="689"/>
                  </a:lnTo>
                  <a:lnTo>
                    <a:pt x="1557" y="689"/>
                  </a:lnTo>
                  <a:lnTo>
                    <a:pt x="1555" y="689"/>
                  </a:lnTo>
                  <a:lnTo>
                    <a:pt x="1554" y="689"/>
                  </a:lnTo>
                  <a:lnTo>
                    <a:pt x="1552" y="689"/>
                  </a:lnTo>
                  <a:lnTo>
                    <a:pt x="1551" y="689"/>
                  </a:lnTo>
                  <a:lnTo>
                    <a:pt x="1550" y="689"/>
                  </a:lnTo>
                  <a:lnTo>
                    <a:pt x="1549" y="690"/>
                  </a:lnTo>
                  <a:lnTo>
                    <a:pt x="1550" y="693"/>
                  </a:lnTo>
                  <a:lnTo>
                    <a:pt x="1551" y="694"/>
                  </a:lnTo>
                  <a:lnTo>
                    <a:pt x="1552" y="695"/>
                  </a:lnTo>
                  <a:lnTo>
                    <a:pt x="1553" y="696"/>
                  </a:lnTo>
                  <a:lnTo>
                    <a:pt x="1554" y="696"/>
                  </a:lnTo>
                  <a:lnTo>
                    <a:pt x="1555" y="698"/>
                  </a:lnTo>
                  <a:lnTo>
                    <a:pt x="1557" y="700"/>
                  </a:lnTo>
                  <a:lnTo>
                    <a:pt x="1559" y="702"/>
                  </a:lnTo>
                  <a:lnTo>
                    <a:pt x="1561" y="705"/>
                  </a:lnTo>
                  <a:lnTo>
                    <a:pt x="1563" y="706"/>
                  </a:lnTo>
                  <a:lnTo>
                    <a:pt x="1565" y="706"/>
                  </a:lnTo>
                  <a:lnTo>
                    <a:pt x="1568" y="705"/>
                  </a:lnTo>
                  <a:lnTo>
                    <a:pt x="1570" y="705"/>
                  </a:lnTo>
                  <a:lnTo>
                    <a:pt x="1572" y="705"/>
                  </a:lnTo>
                  <a:lnTo>
                    <a:pt x="1574" y="705"/>
                  </a:lnTo>
                  <a:lnTo>
                    <a:pt x="1579" y="708"/>
                  </a:lnTo>
                  <a:lnTo>
                    <a:pt x="1583" y="711"/>
                  </a:lnTo>
                  <a:lnTo>
                    <a:pt x="1587" y="713"/>
                  </a:lnTo>
                  <a:lnTo>
                    <a:pt x="1590" y="715"/>
                  </a:lnTo>
                  <a:lnTo>
                    <a:pt x="1592" y="716"/>
                  </a:lnTo>
                  <a:lnTo>
                    <a:pt x="1596" y="718"/>
                  </a:lnTo>
                  <a:lnTo>
                    <a:pt x="1598" y="720"/>
                  </a:lnTo>
                  <a:lnTo>
                    <a:pt x="1601" y="722"/>
                  </a:lnTo>
                  <a:lnTo>
                    <a:pt x="1603" y="723"/>
                  </a:lnTo>
                  <a:lnTo>
                    <a:pt x="1605" y="726"/>
                  </a:lnTo>
                  <a:lnTo>
                    <a:pt x="1606" y="728"/>
                  </a:lnTo>
                  <a:lnTo>
                    <a:pt x="1607" y="731"/>
                  </a:lnTo>
                  <a:lnTo>
                    <a:pt x="1606" y="733"/>
                  </a:lnTo>
                  <a:lnTo>
                    <a:pt x="1605" y="735"/>
                  </a:lnTo>
                  <a:lnTo>
                    <a:pt x="1603" y="737"/>
                  </a:lnTo>
                  <a:lnTo>
                    <a:pt x="1601" y="739"/>
                  </a:lnTo>
                  <a:lnTo>
                    <a:pt x="1598" y="740"/>
                  </a:lnTo>
                  <a:lnTo>
                    <a:pt x="1596" y="741"/>
                  </a:lnTo>
                  <a:lnTo>
                    <a:pt x="1594" y="742"/>
                  </a:lnTo>
                  <a:lnTo>
                    <a:pt x="1593" y="744"/>
                  </a:lnTo>
                  <a:lnTo>
                    <a:pt x="1593" y="748"/>
                  </a:lnTo>
                  <a:lnTo>
                    <a:pt x="1592" y="751"/>
                  </a:lnTo>
                  <a:lnTo>
                    <a:pt x="1590" y="752"/>
                  </a:lnTo>
                  <a:lnTo>
                    <a:pt x="1589" y="753"/>
                  </a:lnTo>
                  <a:lnTo>
                    <a:pt x="1586" y="754"/>
                  </a:lnTo>
                  <a:lnTo>
                    <a:pt x="1584" y="754"/>
                  </a:lnTo>
                  <a:lnTo>
                    <a:pt x="1582" y="754"/>
                  </a:lnTo>
                  <a:lnTo>
                    <a:pt x="1581" y="755"/>
                  </a:lnTo>
                  <a:lnTo>
                    <a:pt x="1578" y="760"/>
                  </a:lnTo>
                  <a:lnTo>
                    <a:pt x="1574" y="766"/>
                  </a:lnTo>
                  <a:lnTo>
                    <a:pt x="1571" y="772"/>
                  </a:lnTo>
                  <a:lnTo>
                    <a:pt x="1567" y="776"/>
                  </a:lnTo>
                  <a:lnTo>
                    <a:pt x="1561" y="777"/>
                  </a:lnTo>
                  <a:lnTo>
                    <a:pt x="1553" y="776"/>
                  </a:lnTo>
                  <a:lnTo>
                    <a:pt x="1546" y="777"/>
                  </a:lnTo>
                  <a:lnTo>
                    <a:pt x="1539" y="780"/>
                  </a:lnTo>
                  <a:lnTo>
                    <a:pt x="1537" y="780"/>
                  </a:lnTo>
                  <a:lnTo>
                    <a:pt x="1535" y="780"/>
                  </a:lnTo>
                  <a:lnTo>
                    <a:pt x="1532" y="780"/>
                  </a:lnTo>
                  <a:lnTo>
                    <a:pt x="1530" y="782"/>
                  </a:lnTo>
                  <a:lnTo>
                    <a:pt x="1528" y="782"/>
                  </a:lnTo>
                  <a:lnTo>
                    <a:pt x="1526" y="784"/>
                  </a:lnTo>
                  <a:lnTo>
                    <a:pt x="1524" y="786"/>
                  </a:lnTo>
                  <a:lnTo>
                    <a:pt x="1520" y="787"/>
                  </a:lnTo>
                  <a:lnTo>
                    <a:pt x="1517" y="787"/>
                  </a:lnTo>
                  <a:lnTo>
                    <a:pt x="1514" y="786"/>
                  </a:lnTo>
                  <a:lnTo>
                    <a:pt x="1511" y="785"/>
                  </a:lnTo>
                  <a:lnTo>
                    <a:pt x="1508" y="782"/>
                  </a:lnTo>
                  <a:lnTo>
                    <a:pt x="1505" y="778"/>
                  </a:lnTo>
                  <a:lnTo>
                    <a:pt x="1503" y="775"/>
                  </a:lnTo>
                  <a:lnTo>
                    <a:pt x="1500" y="773"/>
                  </a:lnTo>
                  <a:lnTo>
                    <a:pt x="1497" y="771"/>
                  </a:lnTo>
                  <a:lnTo>
                    <a:pt x="1496" y="774"/>
                  </a:lnTo>
                  <a:lnTo>
                    <a:pt x="1496" y="776"/>
                  </a:lnTo>
                  <a:lnTo>
                    <a:pt x="1497" y="778"/>
                  </a:lnTo>
                  <a:lnTo>
                    <a:pt x="1498" y="781"/>
                  </a:lnTo>
                  <a:lnTo>
                    <a:pt x="1499" y="784"/>
                  </a:lnTo>
                  <a:lnTo>
                    <a:pt x="1502" y="786"/>
                  </a:lnTo>
                  <a:lnTo>
                    <a:pt x="1503" y="788"/>
                  </a:lnTo>
                  <a:lnTo>
                    <a:pt x="1503" y="789"/>
                  </a:lnTo>
                  <a:lnTo>
                    <a:pt x="1502" y="792"/>
                  </a:lnTo>
                  <a:lnTo>
                    <a:pt x="1499" y="793"/>
                  </a:lnTo>
                  <a:lnTo>
                    <a:pt x="1497" y="795"/>
                  </a:lnTo>
                  <a:lnTo>
                    <a:pt x="1494" y="796"/>
                  </a:lnTo>
                  <a:lnTo>
                    <a:pt x="1491" y="798"/>
                  </a:lnTo>
                  <a:lnTo>
                    <a:pt x="1486" y="799"/>
                  </a:lnTo>
                  <a:lnTo>
                    <a:pt x="1483" y="800"/>
                  </a:lnTo>
                  <a:lnTo>
                    <a:pt x="1482" y="802"/>
                  </a:lnTo>
                  <a:lnTo>
                    <a:pt x="1482" y="804"/>
                  </a:lnTo>
                  <a:lnTo>
                    <a:pt x="1482" y="806"/>
                  </a:lnTo>
                  <a:lnTo>
                    <a:pt x="1482" y="809"/>
                  </a:lnTo>
                  <a:lnTo>
                    <a:pt x="1482" y="818"/>
                  </a:lnTo>
                  <a:lnTo>
                    <a:pt x="1481" y="827"/>
                  </a:lnTo>
                  <a:lnTo>
                    <a:pt x="1480" y="833"/>
                  </a:lnTo>
                  <a:lnTo>
                    <a:pt x="1480" y="837"/>
                  </a:lnTo>
                  <a:lnTo>
                    <a:pt x="1478" y="839"/>
                  </a:lnTo>
                  <a:lnTo>
                    <a:pt x="1477" y="840"/>
                  </a:lnTo>
                  <a:lnTo>
                    <a:pt x="1476" y="841"/>
                  </a:lnTo>
                  <a:lnTo>
                    <a:pt x="1474" y="841"/>
                  </a:lnTo>
                  <a:lnTo>
                    <a:pt x="1473" y="842"/>
                  </a:lnTo>
                  <a:lnTo>
                    <a:pt x="1471" y="843"/>
                  </a:lnTo>
                  <a:lnTo>
                    <a:pt x="1469" y="846"/>
                  </a:lnTo>
                  <a:lnTo>
                    <a:pt x="1467" y="848"/>
                  </a:lnTo>
                  <a:lnTo>
                    <a:pt x="1466" y="850"/>
                  </a:lnTo>
                  <a:lnTo>
                    <a:pt x="1466" y="853"/>
                  </a:lnTo>
                  <a:lnTo>
                    <a:pt x="1464" y="855"/>
                  </a:lnTo>
                  <a:lnTo>
                    <a:pt x="1462" y="858"/>
                  </a:lnTo>
                  <a:lnTo>
                    <a:pt x="1458" y="860"/>
                  </a:lnTo>
                  <a:lnTo>
                    <a:pt x="1456" y="861"/>
                  </a:lnTo>
                  <a:lnTo>
                    <a:pt x="1455" y="860"/>
                  </a:lnTo>
                  <a:lnTo>
                    <a:pt x="1453" y="859"/>
                  </a:lnTo>
                  <a:lnTo>
                    <a:pt x="1452" y="858"/>
                  </a:lnTo>
                  <a:lnTo>
                    <a:pt x="1450" y="858"/>
                  </a:lnTo>
                  <a:lnTo>
                    <a:pt x="1449" y="858"/>
                  </a:lnTo>
                  <a:lnTo>
                    <a:pt x="1448" y="859"/>
                  </a:lnTo>
                  <a:lnTo>
                    <a:pt x="1447" y="861"/>
                  </a:lnTo>
                  <a:lnTo>
                    <a:pt x="1445" y="862"/>
                  </a:lnTo>
                  <a:lnTo>
                    <a:pt x="1445" y="863"/>
                  </a:lnTo>
                  <a:lnTo>
                    <a:pt x="1444" y="864"/>
                  </a:lnTo>
                  <a:lnTo>
                    <a:pt x="1444" y="864"/>
                  </a:lnTo>
                  <a:lnTo>
                    <a:pt x="1442" y="864"/>
                  </a:lnTo>
                  <a:lnTo>
                    <a:pt x="1440" y="864"/>
                  </a:lnTo>
                  <a:lnTo>
                    <a:pt x="1437" y="862"/>
                  </a:lnTo>
                  <a:lnTo>
                    <a:pt x="1434" y="861"/>
                  </a:lnTo>
                  <a:lnTo>
                    <a:pt x="1433" y="859"/>
                  </a:lnTo>
                  <a:lnTo>
                    <a:pt x="1433" y="855"/>
                  </a:lnTo>
                  <a:lnTo>
                    <a:pt x="1434" y="854"/>
                  </a:lnTo>
                  <a:lnTo>
                    <a:pt x="1434" y="852"/>
                  </a:lnTo>
                  <a:lnTo>
                    <a:pt x="1436" y="850"/>
                  </a:lnTo>
                  <a:lnTo>
                    <a:pt x="1436" y="847"/>
                  </a:lnTo>
                  <a:lnTo>
                    <a:pt x="1436" y="846"/>
                  </a:lnTo>
                  <a:lnTo>
                    <a:pt x="1434" y="844"/>
                  </a:lnTo>
                  <a:lnTo>
                    <a:pt x="1432" y="844"/>
                  </a:lnTo>
                  <a:lnTo>
                    <a:pt x="1431" y="844"/>
                  </a:lnTo>
                  <a:lnTo>
                    <a:pt x="1430" y="846"/>
                  </a:lnTo>
                  <a:lnTo>
                    <a:pt x="1429" y="847"/>
                  </a:lnTo>
                  <a:lnTo>
                    <a:pt x="1429" y="850"/>
                  </a:lnTo>
                  <a:lnTo>
                    <a:pt x="1429" y="853"/>
                  </a:lnTo>
                  <a:lnTo>
                    <a:pt x="1429" y="855"/>
                  </a:lnTo>
                  <a:lnTo>
                    <a:pt x="1428" y="858"/>
                  </a:lnTo>
                  <a:lnTo>
                    <a:pt x="1428" y="860"/>
                  </a:lnTo>
                  <a:lnTo>
                    <a:pt x="1426" y="861"/>
                  </a:lnTo>
                  <a:lnTo>
                    <a:pt x="1422" y="862"/>
                  </a:lnTo>
                  <a:lnTo>
                    <a:pt x="1421" y="863"/>
                  </a:lnTo>
                  <a:lnTo>
                    <a:pt x="1419" y="864"/>
                  </a:lnTo>
                  <a:lnTo>
                    <a:pt x="1418" y="865"/>
                  </a:lnTo>
                  <a:lnTo>
                    <a:pt x="1416" y="866"/>
                  </a:lnTo>
                  <a:lnTo>
                    <a:pt x="1413" y="866"/>
                  </a:lnTo>
                  <a:lnTo>
                    <a:pt x="1411" y="866"/>
                  </a:lnTo>
                  <a:lnTo>
                    <a:pt x="1409" y="868"/>
                  </a:lnTo>
                  <a:lnTo>
                    <a:pt x="1407" y="869"/>
                  </a:lnTo>
                  <a:lnTo>
                    <a:pt x="1405" y="871"/>
                  </a:lnTo>
                  <a:lnTo>
                    <a:pt x="1405" y="872"/>
                  </a:lnTo>
                  <a:lnTo>
                    <a:pt x="1404" y="874"/>
                  </a:lnTo>
                  <a:lnTo>
                    <a:pt x="1404" y="876"/>
                  </a:lnTo>
                  <a:lnTo>
                    <a:pt x="1404" y="879"/>
                  </a:lnTo>
                  <a:lnTo>
                    <a:pt x="1402" y="880"/>
                  </a:lnTo>
                  <a:lnTo>
                    <a:pt x="1402" y="881"/>
                  </a:lnTo>
                  <a:lnTo>
                    <a:pt x="1401" y="881"/>
                  </a:lnTo>
                  <a:lnTo>
                    <a:pt x="1400" y="882"/>
                  </a:lnTo>
                  <a:lnTo>
                    <a:pt x="1399" y="883"/>
                  </a:lnTo>
                  <a:lnTo>
                    <a:pt x="1398" y="883"/>
                  </a:lnTo>
                  <a:lnTo>
                    <a:pt x="1398" y="884"/>
                  </a:lnTo>
                  <a:lnTo>
                    <a:pt x="1400" y="884"/>
                  </a:lnTo>
                  <a:lnTo>
                    <a:pt x="1401" y="886"/>
                  </a:lnTo>
                  <a:lnTo>
                    <a:pt x="1404" y="887"/>
                  </a:lnTo>
                  <a:lnTo>
                    <a:pt x="1405" y="890"/>
                  </a:lnTo>
                  <a:lnTo>
                    <a:pt x="1405" y="891"/>
                  </a:lnTo>
                  <a:lnTo>
                    <a:pt x="1404" y="892"/>
                  </a:lnTo>
                  <a:lnTo>
                    <a:pt x="1401" y="892"/>
                  </a:lnTo>
                  <a:lnTo>
                    <a:pt x="1399" y="892"/>
                  </a:lnTo>
                  <a:lnTo>
                    <a:pt x="1398" y="891"/>
                  </a:lnTo>
                  <a:lnTo>
                    <a:pt x="1396" y="891"/>
                  </a:lnTo>
                  <a:lnTo>
                    <a:pt x="1395" y="891"/>
                  </a:lnTo>
                  <a:lnTo>
                    <a:pt x="1393" y="892"/>
                  </a:lnTo>
                  <a:lnTo>
                    <a:pt x="1390" y="893"/>
                  </a:lnTo>
                  <a:lnTo>
                    <a:pt x="1389" y="894"/>
                  </a:lnTo>
                  <a:lnTo>
                    <a:pt x="1388" y="896"/>
                  </a:lnTo>
                  <a:lnTo>
                    <a:pt x="1388" y="898"/>
                  </a:lnTo>
                  <a:lnTo>
                    <a:pt x="1389" y="901"/>
                  </a:lnTo>
                  <a:lnTo>
                    <a:pt x="1391" y="904"/>
                  </a:lnTo>
                  <a:lnTo>
                    <a:pt x="1394" y="905"/>
                  </a:lnTo>
                  <a:lnTo>
                    <a:pt x="1396" y="906"/>
                  </a:lnTo>
                  <a:lnTo>
                    <a:pt x="1397" y="907"/>
                  </a:lnTo>
                  <a:lnTo>
                    <a:pt x="1399" y="908"/>
                  </a:lnTo>
                  <a:lnTo>
                    <a:pt x="1400" y="911"/>
                  </a:lnTo>
                  <a:lnTo>
                    <a:pt x="1401" y="912"/>
                  </a:lnTo>
                  <a:lnTo>
                    <a:pt x="1400" y="913"/>
                  </a:lnTo>
                  <a:lnTo>
                    <a:pt x="1399" y="914"/>
                  </a:lnTo>
                  <a:lnTo>
                    <a:pt x="1396" y="915"/>
                  </a:lnTo>
                  <a:lnTo>
                    <a:pt x="1395" y="916"/>
                  </a:lnTo>
                  <a:lnTo>
                    <a:pt x="1394" y="918"/>
                  </a:lnTo>
                  <a:lnTo>
                    <a:pt x="1394" y="920"/>
                  </a:lnTo>
                  <a:lnTo>
                    <a:pt x="1395" y="923"/>
                  </a:lnTo>
                  <a:lnTo>
                    <a:pt x="1395" y="926"/>
                  </a:lnTo>
                  <a:lnTo>
                    <a:pt x="1396" y="928"/>
                  </a:lnTo>
                  <a:lnTo>
                    <a:pt x="1399" y="930"/>
                  </a:lnTo>
                  <a:lnTo>
                    <a:pt x="1400" y="933"/>
                  </a:lnTo>
                  <a:lnTo>
                    <a:pt x="1401" y="936"/>
                  </a:lnTo>
                  <a:lnTo>
                    <a:pt x="1401" y="939"/>
                  </a:lnTo>
                  <a:lnTo>
                    <a:pt x="1401" y="942"/>
                  </a:lnTo>
                  <a:lnTo>
                    <a:pt x="1400" y="946"/>
                  </a:lnTo>
                  <a:lnTo>
                    <a:pt x="1399" y="950"/>
                  </a:lnTo>
                  <a:lnTo>
                    <a:pt x="1397" y="953"/>
                  </a:lnTo>
                  <a:lnTo>
                    <a:pt x="1395" y="957"/>
                  </a:lnTo>
                  <a:lnTo>
                    <a:pt x="1391" y="959"/>
                  </a:lnTo>
                  <a:lnTo>
                    <a:pt x="1390" y="960"/>
                  </a:lnTo>
                  <a:lnTo>
                    <a:pt x="1390" y="963"/>
                  </a:lnTo>
                  <a:lnTo>
                    <a:pt x="1390" y="967"/>
                  </a:lnTo>
                  <a:lnTo>
                    <a:pt x="1389" y="970"/>
                  </a:lnTo>
                  <a:lnTo>
                    <a:pt x="1389" y="973"/>
                  </a:lnTo>
                  <a:lnTo>
                    <a:pt x="1390" y="975"/>
                  </a:lnTo>
                  <a:lnTo>
                    <a:pt x="1389" y="978"/>
                  </a:lnTo>
                  <a:lnTo>
                    <a:pt x="1388" y="979"/>
                  </a:lnTo>
                  <a:lnTo>
                    <a:pt x="1387" y="979"/>
                  </a:lnTo>
                  <a:lnTo>
                    <a:pt x="1385" y="979"/>
                  </a:lnTo>
                  <a:lnTo>
                    <a:pt x="1383" y="979"/>
                  </a:lnTo>
                  <a:lnTo>
                    <a:pt x="1380" y="980"/>
                  </a:lnTo>
                  <a:lnTo>
                    <a:pt x="1379" y="980"/>
                  </a:lnTo>
                  <a:lnTo>
                    <a:pt x="1377" y="981"/>
                  </a:lnTo>
                  <a:lnTo>
                    <a:pt x="1376" y="982"/>
                  </a:lnTo>
                  <a:lnTo>
                    <a:pt x="1376" y="985"/>
                  </a:lnTo>
                  <a:lnTo>
                    <a:pt x="1377" y="989"/>
                  </a:lnTo>
                  <a:lnTo>
                    <a:pt x="1378" y="991"/>
                  </a:lnTo>
                  <a:lnTo>
                    <a:pt x="1379" y="994"/>
                  </a:lnTo>
                  <a:lnTo>
                    <a:pt x="1380" y="996"/>
                  </a:lnTo>
                  <a:lnTo>
                    <a:pt x="1380" y="1000"/>
                  </a:lnTo>
                  <a:lnTo>
                    <a:pt x="1383" y="1010"/>
                  </a:lnTo>
                  <a:lnTo>
                    <a:pt x="1385" y="1020"/>
                  </a:lnTo>
                  <a:lnTo>
                    <a:pt x="1386" y="1023"/>
                  </a:lnTo>
                  <a:lnTo>
                    <a:pt x="1386" y="1025"/>
                  </a:lnTo>
                  <a:lnTo>
                    <a:pt x="1385" y="1027"/>
                  </a:lnTo>
                  <a:lnTo>
                    <a:pt x="1384" y="1029"/>
                  </a:lnTo>
                  <a:lnTo>
                    <a:pt x="1383" y="1032"/>
                  </a:lnTo>
                  <a:lnTo>
                    <a:pt x="1380" y="1035"/>
                  </a:lnTo>
                  <a:lnTo>
                    <a:pt x="1379" y="1038"/>
                  </a:lnTo>
                  <a:lnTo>
                    <a:pt x="1377" y="1042"/>
                  </a:lnTo>
                  <a:lnTo>
                    <a:pt x="1377" y="1045"/>
                  </a:lnTo>
                  <a:lnTo>
                    <a:pt x="1376" y="1048"/>
                  </a:lnTo>
                  <a:lnTo>
                    <a:pt x="1376" y="1053"/>
                  </a:lnTo>
                  <a:lnTo>
                    <a:pt x="1377" y="1057"/>
                  </a:lnTo>
                  <a:lnTo>
                    <a:pt x="1377" y="1062"/>
                  </a:lnTo>
                  <a:lnTo>
                    <a:pt x="1377" y="1070"/>
                  </a:lnTo>
                  <a:lnTo>
                    <a:pt x="1377" y="1077"/>
                  </a:lnTo>
                  <a:lnTo>
                    <a:pt x="1376" y="1081"/>
                  </a:lnTo>
                  <a:lnTo>
                    <a:pt x="1374" y="1083"/>
                  </a:lnTo>
                  <a:lnTo>
                    <a:pt x="1369" y="1081"/>
                  </a:lnTo>
                  <a:lnTo>
                    <a:pt x="1367" y="1079"/>
                  </a:lnTo>
                  <a:lnTo>
                    <a:pt x="1365" y="1077"/>
                  </a:lnTo>
                  <a:lnTo>
                    <a:pt x="1362" y="1077"/>
                  </a:lnTo>
                  <a:lnTo>
                    <a:pt x="1360" y="1077"/>
                  </a:lnTo>
                  <a:lnTo>
                    <a:pt x="1357" y="1079"/>
                  </a:lnTo>
                  <a:lnTo>
                    <a:pt x="1356" y="1080"/>
                  </a:lnTo>
                  <a:lnTo>
                    <a:pt x="1355" y="1082"/>
                  </a:lnTo>
                  <a:lnTo>
                    <a:pt x="1354" y="1083"/>
                  </a:lnTo>
                  <a:lnTo>
                    <a:pt x="1353" y="1084"/>
                  </a:lnTo>
                  <a:lnTo>
                    <a:pt x="1352" y="1086"/>
                  </a:lnTo>
                  <a:lnTo>
                    <a:pt x="1350" y="1086"/>
                  </a:lnTo>
                  <a:lnTo>
                    <a:pt x="1349" y="1083"/>
                  </a:lnTo>
                  <a:lnTo>
                    <a:pt x="1345" y="1081"/>
                  </a:lnTo>
                  <a:lnTo>
                    <a:pt x="1344" y="1079"/>
                  </a:lnTo>
                  <a:lnTo>
                    <a:pt x="1344" y="1077"/>
                  </a:lnTo>
                  <a:lnTo>
                    <a:pt x="1344" y="1073"/>
                  </a:lnTo>
                  <a:lnTo>
                    <a:pt x="1344" y="1071"/>
                  </a:lnTo>
                  <a:lnTo>
                    <a:pt x="1344" y="1068"/>
                  </a:lnTo>
                  <a:lnTo>
                    <a:pt x="1343" y="1066"/>
                  </a:lnTo>
                  <a:lnTo>
                    <a:pt x="1341" y="1065"/>
                  </a:lnTo>
                  <a:lnTo>
                    <a:pt x="1339" y="1064"/>
                  </a:lnTo>
                  <a:lnTo>
                    <a:pt x="1336" y="1062"/>
                  </a:lnTo>
                  <a:lnTo>
                    <a:pt x="1334" y="1062"/>
                  </a:lnTo>
                  <a:lnTo>
                    <a:pt x="1333" y="1061"/>
                  </a:lnTo>
                  <a:lnTo>
                    <a:pt x="1331" y="1060"/>
                  </a:lnTo>
                  <a:lnTo>
                    <a:pt x="1329" y="1058"/>
                  </a:lnTo>
                  <a:lnTo>
                    <a:pt x="1328" y="1057"/>
                  </a:lnTo>
                  <a:lnTo>
                    <a:pt x="1328" y="1054"/>
                  </a:lnTo>
                  <a:lnTo>
                    <a:pt x="1327" y="1050"/>
                  </a:lnTo>
                  <a:lnTo>
                    <a:pt x="1324" y="1048"/>
                  </a:lnTo>
                  <a:lnTo>
                    <a:pt x="1322" y="1047"/>
                  </a:lnTo>
                  <a:lnTo>
                    <a:pt x="1319" y="1046"/>
                  </a:lnTo>
                  <a:lnTo>
                    <a:pt x="1316" y="1046"/>
                  </a:lnTo>
                  <a:lnTo>
                    <a:pt x="1313" y="1046"/>
                  </a:lnTo>
                  <a:lnTo>
                    <a:pt x="1310" y="1046"/>
                  </a:lnTo>
                  <a:lnTo>
                    <a:pt x="1308" y="1046"/>
                  </a:lnTo>
                  <a:lnTo>
                    <a:pt x="1307" y="1047"/>
                  </a:lnTo>
                  <a:lnTo>
                    <a:pt x="1306" y="1048"/>
                  </a:lnTo>
                  <a:lnTo>
                    <a:pt x="1306" y="1049"/>
                  </a:lnTo>
                  <a:lnTo>
                    <a:pt x="1304" y="1051"/>
                  </a:lnTo>
                  <a:lnTo>
                    <a:pt x="1303" y="1053"/>
                  </a:lnTo>
                  <a:lnTo>
                    <a:pt x="1302" y="1055"/>
                  </a:lnTo>
                  <a:lnTo>
                    <a:pt x="1301" y="1056"/>
                  </a:lnTo>
                  <a:lnTo>
                    <a:pt x="1301" y="1055"/>
                  </a:lnTo>
                  <a:lnTo>
                    <a:pt x="1300" y="1054"/>
                  </a:lnTo>
                  <a:lnTo>
                    <a:pt x="1300" y="1051"/>
                  </a:lnTo>
                  <a:lnTo>
                    <a:pt x="1300" y="1048"/>
                  </a:lnTo>
                  <a:lnTo>
                    <a:pt x="1300" y="1046"/>
                  </a:lnTo>
                  <a:lnTo>
                    <a:pt x="1300" y="1045"/>
                  </a:lnTo>
                  <a:lnTo>
                    <a:pt x="1300" y="1044"/>
                  </a:lnTo>
                  <a:lnTo>
                    <a:pt x="1299" y="1040"/>
                  </a:lnTo>
                  <a:lnTo>
                    <a:pt x="1298" y="1038"/>
                  </a:lnTo>
                  <a:lnTo>
                    <a:pt x="1296" y="1037"/>
                  </a:lnTo>
                  <a:lnTo>
                    <a:pt x="1293" y="1035"/>
                  </a:lnTo>
                  <a:lnTo>
                    <a:pt x="1291" y="1034"/>
                  </a:lnTo>
                  <a:lnTo>
                    <a:pt x="1289" y="1033"/>
                  </a:lnTo>
                  <a:lnTo>
                    <a:pt x="1285" y="1031"/>
                  </a:lnTo>
                  <a:lnTo>
                    <a:pt x="1280" y="1026"/>
                  </a:lnTo>
                  <a:lnTo>
                    <a:pt x="1278" y="1022"/>
                  </a:lnTo>
                  <a:lnTo>
                    <a:pt x="1274" y="1012"/>
                  </a:lnTo>
                  <a:lnTo>
                    <a:pt x="1268" y="1003"/>
                  </a:lnTo>
                  <a:lnTo>
                    <a:pt x="1263" y="993"/>
                  </a:lnTo>
                  <a:lnTo>
                    <a:pt x="1259" y="982"/>
                  </a:lnTo>
                  <a:lnTo>
                    <a:pt x="1256" y="971"/>
                  </a:lnTo>
                  <a:lnTo>
                    <a:pt x="1252" y="961"/>
                  </a:lnTo>
                  <a:lnTo>
                    <a:pt x="1246" y="950"/>
                  </a:lnTo>
                  <a:lnTo>
                    <a:pt x="1240" y="939"/>
                  </a:lnTo>
                  <a:lnTo>
                    <a:pt x="1235" y="929"/>
                  </a:lnTo>
                  <a:lnTo>
                    <a:pt x="1234" y="917"/>
                  </a:lnTo>
                  <a:lnTo>
                    <a:pt x="1235" y="913"/>
                  </a:lnTo>
                  <a:lnTo>
                    <a:pt x="1237" y="907"/>
                  </a:lnTo>
                  <a:lnTo>
                    <a:pt x="1241" y="901"/>
                  </a:lnTo>
                  <a:lnTo>
                    <a:pt x="1242" y="895"/>
                  </a:lnTo>
                  <a:lnTo>
                    <a:pt x="1242" y="891"/>
                  </a:lnTo>
                  <a:lnTo>
                    <a:pt x="1238" y="889"/>
                  </a:lnTo>
                  <a:lnTo>
                    <a:pt x="1235" y="889"/>
                  </a:lnTo>
                  <a:lnTo>
                    <a:pt x="1233" y="891"/>
                  </a:lnTo>
                  <a:lnTo>
                    <a:pt x="1232" y="892"/>
                  </a:lnTo>
                  <a:lnTo>
                    <a:pt x="1230" y="895"/>
                  </a:lnTo>
                  <a:lnTo>
                    <a:pt x="1229" y="897"/>
                  </a:lnTo>
                  <a:lnTo>
                    <a:pt x="1227" y="900"/>
                  </a:lnTo>
                  <a:lnTo>
                    <a:pt x="1226" y="901"/>
                  </a:lnTo>
                  <a:lnTo>
                    <a:pt x="1225" y="903"/>
                  </a:lnTo>
                  <a:lnTo>
                    <a:pt x="1224" y="904"/>
                  </a:lnTo>
                  <a:lnTo>
                    <a:pt x="1223" y="905"/>
                  </a:lnTo>
                  <a:lnTo>
                    <a:pt x="1221" y="905"/>
                  </a:lnTo>
                  <a:lnTo>
                    <a:pt x="1219" y="904"/>
                  </a:lnTo>
                  <a:lnTo>
                    <a:pt x="1218" y="894"/>
                  </a:lnTo>
                  <a:lnTo>
                    <a:pt x="1219" y="884"/>
                  </a:lnTo>
                  <a:lnTo>
                    <a:pt x="1215" y="871"/>
                  </a:lnTo>
                  <a:lnTo>
                    <a:pt x="1212" y="860"/>
                  </a:lnTo>
                  <a:lnTo>
                    <a:pt x="1210" y="852"/>
                  </a:lnTo>
                  <a:lnTo>
                    <a:pt x="1208" y="847"/>
                  </a:lnTo>
                  <a:lnTo>
                    <a:pt x="1203" y="840"/>
                  </a:lnTo>
                  <a:lnTo>
                    <a:pt x="1190" y="820"/>
                  </a:lnTo>
                  <a:lnTo>
                    <a:pt x="1188" y="817"/>
                  </a:lnTo>
                  <a:lnTo>
                    <a:pt x="1188" y="814"/>
                  </a:lnTo>
                  <a:lnTo>
                    <a:pt x="1188" y="810"/>
                  </a:lnTo>
                  <a:lnTo>
                    <a:pt x="1189" y="807"/>
                  </a:lnTo>
                  <a:lnTo>
                    <a:pt x="1190" y="803"/>
                  </a:lnTo>
                  <a:lnTo>
                    <a:pt x="1191" y="800"/>
                  </a:lnTo>
                  <a:lnTo>
                    <a:pt x="1192" y="798"/>
                  </a:lnTo>
                  <a:lnTo>
                    <a:pt x="1193" y="797"/>
                  </a:lnTo>
                  <a:lnTo>
                    <a:pt x="1194" y="795"/>
                  </a:lnTo>
                  <a:lnTo>
                    <a:pt x="1194" y="793"/>
                  </a:lnTo>
                  <a:lnTo>
                    <a:pt x="1190" y="792"/>
                  </a:lnTo>
                  <a:lnTo>
                    <a:pt x="1186" y="789"/>
                  </a:lnTo>
                  <a:lnTo>
                    <a:pt x="1181" y="787"/>
                  </a:lnTo>
                  <a:lnTo>
                    <a:pt x="1179" y="784"/>
                  </a:lnTo>
                  <a:lnTo>
                    <a:pt x="1178" y="782"/>
                  </a:lnTo>
                  <a:lnTo>
                    <a:pt x="1177" y="781"/>
                  </a:lnTo>
                  <a:lnTo>
                    <a:pt x="1177" y="780"/>
                  </a:lnTo>
                  <a:lnTo>
                    <a:pt x="1177" y="778"/>
                  </a:lnTo>
                  <a:lnTo>
                    <a:pt x="1178" y="778"/>
                  </a:lnTo>
                  <a:lnTo>
                    <a:pt x="1179" y="780"/>
                  </a:lnTo>
                  <a:lnTo>
                    <a:pt x="1181" y="778"/>
                  </a:lnTo>
                  <a:lnTo>
                    <a:pt x="1183" y="778"/>
                  </a:lnTo>
                  <a:lnTo>
                    <a:pt x="1184" y="776"/>
                  </a:lnTo>
                  <a:lnTo>
                    <a:pt x="1184" y="775"/>
                  </a:lnTo>
                  <a:lnTo>
                    <a:pt x="1183" y="773"/>
                  </a:lnTo>
                  <a:lnTo>
                    <a:pt x="1181" y="770"/>
                  </a:lnTo>
                  <a:lnTo>
                    <a:pt x="1181" y="767"/>
                  </a:lnTo>
                  <a:lnTo>
                    <a:pt x="1180" y="765"/>
                  </a:lnTo>
                  <a:lnTo>
                    <a:pt x="1180" y="762"/>
                  </a:lnTo>
                  <a:lnTo>
                    <a:pt x="1179" y="760"/>
                  </a:lnTo>
                  <a:lnTo>
                    <a:pt x="1177" y="758"/>
                  </a:lnTo>
                  <a:lnTo>
                    <a:pt x="1176" y="756"/>
                  </a:lnTo>
                  <a:lnTo>
                    <a:pt x="1173" y="754"/>
                  </a:lnTo>
                  <a:lnTo>
                    <a:pt x="1173" y="752"/>
                  </a:lnTo>
                  <a:lnTo>
                    <a:pt x="1173" y="750"/>
                  </a:lnTo>
                  <a:lnTo>
                    <a:pt x="1175" y="749"/>
                  </a:lnTo>
                  <a:lnTo>
                    <a:pt x="1178" y="745"/>
                  </a:lnTo>
                  <a:lnTo>
                    <a:pt x="1181" y="744"/>
                  </a:lnTo>
                  <a:lnTo>
                    <a:pt x="1183" y="743"/>
                  </a:lnTo>
                  <a:lnTo>
                    <a:pt x="1186" y="742"/>
                  </a:lnTo>
                  <a:lnTo>
                    <a:pt x="1188" y="740"/>
                  </a:lnTo>
                  <a:lnTo>
                    <a:pt x="1190" y="739"/>
                  </a:lnTo>
                  <a:lnTo>
                    <a:pt x="1193" y="739"/>
                  </a:lnTo>
                  <a:lnTo>
                    <a:pt x="1196" y="739"/>
                  </a:lnTo>
                  <a:lnTo>
                    <a:pt x="1199" y="740"/>
                  </a:lnTo>
                  <a:lnTo>
                    <a:pt x="1202" y="742"/>
                  </a:lnTo>
                  <a:lnTo>
                    <a:pt x="1205" y="742"/>
                  </a:lnTo>
                  <a:lnTo>
                    <a:pt x="1209" y="742"/>
                  </a:lnTo>
                  <a:lnTo>
                    <a:pt x="1213" y="742"/>
                  </a:lnTo>
                  <a:lnTo>
                    <a:pt x="1216" y="742"/>
                  </a:lnTo>
                  <a:lnTo>
                    <a:pt x="1219" y="743"/>
                  </a:lnTo>
                  <a:lnTo>
                    <a:pt x="1221" y="746"/>
                  </a:lnTo>
                  <a:lnTo>
                    <a:pt x="1223" y="749"/>
                  </a:lnTo>
                  <a:lnTo>
                    <a:pt x="1225" y="750"/>
                  </a:lnTo>
                  <a:lnTo>
                    <a:pt x="1227" y="751"/>
                  </a:lnTo>
                  <a:lnTo>
                    <a:pt x="1230" y="751"/>
                  </a:lnTo>
                  <a:lnTo>
                    <a:pt x="1230" y="750"/>
                  </a:lnTo>
                  <a:lnTo>
                    <a:pt x="1230" y="749"/>
                  </a:lnTo>
                  <a:lnTo>
                    <a:pt x="1229" y="746"/>
                  </a:lnTo>
                  <a:lnTo>
                    <a:pt x="1227" y="744"/>
                  </a:lnTo>
                  <a:lnTo>
                    <a:pt x="1225" y="742"/>
                  </a:lnTo>
                  <a:lnTo>
                    <a:pt x="1223" y="741"/>
                  </a:lnTo>
                  <a:lnTo>
                    <a:pt x="1221" y="740"/>
                  </a:lnTo>
                  <a:lnTo>
                    <a:pt x="1220" y="739"/>
                  </a:lnTo>
                  <a:lnTo>
                    <a:pt x="1219" y="737"/>
                  </a:lnTo>
                  <a:lnTo>
                    <a:pt x="1218" y="734"/>
                  </a:lnTo>
                  <a:lnTo>
                    <a:pt x="1218" y="732"/>
                  </a:lnTo>
                  <a:lnTo>
                    <a:pt x="1216" y="730"/>
                  </a:lnTo>
                  <a:lnTo>
                    <a:pt x="1214" y="729"/>
                  </a:lnTo>
                  <a:lnTo>
                    <a:pt x="1209" y="729"/>
                  </a:lnTo>
                  <a:lnTo>
                    <a:pt x="1202" y="731"/>
                  </a:lnTo>
                  <a:lnTo>
                    <a:pt x="1197" y="732"/>
                  </a:lnTo>
                  <a:lnTo>
                    <a:pt x="1192" y="731"/>
                  </a:lnTo>
                  <a:lnTo>
                    <a:pt x="1191" y="728"/>
                  </a:lnTo>
                  <a:lnTo>
                    <a:pt x="1191" y="726"/>
                  </a:lnTo>
                  <a:lnTo>
                    <a:pt x="1192" y="724"/>
                  </a:lnTo>
                  <a:lnTo>
                    <a:pt x="1193" y="722"/>
                  </a:lnTo>
                  <a:lnTo>
                    <a:pt x="1197" y="721"/>
                  </a:lnTo>
                  <a:lnTo>
                    <a:pt x="1199" y="721"/>
                  </a:lnTo>
                  <a:lnTo>
                    <a:pt x="1201" y="720"/>
                  </a:lnTo>
                  <a:lnTo>
                    <a:pt x="1203" y="720"/>
                  </a:lnTo>
                  <a:lnTo>
                    <a:pt x="1205" y="720"/>
                  </a:lnTo>
                  <a:lnTo>
                    <a:pt x="1209" y="720"/>
                  </a:lnTo>
                  <a:lnTo>
                    <a:pt x="1210" y="719"/>
                  </a:lnTo>
                  <a:lnTo>
                    <a:pt x="1211" y="717"/>
                  </a:lnTo>
                  <a:lnTo>
                    <a:pt x="1211" y="716"/>
                  </a:lnTo>
                  <a:lnTo>
                    <a:pt x="1211" y="713"/>
                  </a:lnTo>
                  <a:lnTo>
                    <a:pt x="1210" y="711"/>
                  </a:lnTo>
                  <a:lnTo>
                    <a:pt x="1210" y="709"/>
                  </a:lnTo>
                  <a:lnTo>
                    <a:pt x="1209" y="707"/>
                  </a:lnTo>
                  <a:lnTo>
                    <a:pt x="1210" y="705"/>
                  </a:lnTo>
                  <a:lnTo>
                    <a:pt x="1210" y="704"/>
                  </a:lnTo>
                  <a:lnTo>
                    <a:pt x="1212" y="702"/>
                  </a:lnTo>
                  <a:lnTo>
                    <a:pt x="1214" y="701"/>
                  </a:lnTo>
                  <a:lnTo>
                    <a:pt x="1215" y="698"/>
                  </a:lnTo>
                  <a:lnTo>
                    <a:pt x="1216" y="696"/>
                  </a:lnTo>
                  <a:lnTo>
                    <a:pt x="1216" y="693"/>
                  </a:lnTo>
                  <a:lnTo>
                    <a:pt x="1216" y="689"/>
                  </a:lnTo>
                  <a:lnTo>
                    <a:pt x="1216" y="687"/>
                  </a:lnTo>
                  <a:lnTo>
                    <a:pt x="1219" y="684"/>
                  </a:lnTo>
                  <a:lnTo>
                    <a:pt x="1220" y="679"/>
                  </a:lnTo>
                  <a:lnTo>
                    <a:pt x="1220" y="675"/>
                  </a:lnTo>
                  <a:lnTo>
                    <a:pt x="1219" y="669"/>
                  </a:lnTo>
                  <a:lnTo>
                    <a:pt x="1218" y="663"/>
                  </a:lnTo>
                  <a:lnTo>
                    <a:pt x="1213" y="657"/>
                  </a:lnTo>
                  <a:lnTo>
                    <a:pt x="1207" y="654"/>
                  </a:lnTo>
                  <a:lnTo>
                    <a:pt x="1199" y="654"/>
                  </a:lnTo>
                  <a:lnTo>
                    <a:pt x="1198" y="654"/>
                  </a:lnTo>
                  <a:lnTo>
                    <a:pt x="1196" y="654"/>
                  </a:lnTo>
                  <a:lnTo>
                    <a:pt x="1193" y="654"/>
                  </a:lnTo>
                  <a:lnTo>
                    <a:pt x="1191" y="654"/>
                  </a:lnTo>
                  <a:lnTo>
                    <a:pt x="1189" y="654"/>
                  </a:lnTo>
                  <a:lnTo>
                    <a:pt x="1187" y="655"/>
                  </a:lnTo>
                  <a:lnTo>
                    <a:pt x="1186" y="655"/>
                  </a:lnTo>
                  <a:lnTo>
                    <a:pt x="1184" y="656"/>
                  </a:lnTo>
                  <a:lnTo>
                    <a:pt x="1183" y="657"/>
                  </a:lnTo>
                  <a:lnTo>
                    <a:pt x="1184" y="658"/>
                  </a:lnTo>
                  <a:lnTo>
                    <a:pt x="1186" y="661"/>
                  </a:lnTo>
                  <a:lnTo>
                    <a:pt x="1188" y="663"/>
                  </a:lnTo>
                  <a:lnTo>
                    <a:pt x="1192" y="667"/>
                  </a:lnTo>
                  <a:lnTo>
                    <a:pt x="1196" y="673"/>
                  </a:lnTo>
                  <a:lnTo>
                    <a:pt x="1197" y="677"/>
                  </a:lnTo>
                  <a:lnTo>
                    <a:pt x="1196" y="680"/>
                  </a:lnTo>
                  <a:lnTo>
                    <a:pt x="1190" y="683"/>
                  </a:lnTo>
                  <a:lnTo>
                    <a:pt x="1175" y="683"/>
                  </a:lnTo>
                  <a:lnTo>
                    <a:pt x="1172" y="684"/>
                  </a:lnTo>
                  <a:lnTo>
                    <a:pt x="1169" y="685"/>
                  </a:lnTo>
                  <a:lnTo>
                    <a:pt x="1168" y="685"/>
                  </a:lnTo>
                  <a:lnTo>
                    <a:pt x="1166" y="685"/>
                  </a:lnTo>
                  <a:lnTo>
                    <a:pt x="1164" y="684"/>
                  </a:lnTo>
                  <a:lnTo>
                    <a:pt x="1161" y="680"/>
                  </a:lnTo>
                  <a:lnTo>
                    <a:pt x="1160" y="679"/>
                  </a:lnTo>
                  <a:lnTo>
                    <a:pt x="1160" y="677"/>
                  </a:lnTo>
                  <a:lnTo>
                    <a:pt x="1160" y="675"/>
                  </a:lnTo>
                  <a:lnTo>
                    <a:pt x="1160" y="674"/>
                  </a:lnTo>
                  <a:lnTo>
                    <a:pt x="1159" y="672"/>
                  </a:lnTo>
                  <a:lnTo>
                    <a:pt x="1158" y="671"/>
                  </a:lnTo>
                  <a:lnTo>
                    <a:pt x="1155" y="669"/>
                  </a:lnTo>
                  <a:lnTo>
                    <a:pt x="1153" y="669"/>
                  </a:lnTo>
                  <a:lnTo>
                    <a:pt x="1150" y="667"/>
                  </a:lnTo>
                  <a:lnTo>
                    <a:pt x="1148" y="665"/>
                  </a:lnTo>
                  <a:lnTo>
                    <a:pt x="1147" y="662"/>
                  </a:lnTo>
                  <a:lnTo>
                    <a:pt x="1146" y="660"/>
                  </a:lnTo>
                  <a:lnTo>
                    <a:pt x="1146" y="656"/>
                  </a:lnTo>
                  <a:lnTo>
                    <a:pt x="1146" y="653"/>
                  </a:lnTo>
                  <a:lnTo>
                    <a:pt x="1147" y="649"/>
                  </a:lnTo>
                  <a:lnTo>
                    <a:pt x="1147" y="645"/>
                  </a:lnTo>
                  <a:lnTo>
                    <a:pt x="1148" y="641"/>
                  </a:lnTo>
                  <a:lnTo>
                    <a:pt x="1150" y="640"/>
                  </a:lnTo>
                  <a:lnTo>
                    <a:pt x="1151" y="639"/>
                  </a:lnTo>
                  <a:lnTo>
                    <a:pt x="1154" y="636"/>
                  </a:lnTo>
                  <a:lnTo>
                    <a:pt x="1155" y="635"/>
                  </a:lnTo>
                  <a:lnTo>
                    <a:pt x="1155" y="633"/>
                  </a:lnTo>
                  <a:lnTo>
                    <a:pt x="1155" y="629"/>
                  </a:lnTo>
                  <a:lnTo>
                    <a:pt x="1153" y="623"/>
                  </a:lnTo>
                  <a:lnTo>
                    <a:pt x="1150" y="618"/>
                  </a:lnTo>
                  <a:lnTo>
                    <a:pt x="1149" y="612"/>
                  </a:lnTo>
                  <a:lnTo>
                    <a:pt x="1150" y="609"/>
                  </a:lnTo>
                  <a:lnTo>
                    <a:pt x="1155" y="609"/>
                  </a:lnTo>
                  <a:lnTo>
                    <a:pt x="1158" y="609"/>
                  </a:lnTo>
                  <a:lnTo>
                    <a:pt x="1161" y="611"/>
                  </a:lnTo>
                  <a:lnTo>
                    <a:pt x="1165" y="613"/>
                  </a:lnTo>
                  <a:lnTo>
                    <a:pt x="1168" y="615"/>
                  </a:lnTo>
                  <a:lnTo>
                    <a:pt x="1172" y="618"/>
                  </a:lnTo>
                  <a:lnTo>
                    <a:pt x="1176" y="619"/>
                  </a:lnTo>
                  <a:lnTo>
                    <a:pt x="1179" y="620"/>
                  </a:lnTo>
                  <a:lnTo>
                    <a:pt x="1182" y="621"/>
                  </a:lnTo>
                  <a:lnTo>
                    <a:pt x="1186" y="622"/>
                  </a:lnTo>
                  <a:lnTo>
                    <a:pt x="1188" y="622"/>
                  </a:lnTo>
                  <a:lnTo>
                    <a:pt x="1191" y="623"/>
                  </a:lnTo>
                  <a:lnTo>
                    <a:pt x="1193" y="624"/>
                  </a:lnTo>
                  <a:lnTo>
                    <a:pt x="1197" y="625"/>
                  </a:lnTo>
                  <a:lnTo>
                    <a:pt x="1199" y="626"/>
                  </a:lnTo>
                  <a:lnTo>
                    <a:pt x="1201" y="628"/>
                  </a:lnTo>
                  <a:lnTo>
                    <a:pt x="1202" y="628"/>
                  </a:lnTo>
                  <a:lnTo>
                    <a:pt x="1203" y="626"/>
                  </a:lnTo>
                  <a:lnTo>
                    <a:pt x="1204" y="625"/>
                  </a:lnTo>
                  <a:lnTo>
                    <a:pt x="1204" y="623"/>
                  </a:lnTo>
                  <a:lnTo>
                    <a:pt x="1203" y="620"/>
                  </a:lnTo>
                  <a:lnTo>
                    <a:pt x="1202" y="614"/>
                  </a:lnTo>
                  <a:lnTo>
                    <a:pt x="1200" y="611"/>
                  </a:lnTo>
                  <a:lnTo>
                    <a:pt x="1198" y="609"/>
                  </a:lnTo>
                  <a:lnTo>
                    <a:pt x="1194" y="607"/>
                  </a:lnTo>
                  <a:lnTo>
                    <a:pt x="1190" y="604"/>
                  </a:lnTo>
                  <a:lnTo>
                    <a:pt x="1188" y="602"/>
                  </a:lnTo>
                  <a:lnTo>
                    <a:pt x="1186" y="600"/>
                  </a:lnTo>
                  <a:lnTo>
                    <a:pt x="1183" y="598"/>
                  </a:lnTo>
                  <a:lnTo>
                    <a:pt x="1183" y="595"/>
                  </a:lnTo>
                  <a:lnTo>
                    <a:pt x="1183" y="592"/>
                  </a:lnTo>
                  <a:lnTo>
                    <a:pt x="1182" y="590"/>
                  </a:lnTo>
                  <a:lnTo>
                    <a:pt x="1180" y="588"/>
                  </a:lnTo>
                  <a:lnTo>
                    <a:pt x="1177" y="587"/>
                  </a:lnTo>
                  <a:lnTo>
                    <a:pt x="1176" y="587"/>
                  </a:lnTo>
                  <a:lnTo>
                    <a:pt x="1173" y="587"/>
                  </a:lnTo>
                  <a:lnTo>
                    <a:pt x="1171" y="587"/>
                  </a:lnTo>
                  <a:lnTo>
                    <a:pt x="1170" y="587"/>
                  </a:lnTo>
                  <a:lnTo>
                    <a:pt x="1168" y="587"/>
                  </a:lnTo>
                  <a:lnTo>
                    <a:pt x="1167" y="586"/>
                  </a:lnTo>
                  <a:lnTo>
                    <a:pt x="1166" y="585"/>
                  </a:lnTo>
                  <a:lnTo>
                    <a:pt x="1166" y="582"/>
                  </a:lnTo>
                  <a:lnTo>
                    <a:pt x="1166" y="580"/>
                  </a:lnTo>
                  <a:lnTo>
                    <a:pt x="1167" y="578"/>
                  </a:lnTo>
                  <a:lnTo>
                    <a:pt x="1167" y="576"/>
                  </a:lnTo>
                  <a:lnTo>
                    <a:pt x="1167" y="574"/>
                  </a:lnTo>
                  <a:lnTo>
                    <a:pt x="1166" y="573"/>
                  </a:lnTo>
                  <a:lnTo>
                    <a:pt x="1164" y="571"/>
                  </a:lnTo>
                  <a:lnTo>
                    <a:pt x="1161" y="570"/>
                  </a:lnTo>
                  <a:lnTo>
                    <a:pt x="1158" y="569"/>
                  </a:lnTo>
                  <a:lnTo>
                    <a:pt x="1155" y="569"/>
                  </a:lnTo>
                  <a:lnTo>
                    <a:pt x="1153" y="570"/>
                  </a:lnTo>
                  <a:lnTo>
                    <a:pt x="1150" y="571"/>
                  </a:lnTo>
                  <a:lnTo>
                    <a:pt x="1149" y="571"/>
                  </a:lnTo>
                  <a:lnTo>
                    <a:pt x="1148" y="573"/>
                  </a:lnTo>
                  <a:lnTo>
                    <a:pt x="1148" y="574"/>
                  </a:lnTo>
                  <a:lnTo>
                    <a:pt x="1148" y="576"/>
                  </a:lnTo>
                  <a:lnTo>
                    <a:pt x="1148" y="578"/>
                  </a:lnTo>
                  <a:lnTo>
                    <a:pt x="1148" y="580"/>
                  </a:lnTo>
                  <a:lnTo>
                    <a:pt x="1148" y="584"/>
                  </a:lnTo>
                  <a:lnTo>
                    <a:pt x="1147" y="586"/>
                  </a:lnTo>
                  <a:lnTo>
                    <a:pt x="1145" y="587"/>
                  </a:lnTo>
                  <a:lnTo>
                    <a:pt x="1142" y="587"/>
                  </a:lnTo>
                  <a:lnTo>
                    <a:pt x="1138" y="586"/>
                  </a:lnTo>
                  <a:lnTo>
                    <a:pt x="1135" y="584"/>
                  </a:lnTo>
                  <a:lnTo>
                    <a:pt x="1131" y="580"/>
                  </a:lnTo>
                  <a:lnTo>
                    <a:pt x="1128" y="578"/>
                  </a:lnTo>
                  <a:lnTo>
                    <a:pt x="1127" y="576"/>
                  </a:lnTo>
                  <a:lnTo>
                    <a:pt x="1127" y="574"/>
                  </a:lnTo>
                  <a:lnTo>
                    <a:pt x="1127" y="571"/>
                  </a:lnTo>
                  <a:lnTo>
                    <a:pt x="1127" y="569"/>
                  </a:lnTo>
                  <a:lnTo>
                    <a:pt x="1126" y="567"/>
                  </a:lnTo>
                  <a:lnTo>
                    <a:pt x="1126" y="564"/>
                  </a:lnTo>
                  <a:lnTo>
                    <a:pt x="1125" y="560"/>
                  </a:lnTo>
                  <a:lnTo>
                    <a:pt x="1124" y="558"/>
                  </a:lnTo>
                  <a:lnTo>
                    <a:pt x="1123" y="556"/>
                  </a:lnTo>
                  <a:lnTo>
                    <a:pt x="1122" y="554"/>
                  </a:lnTo>
                  <a:lnTo>
                    <a:pt x="1122" y="551"/>
                  </a:lnTo>
                  <a:lnTo>
                    <a:pt x="1122" y="548"/>
                  </a:lnTo>
                  <a:lnTo>
                    <a:pt x="1122" y="547"/>
                  </a:lnTo>
                  <a:lnTo>
                    <a:pt x="1123" y="545"/>
                  </a:lnTo>
                  <a:lnTo>
                    <a:pt x="1124" y="544"/>
                  </a:lnTo>
                  <a:lnTo>
                    <a:pt x="1126" y="543"/>
                  </a:lnTo>
                  <a:lnTo>
                    <a:pt x="1127" y="542"/>
                  </a:lnTo>
                  <a:lnTo>
                    <a:pt x="1127" y="541"/>
                  </a:lnTo>
                  <a:lnTo>
                    <a:pt x="1127" y="538"/>
                  </a:lnTo>
                  <a:lnTo>
                    <a:pt x="1126" y="536"/>
                  </a:lnTo>
                  <a:lnTo>
                    <a:pt x="1125" y="535"/>
                  </a:lnTo>
                  <a:lnTo>
                    <a:pt x="1123" y="533"/>
                  </a:lnTo>
                  <a:lnTo>
                    <a:pt x="1122" y="531"/>
                  </a:lnTo>
                  <a:lnTo>
                    <a:pt x="1120" y="529"/>
                  </a:lnTo>
                  <a:lnTo>
                    <a:pt x="1118" y="526"/>
                  </a:lnTo>
                  <a:lnTo>
                    <a:pt x="1117" y="525"/>
                  </a:lnTo>
                  <a:lnTo>
                    <a:pt x="1120" y="523"/>
                  </a:lnTo>
                  <a:lnTo>
                    <a:pt x="1122" y="522"/>
                  </a:lnTo>
                  <a:lnTo>
                    <a:pt x="1123" y="521"/>
                  </a:lnTo>
                  <a:lnTo>
                    <a:pt x="1125" y="520"/>
                  </a:lnTo>
                  <a:lnTo>
                    <a:pt x="1126" y="519"/>
                  </a:lnTo>
                  <a:lnTo>
                    <a:pt x="1128" y="516"/>
                  </a:lnTo>
                  <a:lnTo>
                    <a:pt x="1129" y="513"/>
                  </a:lnTo>
                  <a:lnTo>
                    <a:pt x="1128" y="512"/>
                  </a:lnTo>
                  <a:lnTo>
                    <a:pt x="1127" y="510"/>
                  </a:lnTo>
                  <a:lnTo>
                    <a:pt x="1125" y="509"/>
                  </a:lnTo>
                  <a:lnTo>
                    <a:pt x="1122" y="508"/>
                  </a:lnTo>
                  <a:lnTo>
                    <a:pt x="1118" y="506"/>
                  </a:lnTo>
                  <a:lnTo>
                    <a:pt x="1116" y="505"/>
                  </a:lnTo>
                  <a:lnTo>
                    <a:pt x="1115" y="504"/>
                  </a:lnTo>
                  <a:lnTo>
                    <a:pt x="1115" y="502"/>
                  </a:lnTo>
                  <a:lnTo>
                    <a:pt x="1115" y="500"/>
                  </a:lnTo>
                  <a:lnTo>
                    <a:pt x="1115" y="498"/>
                  </a:lnTo>
                  <a:lnTo>
                    <a:pt x="1116" y="495"/>
                  </a:lnTo>
                  <a:lnTo>
                    <a:pt x="1116" y="494"/>
                  </a:lnTo>
                  <a:lnTo>
                    <a:pt x="1115" y="492"/>
                  </a:lnTo>
                  <a:lnTo>
                    <a:pt x="1114" y="489"/>
                  </a:lnTo>
                  <a:lnTo>
                    <a:pt x="1112" y="486"/>
                  </a:lnTo>
                  <a:lnTo>
                    <a:pt x="1109" y="483"/>
                  </a:lnTo>
                  <a:lnTo>
                    <a:pt x="1105" y="481"/>
                  </a:lnTo>
                  <a:lnTo>
                    <a:pt x="1103" y="479"/>
                  </a:lnTo>
                  <a:lnTo>
                    <a:pt x="1099" y="478"/>
                  </a:lnTo>
                  <a:lnTo>
                    <a:pt x="1098" y="477"/>
                  </a:lnTo>
                  <a:lnTo>
                    <a:pt x="1098" y="476"/>
                  </a:lnTo>
                  <a:lnTo>
                    <a:pt x="1098" y="475"/>
                  </a:lnTo>
                  <a:lnTo>
                    <a:pt x="1098" y="472"/>
                  </a:lnTo>
                  <a:lnTo>
                    <a:pt x="1099" y="470"/>
                  </a:lnTo>
                  <a:lnTo>
                    <a:pt x="1099" y="466"/>
                  </a:lnTo>
                  <a:lnTo>
                    <a:pt x="1099" y="461"/>
                  </a:lnTo>
                  <a:lnTo>
                    <a:pt x="1098" y="457"/>
                  </a:lnTo>
                  <a:lnTo>
                    <a:pt x="1096" y="454"/>
                  </a:lnTo>
                  <a:lnTo>
                    <a:pt x="1094" y="448"/>
                  </a:lnTo>
                  <a:lnTo>
                    <a:pt x="1093" y="445"/>
                  </a:lnTo>
                  <a:lnTo>
                    <a:pt x="1092" y="442"/>
                  </a:lnTo>
                  <a:lnTo>
                    <a:pt x="1090" y="438"/>
                  </a:lnTo>
                  <a:lnTo>
                    <a:pt x="1089" y="435"/>
                  </a:lnTo>
                  <a:lnTo>
                    <a:pt x="1088" y="433"/>
                  </a:lnTo>
                  <a:lnTo>
                    <a:pt x="1084" y="431"/>
                  </a:lnTo>
                  <a:lnTo>
                    <a:pt x="1081" y="429"/>
                  </a:lnTo>
                  <a:lnTo>
                    <a:pt x="1079" y="427"/>
                  </a:lnTo>
                  <a:lnTo>
                    <a:pt x="1078" y="425"/>
                  </a:lnTo>
                  <a:lnTo>
                    <a:pt x="1076" y="423"/>
                  </a:lnTo>
                  <a:lnTo>
                    <a:pt x="1073" y="420"/>
                  </a:lnTo>
                  <a:lnTo>
                    <a:pt x="1072" y="418"/>
                  </a:lnTo>
                  <a:lnTo>
                    <a:pt x="1070" y="415"/>
                  </a:lnTo>
                  <a:lnTo>
                    <a:pt x="1066" y="412"/>
                  </a:lnTo>
                  <a:lnTo>
                    <a:pt x="1062" y="409"/>
                  </a:lnTo>
                  <a:lnTo>
                    <a:pt x="1059" y="405"/>
                  </a:lnTo>
                  <a:lnTo>
                    <a:pt x="1057" y="401"/>
                  </a:lnTo>
                  <a:lnTo>
                    <a:pt x="1055" y="396"/>
                  </a:lnTo>
                  <a:lnTo>
                    <a:pt x="1055" y="392"/>
                  </a:lnTo>
                  <a:lnTo>
                    <a:pt x="1049" y="382"/>
                  </a:lnTo>
                  <a:lnTo>
                    <a:pt x="1041" y="372"/>
                  </a:lnTo>
                  <a:lnTo>
                    <a:pt x="1033" y="366"/>
                  </a:lnTo>
                  <a:lnTo>
                    <a:pt x="1020" y="359"/>
                  </a:lnTo>
                  <a:lnTo>
                    <a:pt x="1008" y="355"/>
                  </a:lnTo>
                  <a:lnTo>
                    <a:pt x="1005" y="352"/>
                  </a:lnTo>
                  <a:lnTo>
                    <a:pt x="1002" y="351"/>
                  </a:lnTo>
                  <a:lnTo>
                    <a:pt x="997" y="350"/>
                  </a:lnTo>
                  <a:lnTo>
                    <a:pt x="994" y="349"/>
                  </a:lnTo>
                  <a:lnTo>
                    <a:pt x="991" y="348"/>
                  </a:lnTo>
                  <a:lnTo>
                    <a:pt x="987" y="346"/>
                  </a:lnTo>
                  <a:lnTo>
                    <a:pt x="983" y="344"/>
                  </a:lnTo>
                  <a:lnTo>
                    <a:pt x="979" y="341"/>
                  </a:lnTo>
                  <a:lnTo>
                    <a:pt x="975" y="339"/>
                  </a:lnTo>
                  <a:lnTo>
                    <a:pt x="973" y="339"/>
                  </a:lnTo>
                  <a:lnTo>
                    <a:pt x="970" y="338"/>
                  </a:lnTo>
                  <a:lnTo>
                    <a:pt x="967" y="337"/>
                  </a:lnTo>
                  <a:lnTo>
                    <a:pt x="964" y="336"/>
                  </a:lnTo>
                  <a:lnTo>
                    <a:pt x="962" y="336"/>
                  </a:lnTo>
                  <a:lnTo>
                    <a:pt x="960" y="335"/>
                  </a:lnTo>
                  <a:lnTo>
                    <a:pt x="959" y="337"/>
                  </a:lnTo>
                  <a:lnTo>
                    <a:pt x="960" y="338"/>
                  </a:lnTo>
                  <a:lnTo>
                    <a:pt x="961" y="340"/>
                  </a:lnTo>
                  <a:lnTo>
                    <a:pt x="963" y="342"/>
                  </a:lnTo>
                  <a:lnTo>
                    <a:pt x="964" y="344"/>
                  </a:lnTo>
                  <a:lnTo>
                    <a:pt x="964" y="345"/>
                  </a:lnTo>
                  <a:lnTo>
                    <a:pt x="962" y="346"/>
                  </a:lnTo>
                  <a:lnTo>
                    <a:pt x="961" y="346"/>
                  </a:lnTo>
                  <a:lnTo>
                    <a:pt x="959" y="346"/>
                  </a:lnTo>
                  <a:lnTo>
                    <a:pt x="957" y="345"/>
                  </a:lnTo>
                  <a:lnTo>
                    <a:pt x="954" y="345"/>
                  </a:lnTo>
                  <a:lnTo>
                    <a:pt x="952" y="344"/>
                  </a:lnTo>
                  <a:lnTo>
                    <a:pt x="951" y="344"/>
                  </a:lnTo>
                  <a:lnTo>
                    <a:pt x="943" y="341"/>
                  </a:lnTo>
                  <a:lnTo>
                    <a:pt x="937" y="340"/>
                  </a:lnTo>
                  <a:lnTo>
                    <a:pt x="933" y="341"/>
                  </a:lnTo>
                  <a:lnTo>
                    <a:pt x="931" y="346"/>
                  </a:lnTo>
                  <a:lnTo>
                    <a:pt x="928" y="346"/>
                  </a:lnTo>
                  <a:lnTo>
                    <a:pt x="925" y="344"/>
                  </a:lnTo>
                  <a:lnTo>
                    <a:pt x="921" y="341"/>
                  </a:lnTo>
                  <a:lnTo>
                    <a:pt x="918" y="339"/>
                  </a:lnTo>
                  <a:lnTo>
                    <a:pt x="916" y="339"/>
                  </a:lnTo>
                  <a:lnTo>
                    <a:pt x="915" y="340"/>
                  </a:lnTo>
                  <a:lnTo>
                    <a:pt x="914" y="341"/>
                  </a:lnTo>
                  <a:lnTo>
                    <a:pt x="914" y="344"/>
                  </a:lnTo>
                  <a:lnTo>
                    <a:pt x="914" y="346"/>
                  </a:lnTo>
                  <a:lnTo>
                    <a:pt x="914" y="348"/>
                  </a:lnTo>
                  <a:lnTo>
                    <a:pt x="914" y="349"/>
                  </a:lnTo>
                  <a:lnTo>
                    <a:pt x="914" y="350"/>
                  </a:lnTo>
                  <a:lnTo>
                    <a:pt x="910" y="350"/>
                  </a:lnTo>
                  <a:lnTo>
                    <a:pt x="907" y="349"/>
                  </a:lnTo>
                  <a:lnTo>
                    <a:pt x="904" y="348"/>
                  </a:lnTo>
                  <a:lnTo>
                    <a:pt x="900" y="347"/>
                  </a:lnTo>
                  <a:lnTo>
                    <a:pt x="896" y="346"/>
                  </a:lnTo>
                  <a:lnTo>
                    <a:pt x="893" y="345"/>
                  </a:lnTo>
                  <a:lnTo>
                    <a:pt x="888" y="344"/>
                  </a:lnTo>
                  <a:lnTo>
                    <a:pt x="885" y="342"/>
                  </a:lnTo>
                  <a:lnTo>
                    <a:pt x="881" y="341"/>
                  </a:lnTo>
                  <a:lnTo>
                    <a:pt x="877" y="340"/>
                  </a:lnTo>
                  <a:lnTo>
                    <a:pt x="875" y="338"/>
                  </a:lnTo>
                  <a:lnTo>
                    <a:pt x="874" y="336"/>
                  </a:lnTo>
                  <a:lnTo>
                    <a:pt x="872" y="335"/>
                  </a:lnTo>
                  <a:lnTo>
                    <a:pt x="870" y="333"/>
                  </a:lnTo>
                  <a:lnTo>
                    <a:pt x="866" y="331"/>
                  </a:lnTo>
                  <a:lnTo>
                    <a:pt x="862" y="330"/>
                  </a:lnTo>
                  <a:lnTo>
                    <a:pt x="859" y="329"/>
                  </a:lnTo>
                  <a:lnTo>
                    <a:pt x="854" y="328"/>
                  </a:lnTo>
                  <a:lnTo>
                    <a:pt x="852" y="328"/>
                  </a:lnTo>
                  <a:lnTo>
                    <a:pt x="851" y="327"/>
                  </a:lnTo>
                  <a:lnTo>
                    <a:pt x="851" y="326"/>
                  </a:lnTo>
                  <a:lnTo>
                    <a:pt x="852" y="325"/>
                  </a:lnTo>
                  <a:lnTo>
                    <a:pt x="854" y="324"/>
                  </a:lnTo>
                  <a:lnTo>
                    <a:pt x="856" y="323"/>
                  </a:lnTo>
                  <a:lnTo>
                    <a:pt x="860" y="322"/>
                  </a:lnTo>
                  <a:lnTo>
                    <a:pt x="862" y="320"/>
                  </a:lnTo>
                  <a:lnTo>
                    <a:pt x="863" y="319"/>
                  </a:lnTo>
                  <a:lnTo>
                    <a:pt x="866" y="319"/>
                  </a:lnTo>
                  <a:lnTo>
                    <a:pt x="869" y="319"/>
                  </a:lnTo>
                  <a:lnTo>
                    <a:pt x="872" y="319"/>
                  </a:lnTo>
                  <a:lnTo>
                    <a:pt x="875" y="319"/>
                  </a:lnTo>
                  <a:lnTo>
                    <a:pt x="877" y="318"/>
                  </a:lnTo>
                  <a:lnTo>
                    <a:pt x="880" y="318"/>
                  </a:lnTo>
                  <a:lnTo>
                    <a:pt x="882" y="317"/>
                  </a:lnTo>
                  <a:lnTo>
                    <a:pt x="882" y="315"/>
                  </a:lnTo>
                  <a:lnTo>
                    <a:pt x="881" y="313"/>
                  </a:lnTo>
                  <a:lnTo>
                    <a:pt x="880" y="312"/>
                  </a:lnTo>
                  <a:lnTo>
                    <a:pt x="876" y="311"/>
                  </a:lnTo>
                  <a:lnTo>
                    <a:pt x="873" y="309"/>
                  </a:lnTo>
                  <a:lnTo>
                    <a:pt x="870" y="309"/>
                  </a:lnTo>
                  <a:lnTo>
                    <a:pt x="867" y="311"/>
                  </a:lnTo>
                  <a:lnTo>
                    <a:pt x="865" y="311"/>
                  </a:lnTo>
                  <a:lnTo>
                    <a:pt x="862" y="311"/>
                  </a:lnTo>
                  <a:lnTo>
                    <a:pt x="859" y="309"/>
                  </a:lnTo>
                  <a:lnTo>
                    <a:pt x="855" y="307"/>
                  </a:lnTo>
                  <a:lnTo>
                    <a:pt x="853" y="306"/>
                  </a:lnTo>
                  <a:lnTo>
                    <a:pt x="850" y="304"/>
                  </a:lnTo>
                  <a:lnTo>
                    <a:pt x="843" y="302"/>
                  </a:lnTo>
                  <a:lnTo>
                    <a:pt x="836" y="301"/>
                  </a:lnTo>
                  <a:lnTo>
                    <a:pt x="829" y="297"/>
                  </a:lnTo>
                  <a:lnTo>
                    <a:pt x="827" y="296"/>
                  </a:lnTo>
                  <a:lnTo>
                    <a:pt x="826" y="293"/>
                  </a:lnTo>
                  <a:lnTo>
                    <a:pt x="826" y="291"/>
                  </a:lnTo>
                  <a:lnTo>
                    <a:pt x="827" y="289"/>
                  </a:lnTo>
                  <a:lnTo>
                    <a:pt x="829" y="286"/>
                  </a:lnTo>
                  <a:lnTo>
                    <a:pt x="831" y="284"/>
                  </a:lnTo>
                  <a:lnTo>
                    <a:pt x="836" y="283"/>
                  </a:lnTo>
                  <a:lnTo>
                    <a:pt x="839" y="282"/>
                  </a:lnTo>
                  <a:lnTo>
                    <a:pt x="842" y="282"/>
                  </a:lnTo>
                  <a:lnTo>
                    <a:pt x="845" y="281"/>
                  </a:lnTo>
                  <a:lnTo>
                    <a:pt x="848" y="281"/>
                  </a:lnTo>
                  <a:lnTo>
                    <a:pt x="850" y="280"/>
                  </a:lnTo>
                  <a:lnTo>
                    <a:pt x="852" y="280"/>
                  </a:lnTo>
                  <a:lnTo>
                    <a:pt x="853" y="281"/>
                  </a:lnTo>
                  <a:lnTo>
                    <a:pt x="855" y="282"/>
                  </a:lnTo>
                  <a:lnTo>
                    <a:pt x="858" y="283"/>
                  </a:lnTo>
                  <a:lnTo>
                    <a:pt x="859" y="285"/>
                  </a:lnTo>
                  <a:lnTo>
                    <a:pt x="863" y="285"/>
                  </a:lnTo>
                  <a:lnTo>
                    <a:pt x="865" y="284"/>
                  </a:lnTo>
                  <a:lnTo>
                    <a:pt x="867" y="283"/>
                  </a:lnTo>
                  <a:lnTo>
                    <a:pt x="870" y="282"/>
                  </a:lnTo>
                  <a:lnTo>
                    <a:pt x="872" y="280"/>
                  </a:lnTo>
                  <a:lnTo>
                    <a:pt x="874" y="279"/>
                  </a:lnTo>
                  <a:lnTo>
                    <a:pt x="876" y="279"/>
                  </a:lnTo>
                  <a:lnTo>
                    <a:pt x="881" y="278"/>
                  </a:lnTo>
                  <a:lnTo>
                    <a:pt x="885" y="279"/>
                  </a:lnTo>
                  <a:lnTo>
                    <a:pt x="892" y="281"/>
                  </a:lnTo>
                  <a:lnTo>
                    <a:pt x="896" y="282"/>
                  </a:lnTo>
                  <a:lnTo>
                    <a:pt x="900" y="281"/>
                  </a:lnTo>
                  <a:lnTo>
                    <a:pt x="900" y="279"/>
                  </a:lnTo>
                  <a:lnTo>
                    <a:pt x="902" y="276"/>
                  </a:lnTo>
                  <a:lnTo>
                    <a:pt x="903" y="276"/>
                  </a:lnTo>
                  <a:lnTo>
                    <a:pt x="904" y="275"/>
                  </a:lnTo>
                  <a:lnTo>
                    <a:pt x="906" y="275"/>
                  </a:lnTo>
                  <a:lnTo>
                    <a:pt x="908" y="275"/>
                  </a:lnTo>
                  <a:lnTo>
                    <a:pt x="909" y="275"/>
                  </a:lnTo>
                  <a:lnTo>
                    <a:pt x="911" y="275"/>
                  </a:lnTo>
                  <a:lnTo>
                    <a:pt x="913" y="274"/>
                  </a:lnTo>
                  <a:lnTo>
                    <a:pt x="914" y="273"/>
                  </a:lnTo>
                  <a:lnTo>
                    <a:pt x="913" y="272"/>
                  </a:lnTo>
                  <a:lnTo>
                    <a:pt x="911" y="270"/>
                  </a:lnTo>
                  <a:lnTo>
                    <a:pt x="908" y="265"/>
                  </a:lnTo>
                  <a:lnTo>
                    <a:pt x="903" y="262"/>
                  </a:lnTo>
                  <a:lnTo>
                    <a:pt x="897" y="260"/>
                  </a:lnTo>
                  <a:lnTo>
                    <a:pt x="892" y="261"/>
                  </a:lnTo>
                  <a:lnTo>
                    <a:pt x="892" y="262"/>
                  </a:lnTo>
                  <a:lnTo>
                    <a:pt x="891" y="263"/>
                  </a:lnTo>
                  <a:lnTo>
                    <a:pt x="889" y="265"/>
                  </a:lnTo>
                  <a:lnTo>
                    <a:pt x="888" y="266"/>
                  </a:lnTo>
                  <a:lnTo>
                    <a:pt x="887" y="268"/>
                  </a:lnTo>
                  <a:lnTo>
                    <a:pt x="886" y="268"/>
                  </a:lnTo>
                  <a:lnTo>
                    <a:pt x="883" y="268"/>
                  </a:lnTo>
                  <a:lnTo>
                    <a:pt x="882" y="265"/>
                  </a:lnTo>
                  <a:lnTo>
                    <a:pt x="878" y="264"/>
                  </a:lnTo>
                  <a:lnTo>
                    <a:pt x="875" y="264"/>
                  </a:lnTo>
                  <a:lnTo>
                    <a:pt x="872" y="265"/>
                  </a:lnTo>
                  <a:lnTo>
                    <a:pt x="870" y="265"/>
                  </a:lnTo>
                  <a:lnTo>
                    <a:pt x="869" y="268"/>
                  </a:lnTo>
                  <a:lnTo>
                    <a:pt x="867" y="270"/>
                  </a:lnTo>
                  <a:lnTo>
                    <a:pt x="866" y="271"/>
                  </a:lnTo>
                  <a:lnTo>
                    <a:pt x="863" y="271"/>
                  </a:lnTo>
                  <a:lnTo>
                    <a:pt x="860" y="272"/>
                  </a:lnTo>
                  <a:lnTo>
                    <a:pt x="856" y="272"/>
                  </a:lnTo>
                  <a:lnTo>
                    <a:pt x="854" y="271"/>
                  </a:lnTo>
                  <a:lnTo>
                    <a:pt x="852" y="270"/>
                  </a:lnTo>
                  <a:lnTo>
                    <a:pt x="849" y="269"/>
                  </a:lnTo>
                  <a:lnTo>
                    <a:pt x="847" y="269"/>
                  </a:lnTo>
                  <a:lnTo>
                    <a:pt x="844" y="266"/>
                  </a:lnTo>
                  <a:lnTo>
                    <a:pt x="844" y="265"/>
                  </a:lnTo>
                  <a:lnTo>
                    <a:pt x="844" y="263"/>
                  </a:lnTo>
                  <a:lnTo>
                    <a:pt x="845" y="261"/>
                  </a:lnTo>
                  <a:lnTo>
                    <a:pt x="845" y="259"/>
                  </a:lnTo>
                  <a:lnTo>
                    <a:pt x="841" y="253"/>
                  </a:lnTo>
                  <a:lnTo>
                    <a:pt x="833" y="252"/>
                  </a:lnTo>
                  <a:lnTo>
                    <a:pt x="825" y="251"/>
                  </a:lnTo>
                  <a:lnTo>
                    <a:pt x="818" y="250"/>
                  </a:lnTo>
                  <a:lnTo>
                    <a:pt x="812" y="247"/>
                  </a:lnTo>
                  <a:lnTo>
                    <a:pt x="808" y="244"/>
                  </a:lnTo>
                  <a:lnTo>
                    <a:pt x="805" y="241"/>
                  </a:lnTo>
                  <a:lnTo>
                    <a:pt x="802" y="238"/>
                  </a:lnTo>
                  <a:lnTo>
                    <a:pt x="800" y="235"/>
                  </a:lnTo>
                  <a:lnTo>
                    <a:pt x="798" y="231"/>
                  </a:lnTo>
                  <a:lnTo>
                    <a:pt x="797" y="229"/>
                  </a:lnTo>
                  <a:lnTo>
                    <a:pt x="796" y="227"/>
                  </a:lnTo>
                  <a:lnTo>
                    <a:pt x="796" y="224"/>
                  </a:lnTo>
                  <a:lnTo>
                    <a:pt x="796" y="221"/>
                  </a:lnTo>
                  <a:lnTo>
                    <a:pt x="796" y="219"/>
                  </a:lnTo>
                  <a:lnTo>
                    <a:pt x="796" y="217"/>
                  </a:lnTo>
                  <a:lnTo>
                    <a:pt x="797" y="216"/>
                  </a:lnTo>
                  <a:lnTo>
                    <a:pt x="798" y="215"/>
                  </a:lnTo>
                  <a:lnTo>
                    <a:pt x="807" y="210"/>
                  </a:lnTo>
                  <a:lnTo>
                    <a:pt x="817" y="207"/>
                  </a:lnTo>
                  <a:lnTo>
                    <a:pt x="827" y="204"/>
                  </a:lnTo>
                  <a:lnTo>
                    <a:pt x="830" y="204"/>
                  </a:lnTo>
                  <a:lnTo>
                    <a:pt x="834" y="203"/>
                  </a:lnTo>
                  <a:lnTo>
                    <a:pt x="838" y="202"/>
                  </a:lnTo>
                  <a:lnTo>
                    <a:pt x="842" y="199"/>
                  </a:lnTo>
                  <a:lnTo>
                    <a:pt x="844" y="198"/>
                  </a:lnTo>
                  <a:lnTo>
                    <a:pt x="847" y="197"/>
                  </a:lnTo>
                  <a:lnTo>
                    <a:pt x="850" y="195"/>
                  </a:lnTo>
                  <a:lnTo>
                    <a:pt x="852" y="194"/>
                  </a:lnTo>
                  <a:lnTo>
                    <a:pt x="853" y="193"/>
                  </a:lnTo>
                  <a:lnTo>
                    <a:pt x="854" y="191"/>
                  </a:lnTo>
                  <a:lnTo>
                    <a:pt x="855" y="189"/>
                  </a:lnTo>
                  <a:lnTo>
                    <a:pt x="856" y="188"/>
                  </a:lnTo>
                  <a:lnTo>
                    <a:pt x="859" y="188"/>
                  </a:lnTo>
                  <a:lnTo>
                    <a:pt x="862" y="188"/>
                  </a:lnTo>
                  <a:lnTo>
                    <a:pt x="865" y="189"/>
                  </a:lnTo>
                  <a:lnTo>
                    <a:pt x="867" y="189"/>
                  </a:lnTo>
                  <a:lnTo>
                    <a:pt x="871" y="189"/>
                  </a:lnTo>
                  <a:lnTo>
                    <a:pt x="872" y="188"/>
                  </a:lnTo>
                  <a:lnTo>
                    <a:pt x="874" y="188"/>
                  </a:lnTo>
                  <a:lnTo>
                    <a:pt x="876" y="187"/>
                  </a:lnTo>
                  <a:lnTo>
                    <a:pt x="878" y="186"/>
                  </a:lnTo>
                  <a:lnTo>
                    <a:pt x="881" y="186"/>
                  </a:lnTo>
                  <a:lnTo>
                    <a:pt x="881" y="186"/>
                  </a:lnTo>
                  <a:lnTo>
                    <a:pt x="882" y="187"/>
                  </a:lnTo>
                  <a:lnTo>
                    <a:pt x="883" y="188"/>
                  </a:lnTo>
                  <a:lnTo>
                    <a:pt x="889" y="188"/>
                  </a:lnTo>
                  <a:lnTo>
                    <a:pt x="893" y="188"/>
                  </a:lnTo>
                  <a:lnTo>
                    <a:pt x="896" y="187"/>
                  </a:lnTo>
                  <a:lnTo>
                    <a:pt x="897" y="185"/>
                  </a:lnTo>
                  <a:lnTo>
                    <a:pt x="899" y="183"/>
                  </a:lnTo>
                  <a:lnTo>
                    <a:pt x="902" y="181"/>
                  </a:lnTo>
                  <a:lnTo>
                    <a:pt x="904" y="178"/>
                  </a:lnTo>
                  <a:lnTo>
                    <a:pt x="907" y="177"/>
                  </a:lnTo>
                  <a:lnTo>
                    <a:pt x="910" y="176"/>
                  </a:lnTo>
                  <a:lnTo>
                    <a:pt x="913" y="174"/>
                  </a:lnTo>
                  <a:lnTo>
                    <a:pt x="915" y="172"/>
                  </a:lnTo>
                  <a:lnTo>
                    <a:pt x="915" y="170"/>
                  </a:lnTo>
                  <a:lnTo>
                    <a:pt x="914" y="166"/>
                  </a:lnTo>
                  <a:lnTo>
                    <a:pt x="911" y="164"/>
                  </a:lnTo>
                  <a:lnTo>
                    <a:pt x="910" y="163"/>
                  </a:lnTo>
                  <a:lnTo>
                    <a:pt x="909" y="162"/>
                  </a:lnTo>
                  <a:lnTo>
                    <a:pt x="907" y="160"/>
                  </a:lnTo>
                  <a:lnTo>
                    <a:pt x="905" y="159"/>
                  </a:lnTo>
                  <a:lnTo>
                    <a:pt x="904" y="158"/>
                  </a:lnTo>
                  <a:lnTo>
                    <a:pt x="903" y="156"/>
                  </a:lnTo>
                  <a:lnTo>
                    <a:pt x="904" y="155"/>
                  </a:lnTo>
                  <a:lnTo>
                    <a:pt x="905" y="154"/>
                  </a:lnTo>
                  <a:lnTo>
                    <a:pt x="907" y="153"/>
                  </a:lnTo>
                  <a:lnTo>
                    <a:pt x="909" y="153"/>
                  </a:lnTo>
                  <a:lnTo>
                    <a:pt x="911" y="153"/>
                  </a:lnTo>
                  <a:lnTo>
                    <a:pt x="913" y="153"/>
                  </a:lnTo>
                  <a:lnTo>
                    <a:pt x="914" y="153"/>
                  </a:lnTo>
                  <a:lnTo>
                    <a:pt x="915" y="152"/>
                  </a:lnTo>
                  <a:lnTo>
                    <a:pt x="914" y="151"/>
                  </a:lnTo>
                  <a:lnTo>
                    <a:pt x="911" y="149"/>
                  </a:lnTo>
                  <a:lnTo>
                    <a:pt x="910" y="149"/>
                  </a:lnTo>
                  <a:lnTo>
                    <a:pt x="909" y="148"/>
                  </a:lnTo>
                  <a:lnTo>
                    <a:pt x="908" y="148"/>
                  </a:lnTo>
                  <a:lnTo>
                    <a:pt x="907" y="147"/>
                  </a:lnTo>
                  <a:lnTo>
                    <a:pt x="908" y="147"/>
                  </a:lnTo>
                  <a:lnTo>
                    <a:pt x="909" y="147"/>
                  </a:lnTo>
                  <a:lnTo>
                    <a:pt x="910" y="145"/>
                  </a:lnTo>
                  <a:lnTo>
                    <a:pt x="910" y="145"/>
                  </a:lnTo>
                  <a:lnTo>
                    <a:pt x="909" y="144"/>
                  </a:lnTo>
                  <a:lnTo>
                    <a:pt x="907" y="143"/>
                  </a:lnTo>
                  <a:lnTo>
                    <a:pt x="905" y="143"/>
                  </a:lnTo>
                  <a:lnTo>
                    <a:pt x="902" y="142"/>
                  </a:lnTo>
                  <a:lnTo>
                    <a:pt x="898" y="142"/>
                  </a:lnTo>
                  <a:lnTo>
                    <a:pt x="898" y="143"/>
                  </a:lnTo>
                  <a:lnTo>
                    <a:pt x="897" y="143"/>
                  </a:lnTo>
                  <a:lnTo>
                    <a:pt x="897" y="144"/>
                  </a:lnTo>
                  <a:lnTo>
                    <a:pt x="897" y="144"/>
                  </a:lnTo>
                  <a:lnTo>
                    <a:pt x="896" y="144"/>
                  </a:lnTo>
                  <a:lnTo>
                    <a:pt x="892" y="144"/>
                  </a:lnTo>
                  <a:lnTo>
                    <a:pt x="887" y="142"/>
                  </a:lnTo>
                  <a:lnTo>
                    <a:pt x="883" y="140"/>
                  </a:lnTo>
                  <a:lnTo>
                    <a:pt x="881" y="140"/>
                  </a:lnTo>
                  <a:lnTo>
                    <a:pt x="877" y="139"/>
                  </a:lnTo>
                  <a:lnTo>
                    <a:pt x="874" y="139"/>
                  </a:lnTo>
                  <a:lnTo>
                    <a:pt x="872" y="139"/>
                  </a:lnTo>
                  <a:lnTo>
                    <a:pt x="870" y="138"/>
                  </a:lnTo>
                  <a:lnTo>
                    <a:pt x="869" y="135"/>
                  </a:lnTo>
                  <a:lnTo>
                    <a:pt x="869" y="133"/>
                  </a:lnTo>
                  <a:lnTo>
                    <a:pt x="867" y="131"/>
                  </a:lnTo>
                  <a:lnTo>
                    <a:pt x="867" y="129"/>
                  </a:lnTo>
                  <a:lnTo>
                    <a:pt x="867" y="128"/>
                  </a:lnTo>
                  <a:lnTo>
                    <a:pt x="869" y="126"/>
                  </a:lnTo>
                  <a:lnTo>
                    <a:pt x="869" y="124"/>
                  </a:lnTo>
                  <a:lnTo>
                    <a:pt x="870" y="122"/>
                  </a:lnTo>
                  <a:lnTo>
                    <a:pt x="872" y="121"/>
                  </a:lnTo>
                  <a:lnTo>
                    <a:pt x="873" y="119"/>
                  </a:lnTo>
                  <a:lnTo>
                    <a:pt x="874" y="118"/>
                  </a:lnTo>
                  <a:lnTo>
                    <a:pt x="876" y="117"/>
                  </a:lnTo>
                  <a:lnTo>
                    <a:pt x="878" y="116"/>
                  </a:lnTo>
                  <a:lnTo>
                    <a:pt x="878" y="115"/>
                  </a:lnTo>
                  <a:lnTo>
                    <a:pt x="878" y="113"/>
                  </a:lnTo>
                  <a:lnTo>
                    <a:pt x="878" y="112"/>
                  </a:lnTo>
                  <a:lnTo>
                    <a:pt x="878" y="111"/>
                  </a:lnTo>
                  <a:lnTo>
                    <a:pt x="878" y="109"/>
                  </a:lnTo>
                  <a:lnTo>
                    <a:pt x="878" y="108"/>
                  </a:lnTo>
                  <a:lnTo>
                    <a:pt x="878" y="107"/>
                  </a:lnTo>
                  <a:lnTo>
                    <a:pt x="878" y="108"/>
                  </a:lnTo>
                  <a:lnTo>
                    <a:pt x="882" y="108"/>
                  </a:lnTo>
                  <a:lnTo>
                    <a:pt x="884" y="109"/>
                  </a:lnTo>
                  <a:lnTo>
                    <a:pt x="886" y="109"/>
                  </a:lnTo>
                  <a:lnTo>
                    <a:pt x="887" y="110"/>
                  </a:lnTo>
                  <a:lnTo>
                    <a:pt x="891" y="109"/>
                  </a:lnTo>
                  <a:lnTo>
                    <a:pt x="893" y="107"/>
                  </a:lnTo>
                  <a:lnTo>
                    <a:pt x="894" y="105"/>
                  </a:lnTo>
                  <a:lnTo>
                    <a:pt x="895" y="102"/>
                  </a:lnTo>
                  <a:lnTo>
                    <a:pt x="896" y="100"/>
                  </a:lnTo>
                  <a:lnTo>
                    <a:pt x="897" y="99"/>
                  </a:lnTo>
                  <a:lnTo>
                    <a:pt x="898" y="97"/>
                  </a:lnTo>
                  <a:lnTo>
                    <a:pt x="900" y="94"/>
                  </a:lnTo>
                  <a:lnTo>
                    <a:pt x="903" y="93"/>
                  </a:lnTo>
                  <a:lnTo>
                    <a:pt x="905" y="91"/>
                  </a:lnTo>
                  <a:lnTo>
                    <a:pt x="907" y="90"/>
                  </a:lnTo>
                  <a:lnTo>
                    <a:pt x="909" y="88"/>
                  </a:lnTo>
                  <a:lnTo>
                    <a:pt x="911" y="86"/>
                  </a:lnTo>
                  <a:lnTo>
                    <a:pt x="914" y="86"/>
                  </a:lnTo>
                  <a:lnTo>
                    <a:pt x="921" y="86"/>
                  </a:lnTo>
                  <a:lnTo>
                    <a:pt x="928" y="88"/>
                  </a:lnTo>
                  <a:lnTo>
                    <a:pt x="933" y="91"/>
                  </a:lnTo>
                  <a:lnTo>
                    <a:pt x="940" y="93"/>
                  </a:lnTo>
                  <a:lnTo>
                    <a:pt x="943" y="93"/>
                  </a:lnTo>
                  <a:lnTo>
                    <a:pt x="945" y="93"/>
                  </a:lnTo>
                  <a:lnTo>
                    <a:pt x="946" y="91"/>
                  </a:lnTo>
                  <a:lnTo>
                    <a:pt x="947" y="90"/>
                  </a:lnTo>
                  <a:lnTo>
                    <a:pt x="947" y="88"/>
                  </a:lnTo>
                  <a:lnTo>
                    <a:pt x="947" y="86"/>
                  </a:lnTo>
                  <a:lnTo>
                    <a:pt x="947" y="85"/>
                  </a:lnTo>
                  <a:lnTo>
                    <a:pt x="947" y="83"/>
                  </a:lnTo>
                  <a:lnTo>
                    <a:pt x="947" y="80"/>
                  </a:lnTo>
                  <a:lnTo>
                    <a:pt x="947" y="79"/>
                  </a:lnTo>
                  <a:lnTo>
                    <a:pt x="948" y="76"/>
                  </a:lnTo>
                  <a:lnTo>
                    <a:pt x="949" y="74"/>
                  </a:lnTo>
                  <a:lnTo>
                    <a:pt x="949" y="72"/>
                  </a:lnTo>
                  <a:lnTo>
                    <a:pt x="948" y="68"/>
                  </a:lnTo>
                  <a:lnTo>
                    <a:pt x="945" y="66"/>
                  </a:lnTo>
                  <a:lnTo>
                    <a:pt x="942" y="64"/>
                  </a:lnTo>
                  <a:lnTo>
                    <a:pt x="940" y="62"/>
                  </a:lnTo>
                  <a:lnTo>
                    <a:pt x="938" y="60"/>
                  </a:lnTo>
                  <a:lnTo>
                    <a:pt x="936" y="57"/>
                  </a:lnTo>
                  <a:lnTo>
                    <a:pt x="935" y="55"/>
                  </a:lnTo>
                  <a:lnTo>
                    <a:pt x="935" y="53"/>
                  </a:lnTo>
                  <a:lnTo>
                    <a:pt x="936" y="51"/>
                  </a:lnTo>
                  <a:lnTo>
                    <a:pt x="939" y="50"/>
                  </a:lnTo>
                  <a:lnTo>
                    <a:pt x="943" y="47"/>
                  </a:lnTo>
                  <a:lnTo>
                    <a:pt x="949" y="47"/>
                  </a:lnTo>
                  <a:lnTo>
                    <a:pt x="953" y="49"/>
                  </a:lnTo>
                  <a:lnTo>
                    <a:pt x="959" y="53"/>
                  </a:lnTo>
                  <a:lnTo>
                    <a:pt x="964" y="58"/>
                  </a:lnTo>
                  <a:lnTo>
                    <a:pt x="973" y="62"/>
                  </a:lnTo>
                  <a:lnTo>
                    <a:pt x="976" y="64"/>
                  </a:lnTo>
                  <a:lnTo>
                    <a:pt x="980" y="66"/>
                  </a:lnTo>
                  <a:lnTo>
                    <a:pt x="984" y="68"/>
                  </a:lnTo>
                  <a:lnTo>
                    <a:pt x="987" y="71"/>
                  </a:lnTo>
                  <a:lnTo>
                    <a:pt x="990" y="73"/>
                  </a:lnTo>
                  <a:lnTo>
                    <a:pt x="992" y="75"/>
                  </a:lnTo>
                  <a:lnTo>
                    <a:pt x="995" y="77"/>
                  </a:lnTo>
                  <a:lnTo>
                    <a:pt x="997" y="78"/>
                  </a:lnTo>
                  <a:lnTo>
                    <a:pt x="1000" y="79"/>
                  </a:lnTo>
                  <a:lnTo>
                    <a:pt x="1001" y="79"/>
                  </a:lnTo>
                  <a:lnTo>
                    <a:pt x="1002" y="79"/>
                  </a:lnTo>
                  <a:lnTo>
                    <a:pt x="1002" y="78"/>
                  </a:lnTo>
                  <a:lnTo>
                    <a:pt x="1002" y="77"/>
                  </a:lnTo>
                  <a:lnTo>
                    <a:pt x="1000" y="74"/>
                  </a:lnTo>
                  <a:lnTo>
                    <a:pt x="997" y="72"/>
                  </a:lnTo>
                  <a:lnTo>
                    <a:pt x="994" y="69"/>
                  </a:lnTo>
                  <a:lnTo>
                    <a:pt x="991" y="68"/>
                  </a:lnTo>
                  <a:lnTo>
                    <a:pt x="978" y="61"/>
                  </a:lnTo>
                  <a:lnTo>
                    <a:pt x="967" y="53"/>
                  </a:lnTo>
                  <a:lnTo>
                    <a:pt x="965" y="52"/>
                  </a:lnTo>
                  <a:lnTo>
                    <a:pt x="963" y="50"/>
                  </a:lnTo>
                  <a:lnTo>
                    <a:pt x="962" y="49"/>
                  </a:lnTo>
                  <a:lnTo>
                    <a:pt x="960" y="47"/>
                  </a:lnTo>
                  <a:lnTo>
                    <a:pt x="960" y="45"/>
                  </a:lnTo>
                  <a:lnTo>
                    <a:pt x="960" y="44"/>
                  </a:lnTo>
                  <a:lnTo>
                    <a:pt x="973" y="44"/>
                  </a:lnTo>
                  <a:lnTo>
                    <a:pt x="976" y="44"/>
                  </a:lnTo>
                  <a:lnTo>
                    <a:pt x="981" y="44"/>
                  </a:lnTo>
                  <a:lnTo>
                    <a:pt x="985" y="43"/>
                  </a:lnTo>
                  <a:lnTo>
                    <a:pt x="989" y="42"/>
                  </a:lnTo>
                  <a:lnTo>
                    <a:pt x="990" y="42"/>
                  </a:lnTo>
                  <a:lnTo>
                    <a:pt x="992" y="41"/>
                  </a:lnTo>
                  <a:lnTo>
                    <a:pt x="994" y="40"/>
                  </a:lnTo>
                  <a:lnTo>
                    <a:pt x="997" y="40"/>
                  </a:lnTo>
                  <a:lnTo>
                    <a:pt x="1002" y="40"/>
                  </a:lnTo>
                  <a:lnTo>
                    <a:pt x="1004" y="40"/>
                  </a:lnTo>
                  <a:lnTo>
                    <a:pt x="1006" y="39"/>
                  </a:lnTo>
                  <a:lnTo>
                    <a:pt x="1008" y="38"/>
                  </a:lnTo>
                  <a:lnTo>
                    <a:pt x="1009" y="38"/>
                  </a:lnTo>
                  <a:lnTo>
                    <a:pt x="1012" y="36"/>
                  </a:lnTo>
                  <a:lnTo>
                    <a:pt x="1014" y="35"/>
                  </a:lnTo>
                  <a:lnTo>
                    <a:pt x="1017" y="35"/>
                  </a:lnTo>
                  <a:lnTo>
                    <a:pt x="1020" y="35"/>
                  </a:lnTo>
                  <a:lnTo>
                    <a:pt x="1024" y="36"/>
                  </a:lnTo>
                  <a:lnTo>
                    <a:pt x="1026" y="38"/>
                  </a:lnTo>
                  <a:lnTo>
                    <a:pt x="1027" y="39"/>
                  </a:lnTo>
                  <a:lnTo>
                    <a:pt x="1028" y="41"/>
                  </a:lnTo>
                  <a:lnTo>
                    <a:pt x="1030" y="42"/>
                  </a:lnTo>
                  <a:lnTo>
                    <a:pt x="1033" y="44"/>
                  </a:lnTo>
                  <a:lnTo>
                    <a:pt x="1034" y="45"/>
                  </a:lnTo>
                  <a:lnTo>
                    <a:pt x="1036" y="46"/>
                  </a:lnTo>
                  <a:lnTo>
                    <a:pt x="1037" y="46"/>
                  </a:lnTo>
                  <a:lnTo>
                    <a:pt x="1038" y="47"/>
                  </a:lnTo>
                  <a:lnTo>
                    <a:pt x="1039" y="49"/>
                  </a:lnTo>
                  <a:lnTo>
                    <a:pt x="1039" y="55"/>
                  </a:lnTo>
                  <a:lnTo>
                    <a:pt x="1039" y="60"/>
                  </a:lnTo>
                  <a:lnTo>
                    <a:pt x="1040" y="64"/>
                  </a:lnTo>
                  <a:lnTo>
                    <a:pt x="1040" y="68"/>
                  </a:lnTo>
                  <a:lnTo>
                    <a:pt x="1041" y="73"/>
                  </a:lnTo>
                  <a:lnTo>
                    <a:pt x="1041" y="73"/>
                  </a:lnTo>
                  <a:lnTo>
                    <a:pt x="1041" y="75"/>
                  </a:lnTo>
                  <a:lnTo>
                    <a:pt x="1041" y="77"/>
                  </a:lnTo>
                  <a:lnTo>
                    <a:pt x="1042" y="78"/>
                  </a:lnTo>
                  <a:lnTo>
                    <a:pt x="1044" y="79"/>
                  </a:lnTo>
                  <a:lnTo>
                    <a:pt x="1045" y="78"/>
                  </a:lnTo>
                  <a:lnTo>
                    <a:pt x="1046" y="77"/>
                  </a:lnTo>
                  <a:lnTo>
                    <a:pt x="1047" y="76"/>
                  </a:lnTo>
                  <a:lnTo>
                    <a:pt x="1047" y="75"/>
                  </a:lnTo>
                  <a:lnTo>
                    <a:pt x="1048" y="75"/>
                  </a:lnTo>
                  <a:lnTo>
                    <a:pt x="1048" y="73"/>
                  </a:lnTo>
                  <a:lnTo>
                    <a:pt x="1048" y="69"/>
                  </a:lnTo>
                  <a:lnTo>
                    <a:pt x="1047" y="66"/>
                  </a:lnTo>
                  <a:lnTo>
                    <a:pt x="1046" y="63"/>
                  </a:lnTo>
                  <a:lnTo>
                    <a:pt x="1045" y="60"/>
                  </a:lnTo>
                  <a:lnTo>
                    <a:pt x="1046" y="57"/>
                  </a:lnTo>
                  <a:lnTo>
                    <a:pt x="1047" y="56"/>
                  </a:lnTo>
                  <a:lnTo>
                    <a:pt x="1047" y="55"/>
                  </a:lnTo>
                  <a:lnTo>
                    <a:pt x="1048" y="55"/>
                  </a:lnTo>
                  <a:lnTo>
                    <a:pt x="1048" y="54"/>
                  </a:lnTo>
                  <a:lnTo>
                    <a:pt x="1047" y="53"/>
                  </a:lnTo>
                  <a:lnTo>
                    <a:pt x="1046" y="51"/>
                  </a:lnTo>
                  <a:lnTo>
                    <a:pt x="1044" y="49"/>
                  </a:lnTo>
                  <a:lnTo>
                    <a:pt x="1041" y="46"/>
                  </a:lnTo>
                  <a:lnTo>
                    <a:pt x="1041" y="44"/>
                  </a:lnTo>
                  <a:lnTo>
                    <a:pt x="1040" y="42"/>
                  </a:lnTo>
                  <a:lnTo>
                    <a:pt x="1041" y="42"/>
                  </a:lnTo>
                  <a:lnTo>
                    <a:pt x="1041" y="42"/>
                  </a:lnTo>
                  <a:lnTo>
                    <a:pt x="1044" y="42"/>
                  </a:lnTo>
                  <a:lnTo>
                    <a:pt x="1045" y="43"/>
                  </a:lnTo>
                  <a:lnTo>
                    <a:pt x="1046" y="44"/>
                  </a:lnTo>
                  <a:lnTo>
                    <a:pt x="1048" y="45"/>
                  </a:lnTo>
                  <a:lnTo>
                    <a:pt x="1049" y="47"/>
                  </a:lnTo>
                  <a:lnTo>
                    <a:pt x="1050" y="49"/>
                  </a:lnTo>
                  <a:lnTo>
                    <a:pt x="1052" y="51"/>
                  </a:lnTo>
                  <a:lnTo>
                    <a:pt x="1055" y="53"/>
                  </a:lnTo>
                  <a:lnTo>
                    <a:pt x="1059" y="55"/>
                  </a:lnTo>
                  <a:lnTo>
                    <a:pt x="1061" y="56"/>
                  </a:lnTo>
                  <a:lnTo>
                    <a:pt x="1062" y="58"/>
                  </a:lnTo>
                  <a:lnTo>
                    <a:pt x="1063" y="60"/>
                  </a:lnTo>
                  <a:lnTo>
                    <a:pt x="1063" y="60"/>
                  </a:lnTo>
                  <a:lnTo>
                    <a:pt x="1063" y="63"/>
                  </a:lnTo>
                  <a:lnTo>
                    <a:pt x="1065" y="66"/>
                  </a:lnTo>
                  <a:lnTo>
                    <a:pt x="1067" y="68"/>
                  </a:lnTo>
                  <a:lnTo>
                    <a:pt x="1070" y="71"/>
                  </a:lnTo>
                  <a:lnTo>
                    <a:pt x="1071" y="72"/>
                  </a:lnTo>
                  <a:lnTo>
                    <a:pt x="1074" y="74"/>
                  </a:lnTo>
                  <a:lnTo>
                    <a:pt x="1077" y="74"/>
                  </a:lnTo>
                  <a:lnTo>
                    <a:pt x="1079" y="75"/>
                  </a:lnTo>
                  <a:lnTo>
                    <a:pt x="1080" y="75"/>
                  </a:lnTo>
                  <a:lnTo>
                    <a:pt x="1080" y="74"/>
                  </a:lnTo>
                  <a:lnTo>
                    <a:pt x="1080" y="74"/>
                  </a:lnTo>
                  <a:lnTo>
                    <a:pt x="1079" y="73"/>
                  </a:lnTo>
                  <a:lnTo>
                    <a:pt x="1079" y="72"/>
                  </a:lnTo>
                  <a:lnTo>
                    <a:pt x="1079" y="71"/>
                  </a:lnTo>
                  <a:lnTo>
                    <a:pt x="1077" y="69"/>
                  </a:lnTo>
                  <a:lnTo>
                    <a:pt x="1076" y="68"/>
                  </a:lnTo>
                  <a:lnTo>
                    <a:pt x="1076" y="67"/>
                  </a:lnTo>
                  <a:lnTo>
                    <a:pt x="1077" y="67"/>
                  </a:lnTo>
                  <a:lnTo>
                    <a:pt x="1078" y="67"/>
                  </a:lnTo>
                  <a:lnTo>
                    <a:pt x="1080" y="67"/>
                  </a:lnTo>
                  <a:lnTo>
                    <a:pt x="1082" y="67"/>
                  </a:lnTo>
                  <a:lnTo>
                    <a:pt x="1084" y="67"/>
                  </a:lnTo>
                  <a:lnTo>
                    <a:pt x="1088" y="68"/>
                  </a:lnTo>
                  <a:lnTo>
                    <a:pt x="1090" y="69"/>
                  </a:lnTo>
                  <a:lnTo>
                    <a:pt x="1092" y="69"/>
                  </a:lnTo>
                  <a:lnTo>
                    <a:pt x="1093" y="69"/>
                  </a:lnTo>
                  <a:lnTo>
                    <a:pt x="1094" y="69"/>
                  </a:lnTo>
                  <a:lnTo>
                    <a:pt x="1094" y="68"/>
                  </a:lnTo>
                  <a:lnTo>
                    <a:pt x="1093" y="66"/>
                  </a:lnTo>
                  <a:lnTo>
                    <a:pt x="1092" y="65"/>
                  </a:lnTo>
                  <a:lnTo>
                    <a:pt x="1090" y="64"/>
                  </a:lnTo>
                  <a:lnTo>
                    <a:pt x="1089" y="63"/>
                  </a:lnTo>
                  <a:lnTo>
                    <a:pt x="1087" y="63"/>
                  </a:lnTo>
                  <a:lnTo>
                    <a:pt x="1085" y="62"/>
                  </a:lnTo>
                  <a:lnTo>
                    <a:pt x="1080" y="58"/>
                  </a:lnTo>
                  <a:lnTo>
                    <a:pt x="1077" y="55"/>
                  </a:lnTo>
                  <a:lnTo>
                    <a:pt x="1073" y="51"/>
                  </a:lnTo>
                  <a:lnTo>
                    <a:pt x="1070" y="47"/>
                  </a:lnTo>
                  <a:lnTo>
                    <a:pt x="1068" y="44"/>
                  </a:lnTo>
                  <a:lnTo>
                    <a:pt x="1067" y="43"/>
                  </a:lnTo>
                  <a:lnTo>
                    <a:pt x="1065" y="41"/>
                  </a:lnTo>
                  <a:lnTo>
                    <a:pt x="1063" y="40"/>
                  </a:lnTo>
                  <a:lnTo>
                    <a:pt x="1062" y="38"/>
                  </a:lnTo>
                  <a:lnTo>
                    <a:pt x="1061" y="36"/>
                  </a:lnTo>
                  <a:lnTo>
                    <a:pt x="1060" y="35"/>
                  </a:lnTo>
                  <a:lnTo>
                    <a:pt x="1061" y="34"/>
                  </a:lnTo>
                  <a:lnTo>
                    <a:pt x="1062" y="33"/>
                  </a:lnTo>
                  <a:lnTo>
                    <a:pt x="1066" y="33"/>
                  </a:lnTo>
                  <a:lnTo>
                    <a:pt x="1071" y="34"/>
                  </a:lnTo>
                  <a:lnTo>
                    <a:pt x="1079" y="35"/>
                  </a:lnTo>
                  <a:lnTo>
                    <a:pt x="1085" y="38"/>
                  </a:lnTo>
                  <a:lnTo>
                    <a:pt x="1088" y="40"/>
                  </a:lnTo>
                  <a:lnTo>
                    <a:pt x="1091" y="42"/>
                  </a:lnTo>
                  <a:lnTo>
                    <a:pt x="1093" y="44"/>
                  </a:lnTo>
                  <a:lnTo>
                    <a:pt x="1096" y="46"/>
                  </a:lnTo>
                  <a:lnTo>
                    <a:pt x="1109" y="53"/>
                  </a:lnTo>
                  <a:lnTo>
                    <a:pt x="1122" y="61"/>
                  </a:lnTo>
                  <a:lnTo>
                    <a:pt x="1135" y="68"/>
                  </a:lnTo>
                  <a:lnTo>
                    <a:pt x="1137" y="71"/>
                  </a:lnTo>
                  <a:lnTo>
                    <a:pt x="1139" y="73"/>
                  </a:lnTo>
                  <a:lnTo>
                    <a:pt x="1140" y="75"/>
                  </a:lnTo>
                  <a:lnTo>
                    <a:pt x="1142" y="77"/>
                  </a:lnTo>
                  <a:lnTo>
                    <a:pt x="1144" y="79"/>
                  </a:lnTo>
                  <a:lnTo>
                    <a:pt x="1147" y="82"/>
                  </a:lnTo>
                  <a:lnTo>
                    <a:pt x="1150" y="84"/>
                  </a:lnTo>
                  <a:lnTo>
                    <a:pt x="1155" y="86"/>
                  </a:lnTo>
                  <a:lnTo>
                    <a:pt x="1157" y="86"/>
                  </a:lnTo>
                  <a:lnTo>
                    <a:pt x="1158" y="87"/>
                  </a:lnTo>
                  <a:lnTo>
                    <a:pt x="1158" y="86"/>
                  </a:lnTo>
                  <a:lnTo>
                    <a:pt x="1158" y="86"/>
                  </a:lnTo>
                  <a:lnTo>
                    <a:pt x="1157" y="85"/>
                  </a:lnTo>
                  <a:lnTo>
                    <a:pt x="1157" y="84"/>
                  </a:lnTo>
                  <a:lnTo>
                    <a:pt x="1155" y="82"/>
                  </a:lnTo>
                  <a:lnTo>
                    <a:pt x="1153" y="79"/>
                  </a:lnTo>
                  <a:lnTo>
                    <a:pt x="1150" y="79"/>
                  </a:lnTo>
                  <a:lnTo>
                    <a:pt x="1149" y="76"/>
                  </a:lnTo>
                  <a:lnTo>
                    <a:pt x="1148" y="74"/>
                  </a:lnTo>
                  <a:lnTo>
                    <a:pt x="1147" y="72"/>
                  </a:lnTo>
                  <a:lnTo>
                    <a:pt x="1147" y="69"/>
                  </a:lnTo>
                  <a:lnTo>
                    <a:pt x="1146" y="68"/>
                  </a:lnTo>
                  <a:lnTo>
                    <a:pt x="1146" y="66"/>
                  </a:lnTo>
                  <a:lnTo>
                    <a:pt x="1146" y="64"/>
                  </a:lnTo>
                  <a:lnTo>
                    <a:pt x="1146" y="63"/>
                  </a:lnTo>
                  <a:lnTo>
                    <a:pt x="1145" y="62"/>
                  </a:lnTo>
                  <a:lnTo>
                    <a:pt x="1144" y="60"/>
                  </a:lnTo>
                  <a:lnTo>
                    <a:pt x="1144" y="58"/>
                  </a:lnTo>
                  <a:lnTo>
                    <a:pt x="1144" y="57"/>
                  </a:lnTo>
                  <a:lnTo>
                    <a:pt x="1144" y="57"/>
                  </a:lnTo>
                  <a:lnTo>
                    <a:pt x="1145" y="57"/>
                  </a:lnTo>
                  <a:lnTo>
                    <a:pt x="1146" y="57"/>
                  </a:lnTo>
                  <a:lnTo>
                    <a:pt x="1149" y="58"/>
                  </a:lnTo>
                  <a:lnTo>
                    <a:pt x="1151" y="58"/>
                  </a:lnTo>
                  <a:lnTo>
                    <a:pt x="1153" y="58"/>
                  </a:lnTo>
                  <a:lnTo>
                    <a:pt x="1153" y="57"/>
                  </a:lnTo>
                  <a:lnTo>
                    <a:pt x="1153" y="54"/>
                  </a:lnTo>
                  <a:lnTo>
                    <a:pt x="1150" y="52"/>
                  </a:lnTo>
                  <a:lnTo>
                    <a:pt x="1148" y="49"/>
                  </a:lnTo>
                  <a:lnTo>
                    <a:pt x="1145" y="46"/>
                  </a:lnTo>
                  <a:lnTo>
                    <a:pt x="1140" y="44"/>
                  </a:lnTo>
                  <a:lnTo>
                    <a:pt x="1137" y="42"/>
                  </a:lnTo>
                  <a:lnTo>
                    <a:pt x="1136" y="40"/>
                  </a:lnTo>
                  <a:lnTo>
                    <a:pt x="1134" y="38"/>
                  </a:lnTo>
                  <a:lnTo>
                    <a:pt x="1132" y="34"/>
                  </a:lnTo>
                  <a:lnTo>
                    <a:pt x="1129" y="32"/>
                  </a:lnTo>
                  <a:lnTo>
                    <a:pt x="1127" y="30"/>
                  </a:lnTo>
                  <a:lnTo>
                    <a:pt x="1126" y="29"/>
                  </a:lnTo>
                  <a:lnTo>
                    <a:pt x="1134" y="30"/>
                  </a:lnTo>
                  <a:lnTo>
                    <a:pt x="1142" y="32"/>
                  </a:lnTo>
                  <a:lnTo>
                    <a:pt x="1148" y="33"/>
                  </a:lnTo>
                  <a:lnTo>
                    <a:pt x="1156" y="33"/>
                  </a:lnTo>
                  <a:lnTo>
                    <a:pt x="1162" y="36"/>
                  </a:lnTo>
                  <a:lnTo>
                    <a:pt x="1168" y="40"/>
                  </a:lnTo>
                  <a:lnTo>
                    <a:pt x="1173" y="42"/>
                  </a:lnTo>
                  <a:lnTo>
                    <a:pt x="1178" y="43"/>
                  </a:lnTo>
                  <a:lnTo>
                    <a:pt x="1182" y="45"/>
                  </a:lnTo>
                  <a:lnTo>
                    <a:pt x="1186" y="49"/>
                  </a:lnTo>
                  <a:lnTo>
                    <a:pt x="1189" y="51"/>
                  </a:lnTo>
                  <a:lnTo>
                    <a:pt x="1191" y="53"/>
                  </a:lnTo>
                  <a:lnTo>
                    <a:pt x="1193" y="55"/>
                  </a:lnTo>
                  <a:lnTo>
                    <a:pt x="1197" y="56"/>
                  </a:lnTo>
                  <a:lnTo>
                    <a:pt x="1199" y="57"/>
                  </a:lnTo>
                  <a:lnTo>
                    <a:pt x="1199" y="54"/>
                  </a:lnTo>
                  <a:lnTo>
                    <a:pt x="1199" y="52"/>
                  </a:lnTo>
                  <a:lnTo>
                    <a:pt x="1198" y="50"/>
                  </a:lnTo>
                  <a:lnTo>
                    <a:pt x="1197" y="47"/>
                  </a:lnTo>
                  <a:lnTo>
                    <a:pt x="1194" y="45"/>
                  </a:lnTo>
                  <a:lnTo>
                    <a:pt x="1190" y="42"/>
                  </a:lnTo>
                  <a:lnTo>
                    <a:pt x="1183" y="40"/>
                  </a:lnTo>
                  <a:lnTo>
                    <a:pt x="1178" y="38"/>
                  </a:lnTo>
                  <a:lnTo>
                    <a:pt x="1172" y="35"/>
                  </a:lnTo>
                  <a:lnTo>
                    <a:pt x="1167" y="33"/>
                  </a:lnTo>
                  <a:lnTo>
                    <a:pt x="1161" y="31"/>
                  </a:lnTo>
                  <a:lnTo>
                    <a:pt x="1155" y="29"/>
                  </a:lnTo>
                  <a:lnTo>
                    <a:pt x="1144" y="28"/>
                  </a:lnTo>
                  <a:lnTo>
                    <a:pt x="1133" y="27"/>
                  </a:lnTo>
                  <a:lnTo>
                    <a:pt x="1131" y="25"/>
                  </a:lnTo>
                  <a:lnTo>
                    <a:pt x="1127" y="23"/>
                  </a:lnTo>
                  <a:lnTo>
                    <a:pt x="1125" y="22"/>
                  </a:lnTo>
                  <a:lnTo>
                    <a:pt x="1122" y="22"/>
                  </a:lnTo>
                  <a:lnTo>
                    <a:pt x="1121" y="22"/>
                  </a:lnTo>
                  <a:lnTo>
                    <a:pt x="1118" y="22"/>
                  </a:lnTo>
                  <a:lnTo>
                    <a:pt x="1116" y="23"/>
                  </a:lnTo>
                  <a:lnTo>
                    <a:pt x="1114" y="22"/>
                  </a:lnTo>
                  <a:lnTo>
                    <a:pt x="1113" y="22"/>
                  </a:lnTo>
                  <a:lnTo>
                    <a:pt x="1111" y="20"/>
                  </a:lnTo>
                  <a:lnTo>
                    <a:pt x="1111" y="19"/>
                  </a:lnTo>
                  <a:lnTo>
                    <a:pt x="1111" y="18"/>
                  </a:lnTo>
                  <a:lnTo>
                    <a:pt x="1112" y="18"/>
                  </a:lnTo>
                  <a:lnTo>
                    <a:pt x="1113" y="17"/>
                  </a:lnTo>
                  <a:lnTo>
                    <a:pt x="1113" y="15"/>
                  </a:lnTo>
                  <a:lnTo>
                    <a:pt x="1113" y="14"/>
                  </a:lnTo>
                  <a:lnTo>
                    <a:pt x="1111" y="13"/>
                  </a:lnTo>
                  <a:lnTo>
                    <a:pt x="1110" y="12"/>
                  </a:lnTo>
                  <a:lnTo>
                    <a:pt x="1107" y="10"/>
                  </a:lnTo>
                  <a:lnTo>
                    <a:pt x="1106" y="9"/>
                  </a:lnTo>
                  <a:lnTo>
                    <a:pt x="1106" y="8"/>
                  </a:lnTo>
                  <a:lnTo>
                    <a:pt x="1107" y="8"/>
                  </a:lnTo>
                  <a:lnTo>
                    <a:pt x="1109" y="8"/>
                  </a:lnTo>
                  <a:lnTo>
                    <a:pt x="1111" y="8"/>
                  </a:lnTo>
                  <a:lnTo>
                    <a:pt x="1113" y="9"/>
                  </a:lnTo>
                  <a:lnTo>
                    <a:pt x="1115" y="10"/>
                  </a:lnTo>
                  <a:lnTo>
                    <a:pt x="1117" y="11"/>
                  </a:lnTo>
                  <a:lnTo>
                    <a:pt x="1118" y="13"/>
                  </a:lnTo>
                  <a:lnTo>
                    <a:pt x="1121" y="15"/>
                  </a:lnTo>
                  <a:lnTo>
                    <a:pt x="1122" y="15"/>
                  </a:lnTo>
                  <a:lnTo>
                    <a:pt x="1124" y="15"/>
                  </a:lnTo>
                  <a:lnTo>
                    <a:pt x="1125" y="14"/>
                  </a:lnTo>
                  <a:lnTo>
                    <a:pt x="1126" y="13"/>
                  </a:lnTo>
                  <a:lnTo>
                    <a:pt x="1125" y="12"/>
                  </a:lnTo>
                  <a:lnTo>
                    <a:pt x="1124" y="11"/>
                  </a:lnTo>
                  <a:lnTo>
                    <a:pt x="1123" y="10"/>
                  </a:lnTo>
                  <a:lnTo>
                    <a:pt x="1122" y="9"/>
                  </a:lnTo>
                  <a:lnTo>
                    <a:pt x="1121" y="8"/>
                  </a:lnTo>
                  <a:lnTo>
                    <a:pt x="1121" y="7"/>
                  </a:lnTo>
                  <a:lnTo>
                    <a:pt x="1121" y="7"/>
                  </a:lnTo>
                  <a:lnTo>
                    <a:pt x="1123" y="7"/>
                  </a:lnTo>
                  <a:lnTo>
                    <a:pt x="1124" y="7"/>
                  </a:lnTo>
                  <a:lnTo>
                    <a:pt x="1127" y="8"/>
                  </a:lnTo>
                  <a:lnTo>
                    <a:pt x="1129" y="9"/>
                  </a:lnTo>
                  <a:lnTo>
                    <a:pt x="1133" y="9"/>
                  </a:lnTo>
                  <a:lnTo>
                    <a:pt x="1135" y="10"/>
                  </a:lnTo>
                  <a:lnTo>
                    <a:pt x="1137" y="11"/>
                  </a:lnTo>
                  <a:lnTo>
                    <a:pt x="1138" y="11"/>
                  </a:lnTo>
                  <a:lnTo>
                    <a:pt x="1139" y="11"/>
                  </a:lnTo>
                  <a:lnTo>
                    <a:pt x="1142" y="11"/>
                  </a:lnTo>
                  <a:lnTo>
                    <a:pt x="1143" y="12"/>
                  </a:lnTo>
                  <a:lnTo>
                    <a:pt x="1145" y="12"/>
                  </a:lnTo>
                  <a:lnTo>
                    <a:pt x="1146" y="12"/>
                  </a:lnTo>
                  <a:lnTo>
                    <a:pt x="1146" y="11"/>
                  </a:lnTo>
                  <a:lnTo>
                    <a:pt x="1145" y="11"/>
                  </a:lnTo>
                  <a:lnTo>
                    <a:pt x="1144" y="10"/>
                  </a:lnTo>
                  <a:lnTo>
                    <a:pt x="1144" y="10"/>
                  </a:lnTo>
                  <a:lnTo>
                    <a:pt x="1142" y="9"/>
                  </a:lnTo>
                  <a:lnTo>
                    <a:pt x="1142" y="8"/>
                  </a:lnTo>
                  <a:lnTo>
                    <a:pt x="1140" y="7"/>
                  </a:lnTo>
                  <a:lnTo>
                    <a:pt x="1140" y="7"/>
                  </a:lnTo>
                  <a:lnTo>
                    <a:pt x="1139" y="7"/>
                  </a:lnTo>
                  <a:lnTo>
                    <a:pt x="1139" y="7"/>
                  </a:lnTo>
                  <a:lnTo>
                    <a:pt x="1140" y="7"/>
                  </a:lnTo>
                  <a:lnTo>
                    <a:pt x="1142" y="7"/>
                  </a:lnTo>
                  <a:lnTo>
                    <a:pt x="1144" y="7"/>
                  </a:lnTo>
                  <a:lnTo>
                    <a:pt x="1145" y="8"/>
                  </a:lnTo>
                  <a:lnTo>
                    <a:pt x="1147" y="9"/>
                  </a:lnTo>
                  <a:lnTo>
                    <a:pt x="1148" y="9"/>
                  </a:lnTo>
                  <a:lnTo>
                    <a:pt x="1148" y="9"/>
                  </a:lnTo>
                  <a:lnTo>
                    <a:pt x="1149" y="9"/>
                  </a:lnTo>
                  <a:lnTo>
                    <a:pt x="1149" y="8"/>
                  </a:lnTo>
                  <a:lnTo>
                    <a:pt x="1148" y="7"/>
                  </a:lnTo>
                  <a:lnTo>
                    <a:pt x="1147" y="6"/>
                  </a:lnTo>
                  <a:lnTo>
                    <a:pt x="1146" y="4"/>
                  </a:lnTo>
                  <a:lnTo>
                    <a:pt x="1147" y="3"/>
                  </a:lnTo>
                  <a:lnTo>
                    <a:pt x="1148" y="3"/>
                  </a:lnTo>
                  <a:lnTo>
                    <a:pt x="1150" y="2"/>
                  </a:lnTo>
                  <a:lnTo>
                    <a:pt x="1153" y="2"/>
                  </a:lnTo>
                  <a:lnTo>
                    <a:pt x="1157" y="4"/>
                  </a:lnTo>
                  <a:lnTo>
                    <a:pt x="1159" y="7"/>
                  </a:lnTo>
                  <a:lnTo>
                    <a:pt x="1161" y="9"/>
                  </a:lnTo>
                  <a:lnTo>
                    <a:pt x="1162" y="10"/>
                  </a:lnTo>
                  <a:lnTo>
                    <a:pt x="1164" y="12"/>
                  </a:lnTo>
                  <a:lnTo>
                    <a:pt x="1165" y="13"/>
                  </a:lnTo>
                  <a:lnTo>
                    <a:pt x="1166" y="15"/>
                  </a:lnTo>
                  <a:lnTo>
                    <a:pt x="1168" y="18"/>
                  </a:lnTo>
                  <a:lnTo>
                    <a:pt x="1181" y="24"/>
                  </a:lnTo>
                  <a:lnTo>
                    <a:pt x="1186" y="27"/>
                  </a:lnTo>
                  <a:lnTo>
                    <a:pt x="1189" y="28"/>
                  </a:lnTo>
                  <a:lnTo>
                    <a:pt x="1193" y="30"/>
                  </a:lnTo>
                  <a:lnTo>
                    <a:pt x="1197" y="31"/>
                  </a:lnTo>
                  <a:lnTo>
                    <a:pt x="1199" y="33"/>
                  </a:lnTo>
                  <a:lnTo>
                    <a:pt x="1202" y="35"/>
                  </a:lnTo>
                  <a:lnTo>
                    <a:pt x="1203" y="36"/>
                  </a:lnTo>
                  <a:lnTo>
                    <a:pt x="1205" y="39"/>
                  </a:lnTo>
                  <a:lnTo>
                    <a:pt x="1208" y="40"/>
                  </a:lnTo>
                  <a:lnTo>
                    <a:pt x="1209" y="41"/>
                  </a:lnTo>
                  <a:lnTo>
                    <a:pt x="1210" y="40"/>
                  </a:lnTo>
                  <a:lnTo>
                    <a:pt x="1210" y="40"/>
                  </a:lnTo>
                  <a:lnTo>
                    <a:pt x="1209" y="39"/>
                  </a:lnTo>
                  <a:lnTo>
                    <a:pt x="1208" y="38"/>
                  </a:lnTo>
                  <a:lnTo>
                    <a:pt x="1207" y="36"/>
                  </a:lnTo>
                  <a:lnTo>
                    <a:pt x="1205" y="35"/>
                  </a:lnTo>
                  <a:lnTo>
                    <a:pt x="1205" y="35"/>
                  </a:lnTo>
                  <a:lnTo>
                    <a:pt x="1204" y="34"/>
                  </a:lnTo>
                  <a:lnTo>
                    <a:pt x="1202" y="33"/>
                  </a:lnTo>
                  <a:lnTo>
                    <a:pt x="1201" y="32"/>
                  </a:lnTo>
                  <a:lnTo>
                    <a:pt x="1201" y="30"/>
                  </a:lnTo>
                  <a:lnTo>
                    <a:pt x="1201" y="29"/>
                  </a:lnTo>
                  <a:lnTo>
                    <a:pt x="1202" y="29"/>
                  </a:lnTo>
                  <a:lnTo>
                    <a:pt x="1204" y="29"/>
                  </a:lnTo>
                  <a:lnTo>
                    <a:pt x="1207" y="30"/>
                  </a:lnTo>
                  <a:lnTo>
                    <a:pt x="1208" y="30"/>
                  </a:lnTo>
                  <a:lnTo>
                    <a:pt x="1210" y="30"/>
                  </a:lnTo>
                  <a:lnTo>
                    <a:pt x="1211" y="30"/>
                  </a:lnTo>
                  <a:lnTo>
                    <a:pt x="1211" y="30"/>
                  </a:lnTo>
                  <a:lnTo>
                    <a:pt x="1211" y="30"/>
                  </a:lnTo>
                  <a:lnTo>
                    <a:pt x="1210" y="29"/>
                  </a:lnTo>
                  <a:lnTo>
                    <a:pt x="1208" y="27"/>
                  </a:lnTo>
                  <a:lnTo>
                    <a:pt x="1207" y="25"/>
                  </a:lnTo>
                  <a:lnTo>
                    <a:pt x="1207" y="24"/>
                  </a:lnTo>
                  <a:lnTo>
                    <a:pt x="1208" y="23"/>
                  </a:lnTo>
                  <a:lnTo>
                    <a:pt x="1209" y="23"/>
                  </a:lnTo>
                  <a:lnTo>
                    <a:pt x="1210" y="23"/>
                  </a:lnTo>
                  <a:lnTo>
                    <a:pt x="1212" y="23"/>
                  </a:lnTo>
                  <a:lnTo>
                    <a:pt x="1213" y="23"/>
                  </a:lnTo>
                  <a:lnTo>
                    <a:pt x="1215" y="23"/>
                  </a:lnTo>
                  <a:lnTo>
                    <a:pt x="1215" y="22"/>
                  </a:lnTo>
                  <a:lnTo>
                    <a:pt x="1215" y="22"/>
                  </a:lnTo>
                  <a:lnTo>
                    <a:pt x="1214" y="20"/>
                  </a:lnTo>
                  <a:lnTo>
                    <a:pt x="1211" y="18"/>
                  </a:lnTo>
                  <a:lnTo>
                    <a:pt x="1208" y="15"/>
                  </a:lnTo>
                  <a:lnTo>
                    <a:pt x="1204" y="14"/>
                  </a:lnTo>
                  <a:lnTo>
                    <a:pt x="1201" y="13"/>
                  </a:lnTo>
                  <a:lnTo>
                    <a:pt x="1199" y="12"/>
                  </a:lnTo>
                  <a:lnTo>
                    <a:pt x="1197" y="10"/>
                  </a:lnTo>
                  <a:lnTo>
                    <a:pt x="1196" y="9"/>
                  </a:lnTo>
                  <a:lnTo>
                    <a:pt x="1194" y="7"/>
                  </a:lnTo>
                  <a:lnTo>
                    <a:pt x="1193" y="4"/>
                  </a:lnTo>
                  <a:lnTo>
                    <a:pt x="1193" y="3"/>
                  </a:lnTo>
                  <a:lnTo>
                    <a:pt x="1194" y="2"/>
                  </a:lnTo>
                  <a:lnTo>
                    <a:pt x="1196" y="2"/>
                  </a:lnTo>
                  <a:lnTo>
                    <a:pt x="1197" y="1"/>
                  </a:lnTo>
                  <a:lnTo>
                    <a:pt x="1199" y="1"/>
                  </a:lnTo>
                  <a:lnTo>
                    <a:pt x="1200" y="1"/>
                  </a:lnTo>
                  <a:lnTo>
                    <a:pt x="1201" y="0"/>
                  </a:lnTo>
                  <a:lnTo>
                    <a:pt x="1203"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02" name="Freeform 38"/>
            <p:cNvSpPr>
              <a:spLocks noEditPoints="1"/>
            </p:cNvSpPr>
            <p:nvPr/>
          </p:nvSpPr>
          <p:spPr bwMode="auto">
            <a:xfrm>
              <a:off x="5541" y="601"/>
              <a:ext cx="488" cy="489"/>
            </a:xfrm>
            <a:custGeom>
              <a:avLst/>
              <a:gdLst>
                <a:gd name="T0" fmla="*/ 1638 w 3420"/>
                <a:gd name="T1" fmla="*/ 448 h 3420"/>
                <a:gd name="T2" fmla="*/ 1678 w 3420"/>
                <a:gd name="T3" fmla="*/ 437 h 3420"/>
                <a:gd name="T4" fmla="*/ 1715 w 3420"/>
                <a:gd name="T5" fmla="*/ 464 h 3420"/>
                <a:gd name="T6" fmla="*/ 1723 w 3420"/>
                <a:gd name="T7" fmla="*/ 497 h 3420"/>
                <a:gd name="T8" fmla="*/ 1660 w 3420"/>
                <a:gd name="T9" fmla="*/ 514 h 3420"/>
                <a:gd name="T10" fmla="*/ 1638 w 3420"/>
                <a:gd name="T11" fmla="*/ 567 h 3420"/>
                <a:gd name="T12" fmla="*/ 1616 w 3420"/>
                <a:gd name="T13" fmla="*/ 596 h 3420"/>
                <a:gd name="T14" fmla="*/ 1549 w 3420"/>
                <a:gd name="T15" fmla="*/ 625 h 3420"/>
                <a:gd name="T16" fmla="*/ 1551 w 3420"/>
                <a:gd name="T17" fmla="*/ 642 h 3420"/>
                <a:gd name="T18" fmla="*/ 1559 w 3420"/>
                <a:gd name="T19" fmla="*/ 687 h 3420"/>
                <a:gd name="T20" fmla="*/ 1461 w 3420"/>
                <a:gd name="T21" fmla="*/ 732 h 3420"/>
                <a:gd name="T22" fmla="*/ 1479 w 3420"/>
                <a:gd name="T23" fmla="*/ 785 h 3420"/>
                <a:gd name="T24" fmla="*/ 1426 w 3420"/>
                <a:gd name="T25" fmla="*/ 774 h 3420"/>
                <a:gd name="T26" fmla="*/ 1332 w 3420"/>
                <a:gd name="T27" fmla="*/ 778 h 3420"/>
                <a:gd name="T28" fmla="*/ 1333 w 3420"/>
                <a:gd name="T29" fmla="*/ 818 h 3420"/>
                <a:gd name="T30" fmla="*/ 1487 w 3420"/>
                <a:gd name="T31" fmla="*/ 813 h 3420"/>
                <a:gd name="T32" fmla="*/ 1433 w 3420"/>
                <a:gd name="T33" fmla="*/ 855 h 3420"/>
                <a:gd name="T34" fmla="*/ 1301 w 3420"/>
                <a:gd name="T35" fmla="*/ 868 h 3420"/>
                <a:gd name="T36" fmla="*/ 1231 w 3420"/>
                <a:gd name="T37" fmla="*/ 787 h 3420"/>
                <a:gd name="T38" fmla="*/ 1251 w 3420"/>
                <a:gd name="T39" fmla="*/ 752 h 3420"/>
                <a:gd name="T40" fmla="*/ 1326 w 3420"/>
                <a:gd name="T41" fmla="*/ 761 h 3420"/>
                <a:gd name="T42" fmla="*/ 1384 w 3420"/>
                <a:gd name="T43" fmla="*/ 707 h 3420"/>
                <a:gd name="T44" fmla="*/ 1407 w 3420"/>
                <a:gd name="T45" fmla="*/ 684 h 3420"/>
                <a:gd name="T46" fmla="*/ 1373 w 3420"/>
                <a:gd name="T47" fmla="*/ 658 h 3420"/>
                <a:gd name="T48" fmla="*/ 1407 w 3420"/>
                <a:gd name="T49" fmla="*/ 647 h 3420"/>
                <a:gd name="T50" fmla="*/ 1358 w 3420"/>
                <a:gd name="T51" fmla="*/ 659 h 3420"/>
                <a:gd name="T52" fmla="*/ 1318 w 3420"/>
                <a:gd name="T53" fmla="*/ 678 h 3420"/>
                <a:gd name="T54" fmla="*/ 1267 w 3420"/>
                <a:gd name="T55" fmla="*/ 663 h 3420"/>
                <a:gd name="T56" fmla="*/ 1246 w 3420"/>
                <a:gd name="T57" fmla="*/ 625 h 3420"/>
                <a:gd name="T58" fmla="*/ 1242 w 3420"/>
                <a:gd name="T59" fmla="*/ 594 h 3420"/>
                <a:gd name="T60" fmla="*/ 1266 w 3420"/>
                <a:gd name="T61" fmla="*/ 565 h 3420"/>
                <a:gd name="T62" fmla="*/ 1268 w 3420"/>
                <a:gd name="T63" fmla="*/ 534 h 3420"/>
                <a:gd name="T64" fmla="*/ 1328 w 3420"/>
                <a:gd name="T65" fmla="*/ 565 h 3420"/>
                <a:gd name="T66" fmla="*/ 1359 w 3420"/>
                <a:gd name="T67" fmla="*/ 568 h 3420"/>
                <a:gd name="T68" fmla="*/ 1406 w 3420"/>
                <a:gd name="T69" fmla="*/ 615 h 3420"/>
                <a:gd name="T70" fmla="*/ 1435 w 3420"/>
                <a:gd name="T71" fmla="*/ 587 h 3420"/>
                <a:gd name="T72" fmla="*/ 1442 w 3420"/>
                <a:gd name="T73" fmla="*/ 583 h 3420"/>
                <a:gd name="T74" fmla="*/ 1531 w 3420"/>
                <a:gd name="T75" fmla="*/ 543 h 3420"/>
                <a:gd name="T76" fmla="*/ 1484 w 3420"/>
                <a:gd name="T77" fmla="*/ 541 h 3420"/>
                <a:gd name="T78" fmla="*/ 1389 w 3420"/>
                <a:gd name="T79" fmla="*/ 562 h 3420"/>
                <a:gd name="T80" fmla="*/ 1363 w 3420"/>
                <a:gd name="T81" fmla="*/ 554 h 3420"/>
                <a:gd name="T82" fmla="*/ 1343 w 3420"/>
                <a:gd name="T83" fmla="*/ 541 h 3420"/>
                <a:gd name="T84" fmla="*/ 1341 w 3420"/>
                <a:gd name="T85" fmla="*/ 517 h 3420"/>
                <a:gd name="T86" fmla="*/ 1320 w 3420"/>
                <a:gd name="T87" fmla="*/ 497 h 3420"/>
                <a:gd name="T88" fmla="*/ 1394 w 3420"/>
                <a:gd name="T89" fmla="*/ 484 h 3420"/>
                <a:gd name="T90" fmla="*/ 1395 w 3420"/>
                <a:gd name="T91" fmla="*/ 457 h 3420"/>
                <a:gd name="T92" fmla="*/ 1440 w 3420"/>
                <a:gd name="T93" fmla="*/ 466 h 3420"/>
                <a:gd name="T94" fmla="*/ 1449 w 3420"/>
                <a:gd name="T95" fmla="*/ 438 h 3420"/>
                <a:gd name="T96" fmla="*/ 1495 w 3420"/>
                <a:gd name="T97" fmla="*/ 431 h 3420"/>
                <a:gd name="T98" fmla="*/ 1516 w 3420"/>
                <a:gd name="T99" fmla="*/ 437 h 3420"/>
                <a:gd name="T100" fmla="*/ 1560 w 3420"/>
                <a:gd name="T101" fmla="*/ 427 h 3420"/>
                <a:gd name="T102" fmla="*/ 1286 w 3420"/>
                <a:gd name="T103" fmla="*/ 178 h 3420"/>
                <a:gd name="T104" fmla="*/ 564 w 3420"/>
                <a:gd name="T105" fmla="*/ 607 h 3420"/>
                <a:gd name="T106" fmla="*/ 664 w 3420"/>
                <a:gd name="T107" fmla="*/ 2908 h 3420"/>
                <a:gd name="T108" fmla="*/ 1535 w 3420"/>
                <a:gd name="T109" fmla="*/ 3291 h 3420"/>
                <a:gd name="T110" fmla="*/ 2564 w 3420"/>
                <a:gd name="T111" fmla="*/ 3052 h 3420"/>
                <a:gd name="T112" fmla="*/ 3166 w 3420"/>
                <a:gd name="T113" fmla="*/ 1070 h 3420"/>
                <a:gd name="T114" fmla="*/ 2141 w 3420"/>
                <a:gd name="T115" fmla="*/ 179 h 3420"/>
                <a:gd name="T116" fmla="*/ 2328 w 3420"/>
                <a:gd name="T117" fmla="*/ 115 h 3420"/>
                <a:gd name="T118" fmla="*/ 2989 w 3420"/>
                <a:gd name="T119" fmla="*/ 2845 h 3420"/>
                <a:gd name="T120" fmla="*/ 200 w 3420"/>
                <a:gd name="T121" fmla="*/ 2514 h 3420"/>
                <a:gd name="T122" fmla="*/ 1496 w 3420"/>
                <a:gd name="T123" fmla="*/ 14 h 3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20" h="3420">
                  <a:moveTo>
                    <a:pt x="1591" y="420"/>
                  </a:moveTo>
                  <a:lnTo>
                    <a:pt x="1595" y="421"/>
                  </a:lnTo>
                  <a:lnTo>
                    <a:pt x="1601" y="422"/>
                  </a:lnTo>
                  <a:lnTo>
                    <a:pt x="1605" y="424"/>
                  </a:lnTo>
                  <a:lnTo>
                    <a:pt x="1607" y="426"/>
                  </a:lnTo>
                  <a:lnTo>
                    <a:pt x="1610" y="426"/>
                  </a:lnTo>
                  <a:lnTo>
                    <a:pt x="1614" y="427"/>
                  </a:lnTo>
                  <a:lnTo>
                    <a:pt x="1617" y="427"/>
                  </a:lnTo>
                  <a:lnTo>
                    <a:pt x="1622" y="427"/>
                  </a:lnTo>
                  <a:lnTo>
                    <a:pt x="1625" y="429"/>
                  </a:lnTo>
                  <a:lnTo>
                    <a:pt x="1628" y="429"/>
                  </a:lnTo>
                  <a:lnTo>
                    <a:pt x="1630" y="430"/>
                  </a:lnTo>
                  <a:lnTo>
                    <a:pt x="1633" y="430"/>
                  </a:lnTo>
                  <a:lnTo>
                    <a:pt x="1636" y="431"/>
                  </a:lnTo>
                  <a:lnTo>
                    <a:pt x="1642" y="431"/>
                  </a:lnTo>
                  <a:lnTo>
                    <a:pt x="1648" y="433"/>
                  </a:lnTo>
                  <a:lnTo>
                    <a:pt x="1653" y="435"/>
                  </a:lnTo>
                  <a:lnTo>
                    <a:pt x="1656" y="435"/>
                  </a:lnTo>
                  <a:lnTo>
                    <a:pt x="1657" y="436"/>
                  </a:lnTo>
                  <a:lnTo>
                    <a:pt x="1657" y="438"/>
                  </a:lnTo>
                  <a:lnTo>
                    <a:pt x="1655" y="440"/>
                  </a:lnTo>
                  <a:lnTo>
                    <a:pt x="1653" y="441"/>
                  </a:lnTo>
                  <a:lnTo>
                    <a:pt x="1651" y="442"/>
                  </a:lnTo>
                  <a:lnTo>
                    <a:pt x="1649" y="443"/>
                  </a:lnTo>
                  <a:lnTo>
                    <a:pt x="1647" y="444"/>
                  </a:lnTo>
                  <a:lnTo>
                    <a:pt x="1646" y="445"/>
                  </a:lnTo>
                  <a:lnTo>
                    <a:pt x="1645" y="445"/>
                  </a:lnTo>
                  <a:lnTo>
                    <a:pt x="1644" y="446"/>
                  </a:lnTo>
                  <a:lnTo>
                    <a:pt x="1642" y="447"/>
                  </a:lnTo>
                  <a:lnTo>
                    <a:pt x="1640" y="448"/>
                  </a:lnTo>
                  <a:lnTo>
                    <a:pt x="1639" y="448"/>
                  </a:lnTo>
                  <a:lnTo>
                    <a:pt x="1638" y="448"/>
                  </a:lnTo>
                  <a:lnTo>
                    <a:pt x="1637" y="448"/>
                  </a:lnTo>
                  <a:lnTo>
                    <a:pt x="1637" y="449"/>
                  </a:lnTo>
                  <a:lnTo>
                    <a:pt x="1638" y="451"/>
                  </a:lnTo>
                  <a:lnTo>
                    <a:pt x="1640" y="451"/>
                  </a:lnTo>
                  <a:lnTo>
                    <a:pt x="1641" y="451"/>
                  </a:lnTo>
                  <a:lnTo>
                    <a:pt x="1644" y="451"/>
                  </a:lnTo>
                  <a:lnTo>
                    <a:pt x="1645" y="451"/>
                  </a:lnTo>
                  <a:lnTo>
                    <a:pt x="1647" y="451"/>
                  </a:lnTo>
                  <a:lnTo>
                    <a:pt x="1648" y="451"/>
                  </a:lnTo>
                  <a:lnTo>
                    <a:pt x="1648" y="451"/>
                  </a:lnTo>
                  <a:lnTo>
                    <a:pt x="1648" y="451"/>
                  </a:lnTo>
                  <a:lnTo>
                    <a:pt x="1649" y="451"/>
                  </a:lnTo>
                  <a:lnTo>
                    <a:pt x="1650" y="448"/>
                  </a:lnTo>
                  <a:lnTo>
                    <a:pt x="1653" y="447"/>
                  </a:lnTo>
                  <a:lnTo>
                    <a:pt x="1656" y="447"/>
                  </a:lnTo>
                  <a:lnTo>
                    <a:pt x="1658" y="446"/>
                  </a:lnTo>
                  <a:lnTo>
                    <a:pt x="1660" y="445"/>
                  </a:lnTo>
                  <a:lnTo>
                    <a:pt x="1662" y="444"/>
                  </a:lnTo>
                  <a:lnTo>
                    <a:pt x="1663" y="442"/>
                  </a:lnTo>
                  <a:lnTo>
                    <a:pt x="1666" y="441"/>
                  </a:lnTo>
                  <a:lnTo>
                    <a:pt x="1669" y="441"/>
                  </a:lnTo>
                  <a:lnTo>
                    <a:pt x="1672" y="442"/>
                  </a:lnTo>
                  <a:lnTo>
                    <a:pt x="1675" y="444"/>
                  </a:lnTo>
                  <a:lnTo>
                    <a:pt x="1678" y="445"/>
                  </a:lnTo>
                  <a:lnTo>
                    <a:pt x="1679" y="445"/>
                  </a:lnTo>
                  <a:lnTo>
                    <a:pt x="1679" y="445"/>
                  </a:lnTo>
                  <a:lnTo>
                    <a:pt x="1679" y="444"/>
                  </a:lnTo>
                  <a:lnTo>
                    <a:pt x="1679" y="443"/>
                  </a:lnTo>
                  <a:lnTo>
                    <a:pt x="1678" y="442"/>
                  </a:lnTo>
                  <a:lnTo>
                    <a:pt x="1678" y="441"/>
                  </a:lnTo>
                  <a:lnTo>
                    <a:pt x="1678" y="440"/>
                  </a:lnTo>
                  <a:lnTo>
                    <a:pt x="1678" y="437"/>
                  </a:lnTo>
                  <a:lnTo>
                    <a:pt x="1678" y="437"/>
                  </a:lnTo>
                  <a:lnTo>
                    <a:pt x="1680" y="436"/>
                  </a:lnTo>
                  <a:lnTo>
                    <a:pt x="1681" y="437"/>
                  </a:lnTo>
                  <a:lnTo>
                    <a:pt x="1683" y="437"/>
                  </a:lnTo>
                  <a:lnTo>
                    <a:pt x="1685" y="438"/>
                  </a:lnTo>
                  <a:lnTo>
                    <a:pt x="1688" y="440"/>
                  </a:lnTo>
                  <a:lnTo>
                    <a:pt x="1689" y="442"/>
                  </a:lnTo>
                  <a:lnTo>
                    <a:pt x="1689" y="442"/>
                  </a:lnTo>
                  <a:lnTo>
                    <a:pt x="1690" y="443"/>
                  </a:lnTo>
                  <a:lnTo>
                    <a:pt x="1690" y="444"/>
                  </a:lnTo>
                  <a:lnTo>
                    <a:pt x="1692" y="444"/>
                  </a:lnTo>
                  <a:lnTo>
                    <a:pt x="1693" y="444"/>
                  </a:lnTo>
                  <a:lnTo>
                    <a:pt x="1695" y="442"/>
                  </a:lnTo>
                  <a:lnTo>
                    <a:pt x="1697" y="442"/>
                  </a:lnTo>
                  <a:lnTo>
                    <a:pt x="1702" y="442"/>
                  </a:lnTo>
                  <a:lnTo>
                    <a:pt x="1704" y="442"/>
                  </a:lnTo>
                  <a:lnTo>
                    <a:pt x="1705" y="443"/>
                  </a:lnTo>
                  <a:lnTo>
                    <a:pt x="1704" y="444"/>
                  </a:lnTo>
                  <a:lnTo>
                    <a:pt x="1703" y="445"/>
                  </a:lnTo>
                  <a:lnTo>
                    <a:pt x="1703" y="446"/>
                  </a:lnTo>
                  <a:lnTo>
                    <a:pt x="1702" y="447"/>
                  </a:lnTo>
                  <a:lnTo>
                    <a:pt x="1702" y="448"/>
                  </a:lnTo>
                  <a:lnTo>
                    <a:pt x="1704" y="451"/>
                  </a:lnTo>
                  <a:lnTo>
                    <a:pt x="1706" y="452"/>
                  </a:lnTo>
                  <a:lnTo>
                    <a:pt x="1708" y="453"/>
                  </a:lnTo>
                  <a:lnTo>
                    <a:pt x="1711" y="455"/>
                  </a:lnTo>
                  <a:lnTo>
                    <a:pt x="1712" y="456"/>
                  </a:lnTo>
                  <a:lnTo>
                    <a:pt x="1713" y="459"/>
                  </a:lnTo>
                  <a:lnTo>
                    <a:pt x="1713" y="460"/>
                  </a:lnTo>
                  <a:lnTo>
                    <a:pt x="1713" y="462"/>
                  </a:lnTo>
                  <a:lnTo>
                    <a:pt x="1713" y="462"/>
                  </a:lnTo>
                  <a:lnTo>
                    <a:pt x="1715" y="464"/>
                  </a:lnTo>
                  <a:lnTo>
                    <a:pt x="1718" y="465"/>
                  </a:lnTo>
                  <a:lnTo>
                    <a:pt x="1723" y="466"/>
                  </a:lnTo>
                  <a:lnTo>
                    <a:pt x="1726" y="466"/>
                  </a:lnTo>
                  <a:lnTo>
                    <a:pt x="1728" y="466"/>
                  </a:lnTo>
                  <a:lnTo>
                    <a:pt x="1730" y="466"/>
                  </a:lnTo>
                  <a:lnTo>
                    <a:pt x="1733" y="467"/>
                  </a:lnTo>
                  <a:lnTo>
                    <a:pt x="1734" y="468"/>
                  </a:lnTo>
                  <a:lnTo>
                    <a:pt x="1736" y="470"/>
                  </a:lnTo>
                  <a:lnTo>
                    <a:pt x="1739" y="471"/>
                  </a:lnTo>
                  <a:lnTo>
                    <a:pt x="1741" y="473"/>
                  </a:lnTo>
                  <a:lnTo>
                    <a:pt x="1744" y="474"/>
                  </a:lnTo>
                  <a:lnTo>
                    <a:pt x="1745" y="477"/>
                  </a:lnTo>
                  <a:lnTo>
                    <a:pt x="1746" y="477"/>
                  </a:lnTo>
                  <a:lnTo>
                    <a:pt x="1746" y="478"/>
                  </a:lnTo>
                  <a:lnTo>
                    <a:pt x="1747" y="479"/>
                  </a:lnTo>
                  <a:lnTo>
                    <a:pt x="1748" y="480"/>
                  </a:lnTo>
                  <a:lnTo>
                    <a:pt x="1749" y="481"/>
                  </a:lnTo>
                  <a:lnTo>
                    <a:pt x="1749" y="483"/>
                  </a:lnTo>
                  <a:lnTo>
                    <a:pt x="1747" y="484"/>
                  </a:lnTo>
                  <a:lnTo>
                    <a:pt x="1745" y="485"/>
                  </a:lnTo>
                  <a:lnTo>
                    <a:pt x="1744" y="485"/>
                  </a:lnTo>
                  <a:lnTo>
                    <a:pt x="1743" y="486"/>
                  </a:lnTo>
                  <a:lnTo>
                    <a:pt x="1740" y="487"/>
                  </a:lnTo>
                  <a:lnTo>
                    <a:pt x="1738" y="488"/>
                  </a:lnTo>
                  <a:lnTo>
                    <a:pt x="1736" y="490"/>
                  </a:lnTo>
                  <a:lnTo>
                    <a:pt x="1735" y="491"/>
                  </a:lnTo>
                  <a:lnTo>
                    <a:pt x="1733" y="492"/>
                  </a:lnTo>
                  <a:lnTo>
                    <a:pt x="1732" y="492"/>
                  </a:lnTo>
                  <a:lnTo>
                    <a:pt x="1729" y="492"/>
                  </a:lnTo>
                  <a:lnTo>
                    <a:pt x="1728" y="494"/>
                  </a:lnTo>
                  <a:lnTo>
                    <a:pt x="1726" y="495"/>
                  </a:lnTo>
                  <a:lnTo>
                    <a:pt x="1723" y="497"/>
                  </a:lnTo>
                  <a:lnTo>
                    <a:pt x="1718" y="499"/>
                  </a:lnTo>
                  <a:lnTo>
                    <a:pt x="1715" y="501"/>
                  </a:lnTo>
                  <a:lnTo>
                    <a:pt x="1713" y="501"/>
                  </a:lnTo>
                  <a:lnTo>
                    <a:pt x="1711" y="502"/>
                  </a:lnTo>
                  <a:lnTo>
                    <a:pt x="1710" y="502"/>
                  </a:lnTo>
                  <a:lnTo>
                    <a:pt x="1708" y="505"/>
                  </a:lnTo>
                  <a:lnTo>
                    <a:pt x="1706" y="506"/>
                  </a:lnTo>
                  <a:lnTo>
                    <a:pt x="1703" y="506"/>
                  </a:lnTo>
                  <a:lnTo>
                    <a:pt x="1700" y="505"/>
                  </a:lnTo>
                  <a:lnTo>
                    <a:pt x="1697" y="505"/>
                  </a:lnTo>
                  <a:lnTo>
                    <a:pt x="1694" y="505"/>
                  </a:lnTo>
                  <a:lnTo>
                    <a:pt x="1693" y="506"/>
                  </a:lnTo>
                  <a:lnTo>
                    <a:pt x="1693" y="510"/>
                  </a:lnTo>
                  <a:lnTo>
                    <a:pt x="1691" y="510"/>
                  </a:lnTo>
                  <a:lnTo>
                    <a:pt x="1689" y="511"/>
                  </a:lnTo>
                  <a:lnTo>
                    <a:pt x="1685" y="510"/>
                  </a:lnTo>
                  <a:lnTo>
                    <a:pt x="1682" y="510"/>
                  </a:lnTo>
                  <a:lnTo>
                    <a:pt x="1680" y="510"/>
                  </a:lnTo>
                  <a:lnTo>
                    <a:pt x="1660" y="510"/>
                  </a:lnTo>
                  <a:lnTo>
                    <a:pt x="1659" y="510"/>
                  </a:lnTo>
                  <a:lnTo>
                    <a:pt x="1658" y="510"/>
                  </a:lnTo>
                  <a:lnTo>
                    <a:pt x="1655" y="510"/>
                  </a:lnTo>
                  <a:lnTo>
                    <a:pt x="1652" y="510"/>
                  </a:lnTo>
                  <a:lnTo>
                    <a:pt x="1649" y="510"/>
                  </a:lnTo>
                  <a:lnTo>
                    <a:pt x="1648" y="511"/>
                  </a:lnTo>
                  <a:lnTo>
                    <a:pt x="1647" y="512"/>
                  </a:lnTo>
                  <a:lnTo>
                    <a:pt x="1649" y="512"/>
                  </a:lnTo>
                  <a:lnTo>
                    <a:pt x="1651" y="513"/>
                  </a:lnTo>
                  <a:lnTo>
                    <a:pt x="1653" y="513"/>
                  </a:lnTo>
                  <a:lnTo>
                    <a:pt x="1656" y="514"/>
                  </a:lnTo>
                  <a:lnTo>
                    <a:pt x="1658" y="514"/>
                  </a:lnTo>
                  <a:lnTo>
                    <a:pt x="1660" y="514"/>
                  </a:lnTo>
                  <a:lnTo>
                    <a:pt x="1662" y="514"/>
                  </a:lnTo>
                  <a:lnTo>
                    <a:pt x="1663" y="516"/>
                  </a:lnTo>
                  <a:lnTo>
                    <a:pt x="1664" y="517"/>
                  </a:lnTo>
                  <a:lnTo>
                    <a:pt x="1664" y="518"/>
                  </a:lnTo>
                  <a:lnTo>
                    <a:pt x="1663" y="519"/>
                  </a:lnTo>
                  <a:lnTo>
                    <a:pt x="1662" y="520"/>
                  </a:lnTo>
                  <a:lnTo>
                    <a:pt x="1662" y="521"/>
                  </a:lnTo>
                  <a:lnTo>
                    <a:pt x="1662" y="525"/>
                  </a:lnTo>
                  <a:lnTo>
                    <a:pt x="1675" y="523"/>
                  </a:lnTo>
                  <a:lnTo>
                    <a:pt x="1686" y="521"/>
                  </a:lnTo>
                  <a:lnTo>
                    <a:pt x="1689" y="519"/>
                  </a:lnTo>
                  <a:lnTo>
                    <a:pt x="1692" y="518"/>
                  </a:lnTo>
                  <a:lnTo>
                    <a:pt x="1694" y="516"/>
                  </a:lnTo>
                  <a:lnTo>
                    <a:pt x="1697" y="514"/>
                  </a:lnTo>
                  <a:lnTo>
                    <a:pt x="1702" y="514"/>
                  </a:lnTo>
                  <a:lnTo>
                    <a:pt x="1705" y="516"/>
                  </a:lnTo>
                  <a:lnTo>
                    <a:pt x="1707" y="517"/>
                  </a:lnTo>
                  <a:lnTo>
                    <a:pt x="1708" y="517"/>
                  </a:lnTo>
                  <a:lnTo>
                    <a:pt x="1708" y="519"/>
                  </a:lnTo>
                  <a:lnTo>
                    <a:pt x="1708" y="521"/>
                  </a:lnTo>
                  <a:lnTo>
                    <a:pt x="1704" y="524"/>
                  </a:lnTo>
                  <a:lnTo>
                    <a:pt x="1699" y="528"/>
                  </a:lnTo>
                  <a:lnTo>
                    <a:pt x="1693" y="530"/>
                  </a:lnTo>
                  <a:lnTo>
                    <a:pt x="1681" y="539"/>
                  </a:lnTo>
                  <a:lnTo>
                    <a:pt x="1671" y="547"/>
                  </a:lnTo>
                  <a:lnTo>
                    <a:pt x="1662" y="551"/>
                  </a:lnTo>
                  <a:lnTo>
                    <a:pt x="1653" y="554"/>
                  </a:lnTo>
                  <a:lnTo>
                    <a:pt x="1647" y="558"/>
                  </a:lnTo>
                  <a:lnTo>
                    <a:pt x="1644" y="561"/>
                  </a:lnTo>
                  <a:lnTo>
                    <a:pt x="1641" y="563"/>
                  </a:lnTo>
                  <a:lnTo>
                    <a:pt x="1640" y="565"/>
                  </a:lnTo>
                  <a:lnTo>
                    <a:pt x="1638" y="567"/>
                  </a:lnTo>
                  <a:lnTo>
                    <a:pt x="1638" y="568"/>
                  </a:lnTo>
                  <a:lnTo>
                    <a:pt x="1638" y="569"/>
                  </a:lnTo>
                  <a:lnTo>
                    <a:pt x="1639" y="572"/>
                  </a:lnTo>
                  <a:lnTo>
                    <a:pt x="1638" y="573"/>
                  </a:lnTo>
                  <a:lnTo>
                    <a:pt x="1638" y="573"/>
                  </a:lnTo>
                  <a:lnTo>
                    <a:pt x="1636" y="574"/>
                  </a:lnTo>
                  <a:lnTo>
                    <a:pt x="1634" y="573"/>
                  </a:lnTo>
                  <a:lnTo>
                    <a:pt x="1631" y="572"/>
                  </a:lnTo>
                  <a:lnTo>
                    <a:pt x="1629" y="569"/>
                  </a:lnTo>
                  <a:lnTo>
                    <a:pt x="1627" y="569"/>
                  </a:lnTo>
                  <a:lnTo>
                    <a:pt x="1625" y="571"/>
                  </a:lnTo>
                  <a:lnTo>
                    <a:pt x="1624" y="572"/>
                  </a:lnTo>
                  <a:lnTo>
                    <a:pt x="1623" y="574"/>
                  </a:lnTo>
                  <a:lnTo>
                    <a:pt x="1624" y="575"/>
                  </a:lnTo>
                  <a:lnTo>
                    <a:pt x="1626" y="577"/>
                  </a:lnTo>
                  <a:lnTo>
                    <a:pt x="1628" y="578"/>
                  </a:lnTo>
                  <a:lnTo>
                    <a:pt x="1631" y="580"/>
                  </a:lnTo>
                  <a:lnTo>
                    <a:pt x="1633" y="582"/>
                  </a:lnTo>
                  <a:lnTo>
                    <a:pt x="1633" y="583"/>
                  </a:lnTo>
                  <a:lnTo>
                    <a:pt x="1633" y="584"/>
                  </a:lnTo>
                  <a:lnTo>
                    <a:pt x="1631" y="585"/>
                  </a:lnTo>
                  <a:lnTo>
                    <a:pt x="1629" y="585"/>
                  </a:lnTo>
                  <a:lnTo>
                    <a:pt x="1628" y="586"/>
                  </a:lnTo>
                  <a:lnTo>
                    <a:pt x="1627" y="587"/>
                  </a:lnTo>
                  <a:lnTo>
                    <a:pt x="1626" y="588"/>
                  </a:lnTo>
                  <a:lnTo>
                    <a:pt x="1626" y="590"/>
                  </a:lnTo>
                  <a:lnTo>
                    <a:pt x="1626" y="591"/>
                  </a:lnTo>
                  <a:lnTo>
                    <a:pt x="1625" y="594"/>
                  </a:lnTo>
                  <a:lnTo>
                    <a:pt x="1623" y="594"/>
                  </a:lnTo>
                  <a:lnTo>
                    <a:pt x="1619" y="595"/>
                  </a:lnTo>
                  <a:lnTo>
                    <a:pt x="1618" y="596"/>
                  </a:lnTo>
                  <a:lnTo>
                    <a:pt x="1616" y="596"/>
                  </a:lnTo>
                  <a:lnTo>
                    <a:pt x="1614" y="597"/>
                  </a:lnTo>
                  <a:lnTo>
                    <a:pt x="1613" y="598"/>
                  </a:lnTo>
                  <a:lnTo>
                    <a:pt x="1612" y="599"/>
                  </a:lnTo>
                  <a:lnTo>
                    <a:pt x="1612" y="600"/>
                  </a:lnTo>
                  <a:lnTo>
                    <a:pt x="1612" y="603"/>
                  </a:lnTo>
                  <a:lnTo>
                    <a:pt x="1612" y="603"/>
                  </a:lnTo>
                  <a:lnTo>
                    <a:pt x="1610" y="604"/>
                  </a:lnTo>
                  <a:lnTo>
                    <a:pt x="1610" y="605"/>
                  </a:lnTo>
                  <a:lnTo>
                    <a:pt x="1610" y="606"/>
                  </a:lnTo>
                  <a:lnTo>
                    <a:pt x="1609" y="608"/>
                  </a:lnTo>
                  <a:lnTo>
                    <a:pt x="1609" y="609"/>
                  </a:lnTo>
                  <a:lnTo>
                    <a:pt x="1607" y="609"/>
                  </a:lnTo>
                  <a:lnTo>
                    <a:pt x="1604" y="609"/>
                  </a:lnTo>
                  <a:lnTo>
                    <a:pt x="1601" y="608"/>
                  </a:lnTo>
                  <a:lnTo>
                    <a:pt x="1597" y="608"/>
                  </a:lnTo>
                  <a:lnTo>
                    <a:pt x="1594" y="609"/>
                  </a:lnTo>
                  <a:lnTo>
                    <a:pt x="1592" y="610"/>
                  </a:lnTo>
                  <a:lnTo>
                    <a:pt x="1590" y="611"/>
                  </a:lnTo>
                  <a:lnTo>
                    <a:pt x="1585" y="611"/>
                  </a:lnTo>
                  <a:lnTo>
                    <a:pt x="1580" y="612"/>
                  </a:lnTo>
                  <a:lnTo>
                    <a:pt x="1575" y="617"/>
                  </a:lnTo>
                  <a:lnTo>
                    <a:pt x="1571" y="619"/>
                  </a:lnTo>
                  <a:lnTo>
                    <a:pt x="1564" y="620"/>
                  </a:lnTo>
                  <a:lnTo>
                    <a:pt x="1560" y="619"/>
                  </a:lnTo>
                  <a:lnTo>
                    <a:pt x="1558" y="619"/>
                  </a:lnTo>
                  <a:lnTo>
                    <a:pt x="1557" y="619"/>
                  </a:lnTo>
                  <a:lnTo>
                    <a:pt x="1555" y="620"/>
                  </a:lnTo>
                  <a:lnTo>
                    <a:pt x="1554" y="620"/>
                  </a:lnTo>
                  <a:lnTo>
                    <a:pt x="1553" y="621"/>
                  </a:lnTo>
                  <a:lnTo>
                    <a:pt x="1552" y="622"/>
                  </a:lnTo>
                  <a:lnTo>
                    <a:pt x="1551" y="623"/>
                  </a:lnTo>
                  <a:lnTo>
                    <a:pt x="1549" y="625"/>
                  </a:lnTo>
                  <a:lnTo>
                    <a:pt x="1547" y="625"/>
                  </a:lnTo>
                  <a:lnTo>
                    <a:pt x="1542" y="625"/>
                  </a:lnTo>
                  <a:lnTo>
                    <a:pt x="1539" y="623"/>
                  </a:lnTo>
                  <a:lnTo>
                    <a:pt x="1537" y="623"/>
                  </a:lnTo>
                  <a:lnTo>
                    <a:pt x="1533" y="625"/>
                  </a:lnTo>
                  <a:lnTo>
                    <a:pt x="1531" y="627"/>
                  </a:lnTo>
                  <a:lnTo>
                    <a:pt x="1530" y="627"/>
                  </a:lnTo>
                  <a:lnTo>
                    <a:pt x="1530" y="628"/>
                  </a:lnTo>
                  <a:lnTo>
                    <a:pt x="1531" y="629"/>
                  </a:lnTo>
                  <a:lnTo>
                    <a:pt x="1533" y="630"/>
                  </a:lnTo>
                  <a:lnTo>
                    <a:pt x="1536" y="631"/>
                  </a:lnTo>
                  <a:lnTo>
                    <a:pt x="1543" y="630"/>
                  </a:lnTo>
                  <a:lnTo>
                    <a:pt x="1552" y="629"/>
                  </a:lnTo>
                  <a:lnTo>
                    <a:pt x="1562" y="629"/>
                  </a:lnTo>
                  <a:lnTo>
                    <a:pt x="1565" y="629"/>
                  </a:lnTo>
                  <a:lnTo>
                    <a:pt x="1568" y="630"/>
                  </a:lnTo>
                  <a:lnTo>
                    <a:pt x="1570" y="632"/>
                  </a:lnTo>
                  <a:lnTo>
                    <a:pt x="1570" y="634"/>
                  </a:lnTo>
                  <a:lnTo>
                    <a:pt x="1570" y="637"/>
                  </a:lnTo>
                  <a:lnTo>
                    <a:pt x="1568" y="638"/>
                  </a:lnTo>
                  <a:lnTo>
                    <a:pt x="1565" y="639"/>
                  </a:lnTo>
                  <a:lnTo>
                    <a:pt x="1562" y="640"/>
                  </a:lnTo>
                  <a:lnTo>
                    <a:pt x="1558" y="639"/>
                  </a:lnTo>
                  <a:lnTo>
                    <a:pt x="1553" y="638"/>
                  </a:lnTo>
                  <a:lnTo>
                    <a:pt x="1549" y="636"/>
                  </a:lnTo>
                  <a:lnTo>
                    <a:pt x="1547" y="636"/>
                  </a:lnTo>
                  <a:lnTo>
                    <a:pt x="1546" y="637"/>
                  </a:lnTo>
                  <a:lnTo>
                    <a:pt x="1546" y="638"/>
                  </a:lnTo>
                  <a:lnTo>
                    <a:pt x="1546" y="639"/>
                  </a:lnTo>
                  <a:lnTo>
                    <a:pt x="1547" y="640"/>
                  </a:lnTo>
                  <a:lnTo>
                    <a:pt x="1549" y="641"/>
                  </a:lnTo>
                  <a:lnTo>
                    <a:pt x="1551" y="642"/>
                  </a:lnTo>
                  <a:lnTo>
                    <a:pt x="1553" y="642"/>
                  </a:lnTo>
                  <a:lnTo>
                    <a:pt x="1554" y="643"/>
                  </a:lnTo>
                  <a:lnTo>
                    <a:pt x="1555" y="644"/>
                  </a:lnTo>
                  <a:lnTo>
                    <a:pt x="1558" y="645"/>
                  </a:lnTo>
                  <a:lnTo>
                    <a:pt x="1560" y="647"/>
                  </a:lnTo>
                  <a:lnTo>
                    <a:pt x="1563" y="649"/>
                  </a:lnTo>
                  <a:lnTo>
                    <a:pt x="1565" y="651"/>
                  </a:lnTo>
                  <a:lnTo>
                    <a:pt x="1566" y="653"/>
                  </a:lnTo>
                  <a:lnTo>
                    <a:pt x="1565" y="655"/>
                  </a:lnTo>
                  <a:lnTo>
                    <a:pt x="1565" y="658"/>
                  </a:lnTo>
                  <a:lnTo>
                    <a:pt x="1565" y="660"/>
                  </a:lnTo>
                  <a:lnTo>
                    <a:pt x="1565" y="662"/>
                  </a:lnTo>
                  <a:lnTo>
                    <a:pt x="1564" y="665"/>
                  </a:lnTo>
                  <a:lnTo>
                    <a:pt x="1562" y="666"/>
                  </a:lnTo>
                  <a:lnTo>
                    <a:pt x="1560" y="667"/>
                  </a:lnTo>
                  <a:lnTo>
                    <a:pt x="1558" y="669"/>
                  </a:lnTo>
                  <a:lnTo>
                    <a:pt x="1558" y="670"/>
                  </a:lnTo>
                  <a:lnTo>
                    <a:pt x="1558" y="670"/>
                  </a:lnTo>
                  <a:lnTo>
                    <a:pt x="1560" y="671"/>
                  </a:lnTo>
                  <a:lnTo>
                    <a:pt x="1562" y="672"/>
                  </a:lnTo>
                  <a:lnTo>
                    <a:pt x="1564" y="673"/>
                  </a:lnTo>
                  <a:lnTo>
                    <a:pt x="1566" y="673"/>
                  </a:lnTo>
                  <a:lnTo>
                    <a:pt x="1568" y="675"/>
                  </a:lnTo>
                  <a:lnTo>
                    <a:pt x="1568" y="676"/>
                  </a:lnTo>
                  <a:lnTo>
                    <a:pt x="1566" y="677"/>
                  </a:lnTo>
                  <a:lnTo>
                    <a:pt x="1564" y="678"/>
                  </a:lnTo>
                  <a:lnTo>
                    <a:pt x="1562" y="680"/>
                  </a:lnTo>
                  <a:lnTo>
                    <a:pt x="1560" y="682"/>
                  </a:lnTo>
                  <a:lnTo>
                    <a:pt x="1560" y="683"/>
                  </a:lnTo>
                  <a:lnTo>
                    <a:pt x="1560" y="684"/>
                  </a:lnTo>
                  <a:lnTo>
                    <a:pt x="1560" y="686"/>
                  </a:lnTo>
                  <a:lnTo>
                    <a:pt x="1559" y="687"/>
                  </a:lnTo>
                  <a:lnTo>
                    <a:pt x="1558" y="688"/>
                  </a:lnTo>
                  <a:lnTo>
                    <a:pt x="1552" y="691"/>
                  </a:lnTo>
                  <a:lnTo>
                    <a:pt x="1547" y="693"/>
                  </a:lnTo>
                  <a:lnTo>
                    <a:pt x="1540" y="695"/>
                  </a:lnTo>
                  <a:lnTo>
                    <a:pt x="1536" y="695"/>
                  </a:lnTo>
                  <a:lnTo>
                    <a:pt x="1532" y="694"/>
                  </a:lnTo>
                  <a:lnTo>
                    <a:pt x="1528" y="692"/>
                  </a:lnTo>
                  <a:lnTo>
                    <a:pt x="1525" y="691"/>
                  </a:lnTo>
                  <a:lnTo>
                    <a:pt x="1520" y="691"/>
                  </a:lnTo>
                  <a:lnTo>
                    <a:pt x="1516" y="692"/>
                  </a:lnTo>
                  <a:lnTo>
                    <a:pt x="1511" y="693"/>
                  </a:lnTo>
                  <a:lnTo>
                    <a:pt x="1510" y="695"/>
                  </a:lnTo>
                  <a:lnTo>
                    <a:pt x="1510" y="697"/>
                  </a:lnTo>
                  <a:lnTo>
                    <a:pt x="1511" y="699"/>
                  </a:lnTo>
                  <a:lnTo>
                    <a:pt x="1514" y="702"/>
                  </a:lnTo>
                  <a:lnTo>
                    <a:pt x="1516" y="704"/>
                  </a:lnTo>
                  <a:lnTo>
                    <a:pt x="1519" y="709"/>
                  </a:lnTo>
                  <a:lnTo>
                    <a:pt x="1519" y="715"/>
                  </a:lnTo>
                  <a:lnTo>
                    <a:pt x="1516" y="721"/>
                  </a:lnTo>
                  <a:lnTo>
                    <a:pt x="1511" y="726"/>
                  </a:lnTo>
                  <a:lnTo>
                    <a:pt x="1505" y="728"/>
                  </a:lnTo>
                  <a:lnTo>
                    <a:pt x="1496" y="728"/>
                  </a:lnTo>
                  <a:lnTo>
                    <a:pt x="1487" y="728"/>
                  </a:lnTo>
                  <a:lnTo>
                    <a:pt x="1479" y="728"/>
                  </a:lnTo>
                  <a:lnTo>
                    <a:pt x="1473" y="727"/>
                  </a:lnTo>
                  <a:lnTo>
                    <a:pt x="1465" y="726"/>
                  </a:lnTo>
                  <a:lnTo>
                    <a:pt x="1463" y="726"/>
                  </a:lnTo>
                  <a:lnTo>
                    <a:pt x="1461" y="727"/>
                  </a:lnTo>
                  <a:lnTo>
                    <a:pt x="1460" y="729"/>
                  </a:lnTo>
                  <a:lnTo>
                    <a:pt x="1459" y="730"/>
                  </a:lnTo>
                  <a:lnTo>
                    <a:pt x="1460" y="732"/>
                  </a:lnTo>
                  <a:lnTo>
                    <a:pt x="1461" y="732"/>
                  </a:lnTo>
                  <a:lnTo>
                    <a:pt x="1462" y="732"/>
                  </a:lnTo>
                  <a:lnTo>
                    <a:pt x="1464" y="732"/>
                  </a:lnTo>
                  <a:lnTo>
                    <a:pt x="1466" y="731"/>
                  </a:lnTo>
                  <a:lnTo>
                    <a:pt x="1467" y="730"/>
                  </a:lnTo>
                  <a:lnTo>
                    <a:pt x="1479" y="729"/>
                  </a:lnTo>
                  <a:lnTo>
                    <a:pt x="1492" y="731"/>
                  </a:lnTo>
                  <a:lnTo>
                    <a:pt x="1500" y="735"/>
                  </a:lnTo>
                  <a:lnTo>
                    <a:pt x="1504" y="739"/>
                  </a:lnTo>
                  <a:lnTo>
                    <a:pt x="1504" y="748"/>
                  </a:lnTo>
                  <a:lnTo>
                    <a:pt x="1507" y="752"/>
                  </a:lnTo>
                  <a:lnTo>
                    <a:pt x="1508" y="752"/>
                  </a:lnTo>
                  <a:lnTo>
                    <a:pt x="1509" y="752"/>
                  </a:lnTo>
                  <a:lnTo>
                    <a:pt x="1510" y="750"/>
                  </a:lnTo>
                  <a:lnTo>
                    <a:pt x="1511" y="749"/>
                  </a:lnTo>
                  <a:lnTo>
                    <a:pt x="1511" y="747"/>
                  </a:lnTo>
                  <a:lnTo>
                    <a:pt x="1511" y="745"/>
                  </a:lnTo>
                  <a:lnTo>
                    <a:pt x="1511" y="743"/>
                  </a:lnTo>
                  <a:lnTo>
                    <a:pt x="1514" y="742"/>
                  </a:lnTo>
                  <a:lnTo>
                    <a:pt x="1516" y="741"/>
                  </a:lnTo>
                  <a:lnTo>
                    <a:pt x="1519" y="741"/>
                  </a:lnTo>
                  <a:lnTo>
                    <a:pt x="1522" y="741"/>
                  </a:lnTo>
                  <a:lnTo>
                    <a:pt x="1528" y="746"/>
                  </a:lnTo>
                  <a:lnTo>
                    <a:pt x="1530" y="751"/>
                  </a:lnTo>
                  <a:lnTo>
                    <a:pt x="1530" y="757"/>
                  </a:lnTo>
                  <a:lnTo>
                    <a:pt x="1527" y="761"/>
                  </a:lnTo>
                  <a:lnTo>
                    <a:pt x="1520" y="764"/>
                  </a:lnTo>
                  <a:lnTo>
                    <a:pt x="1511" y="767"/>
                  </a:lnTo>
                  <a:lnTo>
                    <a:pt x="1503" y="770"/>
                  </a:lnTo>
                  <a:lnTo>
                    <a:pt x="1496" y="774"/>
                  </a:lnTo>
                  <a:lnTo>
                    <a:pt x="1493" y="778"/>
                  </a:lnTo>
                  <a:lnTo>
                    <a:pt x="1486" y="782"/>
                  </a:lnTo>
                  <a:lnTo>
                    <a:pt x="1479" y="785"/>
                  </a:lnTo>
                  <a:lnTo>
                    <a:pt x="1474" y="785"/>
                  </a:lnTo>
                  <a:lnTo>
                    <a:pt x="1473" y="784"/>
                  </a:lnTo>
                  <a:lnTo>
                    <a:pt x="1472" y="783"/>
                  </a:lnTo>
                  <a:lnTo>
                    <a:pt x="1473" y="781"/>
                  </a:lnTo>
                  <a:lnTo>
                    <a:pt x="1473" y="780"/>
                  </a:lnTo>
                  <a:lnTo>
                    <a:pt x="1474" y="778"/>
                  </a:lnTo>
                  <a:lnTo>
                    <a:pt x="1475" y="776"/>
                  </a:lnTo>
                  <a:lnTo>
                    <a:pt x="1475" y="774"/>
                  </a:lnTo>
                  <a:lnTo>
                    <a:pt x="1474" y="773"/>
                  </a:lnTo>
                  <a:lnTo>
                    <a:pt x="1472" y="772"/>
                  </a:lnTo>
                  <a:lnTo>
                    <a:pt x="1467" y="772"/>
                  </a:lnTo>
                  <a:lnTo>
                    <a:pt x="1463" y="771"/>
                  </a:lnTo>
                  <a:lnTo>
                    <a:pt x="1460" y="770"/>
                  </a:lnTo>
                  <a:lnTo>
                    <a:pt x="1456" y="768"/>
                  </a:lnTo>
                  <a:lnTo>
                    <a:pt x="1455" y="767"/>
                  </a:lnTo>
                  <a:lnTo>
                    <a:pt x="1454" y="765"/>
                  </a:lnTo>
                  <a:lnTo>
                    <a:pt x="1452" y="765"/>
                  </a:lnTo>
                  <a:lnTo>
                    <a:pt x="1450" y="765"/>
                  </a:lnTo>
                  <a:lnTo>
                    <a:pt x="1448" y="768"/>
                  </a:lnTo>
                  <a:lnTo>
                    <a:pt x="1446" y="769"/>
                  </a:lnTo>
                  <a:lnTo>
                    <a:pt x="1444" y="769"/>
                  </a:lnTo>
                  <a:lnTo>
                    <a:pt x="1442" y="769"/>
                  </a:lnTo>
                  <a:lnTo>
                    <a:pt x="1440" y="768"/>
                  </a:lnTo>
                  <a:lnTo>
                    <a:pt x="1437" y="767"/>
                  </a:lnTo>
                  <a:lnTo>
                    <a:pt x="1434" y="767"/>
                  </a:lnTo>
                  <a:lnTo>
                    <a:pt x="1433" y="767"/>
                  </a:lnTo>
                  <a:lnTo>
                    <a:pt x="1431" y="768"/>
                  </a:lnTo>
                  <a:lnTo>
                    <a:pt x="1430" y="770"/>
                  </a:lnTo>
                  <a:lnTo>
                    <a:pt x="1430" y="772"/>
                  </a:lnTo>
                  <a:lnTo>
                    <a:pt x="1429" y="773"/>
                  </a:lnTo>
                  <a:lnTo>
                    <a:pt x="1427" y="774"/>
                  </a:lnTo>
                  <a:lnTo>
                    <a:pt x="1426" y="774"/>
                  </a:lnTo>
                  <a:lnTo>
                    <a:pt x="1423" y="773"/>
                  </a:lnTo>
                  <a:lnTo>
                    <a:pt x="1421" y="771"/>
                  </a:lnTo>
                  <a:lnTo>
                    <a:pt x="1420" y="770"/>
                  </a:lnTo>
                  <a:lnTo>
                    <a:pt x="1419" y="768"/>
                  </a:lnTo>
                  <a:lnTo>
                    <a:pt x="1419" y="765"/>
                  </a:lnTo>
                  <a:lnTo>
                    <a:pt x="1418" y="764"/>
                  </a:lnTo>
                  <a:lnTo>
                    <a:pt x="1417" y="763"/>
                  </a:lnTo>
                  <a:lnTo>
                    <a:pt x="1415" y="763"/>
                  </a:lnTo>
                  <a:lnTo>
                    <a:pt x="1413" y="764"/>
                  </a:lnTo>
                  <a:lnTo>
                    <a:pt x="1412" y="765"/>
                  </a:lnTo>
                  <a:lnTo>
                    <a:pt x="1410" y="765"/>
                  </a:lnTo>
                  <a:lnTo>
                    <a:pt x="1409" y="769"/>
                  </a:lnTo>
                  <a:lnTo>
                    <a:pt x="1408" y="771"/>
                  </a:lnTo>
                  <a:lnTo>
                    <a:pt x="1408" y="773"/>
                  </a:lnTo>
                  <a:lnTo>
                    <a:pt x="1406" y="776"/>
                  </a:lnTo>
                  <a:lnTo>
                    <a:pt x="1404" y="780"/>
                  </a:lnTo>
                  <a:lnTo>
                    <a:pt x="1398" y="781"/>
                  </a:lnTo>
                  <a:lnTo>
                    <a:pt x="1393" y="780"/>
                  </a:lnTo>
                  <a:lnTo>
                    <a:pt x="1387" y="779"/>
                  </a:lnTo>
                  <a:lnTo>
                    <a:pt x="1374" y="772"/>
                  </a:lnTo>
                  <a:lnTo>
                    <a:pt x="1369" y="772"/>
                  </a:lnTo>
                  <a:lnTo>
                    <a:pt x="1367" y="773"/>
                  </a:lnTo>
                  <a:lnTo>
                    <a:pt x="1365" y="775"/>
                  </a:lnTo>
                  <a:lnTo>
                    <a:pt x="1362" y="776"/>
                  </a:lnTo>
                  <a:lnTo>
                    <a:pt x="1358" y="776"/>
                  </a:lnTo>
                  <a:lnTo>
                    <a:pt x="1353" y="776"/>
                  </a:lnTo>
                  <a:lnTo>
                    <a:pt x="1348" y="774"/>
                  </a:lnTo>
                  <a:lnTo>
                    <a:pt x="1345" y="773"/>
                  </a:lnTo>
                  <a:lnTo>
                    <a:pt x="1342" y="772"/>
                  </a:lnTo>
                  <a:lnTo>
                    <a:pt x="1336" y="774"/>
                  </a:lnTo>
                  <a:lnTo>
                    <a:pt x="1334" y="775"/>
                  </a:lnTo>
                  <a:lnTo>
                    <a:pt x="1332" y="778"/>
                  </a:lnTo>
                  <a:lnTo>
                    <a:pt x="1331" y="781"/>
                  </a:lnTo>
                  <a:lnTo>
                    <a:pt x="1329" y="783"/>
                  </a:lnTo>
                  <a:lnTo>
                    <a:pt x="1328" y="786"/>
                  </a:lnTo>
                  <a:lnTo>
                    <a:pt x="1325" y="789"/>
                  </a:lnTo>
                  <a:lnTo>
                    <a:pt x="1323" y="790"/>
                  </a:lnTo>
                  <a:lnTo>
                    <a:pt x="1319" y="790"/>
                  </a:lnTo>
                  <a:lnTo>
                    <a:pt x="1314" y="789"/>
                  </a:lnTo>
                  <a:lnTo>
                    <a:pt x="1309" y="789"/>
                  </a:lnTo>
                  <a:lnTo>
                    <a:pt x="1303" y="792"/>
                  </a:lnTo>
                  <a:lnTo>
                    <a:pt x="1301" y="794"/>
                  </a:lnTo>
                  <a:lnTo>
                    <a:pt x="1300" y="796"/>
                  </a:lnTo>
                  <a:lnTo>
                    <a:pt x="1300" y="798"/>
                  </a:lnTo>
                  <a:lnTo>
                    <a:pt x="1301" y="800"/>
                  </a:lnTo>
                  <a:lnTo>
                    <a:pt x="1303" y="801"/>
                  </a:lnTo>
                  <a:lnTo>
                    <a:pt x="1307" y="802"/>
                  </a:lnTo>
                  <a:lnTo>
                    <a:pt x="1310" y="803"/>
                  </a:lnTo>
                  <a:lnTo>
                    <a:pt x="1312" y="804"/>
                  </a:lnTo>
                  <a:lnTo>
                    <a:pt x="1314" y="805"/>
                  </a:lnTo>
                  <a:lnTo>
                    <a:pt x="1318" y="806"/>
                  </a:lnTo>
                  <a:lnTo>
                    <a:pt x="1320" y="807"/>
                  </a:lnTo>
                  <a:lnTo>
                    <a:pt x="1323" y="808"/>
                  </a:lnTo>
                  <a:lnTo>
                    <a:pt x="1325" y="809"/>
                  </a:lnTo>
                  <a:lnTo>
                    <a:pt x="1326" y="811"/>
                  </a:lnTo>
                  <a:lnTo>
                    <a:pt x="1326" y="813"/>
                  </a:lnTo>
                  <a:lnTo>
                    <a:pt x="1325" y="814"/>
                  </a:lnTo>
                  <a:lnTo>
                    <a:pt x="1323" y="816"/>
                  </a:lnTo>
                  <a:lnTo>
                    <a:pt x="1323" y="817"/>
                  </a:lnTo>
                  <a:lnTo>
                    <a:pt x="1323" y="818"/>
                  </a:lnTo>
                  <a:lnTo>
                    <a:pt x="1324" y="818"/>
                  </a:lnTo>
                  <a:lnTo>
                    <a:pt x="1326" y="818"/>
                  </a:lnTo>
                  <a:lnTo>
                    <a:pt x="1330" y="818"/>
                  </a:lnTo>
                  <a:lnTo>
                    <a:pt x="1333" y="818"/>
                  </a:lnTo>
                  <a:lnTo>
                    <a:pt x="1335" y="819"/>
                  </a:lnTo>
                  <a:lnTo>
                    <a:pt x="1337" y="820"/>
                  </a:lnTo>
                  <a:lnTo>
                    <a:pt x="1341" y="820"/>
                  </a:lnTo>
                  <a:lnTo>
                    <a:pt x="1344" y="819"/>
                  </a:lnTo>
                  <a:lnTo>
                    <a:pt x="1347" y="818"/>
                  </a:lnTo>
                  <a:lnTo>
                    <a:pt x="1351" y="817"/>
                  </a:lnTo>
                  <a:lnTo>
                    <a:pt x="1354" y="816"/>
                  </a:lnTo>
                  <a:lnTo>
                    <a:pt x="1356" y="816"/>
                  </a:lnTo>
                  <a:lnTo>
                    <a:pt x="1359" y="816"/>
                  </a:lnTo>
                  <a:lnTo>
                    <a:pt x="1363" y="817"/>
                  </a:lnTo>
                  <a:lnTo>
                    <a:pt x="1365" y="818"/>
                  </a:lnTo>
                  <a:lnTo>
                    <a:pt x="1367" y="818"/>
                  </a:lnTo>
                  <a:lnTo>
                    <a:pt x="1368" y="820"/>
                  </a:lnTo>
                  <a:lnTo>
                    <a:pt x="1370" y="822"/>
                  </a:lnTo>
                  <a:lnTo>
                    <a:pt x="1372" y="823"/>
                  </a:lnTo>
                  <a:lnTo>
                    <a:pt x="1373" y="824"/>
                  </a:lnTo>
                  <a:lnTo>
                    <a:pt x="1375" y="824"/>
                  </a:lnTo>
                  <a:lnTo>
                    <a:pt x="1378" y="823"/>
                  </a:lnTo>
                  <a:lnTo>
                    <a:pt x="1383" y="823"/>
                  </a:lnTo>
                  <a:lnTo>
                    <a:pt x="1386" y="822"/>
                  </a:lnTo>
                  <a:lnTo>
                    <a:pt x="1390" y="820"/>
                  </a:lnTo>
                  <a:lnTo>
                    <a:pt x="1394" y="818"/>
                  </a:lnTo>
                  <a:lnTo>
                    <a:pt x="1402" y="813"/>
                  </a:lnTo>
                  <a:lnTo>
                    <a:pt x="1412" y="806"/>
                  </a:lnTo>
                  <a:lnTo>
                    <a:pt x="1423" y="801"/>
                  </a:lnTo>
                  <a:lnTo>
                    <a:pt x="1434" y="801"/>
                  </a:lnTo>
                  <a:lnTo>
                    <a:pt x="1445" y="803"/>
                  </a:lnTo>
                  <a:lnTo>
                    <a:pt x="1456" y="805"/>
                  </a:lnTo>
                  <a:lnTo>
                    <a:pt x="1467" y="805"/>
                  </a:lnTo>
                  <a:lnTo>
                    <a:pt x="1478" y="806"/>
                  </a:lnTo>
                  <a:lnTo>
                    <a:pt x="1485" y="809"/>
                  </a:lnTo>
                  <a:lnTo>
                    <a:pt x="1487" y="813"/>
                  </a:lnTo>
                  <a:lnTo>
                    <a:pt x="1489" y="816"/>
                  </a:lnTo>
                  <a:lnTo>
                    <a:pt x="1492" y="819"/>
                  </a:lnTo>
                  <a:lnTo>
                    <a:pt x="1492" y="823"/>
                  </a:lnTo>
                  <a:lnTo>
                    <a:pt x="1492" y="825"/>
                  </a:lnTo>
                  <a:lnTo>
                    <a:pt x="1489" y="828"/>
                  </a:lnTo>
                  <a:lnTo>
                    <a:pt x="1487" y="830"/>
                  </a:lnTo>
                  <a:lnTo>
                    <a:pt x="1486" y="833"/>
                  </a:lnTo>
                  <a:lnTo>
                    <a:pt x="1485" y="834"/>
                  </a:lnTo>
                  <a:lnTo>
                    <a:pt x="1485" y="836"/>
                  </a:lnTo>
                  <a:lnTo>
                    <a:pt x="1487" y="836"/>
                  </a:lnTo>
                  <a:lnTo>
                    <a:pt x="1488" y="837"/>
                  </a:lnTo>
                  <a:lnTo>
                    <a:pt x="1490" y="837"/>
                  </a:lnTo>
                  <a:lnTo>
                    <a:pt x="1493" y="837"/>
                  </a:lnTo>
                  <a:lnTo>
                    <a:pt x="1494" y="838"/>
                  </a:lnTo>
                  <a:lnTo>
                    <a:pt x="1495" y="840"/>
                  </a:lnTo>
                  <a:lnTo>
                    <a:pt x="1497" y="841"/>
                  </a:lnTo>
                  <a:lnTo>
                    <a:pt x="1498" y="844"/>
                  </a:lnTo>
                  <a:lnTo>
                    <a:pt x="1499" y="846"/>
                  </a:lnTo>
                  <a:lnTo>
                    <a:pt x="1500" y="847"/>
                  </a:lnTo>
                  <a:lnTo>
                    <a:pt x="1496" y="852"/>
                  </a:lnTo>
                  <a:lnTo>
                    <a:pt x="1489" y="856"/>
                  </a:lnTo>
                  <a:lnTo>
                    <a:pt x="1482" y="859"/>
                  </a:lnTo>
                  <a:lnTo>
                    <a:pt x="1474" y="860"/>
                  </a:lnTo>
                  <a:lnTo>
                    <a:pt x="1465" y="862"/>
                  </a:lnTo>
                  <a:lnTo>
                    <a:pt x="1455" y="865"/>
                  </a:lnTo>
                  <a:lnTo>
                    <a:pt x="1446" y="865"/>
                  </a:lnTo>
                  <a:lnTo>
                    <a:pt x="1439" y="860"/>
                  </a:lnTo>
                  <a:lnTo>
                    <a:pt x="1438" y="859"/>
                  </a:lnTo>
                  <a:lnTo>
                    <a:pt x="1437" y="857"/>
                  </a:lnTo>
                  <a:lnTo>
                    <a:pt x="1435" y="856"/>
                  </a:lnTo>
                  <a:lnTo>
                    <a:pt x="1434" y="855"/>
                  </a:lnTo>
                  <a:lnTo>
                    <a:pt x="1433" y="855"/>
                  </a:lnTo>
                  <a:lnTo>
                    <a:pt x="1433" y="855"/>
                  </a:lnTo>
                  <a:lnTo>
                    <a:pt x="1432" y="857"/>
                  </a:lnTo>
                  <a:lnTo>
                    <a:pt x="1432" y="860"/>
                  </a:lnTo>
                  <a:lnTo>
                    <a:pt x="1430" y="863"/>
                  </a:lnTo>
                  <a:lnTo>
                    <a:pt x="1426" y="866"/>
                  </a:lnTo>
                  <a:lnTo>
                    <a:pt x="1419" y="867"/>
                  </a:lnTo>
                  <a:lnTo>
                    <a:pt x="1412" y="867"/>
                  </a:lnTo>
                  <a:lnTo>
                    <a:pt x="1398" y="868"/>
                  </a:lnTo>
                  <a:lnTo>
                    <a:pt x="1383" y="869"/>
                  </a:lnTo>
                  <a:lnTo>
                    <a:pt x="1361" y="870"/>
                  </a:lnTo>
                  <a:lnTo>
                    <a:pt x="1341" y="869"/>
                  </a:lnTo>
                  <a:lnTo>
                    <a:pt x="1337" y="868"/>
                  </a:lnTo>
                  <a:lnTo>
                    <a:pt x="1335" y="868"/>
                  </a:lnTo>
                  <a:lnTo>
                    <a:pt x="1335" y="867"/>
                  </a:lnTo>
                  <a:lnTo>
                    <a:pt x="1335" y="866"/>
                  </a:lnTo>
                  <a:lnTo>
                    <a:pt x="1335" y="865"/>
                  </a:lnTo>
                  <a:lnTo>
                    <a:pt x="1335" y="863"/>
                  </a:lnTo>
                  <a:lnTo>
                    <a:pt x="1335" y="862"/>
                  </a:lnTo>
                  <a:lnTo>
                    <a:pt x="1334" y="860"/>
                  </a:lnTo>
                  <a:lnTo>
                    <a:pt x="1332" y="858"/>
                  </a:lnTo>
                  <a:lnTo>
                    <a:pt x="1329" y="858"/>
                  </a:lnTo>
                  <a:lnTo>
                    <a:pt x="1326" y="858"/>
                  </a:lnTo>
                  <a:lnTo>
                    <a:pt x="1323" y="858"/>
                  </a:lnTo>
                  <a:lnTo>
                    <a:pt x="1321" y="858"/>
                  </a:lnTo>
                  <a:lnTo>
                    <a:pt x="1317" y="860"/>
                  </a:lnTo>
                  <a:lnTo>
                    <a:pt x="1313" y="861"/>
                  </a:lnTo>
                  <a:lnTo>
                    <a:pt x="1311" y="863"/>
                  </a:lnTo>
                  <a:lnTo>
                    <a:pt x="1308" y="867"/>
                  </a:lnTo>
                  <a:lnTo>
                    <a:pt x="1306" y="869"/>
                  </a:lnTo>
                  <a:lnTo>
                    <a:pt x="1304" y="869"/>
                  </a:lnTo>
                  <a:lnTo>
                    <a:pt x="1302" y="869"/>
                  </a:lnTo>
                  <a:lnTo>
                    <a:pt x="1301" y="868"/>
                  </a:lnTo>
                  <a:lnTo>
                    <a:pt x="1299" y="867"/>
                  </a:lnTo>
                  <a:lnTo>
                    <a:pt x="1297" y="867"/>
                  </a:lnTo>
                  <a:lnTo>
                    <a:pt x="1295" y="867"/>
                  </a:lnTo>
                  <a:lnTo>
                    <a:pt x="1292" y="867"/>
                  </a:lnTo>
                  <a:lnTo>
                    <a:pt x="1290" y="867"/>
                  </a:lnTo>
                  <a:lnTo>
                    <a:pt x="1289" y="867"/>
                  </a:lnTo>
                  <a:lnTo>
                    <a:pt x="1287" y="867"/>
                  </a:lnTo>
                  <a:lnTo>
                    <a:pt x="1286" y="865"/>
                  </a:lnTo>
                  <a:lnTo>
                    <a:pt x="1284" y="861"/>
                  </a:lnTo>
                  <a:lnTo>
                    <a:pt x="1281" y="858"/>
                  </a:lnTo>
                  <a:lnTo>
                    <a:pt x="1279" y="854"/>
                  </a:lnTo>
                  <a:lnTo>
                    <a:pt x="1277" y="842"/>
                  </a:lnTo>
                  <a:lnTo>
                    <a:pt x="1277" y="829"/>
                  </a:lnTo>
                  <a:lnTo>
                    <a:pt x="1279" y="822"/>
                  </a:lnTo>
                  <a:lnTo>
                    <a:pt x="1281" y="815"/>
                  </a:lnTo>
                  <a:lnTo>
                    <a:pt x="1281" y="808"/>
                  </a:lnTo>
                  <a:lnTo>
                    <a:pt x="1277" y="803"/>
                  </a:lnTo>
                  <a:lnTo>
                    <a:pt x="1274" y="800"/>
                  </a:lnTo>
                  <a:lnTo>
                    <a:pt x="1271" y="797"/>
                  </a:lnTo>
                  <a:lnTo>
                    <a:pt x="1270" y="794"/>
                  </a:lnTo>
                  <a:lnTo>
                    <a:pt x="1269" y="791"/>
                  </a:lnTo>
                  <a:lnTo>
                    <a:pt x="1268" y="787"/>
                  </a:lnTo>
                  <a:lnTo>
                    <a:pt x="1264" y="785"/>
                  </a:lnTo>
                  <a:lnTo>
                    <a:pt x="1258" y="786"/>
                  </a:lnTo>
                  <a:lnTo>
                    <a:pt x="1252" y="790"/>
                  </a:lnTo>
                  <a:lnTo>
                    <a:pt x="1246" y="792"/>
                  </a:lnTo>
                  <a:lnTo>
                    <a:pt x="1243" y="793"/>
                  </a:lnTo>
                  <a:lnTo>
                    <a:pt x="1239" y="793"/>
                  </a:lnTo>
                  <a:lnTo>
                    <a:pt x="1237" y="792"/>
                  </a:lnTo>
                  <a:lnTo>
                    <a:pt x="1235" y="791"/>
                  </a:lnTo>
                  <a:lnTo>
                    <a:pt x="1233" y="790"/>
                  </a:lnTo>
                  <a:lnTo>
                    <a:pt x="1231" y="787"/>
                  </a:lnTo>
                  <a:lnTo>
                    <a:pt x="1228" y="786"/>
                  </a:lnTo>
                  <a:lnTo>
                    <a:pt x="1227" y="785"/>
                  </a:lnTo>
                  <a:lnTo>
                    <a:pt x="1225" y="784"/>
                  </a:lnTo>
                  <a:lnTo>
                    <a:pt x="1223" y="783"/>
                  </a:lnTo>
                  <a:lnTo>
                    <a:pt x="1220" y="782"/>
                  </a:lnTo>
                  <a:lnTo>
                    <a:pt x="1217" y="780"/>
                  </a:lnTo>
                  <a:lnTo>
                    <a:pt x="1216" y="778"/>
                  </a:lnTo>
                  <a:lnTo>
                    <a:pt x="1215" y="774"/>
                  </a:lnTo>
                  <a:lnTo>
                    <a:pt x="1214" y="772"/>
                  </a:lnTo>
                  <a:lnTo>
                    <a:pt x="1214" y="770"/>
                  </a:lnTo>
                  <a:lnTo>
                    <a:pt x="1213" y="769"/>
                  </a:lnTo>
                  <a:lnTo>
                    <a:pt x="1212" y="768"/>
                  </a:lnTo>
                  <a:lnTo>
                    <a:pt x="1211" y="767"/>
                  </a:lnTo>
                  <a:lnTo>
                    <a:pt x="1209" y="765"/>
                  </a:lnTo>
                  <a:lnTo>
                    <a:pt x="1208" y="763"/>
                  </a:lnTo>
                  <a:lnTo>
                    <a:pt x="1206" y="760"/>
                  </a:lnTo>
                  <a:lnTo>
                    <a:pt x="1208" y="758"/>
                  </a:lnTo>
                  <a:lnTo>
                    <a:pt x="1210" y="756"/>
                  </a:lnTo>
                  <a:lnTo>
                    <a:pt x="1213" y="753"/>
                  </a:lnTo>
                  <a:lnTo>
                    <a:pt x="1217" y="752"/>
                  </a:lnTo>
                  <a:lnTo>
                    <a:pt x="1223" y="752"/>
                  </a:lnTo>
                  <a:lnTo>
                    <a:pt x="1225" y="752"/>
                  </a:lnTo>
                  <a:lnTo>
                    <a:pt x="1228" y="752"/>
                  </a:lnTo>
                  <a:lnTo>
                    <a:pt x="1231" y="753"/>
                  </a:lnTo>
                  <a:lnTo>
                    <a:pt x="1233" y="753"/>
                  </a:lnTo>
                  <a:lnTo>
                    <a:pt x="1236" y="753"/>
                  </a:lnTo>
                  <a:lnTo>
                    <a:pt x="1239" y="752"/>
                  </a:lnTo>
                  <a:lnTo>
                    <a:pt x="1243" y="752"/>
                  </a:lnTo>
                  <a:lnTo>
                    <a:pt x="1245" y="751"/>
                  </a:lnTo>
                  <a:lnTo>
                    <a:pt x="1247" y="751"/>
                  </a:lnTo>
                  <a:lnTo>
                    <a:pt x="1249" y="751"/>
                  </a:lnTo>
                  <a:lnTo>
                    <a:pt x="1251" y="752"/>
                  </a:lnTo>
                  <a:lnTo>
                    <a:pt x="1255" y="754"/>
                  </a:lnTo>
                  <a:lnTo>
                    <a:pt x="1258" y="757"/>
                  </a:lnTo>
                  <a:lnTo>
                    <a:pt x="1259" y="759"/>
                  </a:lnTo>
                  <a:lnTo>
                    <a:pt x="1259" y="762"/>
                  </a:lnTo>
                  <a:lnTo>
                    <a:pt x="1259" y="764"/>
                  </a:lnTo>
                  <a:lnTo>
                    <a:pt x="1259" y="768"/>
                  </a:lnTo>
                  <a:lnTo>
                    <a:pt x="1259" y="769"/>
                  </a:lnTo>
                  <a:lnTo>
                    <a:pt x="1260" y="770"/>
                  </a:lnTo>
                  <a:lnTo>
                    <a:pt x="1262" y="770"/>
                  </a:lnTo>
                  <a:lnTo>
                    <a:pt x="1264" y="770"/>
                  </a:lnTo>
                  <a:lnTo>
                    <a:pt x="1265" y="770"/>
                  </a:lnTo>
                  <a:lnTo>
                    <a:pt x="1267" y="770"/>
                  </a:lnTo>
                  <a:lnTo>
                    <a:pt x="1268" y="770"/>
                  </a:lnTo>
                  <a:lnTo>
                    <a:pt x="1274" y="769"/>
                  </a:lnTo>
                  <a:lnTo>
                    <a:pt x="1278" y="768"/>
                  </a:lnTo>
                  <a:lnTo>
                    <a:pt x="1282" y="767"/>
                  </a:lnTo>
                  <a:lnTo>
                    <a:pt x="1286" y="765"/>
                  </a:lnTo>
                  <a:lnTo>
                    <a:pt x="1290" y="764"/>
                  </a:lnTo>
                  <a:lnTo>
                    <a:pt x="1293" y="762"/>
                  </a:lnTo>
                  <a:lnTo>
                    <a:pt x="1297" y="761"/>
                  </a:lnTo>
                  <a:lnTo>
                    <a:pt x="1300" y="760"/>
                  </a:lnTo>
                  <a:lnTo>
                    <a:pt x="1303" y="761"/>
                  </a:lnTo>
                  <a:lnTo>
                    <a:pt x="1307" y="761"/>
                  </a:lnTo>
                  <a:lnTo>
                    <a:pt x="1309" y="762"/>
                  </a:lnTo>
                  <a:lnTo>
                    <a:pt x="1311" y="764"/>
                  </a:lnTo>
                  <a:lnTo>
                    <a:pt x="1312" y="765"/>
                  </a:lnTo>
                  <a:lnTo>
                    <a:pt x="1315" y="767"/>
                  </a:lnTo>
                  <a:lnTo>
                    <a:pt x="1319" y="767"/>
                  </a:lnTo>
                  <a:lnTo>
                    <a:pt x="1321" y="765"/>
                  </a:lnTo>
                  <a:lnTo>
                    <a:pt x="1323" y="764"/>
                  </a:lnTo>
                  <a:lnTo>
                    <a:pt x="1325" y="763"/>
                  </a:lnTo>
                  <a:lnTo>
                    <a:pt x="1326" y="761"/>
                  </a:lnTo>
                  <a:lnTo>
                    <a:pt x="1326" y="759"/>
                  </a:lnTo>
                  <a:lnTo>
                    <a:pt x="1326" y="757"/>
                  </a:lnTo>
                  <a:lnTo>
                    <a:pt x="1328" y="754"/>
                  </a:lnTo>
                  <a:lnTo>
                    <a:pt x="1330" y="752"/>
                  </a:lnTo>
                  <a:lnTo>
                    <a:pt x="1332" y="751"/>
                  </a:lnTo>
                  <a:lnTo>
                    <a:pt x="1334" y="750"/>
                  </a:lnTo>
                  <a:lnTo>
                    <a:pt x="1336" y="749"/>
                  </a:lnTo>
                  <a:lnTo>
                    <a:pt x="1339" y="748"/>
                  </a:lnTo>
                  <a:lnTo>
                    <a:pt x="1341" y="746"/>
                  </a:lnTo>
                  <a:lnTo>
                    <a:pt x="1342" y="743"/>
                  </a:lnTo>
                  <a:lnTo>
                    <a:pt x="1343" y="742"/>
                  </a:lnTo>
                  <a:lnTo>
                    <a:pt x="1344" y="740"/>
                  </a:lnTo>
                  <a:lnTo>
                    <a:pt x="1347" y="739"/>
                  </a:lnTo>
                  <a:lnTo>
                    <a:pt x="1351" y="737"/>
                  </a:lnTo>
                  <a:lnTo>
                    <a:pt x="1354" y="736"/>
                  </a:lnTo>
                  <a:lnTo>
                    <a:pt x="1355" y="734"/>
                  </a:lnTo>
                  <a:lnTo>
                    <a:pt x="1356" y="731"/>
                  </a:lnTo>
                  <a:lnTo>
                    <a:pt x="1357" y="729"/>
                  </a:lnTo>
                  <a:lnTo>
                    <a:pt x="1356" y="726"/>
                  </a:lnTo>
                  <a:lnTo>
                    <a:pt x="1354" y="724"/>
                  </a:lnTo>
                  <a:lnTo>
                    <a:pt x="1352" y="721"/>
                  </a:lnTo>
                  <a:lnTo>
                    <a:pt x="1350" y="720"/>
                  </a:lnTo>
                  <a:lnTo>
                    <a:pt x="1348" y="718"/>
                  </a:lnTo>
                  <a:lnTo>
                    <a:pt x="1346" y="717"/>
                  </a:lnTo>
                  <a:lnTo>
                    <a:pt x="1346" y="715"/>
                  </a:lnTo>
                  <a:lnTo>
                    <a:pt x="1346" y="713"/>
                  </a:lnTo>
                  <a:lnTo>
                    <a:pt x="1347" y="710"/>
                  </a:lnTo>
                  <a:lnTo>
                    <a:pt x="1350" y="708"/>
                  </a:lnTo>
                  <a:lnTo>
                    <a:pt x="1358" y="704"/>
                  </a:lnTo>
                  <a:lnTo>
                    <a:pt x="1369" y="702"/>
                  </a:lnTo>
                  <a:lnTo>
                    <a:pt x="1380" y="704"/>
                  </a:lnTo>
                  <a:lnTo>
                    <a:pt x="1384" y="707"/>
                  </a:lnTo>
                  <a:lnTo>
                    <a:pt x="1386" y="709"/>
                  </a:lnTo>
                  <a:lnTo>
                    <a:pt x="1388" y="713"/>
                  </a:lnTo>
                  <a:lnTo>
                    <a:pt x="1390" y="716"/>
                  </a:lnTo>
                  <a:lnTo>
                    <a:pt x="1394" y="719"/>
                  </a:lnTo>
                  <a:lnTo>
                    <a:pt x="1398" y="726"/>
                  </a:lnTo>
                  <a:lnTo>
                    <a:pt x="1407" y="729"/>
                  </a:lnTo>
                  <a:lnTo>
                    <a:pt x="1417" y="728"/>
                  </a:lnTo>
                  <a:lnTo>
                    <a:pt x="1418" y="727"/>
                  </a:lnTo>
                  <a:lnTo>
                    <a:pt x="1420" y="726"/>
                  </a:lnTo>
                  <a:lnTo>
                    <a:pt x="1422" y="725"/>
                  </a:lnTo>
                  <a:lnTo>
                    <a:pt x="1423" y="724"/>
                  </a:lnTo>
                  <a:lnTo>
                    <a:pt x="1426" y="721"/>
                  </a:lnTo>
                  <a:lnTo>
                    <a:pt x="1427" y="720"/>
                  </a:lnTo>
                  <a:lnTo>
                    <a:pt x="1427" y="719"/>
                  </a:lnTo>
                  <a:lnTo>
                    <a:pt x="1426" y="718"/>
                  </a:lnTo>
                  <a:lnTo>
                    <a:pt x="1423" y="717"/>
                  </a:lnTo>
                  <a:lnTo>
                    <a:pt x="1419" y="717"/>
                  </a:lnTo>
                  <a:lnTo>
                    <a:pt x="1416" y="717"/>
                  </a:lnTo>
                  <a:lnTo>
                    <a:pt x="1412" y="716"/>
                  </a:lnTo>
                  <a:lnTo>
                    <a:pt x="1410" y="715"/>
                  </a:lnTo>
                  <a:lnTo>
                    <a:pt x="1408" y="713"/>
                  </a:lnTo>
                  <a:lnTo>
                    <a:pt x="1406" y="710"/>
                  </a:lnTo>
                  <a:lnTo>
                    <a:pt x="1404" y="709"/>
                  </a:lnTo>
                  <a:lnTo>
                    <a:pt x="1402" y="707"/>
                  </a:lnTo>
                  <a:lnTo>
                    <a:pt x="1399" y="706"/>
                  </a:lnTo>
                  <a:lnTo>
                    <a:pt x="1398" y="702"/>
                  </a:lnTo>
                  <a:lnTo>
                    <a:pt x="1400" y="697"/>
                  </a:lnTo>
                  <a:lnTo>
                    <a:pt x="1406" y="693"/>
                  </a:lnTo>
                  <a:lnTo>
                    <a:pt x="1408" y="688"/>
                  </a:lnTo>
                  <a:lnTo>
                    <a:pt x="1409" y="686"/>
                  </a:lnTo>
                  <a:lnTo>
                    <a:pt x="1408" y="685"/>
                  </a:lnTo>
                  <a:lnTo>
                    <a:pt x="1407" y="684"/>
                  </a:lnTo>
                  <a:lnTo>
                    <a:pt x="1405" y="684"/>
                  </a:lnTo>
                  <a:lnTo>
                    <a:pt x="1402" y="684"/>
                  </a:lnTo>
                  <a:lnTo>
                    <a:pt x="1399" y="684"/>
                  </a:lnTo>
                  <a:lnTo>
                    <a:pt x="1396" y="684"/>
                  </a:lnTo>
                  <a:lnTo>
                    <a:pt x="1394" y="685"/>
                  </a:lnTo>
                  <a:lnTo>
                    <a:pt x="1391" y="685"/>
                  </a:lnTo>
                  <a:lnTo>
                    <a:pt x="1390" y="684"/>
                  </a:lnTo>
                  <a:lnTo>
                    <a:pt x="1388" y="684"/>
                  </a:lnTo>
                  <a:lnTo>
                    <a:pt x="1387" y="684"/>
                  </a:lnTo>
                  <a:lnTo>
                    <a:pt x="1385" y="683"/>
                  </a:lnTo>
                  <a:lnTo>
                    <a:pt x="1383" y="684"/>
                  </a:lnTo>
                  <a:lnTo>
                    <a:pt x="1382" y="685"/>
                  </a:lnTo>
                  <a:lnTo>
                    <a:pt x="1379" y="686"/>
                  </a:lnTo>
                  <a:lnTo>
                    <a:pt x="1378" y="686"/>
                  </a:lnTo>
                  <a:lnTo>
                    <a:pt x="1374" y="686"/>
                  </a:lnTo>
                  <a:lnTo>
                    <a:pt x="1369" y="684"/>
                  </a:lnTo>
                  <a:lnTo>
                    <a:pt x="1367" y="683"/>
                  </a:lnTo>
                  <a:lnTo>
                    <a:pt x="1365" y="680"/>
                  </a:lnTo>
                  <a:lnTo>
                    <a:pt x="1364" y="677"/>
                  </a:lnTo>
                  <a:lnTo>
                    <a:pt x="1364" y="675"/>
                  </a:lnTo>
                  <a:lnTo>
                    <a:pt x="1364" y="673"/>
                  </a:lnTo>
                  <a:lnTo>
                    <a:pt x="1365" y="671"/>
                  </a:lnTo>
                  <a:lnTo>
                    <a:pt x="1365" y="669"/>
                  </a:lnTo>
                  <a:lnTo>
                    <a:pt x="1365" y="666"/>
                  </a:lnTo>
                  <a:lnTo>
                    <a:pt x="1365" y="665"/>
                  </a:lnTo>
                  <a:lnTo>
                    <a:pt x="1364" y="663"/>
                  </a:lnTo>
                  <a:lnTo>
                    <a:pt x="1364" y="661"/>
                  </a:lnTo>
                  <a:lnTo>
                    <a:pt x="1365" y="660"/>
                  </a:lnTo>
                  <a:lnTo>
                    <a:pt x="1365" y="659"/>
                  </a:lnTo>
                  <a:lnTo>
                    <a:pt x="1367" y="658"/>
                  </a:lnTo>
                  <a:lnTo>
                    <a:pt x="1369" y="658"/>
                  </a:lnTo>
                  <a:lnTo>
                    <a:pt x="1373" y="658"/>
                  </a:lnTo>
                  <a:lnTo>
                    <a:pt x="1375" y="658"/>
                  </a:lnTo>
                  <a:lnTo>
                    <a:pt x="1378" y="658"/>
                  </a:lnTo>
                  <a:lnTo>
                    <a:pt x="1379" y="655"/>
                  </a:lnTo>
                  <a:lnTo>
                    <a:pt x="1379" y="653"/>
                  </a:lnTo>
                  <a:lnTo>
                    <a:pt x="1379" y="652"/>
                  </a:lnTo>
                  <a:lnTo>
                    <a:pt x="1378" y="650"/>
                  </a:lnTo>
                  <a:lnTo>
                    <a:pt x="1378" y="649"/>
                  </a:lnTo>
                  <a:lnTo>
                    <a:pt x="1380" y="647"/>
                  </a:lnTo>
                  <a:lnTo>
                    <a:pt x="1382" y="645"/>
                  </a:lnTo>
                  <a:lnTo>
                    <a:pt x="1384" y="644"/>
                  </a:lnTo>
                  <a:lnTo>
                    <a:pt x="1387" y="644"/>
                  </a:lnTo>
                  <a:lnTo>
                    <a:pt x="1389" y="645"/>
                  </a:lnTo>
                  <a:lnTo>
                    <a:pt x="1391" y="647"/>
                  </a:lnTo>
                  <a:lnTo>
                    <a:pt x="1394" y="649"/>
                  </a:lnTo>
                  <a:lnTo>
                    <a:pt x="1396" y="650"/>
                  </a:lnTo>
                  <a:lnTo>
                    <a:pt x="1398" y="651"/>
                  </a:lnTo>
                  <a:lnTo>
                    <a:pt x="1404" y="652"/>
                  </a:lnTo>
                  <a:lnTo>
                    <a:pt x="1410" y="653"/>
                  </a:lnTo>
                  <a:lnTo>
                    <a:pt x="1415" y="653"/>
                  </a:lnTo>
                  <a:lnTo>
                    <a:pt x="1426" y="655"/>
                  </a:lnTo>
                  <a:lnTo>
                    <a:pt x="1437" y="655"/>
                  </a:lnTo>
                  <a:lnTo>
                    <a:pt x="1440" y="654"/>
                  </a:lnTo>
                  <a:lnTo>
                    <a:pt x="1441" y="652"/>
                  </a:lnTo>
                  <a:lnTo>
                    <a:pt x="1441" y="651"/>
                  </a:lnTo>
                  <a:lnTo>
                    <a:pt x="1440" y="649"/>
                  </a:lnTo>
                  <a:lnTo>
                    <a:pt x="1438" y="648"/>
                  </a:lnTo>
                  <a:lnTo>
                    <a:pt x="1434" y="647"/>
                  </a:lnTo>
                  <a:lnTo>
                    <a:pt x="1427" y="645"/>
                  </a:lnTo>
                  <a:lnTo>
                    <a:pt x="1418" y="645"/>
                  </a:lnTo>
                  <a:lnTo>
                    <a:pt x="1408" y="647"/>
                  </a:lnTo>
                  <a:lnTo>
                    <a:pt x="1408" y="647"/>
                  </a:lnTo>
                  <a:lnTo>
                    <a:pt x="1407" y="647"/>
                  </a:lnTo>
                  <a:lnTo>
                    <a:pt x="1405" y="648"/>
                  </a:lnTo>
                  <a:lnTo>
                    <a:pt x="1404" y="648"/>
                  </a:lnTo>
                  <a:lnTo>
                    <a:pt x="1402" y="648"/>
                  </a:lnTo>
                  <a:lnTo>
                    <a:pt x="1401" y="648"/>
                  </a:lnTo>
                  <a:lnTo>
                    <a:pt x="1401" y="647"/>
                  </a:lnTo>
                  <a:lnTo>
                    <a:pt x="1404" y="643"/>
                  </a:lnTo>
                  <a:lnTo>
                    <a:pt x="1404" y="641"/>
                  </a:lnTo>
                  <a:lnTo>
                    <a:pt x="1404" y="639"/>
                  </a:lnTo>
                  <a:lnTo>
                    <a:pt x="1404" y="636"/>
                  </a:lnTo>
                  <a:lnTo>
                    <a:pt x="1401" y="636"/>
                  </a:lnTo>
                  <a:lnTo>
                    <a:pt x="1399" y="637"/>
                  </a:lnTo>
                  <a:lnTo>
                    <a:pt x="1397" y="638"/>
                  </a:lnTo>
                  <a:lnTo>
                    <a:pt x="1396" y="640"/>
                  </a:lnTo>
                  <a:lnTo>
                    <a:pt x="1394" y="641"/>
                  </a:lnTo>
                  <a:lnTo>
                    <a:pt x="1391" y="641"/>
                  </a:lnTo>
                  <a:lnTo>
                    <a:pt x="1388" y="640"/>
                  </a:lnTo>
                  <a:lnTo>
                    <a:pt x="1385" y="640"/>
                  </a:lnTo>
                  <a:lnTo>
                    <a:pt x="1383" y="640"/>
                  </a:lnTo>
                  <a:lnTo>
                    <a:pt x="1378" y="642"/>
                  </a:lnTo>
                  <a:lnTo>
                    <a:pt x="1375" y="645"/>
                  </a:lnTo>
                  <a:lnTo>
                    <a:pt x="1374" y="648"/>
                  </a:lnTo>
                  <a:lnTo>
                    <a:pt x="1373" y="650"/>
                  </a:lnTo>
                  <a:lnTo>
                    <a:pt x="1372" y="653"/>
                  </a:lnTo>
                  <a:lnTo>
                    <a:pt x="1369" y="651"/>
                  </a:lnTo>
                  <a:lnTo>
                    <a:pt x="1368" y="650"/>
                  </a:lnTo>
                  <a:lnTo>
                    <a:pt x="1367" y="648"/>
                  </a:lnTo>
                  <a:lnTo>
                    <a:pt x="1366" y="645"/>
                  </a:lnTo>
                  <a:lnTo>
                    <a:pt x="1365" y="644"/>
                  </a:lnTo>
                  <a:lnTo>
                    <a:pt x="1362" y="645"/>
                  </a:lnTo>
                  <a:lnTo>
                    <a:pt x="1359" y="649"/>
                  </a:lnTo>
                  <a:lnTo>
                    <a:pt x="1358" y="654"/>
                  </a:lnTo>
                  <a:lnTo>
                    <a:pt x="1358" y="659"/>
                  </a:lnTo>
                  <a:lnTo>
                    <a:pt x="1358" y="662"/>
                  </a:lnTo>
                  <a:lnTo>
                    <a:pt x="1359" y="664"/>
                  </a:lnTo>
                  <a:lnTo>
                    <a:pt x="1359" y="666"/>
                  </a:lnTo>
                  <a:lnTo>
                    <a:pt x="1359" y="669"/>
                  </a:lnTo>
                  <a:lnTo>
                    <a:pt x="1358" y="671"/>
                  </a:lnTo>
                  <a:lnTo>
                    <a:pt x="1356" y="673"/>
                  </a:lnTo>
                  <a:lnTo>
                    <a:pt x="1354" y="675"/>
                  </a:lnTo>
                  <a:lnTo>
                    <a:pt x="1352" y="677"/>
                  </a:lnTo>
                  <a:lnTo>
                    <a:pt x="1348" y="678"/>
                  </a:lnTo>
                  <a:lnTo>
                    <a:pt x="1345" y="680"/>
                  </a:lnTo>
                  <a:lnTo>
                    <a:pt x="1343" y="680"/>
                  </a:lnTo>
                  <a:lnTo>
                    <a:pt x="1342" y="680"/>
                  </a:lnTo>
                  <a:lnTo>
                    <a:pt x="1341" y="678"/>
                  </a:lnTo>
                  <a:lnTo>
                    <a:pt x="1340" y="677"/>
                  </a:lnTo>
                  <a:lnTo>
                    <a:pt x="1339" y="675"/>
                  </a:lnTo>
                  <a:lnTo>
                    <a:pt x="1337" y="674"/>
                  </a:lnTo>
                  <a:lnTo>
                    <a:pt x="1336" y="673"/>
                  </a:lnTo>
                  <a:lnTo>
                    <a:pt x="1334" y="673"/>
                  </a:lnTo>
                  <a:lnTo>
                    <a:pt x="1333" y="674"/>
                  </a:lnTo>
                  <a:lnTo>
                    <a:pt x="1334" y="676"/>
                  </a:lnTo>
                  <a:lnTo>
                    <a:pt x="1334" y="678"/>
                  </a:lnTo>
                  <a:lnTo>
                    <a:pt x="1334" y="681"/>
                  </a:lnTo>
                  <a:lnTo>
                    <a:pt x="1334" y="682"/>
                  </a:lnTo>
                  <a:lnTo>
                    <a:pt x="1331" y="682"/>
                  </a:lnTo>
                  <a:lnTo>
                    <a:pt x="1328" y="682"/>
                  </a:lnTo>
                  <a:lnTo>
                    <a:pt x="1324" y="681"/>
                  </a:lnTo>
                  <a:lnTo>
                    <a:pt x="1322" y="678"/>
                  </a:lnTo>
                  <a:lnTo>
                    <a:pt x="1321" y="677"/>
                  </a:lnTo>
                  <a:lnTo>
                    <a:pt x="1320" y="676"/>
                  </a:lnTo>
                  <a:lnTo>
                    <a:pt x="1319" y="676"/>
                  </a:lnTo>
                  <a:lnTo>
                    <a:pt x="1318" y="677"/>
                  </a:lnTo>
                  <a:lnTo>
                    <a:pt x="1318" y="678"/>
                  </a:lnTo>
                  <a:lnTo>
                    <a:pt x="1317" y="681"/>
                  </a:lnTo>
                  <a:lnTo>
                    <a:pt x="1317" y="682"/>
                  </a:lnTo>
                  <a:lnTo>
                    <a:pt x="1315" y="684"/>
                  </a:lnTo>
                  <a:lnTo>
                    <a:pt x="1313" y="686"/>
                  </a:lnTo>
                  <a:lnTo>
                    <a:pt x="1312" y="687"/>
                  </a:lnTo>
                  <a:lnTo>
                    <a:pt x="1309" y="688"/>
                  </a:lnTo>
                  <a:lnTo>
                    <a:pt x="1306" y="688"/>
                  </a:lnTo>
                  <a:lnTo>
                    <a:pt x="1299" y="688"/>
                  </a:lnTo>
                  <a:lnTo>
                    <a:pt x="1290" y="687"/>
                  </a:lnTo>
                  <a:lnTo>
                    <a:pt x="1282" y="686"/>
                  </a:lnTo>
                  <a:lnTo>
                    <a:pt x="1277" y="684"/>
                  </a:lnTo>
                  <a:lnTo>
                    <a:pt x="1275" y="680"/>
                  </a:lnTo>
                  <a:lnTo>
                    <a:pt x="1277" y="677"/>
                  </a:lnTo>
                  <a:lnTo>
                    <a:pt x="1279" y="676"/>
                  </a:lnTo>
                  <a:lnTo>
                    <a:pt x="1281" y="675"/>
                  </a:lnTo>
                  <a:lnTo>
                    <a:pt x="1285" y="674"/>
                  </a:lnTo>
                  <a:lnTo>
                    <a:pt x="1287" y="672"/>
                  </a:lnTo>
                  <a:lnTo>
                    <a:pt x="1289" y="671"/>
                  </a:lnTo>
                  <a:lnTo>
                    <a:pt x="1290" y="669"/>
                  </a:lnTo>
                  <a:lnTo>
                    <a:pt x="1290" y="666"/>
                  </a:lnTo>
                  <a:lnTo>
                    <a:pt x="1289" y="666"/>
                  </a:lnTo>
                  <a:lnTo>
                    <a:pt x="1288" y="667"/>
                  </a:lnTo>
                  <a:lnTo>
                    <a:pt x="1287" y="667"/>
                  </a:lnTo>
                  <a:lnTo>
                    <a:pt x="1286" y="669"/>
                  </a:lnTo>
                  <a:lnTo>
                    <a:pt x="1284" y="669"/>
                  </a:lnTo>
                  <a:lnTo>
                    <a:pt x="1282" y="669"/>
                  </a:lnTo>
                  <a:lnTo>
                    <a:pt x="1281" y="669"/>
                  </a:lnTo>
                  <a:lnTo>
                    <a:pt x="1280" y="667"/>
                  </a:lnTo>
                  <a:lnTo>
                    <a:pt x="1279" y="666"/>
                  </a:lnTo>
                  <a:lnTo>
                    <a:pt x="1268" y="666"/>
                  </a:lnTo>
                  <a:lnTo>
                    <a:pt x="1267" y="664"/>
                  </a:lnTo>
                  <a:lnTo>
                    <a:pt x="1267" y="663"/>
                  </a:lnTo>
                  <a:lnTo>
                    <a:pt x="1267" y="661"/>
                  </a:lnTo>
                  <a:lnTo>
                    <a:pt x="1269" y="660"/>
                  </a:lnTo>
                  <a:lnTo>
                    <a:pt x="1270" y="658"/>
                  </a:lnTo>
                  <a:lnTo>
                    <a:pt x="1271" y="655"/>
                  </a:lnTo>
                  <a:lnTo>
                    <a:pt x="1273" y="654"/>
                  </a:lnTo>
                  <a:lnTo>
                    <a:pt x="1273" y="652"/>
                  </a:lnTo>
                  <a:lnTo>
                    <a:pt x="1270" y="651"/>
                  </a:lnTo>
                  <a:lnTo>
                    <a:pt x="1268" y="650"/>
                  </a:lnTo>
                  <a:lnTo>
                    <a:pt x="1267" y="649"/>
                  </a:lnTo>
                  <a:lnTo>
                    <a:pt x="1266" y="647"/>
                  </a:lnTo>
                  <a:lnTo>
                    <a:pt x="1267" y="645"/>
                  </a:lnTo>
                  <a:lnTo>
                    <a:pt x="1269" y="643"/>
                  </a:lnTo>
                  <a:lnTo>
                    <a:pt x="1270" y="642"/>
                  </a:lnTo>
                  <a:lnTo>
                    <a:pt x="1273" y="640"/>
                  </a:lnTo>
                  <a:lnTo>
                    <a:pt x="1279" y="637"/>
                  </a:lnTo>
                  <a:lnTo>
                    <a:pt x="1285" y="634"/>
                  </a:lnTo>
                  <a:lnTo>
                    <a:pt x="1292" y="633"/>
                  </a:lnTo>
                  <a:lnTo>
                    <a:pt x="1297" y="632"/>
                  </a:lnTo>
                  <a:lnTo>
                    <a:pt x="1299" y="631"/>
                  </a:lnTo>
                  <a:lnTo>
                    <a:pt x="1301" y="630"/>
                  </a:lnTo>
                  <a:lnTo>
                    <a:pt x="1301" y="629"/>
                  </a:lnTo>
                  <a:lnTo>
                    <a:pt x="1300" y="627"/>
                  </a:lnTo>
                  <a:lnTo>
                    <a:pt x="1299" y="626"/>
                  </a:lnTo>
                  <a:lnTo>
                    <a:pt x="1297" y="625"/>
                  </a:lnTo>
                  <a:lnTo>
                    <a:pt x="1295" y="623"/>
                  </a:lnTo>
                  <a:lnTo>
                    <a:pt x="1292" y="622"/>
                  </a:lnTo>
                  <a:lnTo>
                    <a:pt x="1282" y="620"/>
                  </a:lnTo>
                  <a:lnTo>
                    <a:pt x="1274" y="622"/>
                  </a:lnTo>
                  <a:lnTo>
                    <a:pt x="1262" y="627"/>
                  </a:lnTo>
                  <a:lnTo>
                    <a:pt x="1248" y="627"/>
                  </a:lnTo>
                  <a:lnTo>
                    <a:pt x="1247" y="626"/>
                  </a:lnTo>
                  <a:lnTo>
                    <a:pt x="1246" y="625"/>
                  </a:lnTo>
                  <a:lnTo>
                    <a:pt x="1246" y="625"/>
                  </a:lnTo>
                  <a:lnTo>
                    <a:pt x="1246" y="623"/>
                  </a:lnTo>
                  <a:lnTo>
                    <a:pt x="1246" y="622"/>
                  </a:lnTo>
                  <a:lnTo>
                    <a:pt x="1248" y="621"/>
                  </a:lnTo>
                  <a:lnTo>
                    <a:pt x="1251" y="620"/>
                  </a:lnTo>
                  <a:lnTo>
                    <a:pt x="1254" y="620"/>
                  </a:lnTo>
                  <a:lnTo>
                    <a:pt x="1257" y="619"/>
                  </a:lnTo>
                  <a:lnTo>
                    <a:pt x="1259" y="618"/>
                  </a:lnTo>
                  <a:lnTo>
                    <a:pt x="1262" y="617"/>
                  </a:lnTo>
                  <a:lnTo>
                    <a:pt x="1263" y="615"/>
                  </a:lnTo>
                  <a:lnTo>
                    <a:pt x="1264" y="614"/>
                  </a:lnTo>
                  <a:lnTo>
                    <a:pt x="1265" y="612"/>
                  </a:lnTo>
                  <a:lnTo>
                    <a:pt x="1264" y="611"/>
                  </a:lnTo>
                  <a:lnTo>
                    <a:pt x="1262" y="611"/>
                  </a:lnTo>
                  <a:lnTo>
                    <a:pt x="1258" y="612"/>
                  </a:lnTo>
                  <a:lnTo>
                    <a:pt x="1255" y="614"/>
                  </a:lnTo>
                  <a:lnTo>
                    <a:pt x="1252" y="614"/>
                  </a:lnTo>
                  <a:lnTo>
                    <a:pt x="1248" y="614"/>
                  </a:lnTo>
                  <a:lnTo>
                    <a:pt x="1246" y="614"/>
                  </a:lnTo>
                  <a:lnTo>
                    <a:pt x="1243" y="612"/>
                  </a:lnTo>
                  <a:lnTo>
                    <a:pt x="1241" y="611"/>
                  </a:lnTo>
                  <a:lnTo>
                    <a:pt x="1238" y="610"/>
                  </a:lnTo>
                  <a:lnTo>
                    <a:pt x="1237" y="609"/>
                  </a:lnTo>
                  <a:lnTo>
                    <a:pt x="1237" y="607"/>
                  </a:lnTo>
                  <a:lnTo>
                    <a:pt x="1238" y="605"/>
                  </a:lnTo>
                  <a:lnTo>
                    <a:pt x="1239" y="604"/>
                  </a:lnTo>
                  <a:lnTo>
                    <a:pt x="1241" y="601"/>
                  </a:lnTo>
                  <a:lnTo>
                    <a:pt x="1242" y="600"/>
                  </a:lnTo>
                  <a:lnTo>
                    <a:pt x="1242" y="598"/>
                  </a:lnTo>
                  <a:lnTo>
                    <a:pt x="1242" y="597"/>
                  </a:lnTo>
                  <a:lnTo>
                    <a:pt x="1242" y="595"/>
                  </a:lnTo>
                  <a:lnTo>
                    <a:pt x="1242" y="594"/>
                  </a:lnTo>
                  <a:lnTo>
                    <a:pt x="1243" y="591"/>
                  </a:lnTo>
                  <a:lnTo>
                    <a:pt x="1244" y="590"/>
                  </a:lnTo>
                  <a:lnTo>
                    <a:pt x="1246" y="589"/>
                  </a:lnTo>
                  <a:lnTo>
                    <a:pt x="1248" y="589"/>
                  </a:lnTo>
                  <a:lnTo>
                    <a:pt x="1251" y="589"/>
                  </a:lnTo>
                  <a:lnTo>
                    <a:pt x="1253" y="589"/>
                  </a:lnTo>
                  <a:lnTo>
                    <a:pt x="1255" y="588"/>
                  </a:lnTo>
                  <a:lnTo>
                    <a:pt x="1257" y="588"/>
                  </a:lnTo>
                  <a:lnTo>
                    <a:pt x="1257" y="587"/>
                  </a:lnTo>
                  <a:lnTo>
                    <a:pt x="1258" y="586"/>
                  </a:lnTo>
                  <a:lnTo>
                    <a:pt x="1257" y="585"/>
                  </a:lnTo>
                  <a:lnTo>
                    <a:pt x="1255" y="584"/>
                  </a:lnTo>
                  <a:lnTo>
                    <a:pt x="1253" y="583"/>
                  </a:lnTo>
                  <a:lnTo>
                    <a:pt x="1251" y="583"/>
                  </a:lnTo>
                  <a:lnTo>
                    <a:pt x="1248" y="582"/>
                  </a:lnTo>
                  <a:lnTo>
                    <a:pt x="1248" y="580"/>
                  </a:lnTo>
                  <a:lnTo>
                    <a:pt x="1248" y="579"/>
                  </a:lnTo>
                  <a:lnTo>
                    <a:pt x="1248" y="577"/>
                  </a:lnTo>
                  <a:lnTo>
                    <a:pt x="1249" y="576"/>
                  </a:lnTo>
                  <a:lnTo>
                    <a:pt x="1248" y="574"/>
                  </a:lnTo>
                  <a:lnTo>
                    <a:pt x="1248" y="572"/>
                  </a:lnTo>
                  <a:lnTo>
                    <a:pt x="1247" y="571"/>
                  </a:lnTo>
                  <a:lnTo>
                    <a:pt x="1247" y="568"/>
                  </a:lnTo>
                  <a:lnTo>
                    <a:pt x="1248" y="566"/>
                  </a:lnTo>
                  <a:lnTo>
                    <a:pt x="1251" y="565"/>
                  </a:lnTo>
                  <a:lnTo>
                    <a:pt x="1253" y="565"/>
                  </a:lnTo>
                  <a:lnTo>
                    <a:pt x="1256" y="565"/>
                  </a:lnTo>
                  <a:lnTo>
                    <a:pt x="1258" y="566"/>
                  </a:lnTo>
                  <a:lnTo>
                    <a:pt x="1260" y="566"/>
                  </a:lnTo>
                  <a:lnTo>
                    <a:pt x="1263" y="567"/>
                  </a:lnTo>
                  <a:lnTo>
                    <a:pt x="1265" y="566"/>
                  </a:lnTo>
                  <a:lnTo>
                    <a:pt x="1266" y="565"/>
                  </a:lnTo>
                  <a:lnTo>
                    <a:pt x="1267" y="564"/>
                  </a:lnTo>
                  <a:lnTo>
                    <a:pt x="1266" y="562"/>
                  </a:lnTo>
                  <a:lnTo>
                    <a:pt x="1265" y="562"/>
                  </a:lnTo>
                  <a:lnTo>
                    <a:pt x="1263" y="561"/>
                  </a:lnTo>
                  <a:lnTo>
                    <a:pt x="1259" y="561"/>
                  </a:lnTo>
                  <a:lnTo>
                    <a:pt x="1258" y="558"/>
                  </a:lnTo>
                  <a:lnTo>
                    <a:pt x="1258" y="556"/>
                  </a:lnTo>
                  <a:lnTo>
                    <a:pt x="1258" y="554"/>
                  </a:lnTo>
                  <a:lnTo>
                    <a:pt x="1259" y="552"/>
                  </a:lnTo>
                  <a:lnTo>
                    <a:pt x="1262" y="549"/>
                  </a:lnTo>
                  <a:lnTo>
                    <a:pt x="1265" y="547"/>
                  </a:lnTo>
                  <a:lnTo>
                    <a:pt x="1268" y="545"/>
                  </a:lnTo>
                  <a:lnTo>
                    <a:pt x="1271" y="545"/>
                  </a:lnTo>
                  <a:lnTo>
                    <a:pt x="1275" y="545"/>
                  </a:lnTo>
                  <a:lnTo>
                    <a:pt x="1278" y="545"/>
                  </a:lnTo>
                  <a:lnTo>
                    <a:pt x="1280" y="545"/>
                  </a:lnTo>
                  <a:lnTo>
                    <a:pt x="1281" y="545"/>
                  </a:lnTo>
                  <a:lnTo>
                    <a:pt x="1281" y="544"/>
                  </a:lnTo>
                  <a:lnTo>
                    <a:pt x="1281" y="543"/>
                  </a:lnTo>
                  <a:lnTo>
                    <a:pt x="1281" y="542"/>
                  </a:lnTo>
                  <a:lnTo>
                    <a:pt x="1281" y="541"/>
                  </a:lnTo>
                  <a:lnTo>
                    <a:pt x="1284" y="540"/>
                  </a:lnTo>
                  <a:lnTo>
                    <a:pt x="1286" y="539"/>
                  </a:lnTo>
                  <a:lnTo>
                    <a:pt x="1288" y="539"/>
                  </a:lnTo>
                  <a:lnTo>
                    <a:pt x="1291" y="539"/>
                  </a:lnTo>
                  <a:lnTo>
                    <a:pt x="1292" y="539"/>
                  </a:lnTo>
                  <a:lnTo>
                    <a:pt x="1292" y="536"/>
                  </a:lnTo>
                  <a:lnTo>
                    <a:pt x="1289" y="534"/>
                  </a:lnTo>
                  <a:lnTo>
                    <a:pt x="1284" y="534"/>
                  </a:lnTo>
                  <a:lnTo>
                    <a:pt x="1278" y="534"/>
                  </a:lnTo>
                  <a:lnTo>
                    <a:pt x="1273" y="534"/>
                  </a:lnTo>
                  <a:lnTo>
                    <a:pt x="1268" y="534"/>
                  </a:lnTo>
                  <a:lnTo>
                    <a:pt x="1267" y="533"/>
                  </a:lnTo>
                  <a:lnTo>
                    <a:pt x="1266" y="533"/>
                  </a:lnTo>
                  <a:lnTo>
                    <a:pt x="1266" y="531"/>
                  </a:lnTo>
                  <a:lnTo>
                    <a:pt x="1267" y="530"/>
                  </a:lnTo>
                  <a:lnTo>
                    <a:pt x="1268" y="529"/>
                  </a:lnTo>
                  <a:lnTo>
                    <a:pt x="1270" y="528"/>
                  </a:lnTo>
                  <a:lnTo>
                    <a:pt x="1273" y="527"/>
                  </a:lnTo>
                  <a:lnTo>
                    <a:pt x="1275" y="525"/>
                  </a:lnTo>
                  <a:lnTo>
                    <a:pt x="1278" y="525"/>
                  </a:lnTo>
                  <a:lnTo>
                    <a:pt x="1281" y="525"/>
                  </a:lnTo>
                  <a:lnTo>
                    <a:pt x="1284" y="525"/>
                  </a:lnTo>
                  <a:lnTo>
                    <a:pt x="1292" y="523"/>
                  </a:lnTo>
                  <a:lnTo>
                    <a:pt x="1299" y="524"/>
                  </a:lnTo>
                  <a:lnTo>
                    <a:pt x="1306" y="528"/>
                  </a:lnTo>
                  <a:lnTo>
                    <a:pt x="1308" y="530"/>
                  </a:lnTo>
                  <a:lnTo>
                    <a:pt x="1309" y="532"/>
                  </a:lnTo>
                  <a:lnTo>
                    <a:pt x="1309" y="534"/>
                  </a:lnTo>
                  <a:lnTo>
                    <a:pt x="1309" y="536"/>
                  </a:lnTo>
                  <a:lnTo>
                    <a:pt x="1308" y="540"/>
                  </a:lnTo>
                  <a:lnTo>
                    <a:pt x="1308" y="543"/>
                  </a:lnTo>
                  <a:lnTo>
                    <a:pt x="1310" y="545"/>
                  </a:lnTo>
                  <a:lnTo>
                    <a:pt x="1312" y="547"/>
                  </a:lnTo>
                  <a:lnTo>
                    <a:pt x="1314" y="550"/>
                  </a:lnTo>
                  <a:lnTo>
                    <a:pt x="1317" y="552"/>
                  </a:lnTo>
                  <a:lnTo>
                    <a:pt x="1319" y="554"/>
                  </a:lnTo>
                  <a:lnTo>
                    <a:pt x="1320" y="555"/>
                  </a:lnTo>
                  <a:lnTo>
                    <a:pt x="1320" y="557"/>
                  </a:lnTo>
                  <a:lnTo>
                    <a:pt x="1321" y="560"/>
                  </a:lnTo>
                  <a:lnTo>
                    <a:pt x="1322" y="561"/>
                  </a:lnTo>
                  <a:lnTo>
                    <a:pt x="1323" y="563"/>
                  </a:lnTo>
                  <a:lnTo>
                    <a:pt x="1325" y="564"/>
                  </a:lnTo>
                  <a:lnTo>
                    <a:pt x="1328" y="565"/>
                  </a:lnTo>
                  <a:lnTo>
                    <a:pt x="1329" y="565"/>
                  </a:lnTo>
                  <a:lnTo>
                    <a:pt x="1331" y="564"/>
                  </a:lnTo>
                  <a:lnTo>
                    <a:pt x="1333" y="564"/>
                  </a:lnTo>
                  <a:lnTo>
                    <a:pt x="1334" y="564"/>
                  </a:lnTo>
                  <a:lnTo>
                    <a:pt x="1336" y="565"/>
                  </a:lnTo>
                  <a:lnTo>
                    <a:pt x="1345" y="565"/>
                  </a:lnTo>
                  <a:lnTo>
                    <a:pt x="1346" y="565"/>
                  </a:lnTo>
                  <a:lnTo>
                    <a:pt x="1348" y="566"/>
                  </a:lnTo>
                  <a:lnTo>
                    <a:pt x="1350" y="567"/>
                  </a:lnTo>
                  <a:lnTo>
                    <a:pt x="1350" y="569"/>
                  </a:lnTo>
                  <a:lnTo>
                    <a:pt x="1350" y="572"/>
                  </a:lnTo>
                  <a:lnTo>
                    <a:pt x="1348" y="573"/>
                  </a:lnTo>
                  <a:lnTo>
                    <a:pt x="1347" y="574"/>
                  </a:lnTo>
                  <a:lnTo>
                    <a:pt x="1346" y="576"/>
                  </a:lnTo>
                  <a:lnTo>
                    <a:pt x="1345" y="578"/>
                  </a:lnTo>
                  <a:lnTo>
                    <a:pt x="1345" y="580"/>
                  </a:lnTo>
                  <a:lnTo>
                    <a:pt x="1345" y="582"/>
                  </a:lnTo>
                  <a:lnTo>
                    <a:pt x="1347" y="584"/>
                  </a:lnTo>
                  <a:lnTo>
                    <a:pt x="1350" y="585"/>
                  </a:lnTo>
                  <a:lnTo>
                    <a:pt x="1352" y="587"/>
                  </a:lnTo>
                  <a:lnTo>
                    <a:pt x="1354" y="588"/>
                  </a:lnTo>
                  <a:lnTo>
                    <a:pt x="1356" y="588"/>
                  </a:lnTo>
                  <a:lnTo>
                    <a:pt x="1358" y="588"/>
                  </a:lnTo>
                  <a:lnTo>
                    <a:pt x="1358" y="587"/>
                  </a:lnTo>
                  <a:lnTo>
                    <a:pt x="1358" y="585"/>
                  </a:lnTo>
                  <a:lnTo>
                    <a:pt x="1358" y="583"/>
                  </a:lnTo>
                  <a:lnTo>
                    <a:pt x="1355" y="580"/>
                  </a:lnTo>
                  <a:lnTo>
                    <a:pt x="1354" y="578"/>
                  </a:lnTo>
                  <a:lnTo>
                    <a:pt x="1353" y="575"/>
                  </a:lnTo>
                  <a:lnTo>
                    <a:pt x="1354" y="572"/>
                  </a:lnTo>
                  <a:lnTo>
                    <a:pt x="1356" y="569"/>
                  </a:lnTo>
                  <a:lnTo>
                    <a:pt x="1359" y="568"/>
                  </a:lnTo>
                  <a:lnTo>
                    <a:pt x="1363" y="568"/>
                  </a:lnTo>
                  <a:lnTo>
                    <a:pt x="1365" y="569"/>
                  </a:lnTo>
                  <a:lnTo>
                    <a:pt x="1367" y="571"/>
                  </a:lnTo>
                  <a:lnTo>
                    <a:pt x="1368" y="573"/>
                  </a:lnTo>
                  <a:lnTo>
                    <a:pt x="1369" y="574"/>
                  </a:lnTo>
                  <a:lnTo>
                    <a:pt x="1369" y="576"/>
                  </a:lnTo>
                  <a:lnTo>
                    <a:pt x="1369" y="579"/>
                  </a:lnTo>
                  <a:lnTo>
                    <a:pt x="1370" y="580"/>
                  </a:lnTo>
                  <a:lnTo>
                    <a:pt x="1369" y="583"/>
                  </a:lnTo>
                  <a:lnTo>
                    <a:pt x="1368" y="584"/>
                  </a:lnTo>
                  <a:lnTo>
                    <a:pt x="1367" y="585"/>
                  </a:lnTo>
                  <a:lnTo>
                    <a:pt x="1368" y="586"/>
                  </a:lnTo>
                  <a:lnTo>
                    <a:pt x="1369" y="587"/>
                  </a:lnTo>
                  <a:lnTo>
                    <a:pt x="1370" y="587"/>
                  </a:lnTo>
                  <a:lnTo>
                    <a:pt x="1370" y="588"/>
                  </a:lnTo>
                  <a:lnTo>
                    <a:pt x="1372" y="589"/>
                  </a:lnTo>
                  <a:lnTo>
                    <a:pt x="1370" y="593"/>
                  </a:lnTo>
                  <a:lnTo>
                    <a:pt x="1370" y="598"/>
                  </a:lnTo>
                  <a:lnTo>
                    <a:pt x="1369" y="604"/>
                  </a:lnTo>
                  <a:lnTo>
                    <a:pt x="1370" y="607"/>
                  </a:lnTo>
                  <a:lnTo>
                    <a:pt x="1374" y="609"/>
                  </a:lnTo>
                  <a:lnTo>
                    <a:pt x="1380" y="610"/>
                  </a:lnTo>
                  <a:lnTo>
                    <a:pt x="1388" y="610"/>
                  </a:lnTo>
                  <a:lnTo>
                    <a:pt x="1396" y="611"/>
                  </a:lnTo>
                  <a:lnTo>
                    <a:pt x="1397" y="612"/>
                  </a:lnTo>
                  <a:lnTo>
                    <a:pt x="1398" y="612"/>
                  </a:lnTo>
                  <a:lnTo>
                    <a:pt x="1400" y="614"/>
                  </a:lnTo>
                  <a:lnTo>
                    <a:pt x="1402" y="615"/>
                  </a:lnTo>
                  <a:lnTo>
                    <a:pt x="1404" y="615"/>
                  </a:lnTo>
                  <a:lnTo>
                    <a:pt x="1406" y="616"/>
                  </a:lnTo>
                  <a:lnTo>
                    <a:pt x="1406" y="615"/>
                  </a:lnTo>
                  <a:lnTo>
                    <a:pt x="1406" y="615"/>
                  </a:lnTo>
                  <a:lnTo>
                    <a:pt x="1404" y="614"/>
                  </a:lnTo>
                  <a:lnTo>
                    <a:pt x="1402" y="611"/>
                  </a:lnTo>
                  <a:lnTo>
                    <a:pt x="1400" y="610"/>
                  </a:lnTo>
                  <a:lnTo>
                    <a:pt x="1398" y="608"/>
                  </a:lnTo>
                  <a:lnTo>
                    <a:pt x="1398" y="607"/>
                  </a:lnTo>
                  <a:lnTo>
                    <a:pt x="1396" y="605"/>
                  </a:lnTo>
                  <a:lnTo>
                    <a:pt x="1395" y="604"/>
                  </a:lnTo>
                  <a:lnTo>
                    <a:pt x="1394" y="601"/>
                  </a:lnTo>
                  <a:lnTo>
                    <a:pt x="1391" y="600"/>
                  </a:lnTo>
                  <a:lnTo>
                    <a:pt x="1389" y="600"/>
                  </a:lnTo>
                  <a:lnTo>
                    <a:pt x="1386" y="599"/>
                  </a:lnTo>
                  <a:lnTo>
                    <a:pt x="1384" y="597"/>
                  </a:lnTo>
                  <a:lnTo>
                    <a:pt x="1383" y="596"/>
                  </a:lnTo>
                  <a:lnTo>
                    <a:pt x="1382" y="594"/>
                  </a:lnTo>
                  <a:lnTo>
                    <a:pt x="1382" y="591"/>
                  </a:lnTo>
                  <a:lnTo>
                    <a:pt x="1383" y="589"/>
                  </a:lnTo>
                  <a:lnTo>
                    <a:pt x="1383" y="587"/>
                  </a:lnTo>
                  <a:lnTo>
                    <a:pt x="1383" y="586"/>
                  </a:lnTo>
                  <a:lnTo>
                    <a:pt x="1382" y="584"/>
                  </a:lnTo>
                  <a:lnTo>
                    <a:pt x="1382" y="582"/>
                  </a:lnTo>
                  <a:lnTo>
                    <a:pt x="1382" y="579"/>
                  </a:lnTo>
                  <a:lnTo>
                    <a:pt x="1383" y="577"/>
                  </a:lnTo>
                  <a:lnTo>
                    <a:pt x="1383" y="576"/>
                  </a:lnTo>
                  <a:lnTo>
                    <a:pt x="1385" y="574"/>
                  </a:lnTo>
                  <a:lnTo>
                    <a:pt x="1386" y="574"/>
                  </a:lnTo>
                  <a:lnTo>
                    <a:pt x="1389" y="574"/>
                  </a:lnTo>
                  <a:lnTo>
                    <a:pt x="1400" y="574"/>
                  </a:lnTo>
                  <a:lnTo>
                    <a:pt x="1412" y="575"/>
                  </a:lnTo>
                  <a:lnTo>
                    <a:pt x="1423" y="578"/>
                  </a:lnTo>
                  <a:lnTo>
                    <a:pt x="1429" y="580"/>
                  </a:lnTo>
                  <a:lnTo>
                    <a:pt x="1432" y="584"/>
                  </a:lnTo>
                  <a:lnTo>
                    <a:pt x="1435" y="587"/>
                  </a:lnTo>
                  <a:lnTo>
                    <a:pt x="1439" y="590"/>
                  </a:lnTo>
                  <a:lnTo>
                    <a:pt x="1441" y="594"/>
                  </a:lnTo>
                  <a:lnTo>
                    <a:pt x="1443" y="596"/>
                  </a:lnTo>
                  <a:lnTo>
                    <a:pt x="1444" y="597"/>
                  </a:lnTo>
                  <a:lnTo>
                    <a:pt x="1444" y="599"/>
                  </a:lnTo>
                  <a:lnTo>
                    <a:pt x="1445" y="600"/>
                  </a:lnTo>
                  <a:lnTo>
                    <a:pt x="1448" y="603"/>
                  </a:lnTo>
                  <a:lnTo>
                    <a:pt x="1450" y="605"/>
                  </a:lnTo>
                  <a:lnTo>
                    <a:pt x="1452" y="605"/>
                  </a:lnTo>
                  <a:lnTo>
                    <a:pt x="1454" y="606"/>
                  </a:lnTo>
                  <a:lnTo>
                    <a:pt x="1456" y="607"/>
                  </a:lnTo>
                  <a:lnTo>
                    <a:pt x="1459" y="608"/>
                  </a:lnTo>
                  <a:lnTo>
                    <a:pt x="1461" y="609"/>
                  </a:lnTo>
                  <a:lnTo>
                    <a:pt x="1464" y="609"/>
                  </a:lnTo>
                  <a:lnTo>
                    <a:pt x="1466" y="609"/>
                  </a:lnTo>
                  <a:lnTo>
                    <a:pt x="1467" y="609"/>
                  </a:lnTo>
                  <a:lnTo>
                    <a:pt x="1467" y="609"/>
                  </a:lnTo>
                  <a:lnTo>
                    <a:pt x="1466" y="608"/>
                  </a:lnTo>
                  <a:lnTo>
                    <a:pt x="1465" y="607"/>
                  </a:lnTo>
                  <a:lnTo>
                    <a:pt x="1463" y="606"/>
                  </a:lnTo>
                  <a:lnTo>
                    <a:pt x="1461" y="606"/>
                  </a:lnTo>
                  <a:lnTo>
                    <a:pt x="1459" y="605"/>
                  </a:lnTo>
                  <a:lnTo>
                    <a:pt x="1456" y="603"/>
                  </a:lnTo>
                  <a:lnTo>
                    <a:pt x="1455" y="601"/>
                  </a:lnTo>
                  <a:lnTo>
                    <a:pt x="1454" y="599"/>
                  </a:lnTo>
                  <a:lnTo>
                    <a:pt x="1453" y="597"/>
                  </a:lnTo>
                  <a:lnTo>
                    <a:pt x="1452" y="596"/>
                  </a:lnTo>
                  <a:lnTo>
                    <a:pt x="1450" y="593"/>
                  </a:lnTo>
                  <a:lnTo>
                    <a:pt x="1448" y="590"/>
                  </a:lnTo>
                  <a:lnTo>
                    <a:pt x="1445" y="587"/>
                  </a:lnTo>
                  <a:lnTo>
                    <a:pt x="1443" y="585"/>
                  </a:lnTo>
                  <a:lnTo>
                    <a:pt x="1442" y="583"/>
                  </a:lnTo>
                  <a:lnTo>
                    <a:pt x="1440" y="582"/>
                  </a:lnTo>
                  <a:lnTo>
                    <a:pt x="1438" y="579"/>
                  </a:lnTo>
                  <a:lnTo>
                    <a:pt x="1437" y="578"/>
                  </a:lnTo>
                  <a:lnTo>
                    <a:pt x="1437" y="576"/>
                  </a:lnTo>
                  <a:lnTo>
                    <a:pt x="1438" y="575"/>
                  </a:lnTo>
                  <a:lnTo>
                    <a:pt x="1440" y="573"/>
                  </a:lnTo>
                  <a:lnTo>
                    <a:pt x="1443" y="572"/>
                  </a:lnTo>
                  <a:lnTo>
                    <a:pt x="1448" y="569"/>
                  </a:lnTo>
                  <a:lnTo>
                    <a:pt x="1453" y="567"/>
                  </a:lnTo>
                  <a:lnTo>
                    <a:pt x="1459" y="565"/>
                  </a:lnTo>
                  <a:lnTo>
                    <a:pt x="1462" y="565"/>
                  </a:lnTo>
                  <a:lnTo>
                    <a:pt x="1466" y="565"/>
                  </a:lnTo>
                  <a:lnTo>
                    <a:pt x="1471" y="564"/>
                  </a:lnTo>
                  <a:lnTo>
                    <a:pt x="1474" y="563"/>
                  </a:lnTo>
                  <a:lnTo>
                    <a:pt x="1477" y="561"/>
                  </a:lnTo>
                  <a:lnTo>
                    <a:pt x="1481" y="558"/>
                  </a:lnTo>
                  <a:lnTo>
                    <a:pt x="1483" y="556"/>
                  </a:lnTo>
                  <a:lnTo>
                    <a:pt x="1485" y="555"/>
                  </a:lnTo>
                  <a:lnTo>
                    <a:pt x="1487" y="554"/>
                  </a:lnTo>
                  <a:lnTo>
                    <a:pt x="1489" y="553"/>
                  </a:lnTo>
                  <a:lnTo>
                    <a:pt x="1492" y="552"/>
                  </a:lnTo>
                  <a:lnTo>
                    <a:pt x="1502" y="547"/>
                  </a:lnTo>
                  <a:lnTo>
                    <a:pt x="1510" y="546"/>
                  </a:lnTo>
                  <a:lnTo>
                    <a:pt x="1520" y="547"/>
                  </a:lnTo>
                  <a:lnTo>
                    <a:pt x="1521" y="547"/>
                  </a:lnTo>
                  <a:lnTo>
                    <a:pt x="1524" y="546"/>
                  </a:lnTo>
                  <a:lnTo>
                    <a:pt x="1526" y="546"/>
                  </a:lnTo>
                  <a:lnTo>
                    <a:pt x="1529" y="545"/>
                  </a:lnTo>
                  <a:lnTo>
                    <a:pt x="1531" y="545"/>
                  </a:lnTo>
                  <a:lnTo>
                    <a:pt x="1532" y="544"/>
                  </a:lnTo>
                  <a:lnTo>
                    <a:pt x="1532" y="543"/>
                  </a:lnTo>
                  <a:lnTo>
                    <a:pt x="1531" y="543"/>
                  </a:lnTo>
                  <a:lnTo>
                    <a:pt x="1525" y="541"/>
                  </a:lnTo>
                  <a:lnTo>
                    <a:pt x="1517" y="541"/>
                  </a:lnTo>
                  <a:lnTo>
                    <a:pt x="1509" y="541"/>
                  </a:lnTo>
                  <a:lnTo>
                    <a:pt x="1492" y="541"/>
                  </a:lnTo>
                  <a:lnTo>
                    <a:pt x="1489" y="539"/>
                  </a:lnTo>
                  <a:lnTo>
                    <a:pt x="1490" y="535"/>
                  </a:lnTo>
                  <a:lnTo>
                    <a:pt x="1494" y="531"/>
                  </a:lnTo>
                  <a:lnTo>
                    <a:pt x="1499" y="527"/>
                  </a:lnTo>
                  <a:lnTo>
                    <a:pt x="1504" y="523"/>
                  </a:lnTo>
                  <a:lnTo>
                    <a:pt x="1507" y="521"/>
                  </a:lnTo>
                  <a:lnTo>
                    <a:pt x="1509" y="520"/>
                  </a:lnTo>
                  <a:lnTo>
                    <a:pt x="1513" y="519"/>
                  </a:lnTo>
                  <a:lnTo>
                    <a:pt x="1515" y="518"/>
                  </a:lnTo>
                  <a:lnTo>
                    <a:pt x="1516" y="517"/>
                  </a:lnTo>
                  <a:lnTo>
                    <a:pt x="1518" y="514"/>
                  </a:lnTo>
                  <a:lnTo>
                    <a:pt x="1518" y="514"/>
                  </a:lnTo>
                  <a:lnTo>
                    <a:pt x="1518" y="513"/>
                  </a:lnTo>
                  <a:lnTo>
                    <a:pt x="1517" y="512"/>
                  </a:lnTo>
                  <a:lnTo>
                    <a:pt x="1516" y="512"/>
                  </a:lnTo>
                  <a:lnTo>
                    <a:pt x="1514" y="512"/>
                  </a:lnTo>
                  <a:lnTo>
                    <a:pt x="1508" y="512"/>
                  </a:lnTo>
                  <a:lnTo>
                    <a:pt x="1504" y="514"/>
                  </a:lnTo>
                  <a:lnTo>
                    <a:pt x="1499" y="517"/>
                  </a:lnTo>
                  <a:lnTo>
                    <a:pt x="1496" y="519"/>
                  </a:lnTo>
                  <a:lnTo>
                    <a:pt x="1492" y="521"/>
                  </a:lnTo>
                  <a:lnTo>
                    <a:pt x="1487" y="524"/>
                  </a:lnTo>
                  <a:lnTo>
                    <a:pt x="1485" y="528"/>
                  </a:lnTo>
                  <a:lnTo>
                    <a:pt x="1483" y="531"/>
                  </a:lnTo>
                  <a:lnTo>
                    <a:pt x="1483" y="536"/>
                  </a:lnTo>
                  <a:lnTo>
                    <a:pt x="1483" y="538"/>
                  </a:lnTo>
                  <a:lnTo>
                    <a:pt x="1484" y="540"/>
                  </a:lnTo>
                  <a:lnTo>
                    <a:pt x="1484" y="541"/>
                  </a:lnTo>
                  <a:lnTo>
                    <a:pt x="1483" y="543"/>
                  </a:lnTo>
                  <a:lnTo>
                    <a:pt x="1481" y="544"/>
                  </a:lnTo>
                  <a:lnTo>
                    <a:pt x="1478" y="546"/>
                  </a:lnTo>
                  <a:lnTo>
                    <a:pt x="1477" y="547"/>
                  </a:lnTo>
                  <a:lnTo>
                    <a:pt x="1476" y="550"/>
                  </a:lnTo>
                  <a:lnTo>
                    <a:pt x="1472" y="553"/>
                  </a:lnTo>
                  <a:lnTo>
                    <a:pt x="1464" y="555"/>
                  </a:lnTo>
                  <a:lnTo>
                    <a:pt x="1456" y="557"/>
                  </a:lnTo>
                  <a:lnTo>
                    <a:pt x="1448" y="558"/>
                  </a:lnTo>
                  <a:lnTo>
                    <a:pt x="1444" y="560"/>
                  </a:lnTo>
                  <a:lnTo>
                    <a:pt x="1441" y="562"/>
                  </a:lnTo>
                  <a:lnTo>
                    <a:pt x="1437" y="562"/>
                  </a:lnTo>
                  <a:lnTo>
                    <a:pt x="1432" y="563"/>
                  </a:lnTo>
                  <a:lnTo>
                    <a:pt x="1431" y="562"/>
                  </a:lnTo>
                  <a:lnTo>
                    <a:pt x="1430" y="561"/>
                  </a:lnTo>
                  <a:lnTo>
                    <a:pt x="1430" y="558"/>
                  </a:lnTo>
                  <a:lnTo>
                    <a:pt x="1431" y="557"/>
                  </a:lnTo>
                  <a:lnTo>
                    <a:pt x="1431" y="556"/>
                  </a:lnTo>
                  <a:lnTo>
                    <a:pt x="1431" y="555"/>
                  </a:lnTo>
                  <a:lnTo>
                    <a:pt x="1430" y="554"/>
                  </a:lnTo>
                  <a:lnTo>
                    <a:pt x="1428" y="553"/>
                  </a:lnTo>
                  <a:lnTo>
                    <a:pt x="1426" y="554"/>
                  </a:lnTo>
                  <a:lnTo>
                    <a:pt x="1423" y="555"/>
                  </a:lnTo>
                  <a:lnTo>
                    <a:pt x="1420" y="557"/>
                  </a:lnTo>
                  <a:lnTo>
                    <a:pt x="1418" y="560"/>
                  </a:lnTo>
                  <a:lnTo>
                    <a:pt x="1417" y="562"/>
                  </a:lnTo>
                  <a:lnTo>
                    <a:pt x="1415" y="563"/>
                  </a:lnTo>
                  <a:lnTo>
                    <a:pt x="1410" y="564"/>
                  </a:lnTo>
                  <a:lnTo>
                    <a:pt x="1402" y="565"/>
                  </a:lnTo>
                  <a:lnTo>
                    <a:pt x="1396" y="565"/>
                  </a:lnTo>
                  <a:lnTo>
                    <a:pt x="1391" y="563"/>
                  </a:lnTo>
                  <a:lnTo>
                    <a:pt x="1389" y="562"/>
                  </a:lnTo>
                  <a:lnTo>
                    <a:pt x="1389" y="560"/>
                  </a:lnTo>
                  <a:lnTo>
                    <a:pt x="1389" y="558"/>
                  </a:lnTo>
                  <a:lnTo>
                    <a:pt x="1390" y="556"/>
                  </a:lnTo>
                  <a:lnTo>
                    <a:pt x="1390" y="555"/>
                  </a:lnTo>
                  <a:lnTo>
                    <a:pt x="1391" y="554"/>
                  </a:lnTo>
                  <a:lnTo>
                    <a:pt x="1391" y="552"/>
                  </a:lnTo>
                  <a:lnTo>
                    <a:pt x="1393" y="550"/>
                  </a:lnTo>
                  <a:lnTo>
                    <a:pt x="1395" y="547"/>
                  </a:lnTo>
                  <a:lnTo>
                    <a:pt x="1397" y="546"/>
                  </a:lnTo>
                  <a:lnTo>
                    <a:pt x="1399" y="545"/>
                  </a:lnTo>
                  <a:lnTo>
                    <a:pt x="1415" y="540"/>
                  </a:lnTo>
                  <a:lnTo>
                    <a:pt x="1430" y="536"/>
                  </a:lnTo>
                  <a:lnTo>
                    <a:pt x="1433" y="535"/>
                  </a:lnTo>
                  <a:lnTo>
                    <a:pt x="1434" y="534"/>
                  </a:lnTo>
                  <a:lnTo>
                    <a:pt x="1434" y="534"/>
                  </a:lnTo>
                  <a:lnTo>
                    <a:pt x="1433" y="533"/>
                  </a:lnTo>
                  <a:lnTo>
                    <a:pt x="1432" y="533"/>
                  </a:lnTo>
                  <a:lnTo>
                    <a:pt x="1430" y="533"/>
                  </a:lnTo>
                  <a:lnTo>
                    <a:pt x="1428" y="533"/>
                  </a:lnTo>
                  <a:lnTo>
                    <a:pt x="1426" y="534"/>
                  </a:lnTo>
                  <a:lnTo>
                    <a:pt x="1423" y="534"/>
                  </a:lnTo>
                  <a:lnTo>
                    <a:pt x="1421" y="534"/>
                  </a:lnTo>
                  <a:lnTo>
                    <a:pt x="1410" y="535"/>
                  </a:lnTo>
                  <a:lnTo>
                    <a:pt x="1399" y="539"/>
                  </a:lnTo>
                  <a:lnTo>
                    <a:pt x="1389" y="543"/>
                  </a:lnTo>
                  <a:lnTo>
                    <a:pt x="1385" y="544"/>
                  </a:lnTo>
                  <a:lnTo>
                    <a:pt x="1383" y="546"/>
                  </a:lnTo>
                  <a:lnTo>
                    <a:pt x="1380" y="549"/>
                  </a:lnTo>
                  <a:lnTo>
                    <a:pt x="1378" y="551"/>
                  </a:lnTo>
                  <a:lnTo>
                    <a:pt x="1376" y="554"/>
                  </a:lnTo>
                  <a:lnTo>
                    <a:pt x="1369" y="555"/>
                  </a:lnTo>
                  <a:lnTo>
                    <a:pt x="1363" y="554"/>
                  </a:lnTo>
                  <a:lnTo>
                    <a:pt x="1356" y="552"/>
                  </a:lnTo>
                  <a:lnTo>
                    <a:pt x="1352" y="550"/>
                  </a:lnTo>
                  <a:lnTo>
                    <a:pt x="1348" y="549"/>
                  </a:lnTo>
                  <a:lnTo>
                    <a:pt x="1346" y="547"/>
                  </a:lnTo>
                  <a:lnTo>
                    <a:pt x="1346" y="546"/>
                  </a:lnTo>
                  <a:lnTo>
                    <a:pt x="1347" y="545"/>
                  </a:lnTo>
                  <a:lnTo>
                    <a:pt x="1350" y="544"/>
                  </a:lnTo>
                  <a:lnTo>
                    <a:pt x="1354" y="543"/>
                  </a:lnTo>
                  <a:lnTo>
                    <a:pt x="1365" y="540"/>
                  </a:lnTo>
                  <a:lnTo>
                    <a:pt x="1376" y="540"/>
                  </a:lnTo>
                  <a:lnTo>
                    <a:pt x="1387" y="539"/>
                  </a:lnTo>
                  <a:lnTo>
                    <a:pt x="1398" y="532"/>
                  </a:lnTo>
                  <a:lnTo>
                    <a:pt x="1408" y="525"/>
                  </a:lnTo>
                  <a:lnTo>
                    <a:pt x="1410" y="524"/>
                  </a:lnTo>
                  <a:lnTo>
                    <a:pt x="1410" y="524"/>
                  </a:lnTo>
                  <a:lnTo>
                    <a:pt x="1410" y="523"/>
                  </a:lnTo>
                  <a:lnTo>
                    <a:pt x="1408" y="523"/>
                  </a:lnTo>
                  <a:lnTo>
                    <a:pt x="1406" y="523"/>
                  </a:lnTo>
                  <a:lnTo>
                    <a:pt x="1404" y="524"/>
                  </a:lnTo>
                  <a:lnTo>
                    <a:pt x="1401" y="524"/>
                  </a:lnTo>
                  <a:lnTo>
                    <a:pt x="1399" y="525"/>
                  </a:lnTo>
                  <a:lnTo>
                    <a:pt x="1396" y="528"/>
                  </a:lnTo>
                  <a:lnTo>
                    <a:pt x="1391" y="530"/>
                  </a:lnTo>
                  <a:lnTo>
                    <a:pt x="1387" y="532"/>
                  </a:lnTo>
                  <a:lnTo>
                    <a:pt x="1383" y="534"/>
                  </a:lnTo>
                  <a:lnTo>
                    <a:pt x="1372" y="536"/>
                  </a:lnTo>
                  <a:lnTo>
                    <a:pt x="1361" y="539"/>
                  </a:lnTo>
                  <a:lnTo>
                    <a:pt x="1356" y="539"/>
                  </a:lnTo>
                  <a:lnTo>
                    <a:pt x="1353" y="540"/>
                  </a:lnTo>
                  <a:lnTo>
                    <a:pt x="1350" y="541"/>
                  </a:lnTo>
                  <a:lnTo>
                    <a:pt x="1346" y="541"/>
                  </a:lnTo>
                  <a:lnTo>
                    <a:pt x="1343" y="541"/>
                  </a:lnTo>
                  <a:lnTo>
                    <a:pt x="1340" y="541"/>
                  </a:lnTo>
                  <a:lnTo>
                    <a:pt x="1337" y="540"/>
                  </a:lnTo>
                  <a:lnTo>
                    <a:pt x="1335" y="540"/>
                  </a:lnTo>
                  <a:lnTo>
                    <a:pt x="1333" y="539"/>
                  </a:lnTo>
                  <a:lnTo>
                    <a:pt x="1333" y="538"/>
                  </a:lnTo>
                  <a:lnTo>
                    <a:pt x="1333" y="535"/>
                  </a:lnTo>
                  <a:lnTo>
                    <a:pt x="1334" y="534"/>
                  </a:lnTo>
                  <a:lnTo>
                    <a:pt x="1335" y="533"/>
                  </a:lnTo>
                  <a:lnTo>
                    <a:pt x="1336" y="532"/>
                  </a:lnTo>
                  <a:lnTo>
                    <a:pt x="1337" y="531"/>
                  </a:lnTo>
                  <a:lnTo>
                    <a:pt x="1339" y="530"/>
                  </a:lnTo>
                  <a:lnTo>
                    <a:pt x="1340" y="530"/>
                  </a:lnTo>
                  <a:lnTo>
                    <a:pt x="1342" y="529"/>
                  </a:lnTo>
                  <a:lnTo>
                    <a:pt x="1342" y="529"/>
                  </a:lnTo>
                  <a:lnTo>
                    <a:pt x="1343" y="528"/>
                  </a:lnTo>
                  <a:lnTo>
                    <a:pt x="1343" y="527"/>
                  </a:lnTo>
                  <a:lnTo>
                    <a:pt x="1343" y="525"/>
                  </a:lnTo>
                  <a:lnTo>
                    <a:pt x="1342" y="524"/>
                  </a:lnTo>
                  <a:lnTo>
                    <a:pt x="1341" y="524"/>
                  </a:lnTo>
                  <a:lnTo>
                    <a:pt x="1341" y="523"/>
                  </a:lnTo>
                  <a:lnTo>
                    <a:pt x="1341" y="521"/>
                  </a:lnTo>
                  <a:lnTo>
                    <a:pt x="1343" y="519"/>
                  </a:lnTo>
                  <a:lnTo>
                    <a:pt x="1345" y="519"/>
                  </a:lnTo>
                  <a:lnTo>
                    <a:pt x="1351" y="517"/>
                  </a:lnTo>
                  <a:lnTo>
                    <a:pt x="1356" y="513"/>
                  </a:lnTo>
                  <a:lnTo>
                    <a:pt x="1361" y="510"/>
                  </a:lnTo>
                  <a:lnTo>
                    <a:pt x="1356" y="510"/>
                  </a:lnTo>
                  <a:lnTo>
                    <a:pt x="1353" y="511"/>
                  </a:lnTo>
                  <a:lnTo>
                    <a:pt x="1350" y="512"/>
                  </a:lnTo>
                  <a:lnTo>
                    <a:pt x="1346" y="513"/>
                  </a:lnTo>
                  <a:lnTo>
                    <a:pt x="1345" y="514"/>
                  </a:lnTo>
                  <a:lnTo>
                    <a:pt x="1341" y="517"/>
                  </a:lnTo>
                  <a:lnTo>
                    <a:pt x="1336" y="518"/>
                  </a:lnTo>
                  <a:lnTo>
                    <a:pt x="1332" y="519"/>
                  </a:lnTo>
                  <a:lnTo>
                    <a:pt x="1330" y="518"/>
                  </a:lnTo>
                  <a:lnTo>
                    <a:pt x="1330" y="518"/>
                  </a:lnTo>
                  <a:lnTo>
                    <a:pt x="1329" y="517"/>
                  </a:lnTo>
                  <a:lnTo>
                    <a:pt x="1330" y="516"/>
                  </a:lnTo>
                  <a:lnTo>
                    <a:pt x="1330" y="514"/>
                  </a:lnTo>
                  <a:lnTo>
                    <a:pt x="1330" y="514"/>
                  </a:lnTo>
                  <a:lnTo>
                    <a:pt x="1331" y="513"/>
                  </a:lnTo>
                  <a:lnTo>
                    <a:pt x="1332" y="512"/>
                  </a:lnTo>
                  <a:lnTo>
                    <a:pt x="1333" y="511"/>
                  </a:lnTo>
                  <a:lnTo>
                    <a:pt x="1334" y="510"/>
                  </a:lnTo>
                  <a:lnTo>
                    <a:pt x="1335" y="509"/>
                  </a:lnTo>
                  <a:lnTo>
                    <a:pt x="1336" y="508"/>
                  </a:lnTo>
                  <a:lnTo>
                    <a:pt x="1336" y="508"/>
                  </a:lnTo>
                  <a:lnTo>
                    <a:pt x="1336" y="507"/>
                  </a:lnTo>
                  <a:lnTo>
                    <a:pt x="1334" y="507"/>
                  </a:lnTo>
                  <a:lnTo>
                    <a:pt x="1332" y="508"/>
                  </a:lnTo>
                  <a:lnTo>
                    <a:pt x="1329" y="508"/>
                  </a:lnTo>
                  <a:lnTo>
                    <a:pt x="1324" y="509"/>
                  </a:lnTo>
                  <a:lnTo>
                    <a:pt x="1319" y="509"/>
                  </a:lnTo>
                  <a:lnTo>
                    <a:pt x="1314" y="510"/>
                  </a:lnTo>
                  <a:lnTo>
                    <a:pt x="1312" y="509"/>
                  </a:lnTo>
                  <a:lnTo>
                    <a:pt x="1311" y="508"/>
                  </a:lnTo>
                  <a:lnTo>
                    <a:pt x="1311" y="507"/>
                  </a:lnTo>
                  <a:lnTo>
                    <a:pt x="1311" y="505"/>
                  </a:lnTo>
                  <a:lnTo>
                    <a:pt x="1312" y="503"/>
                  </a:lnTo>
                  <a:lnTo>
                    <a:pt x="1314" y="502"/>
                  </a:lnTo>
                  <a:lnTo>
                    <a:pt x="1317" y="501"/>
                  </a:lnTo>
                  <a:lnTo>
                    <a:pt x="1318" y="500"/>
                  </a:lnTo>
                  <a:lnTo>
                    <a:pt x="1319" y="499"/>
                  </a:lnTo>
                  <a:lnTo>
                    <a:pt x="1320" y="497"/>
                  </a:lnTo>
                  <a:lnTo>
                    <a:pt x="1322" y="495"/>
                  </a:lnTo>
                  <a:lnTo>
                    <a:pt x="1324" y="494"/>
                  </a:lnTo>
                  <a:lnTo>
                    <a:pt x="1329" y="492"/>
                  </a:lnTo>
                  <a:lnTo>
                    <a:pt x="1331" y="492"/>
                  </a:lnTo>
                  <a:lnTo>
                    <a:pt x="1334" y="492"/>
                  </a:lnTo>
                  <a:lnTo>
                    <a:pt x="1336" y="492"/>
                  </a:lnTo>
                  <a:lnTo>
                    <a:pt x="1339" y="492"/>
                  </a:lnTo>
                  <a:lnTo>
                    <a:pt x="1340" y="491"/>
                  </a:lnTo>
                  <a:lnTo>
                    <a:pt x="1341" y="489"/>
                  </a:lnTo>
                  <a:lnTo>
                    <a:pt x="1341" y="488"/>
                  </a:lnTo>
                  <a:lnTo>
                    <a:pt x="1343" y="486"/>
                  </a:lnTo>
                  <a:lnTo>
                    <a:pt x="1345" y="485"/>
                  </a:lnTo>
                  <a:lnTo>
                    <a:pt x="1347" y="484"/>
                  </a:lnTo>
                  <a:lnTo>
                    <a:pt x="1351" y="484"/>
                  </a:lnTo>
                  <a:lnTo>
                    <a:pt x="1354" y="484"/>
                  </a:lnTo>
                  <a:lnTo>
                    <a:pt x="1356" y="481"/>
                  </a:lnTo>
                  <a:lnTo>
                    <a:pt x="1361" y="479"/>
                  </a:lnTo>
                  <a:lnTo>
                    <a:pt x="1365" y="479"/>
                  </a:lnTo>
                  <a:lnTo>
                    <a:pt x="1367" y="479"/>
                  </a:lnTo>
                  <a:lnTo>
                    <a:pt x="1369" y="480"/>
                  </a:lnTo>
                  <a:lnTo>
                    <a:pt x="1372" y="480"/>
                  </a:lnTo>
                  <a:lnTo>
                    <a:pt x="1374" y="481"/>
                  </a:lnTo>
                  <a:lnTo>
                    <a:pt x="1376" y="481"/>
                  </a:lnTo>
                  <a:lnTo>
                    <a:pt x="1377" y="483"/>
                  </a:lnTo>
                  <a:lnTo>
                    <a:pt x="1378" y="481"/>
                  </a:lnTo>
                  <a:lnTo>
                    <a:pt x="1380" y="481"/>
                  </a:lnTo>
                  <a:lnTo>
                    <a:pt x="1383" y="481"/>
                  </a:lnTo>
                  <a:lnTo>
                    <a:pt x="1385" y="481"/>
                  </a:lnTo>
                  <a:lnTo>
                    <a:pt x="1387" y="481"/>
                  </a:lnTo>
                  <a:lnTo>
                    <a:pt x="1389" y="484"/>
                  </a:lnTo>
                  <a:lnTo>
                    <a:pt x="1391" y="484"/>
                  </a:lnTo>
                  <a:lnTo>
                    <a:pt x="1394" y="484"/>
                  </a:lnTo>
                  <a:lnTo>
                    <a:pt x="1396" y="483"/>
                  </a:lnTo>
                  <a:lnTo>
                    <a:pt x="1397" y="483"/>
                  </a:lnTo>
                  <a:lnTo>
                    <a:pt x="1397" y="483"/>
                  </a:lnTo>
                  <a:lnTo>
                    <a:pt x="1396" y="481"/>
                  </a:lnTo>
                  <a:lnTo>
                    <a:pt x="1394" y="479"/>
                  </a:lnTo>
                  <a:lnTo>
                    <a:pt x="1393" y="478"/>
                  </a:lnTo>
                  <a:lnTo>
                    <a:pt x="1389" y="477"/>
                  </a:lnTo>
                  <a:lnTo>
                    <a:pt x="1387" y="477"/>
                  </a:lnTo>
                  <a:lnTo>
                    <a:pt x="1385" y="476"/>
                  </a:lnTo>
                  <a:lnTo>
                    <a:pt x="1383" y="475"/>
                  </a:lnTo>
                  <a:lnTo>
                    <a:pt x="1382" y="474"/>
                  </a:lnTo>
                  <a:lnTo>
                    <a:pt x="1383" y="473"/>
                  </a:lnTo>
                  <a:lnTo>
                    <a:pt x="1383" y="471"/>
                  </a:lnTo>
                  <a:lnTo>
                    <a:pt x="1384" y="470"/>
                  </a:lnTo>
                  <a:lnTo>
                    <a:pt x="1386" y="470"/>
                  </a:lnTo>
                  <a:lnTo>
                    <a:pt x="1387" y="470"/>
                  </a:lnTo>
                  <a:lnTo>
                    <a:pt x="1389" y="470"/>
                  </a:lnTo>
                  <a:lnTo>
                    <a:pt x="1390" y="469"/>
                  </a:lnTo>
                  <a:lnTo>
                    <a:pt x="1391" y="469"/>
                  </a:lnTo>
                  <a:lnTo>
                    <a:pt x="1391" y="468"/>
                  </a:lnTo>
                  <a:lnTo>
                    <a:pt x="1391" y="467"/>
                  </a:lnTo>
                  <a:lnTo>
                    <a:pt x="1391" y="466"/>
                  </a:lnTo>
                  <a:lnTo>
                    <a:pt x="1391" y="466"/>
                  </a:lnTo>
                  <a:lnTo>
                    <a:pt x="1389" y="464"/>
                  </a:lnTo>
                  <a:lnTo>
                    <a:pt x="1387" y="463"/>
                  </a:lnTo>
                  <a:lnTo>
                    <a:pt x="1386" y="462"/>
                  </a:lnTo>
                  <a:lnTo>
                    <a:pt x="1385" y="460"/>
                  </a:lnTo>
                  <a:lnTo>
                    <a:pt x="1384" y="459"/>
                  </a:lnTo>
                  <a:lnTo>
                    <a:pt x="1385" y="458"/>
                  </a:lnTo>
                  <a:lnTo>
                    <a:pt x="1387" y="457"/>
                  </a:lnTo>
                  <a:lnTo>
                    <a:pt x="1391" y="457"/>
                  </a:lnTo>
                  <a:lnTo>
                    <a:pt x="1395" y="457"/>
                  </a:lnTo>
                  <a:lnTo>
                    <a:pt x="1399" y="457"/>
                  </a:lnTo>
                  <a:lnTo>
                    <a:pt x="1402" y="457"/>
                  </a:lnTo>
                  <a:lnTo>
                    <a:pt x="1406" y="459"/>
                  </a:lnTo>
                  <a:lnTo>
                    <a:pt x="1408" y="459"/>
                  </a:lnTo>
                  <a:lnTo>
                    <a:pt x="1409" y="462"/>
                  </a:lnTo>
                  <a:lnTo>
                    <a:pt x="1411" y="463"/>
                  </a:lnTo>
                  <a:lnTo>
                    <a:pt x="1412" y="464"/>
                  </a:lnTo>
                  <a:lnTo>
                    <a:pt x="1417" y="466"/>
                  </a:lnTo>
                  <a:lnTo>
                    <a:pt x="1420" y="468"/>
                  </a:lnTo>
                  <a:lnTo>
                    <a:pt x="1423" y="470"/>
                  </a:lnTo>
                  <a:lnTo>
                    <a:pt x="1426" y="469"/>
                  </a:lnTo>
                  <a:lnTo>
                    <a:pt x="1428" y="468"/>
                  </a:lnTo>
                  <a:lnTo>
                    <a:pt x="1430" y="468"/>
                  </a:lnTo>
                  <a:lnTo>
                    <a:pt x="1434" y="470"/>
                  </a:lnTo>
                  <a:lnTo>
                    <a:pt x="1437" y="473"/>
                  </a:lnTo>
                  <a:lnTo>
                    <a:pt x="1439" y="475"/>
                  </a:lnTo>
                  <a:lnTo>
                    <a:pt x="1443" y="476"/>
                  </a:lnTo>
                  <a:lnTo>
                    <a:pt x="1446" y="477"/>
                  </a:lnTo>
                  <a:lnTo>
                    <a:pt x="1451" y="478"/>
                  </a:lnTo>
                  <a:lnTo>
                    <a:pt x="1454" y="479"/>
                  </a:lnTo>
                  <a:lnTo>
                    <a:pt x="1456" y="479"/>
                  </a:lnTo>
                  <a:lnTo>
                    <a:pt x="1457" y="478"/>
                  </a:lnTo>
                  <a:lnTo>
                    <a:pt x="1459" y="477"/>
                  </a:lnTo>
                  <a:lnTo>
                    <a:pt x="1457" y="477"/>
                  </a:lnTo>
                  <a:lnTo>
                    <a:pt x="1456" y="476"/>
                  </a:lnTo>
                  <a:lnTo>
                    <a:pt x="1454" y="475"/>
                  </a:lnTo>
                  <a:lnTo>
                    <a:pt x="1453" y="475"/>
                  </a:lnTo>
                  <a:lnTo>
                    <a:pt x="1452" y="475"/>
                  </a:lnTo>
                  <a:lnTo>
                    <a:pt x="1450" y="473"/>
                  </a:lnTo>
                  <a:lnTo>
                    <a:pt x="1446" y="470"/>
                  </a:lnTo>
                  <a:lnTo>
                    <a:pt x="1443" y="468"/>
                  </a:lnTo>
                  <a:lnTo>
                    <a:pt x="1440" y="466"/>
                  </a:lnTo>
                  <a:lnTo>
                    <a:pt x="1437" y="464"/>
                  </a:lnTo>
                  <a:lnTo>
                    <a:pt x="1434" y="460"/>
                  </a:lnTo>
                  <a:lnTo>
                    <a:pt x="1433" y="458"/>
                  </a:lnTo>
                  <a:lnTo>
                    <a:pt x="1432" y="457"/>
                  </a:lnTo>
                  <a:lnTo>
                    <a:pt x="1433" y="456"/>
                  </a:lnTo>
                  <a:lnTo>
                    <a:pt x="1434" y="455"/>
                  </a:lnTo>
                  <a:lnTo>
                    <a:pt x="1435" y="454"/>
                  </a:lnTo>
                  <a:lnTo>
                    <a:pt x="1437" y="454"/>
                  </a:lnTo>
                  <a:lnTo>
                    <a:pt x="1437" y="453"/>
                  </a:lnTo>
                  <a:lnTo>
                    <a:pt x="1438" y="451"/>
                  </a:lnTo>
                  <a:lnTo>
                    <a:pt x="1439" y="451"/>
                  </a:lnTo>
                  <a:lnTo>
                    <a:pt x="1439" y="449"/>
                  </a:lnTo>
                  <a:lnTo>
                    <a:pt x="1439" y="448"/>
                  </a:lnTo>
                  <a:lnTo>
                    <a:pt x="1439" y="447"/>
                  </a:lnTo>
                  <a:lnTo>
                    <a:pt x="1439" y="447"/>
                  </a:lnTo>
                  <a:lnTo>
                    <a:pt x="1439" y="446"/>
                  </a:lnTo>
                  <a:lnTo>
                    <a:pt x="1440" y="446"/>
                  </a:lnTo>
                  <a:lnTo>
                    <a:pt x="1441" y="446"/>
                  </a:lnTo>
                  <a:lnTo>
                    <a:pt x="1443" y="447"/>
                  </a:lnTo>
                  <a:lnTo>
                    <a:pt x="1445" y="449"/>
                  </a:lnTo>
                  <a:lnTo>
                    <a:pt x="1448" y="451"/>
                  </a:lnTo>
                  <a:lnTo>
                    <a:pt x="1451" y="452"/>
                  </a:lnTo>
                  <a:lnTo>
                    <a:pt x="1453" y="453"/>
                  </a:lnTo>
                  <a:lnTo>
                    <a:pt x="1456" y="453"/>
                  </a:lnTo>
                  <a:lnTo>
                    <a:pt x="1456" y="452"/>
                  </a:lnTo>
                  <a:lnTo>
                    <a:pt x="1455" y="451"/>
                  </a:lnTo>
                  <a:lnTo>
                    <a:pt x="1454" y="448"/>
                  </a:lnTo>
                  <a:lnTo>
                    <a:pt x="1453" y="445"/>
                  </a:lnTo>
                  <a:lnTo>
                    <a:pt x="1452" y="443"/>
                  </a:lnTo>
                  <a:lnTo>
                    <a:pt x="1451" y="441"/>
                  </a:lnTo>
                  <a:lnTo>
                    <a:pt x="1450" y="440"/>
                  </a:lnTo>
                  <a:lnTo>
                    <a:pt x="1449" y="438"/>
                  </a:lnTo>
                  <a:lnTo>
                    <a:pt x="1449" y="437"/>
                  </a:lnTo>
                  <a:lnTo>
                    <a:pt x="1448" y="436"/>
                  </a:lnTo>
                  <a:lnTo>
                    <a:pt x="1449" y="435"/>
                  </a:lnTo>
                  <a:lnTo>
                    <a:pt x="1450" y="434"/>
                  </a:lnTo>
                  <a:lnTo>
                    <a:pt x="1451" y="434"/>
                  </a:lnTo>
                  <a:lnTo>
                    <a:pt x="1454" y="435"/>
                  </a:lnTo>
                  <a:lnTo>
                    <a:pt x="1455" y="435"/>
                  </a:lnTo>
                  <a:lnTo>
                    <a:pt x="1456" y="435"/>
                  </a:lnTo>
                  <a:lnTo>
                    <a:pt x="1457" y="436"/>
                  </a:lnTo>
                  <a:lnTo>
                    <a:pt x="1460" y="437"/>
                  </a:lnTo>
                  <a:lnTo>
                    <a:pt x="1462" y="438"/>
                  </a:lnTo>
                  <a:lnTo>
                    <a:pt x="1463" y="438"/>
                  </a:lnTo>
                  <a:lnTo>
                    <a:pt x="1465" y="440"/>
                  </a:lnTo>
                  <a:lnTo>
                    <a:pt x="1465" y="440"/>
                  </a:lnTo>
                  <a:lnTo>
                    <a:pt x="1465" y="440"/>
                  </a:lnTo>
                  <a:lnTo>
                    <a:pt x="1465" y="437"/>
                  </a:lnTo>
                  <a:lnTo>
                    <a:pt x="1464" y="436"/>
                  </a:lnTo>
                  <a:lnTo>
                    <a:pt x="1463" y="435"/>
                  </a:lnTo>
                  <a:lnTo>
                    <a:pt x="1463" y="434"/>
                  </a:lnTo>
                  <a:lnTo>
                    <a:pt x="1463" y="432"/>
                  </a:lnTo>
                  <a:lnTo>
                    <a:pt x="1463" y="431"/>
                  </a:lnTo>
                  <a:lnTo>
                    <a:pt x="1465" y="430"/>
                  </a:lnTo>
                  <a:lnTo>
                    <a:pt x="1467" y="429"/>
                  </a:lnTo>
                  <a:lnTo>
                    <a:pt x="1471" y="429"/>
                  </a:lnTo>
                  <a:lnTo>
                    <a:pt x="1474" y="429"/>
                  </a:lnTo>
                  <a:lnTo>
                    <a:pt x="1478" y="429"/>
                  </a:lnTo>
                  <a:lnTo>
                    <a:pt x="1482" y="430"/>
                  </a:lnTo>
                  <a:lnTo>
                    <a:pt x="1485" y="431"/>
                  </a:lnTo>
                  <a:lnTo>
                    <a:pt x="1487" y="433"/>
                  </a:lnTo>
                  <a:lnTo>
                    <a:pt x="1490" y="433"/>
                  </a:lnTo>
                  <a:lnTo>
                    <a:pt x="1494" y="433"/>
                  </a:lnTo>
                  <a:lnTo>
                    <a:pt x="1495" y="431"/>
                  </a:lnTo>
                  <a:lnTo>
                    <a:pt x="1496" y="431"/>
                  </a:lnTo>
                  <a:lnTo>
                    <a:pt x="1497" y="431"/>
                  </a:lnTo>
                  <a:lnTo>
                    <a:pt x="1498" y="431"/>
                  </a:lnTo>
                  <a:lnTo>
                    <a:pt x="1503" y="431"/>
                  </a:lnTo>
                  <a:lnTo>
                    <a:pt x="1504" y="432"/>
                  </a:lnTo>
                  <a:lnTo>
                    <a:pt x="1505" y="433"/>
                  </a:lnTo>
                  <a:lnTo>
                    <a:pt x="1506" y="434"/>
                  </a:lnTo>
                  <a:lnTo>
                    <a:pt x="1507" y="435"/>
                  </a:lnTo>
                  <a:lnTo>
                    <a:pt x="1510" y="437"/>
                  </a:lnTo>
                  <a:lnTo>
                    <a:pt x="1514" y="441"/>
                  </a:lnTo>
                  <a:lnTo>
                    <a:pt x="1517" y="443"/>
                  </a:lnTo>
                  <a:lnTo>
                    <a:pt x="1520" y="445"/>
                  </a:lnTo>
                  <a:lnTo>
                    <a:pt x="1522" y="447"/>
                  </a:lnTo>
                  <a:lnTo>
                    <a:pt x="1525" y="451"/>
                  </a:lnTo>
                  <a:lnTo>
                    <a:pt x="1526" y="452"/>
                  </a:lnTo>
                  <a:lnTo>
                    <a:pt x="1527" y="453"/>
                  </a:lnTo>
                  <a:lnTo>
                    <a:pt x="1527" y="454"/>
                  </a:lnTo>
                  <a:lnTo>
                    <a:pt x="1529" y="454"/>
                  </a:lnTo>
                  <a:lnTo>
                    <a:pt x="1531" y="455"/>
                  </a:lnTo>
                  <a:lnTo>
                    <a:pt x="1532" y="454"/>
                  </a:lnTo>
                  <a:lnTo>
                    <a:pt x="1533" y="454"/>
                  </a:lnTo>
                  <a:lnTo>
                    <a:pt x="1533" y="453"/>
                  </a:lnTo>
                  <a:lnTo>
                    <a:pt x="1533" y="452"/>
                  </a:lnTo>
                  <a:lnTo>
                    <a:pt x="1533" y="451"/>
                  </a:lnTo>
                  <a:lnTo>
                    <a:pt x="1532" y="448"/>
                  </a:lnTo>
                  <a:lnTo>
                    <a:pt x="1531" y="446"/>
                  </a:lnTo>
                  <a:lnTo>
                    <a:pt x="1529" y="443"/>
                  </a:lnTo>
                  <a:lnTo>
                    <a:pt x="1527" y="442"/>
                  </a:lnTo>
                  <a:lnTo>
                    <a:pt x="1525" y="440"/>
                  </a:lnTo>
                  <a:lnTo>
                    <a:pt x="1522" y="440"/>
                  </a:lnTo>
                  <a:lnTo>
                    <a:pt x="1519" y="438"/>
                  </a:lnTo>
                  <a:lnTo>
                    <a:pt x="1516" y="437"/>
                  </a:lnTo>
                  <a:lnTo>
                    <a:pt x="1514" y="435"/>
                  </a:lnTo>
                  <a:lnTo>
                    <a:pt x="1511" y="434"/>
                  </a:lnTo>
                  <a:lnTo>
                    <a:pt x="1510" y="433"/>
                  </a:lnTo>
                  <a:lnTo>
                    <a:pt x="1509" y="433"/>
                  </a:lnTo>
                  <a:lnTo>
                    <a:pt x="1507" y="433"/>
                  </a:lnTo>
                  <a:lnTo>
                    <a:pt x="1505" y="431"/>
                  </a:lnTo>
                  <a:lnTo>
                    <a:pt x="1503" y="429"/>
                  </a:lnTo>
                  <a:lnTo>
                    <a:pt x="1503" y="426"/>
                  </a:lnTo>
                  <a:lnTo>
                    <a:pt x="1504" y="425"/>
                  </a:lnTo>
                  <a:lnTo>
                    <a:pt x="1507" y="425"/>
                  </a:lnTo>
                  <a:lnTo>
                    <a:pt x="1509" y="425"/>
                  </a:lnTo>
                  <a:lnTo>
                    <a:pt x="1511" y="425"/>
                  </a:lnTo>
                  <a:lnTo>
                    <a:pt x="1514" y="426"/>
                  </a:lnTo>
                  <a:lnTo>
                    <a:pt x="1517" y="425"/>
                  </a:lnTo>
                  <a:lnTo>
                    <a:pt x="1521" y="425"/>
                  </a:lnTo>
                  <a:lnTo>
                    <a:pt x="1525" y="424"/>
                  </a:lnTo>
                  <a:lnTo>
                    <a:pt x="1529" y="424"/>
                  </a:lnTo>
                  <a:lnTo>
                    <a:pt x="1538" y="424"/>
                  </a:lnTo>
                  <a:lnTo>
                    <a:pt x="1544" y="426"/>
                  </a:lnTo>
                  <a:lnTo>
                    <a:pt x="1551" y="431"/>
                  </a:lnTo>
                  <a:lnTo>
                    <a:pt x="1551" y="432"/>
                  </a:lnTo>
                  <a:lnTo>
                    <a:pt x="1553" y="433"/>
                  </a:lnTo>
                  <a:lnTo>
                    <a:pt x="1555" y="435"/>
                  </a:lnTo>
                  <a:lnTo>
                    <a:pt x="1558" y="436"/>
                  </a:lnTo>
                  <a:lnTo>
                    <a:pt x="1561" y="437"/>
                  </a:lnTo>
                  <a:lnTo>
                    <a:pt x="1563" y="438"/>
                  </a:lnTo>
                  <a:lnTo>
                    <a:pt x="1566" y="440"/>
                  </a:lnTo>
                  <a:lnTo>
                    <a:pt x="1568" y="440"/>
                  </a:lnTo>
                  <a:lnTo>
                    <a:pt x="1560" y="433"/>
                  </a:lnTo>
                  <a:lnTo>
                    <a:pt x="1558" y="431"/>
                  </a:lnTo>
                  <a:lnTo>
                    <a:pt x="1559" y="429"/>
                  </a:lnTo>
                  <a:lnTo>
                    <a:pt x="1560" y="427"/>
                  </a:lnTo>
                  <a:lnTo>
                    <a:pt x="1562" y="426"/>
                  </a:lnTo>
                  <a:lnTo>
                    <a:pt x="1565" y="425"/>
                  </a:lnTo>
                  <a:lnTo>
                    <a:pt x="1568" y="424"/>
                  </a:lnTo>
                  <a:lnTo>
                    <a:pt x="1572" y="422"/>
                  </a:lnTo>
                  <a:lnTo>
                    <a:pt x="1576" y="422"/>
                  </a:lnTo>
                  <a:lnTo>
                    <a:pt x="1581" y="424"/>
                  </a:lnTo>
                  <a:lnTo>
                    <a:pt x="1583" y="424"/>
                  </a:lnTo>
                  <a:lnTo>
                    <a:pt x="1585" y="425"/>
                  </a:lnTo>
                  <a:lnTo>
                    <a:pt x="1587" y="426"/>
                  </a:lnTo>
                  <a:lnTo>
                    <a:pt x="1588" y="425"/>
                  </a:lnTo>
                  <a:lnTo>
                    <a:pt x="1588" y="424"/>
                  </a:lnTo>
                  <a:lnTo>
                    <a:pt x="1588" y="423"/>
                  </a:lnTo>
                  <a:lnTo>
                    <a:pt x="1588" y="422"/>
                  </a:lnTo>
                  <a:lnTo>
                    <a:pt x="1587" y="422"/>
                  </a:lnTo>
                  <a:lnTo>
                    <a:pt x="1591" y="420"/>
                  </a:lnTo>
                  <a:close/>
                  <a:moveTo>
                    <a:pt x="1715" y="120"/>
                  </a:moveTo>
                  <a:lnTo>
                    <a:pt x="1712" y="120"/>
                  </a:lnTo>
                  <a:lnTo>
                    <a:pt x="1638" y="120"/>
                  </a:lnTo>
                  <a:lnTo>
                    <a:pt x="1590" y="124"/>
                  </a:lnTo>
                  <a:lnTo>
                    <a:pt x="1541" y="129"/>
                  </a:lnTo>
                  <a:lnTo>
                    <a:pt x="1541" y="129"/>
                  </a:lnTo>
                  <a:lnTo>
                    <a:pt x="1541" y="129"/>
                  </a:lnTo>
                  <a:lnTo>
                    <a:pt x="1540" y="129"/>
                  </a:lnTo>
                  <a:lnTo>
                    <a:pt x="1537" y="129"/>
                  </a:lnTo>
                  <a:lnTo>
                    <a:pt x="1532" y="129"/>
                  </a:lnTo>
                  <a:lnTo>
                    <a:pt x="1477" y="136"/>
                  </a:lnTo>
                  <a:lnTo>
                    <a:pt x="1423" y="145"/>
                  </a:lnTo>
                  <a:lnTo>
                    <a:pt x="1375" y="154"/>
                  </a:lnTo>
                  <a:lnTo>
                    <a:pt x="1329" y="167"/>
                  </a:lnTo>
                  <a:lnTo>
                    <a:pt x="1322" y="167"/>
                  </a:lnTo>
                  <a:lnTo>
                    <a:pt x="1304" y="172"/>
                  </a:lnTo>
                  <a:lnTo>
                    <a:pt x="1286" y="178"/>
                  </a:lnTo>
                  <a:lnTo>
                    <a:pt x="1284" y="178"/>
                  </a:lnTo>
                  <a:lnTo>
                    <a:pt x="1281" y="178"/>
                  </a:lnTo>
                  <a:lnTo>
                    <a:pt x="1279" y="179"/>
                  </a:lnTo>
                  <a:lnTo>
                    <a:pt x="1277" y="180"/>
                  </a:lnTo>
                  <a:lnTo>
                    <a:pt x="1247" y="187"/>
                  </a:lnTo>
                  <a:lnTo>
                    <a:pt x="1215" y="197"/>
                  </a:lnTo>
                  <a:lnTo>
                    <a:pt x="1175" y="212"/>
                  </a:lnTo>
                  <a:lnTo>
                    <a:pt x="1132" y="228"/>
                  </a:lnTo>
                  <a:lnTo>
                    <a:pt x="1066" y="256"/>
                  </a:lnTo>
                  <a:lnTo>
                    <a:pt x="1001" y="287"/>
                  </a:lnTo>
                  <a:lnTo>
                    <a:pt x="938" y="321"/>
                  </a:lnTo>
                  <a:lnTo>
                    <a:pt x="876" y="357"/>
                  </a:lnTo>
                  <a:lnTo>
                    <a:pt x="874" y="357"/>
                  </a:lnTo>
                  <a:lnTo>
                    <a:pt x="841" y="378"/>
                  </a:lnTo>
                  <a:lnTo>
                    <a:pt x="808" y="401"/>
                  </a:lnTo>
                  <a:lnTo>
                    <a:pt x="806" y="401"/>
                  </a:lnTo>
                  <a:lnTo>
                    <a:pt x="775" y="424"/>
                  </a:lnTo>
                  <a:lnTo>
                    <a:pt x="744" y="446"/>
                  </a:lnTo>
                  <a:lnTo>
                    <a:pt x="743" y="447"/>
                  </a:lnTo>
                  <a:lnTo>
                    <a:pt x="742" y="447"/>
                  </a:lnTo>
                  <a:lnTo>
                    <a:pt x="742" y="448"/>
                  </a:lnTo>
                  <a:lnTo>
                    <a:pt x="712" y="471"/>
                  </a:lnTo>
                  <a:lnTo>
                    <a:pt x="684" y="495"/>
                  </a:lnTo>
                  <a:lnTo>
                    <a:pt x="682" y="496"/>
                  </a:lnTo>
                  <a:lnTo>
                    <a:pt x="681" y="497"/>
                  </a:lnTo>
                  <a:lnTo>
                    <a:pt x="680" y="498"/>
                  </a:lnTo>
                  <a:lnTo>
                    <a:pt x="679" y="499"/>
                  </a:lnTo>
                  <a:lnTo>
                    <a:pt x="651" y="523"/>
                  </a:lnTo>
                  <a:lnTo>
                    <a:pt x="622" y="550"/>
                  </a:lnTo>
                  <a:lnTo>
                    <a:pt x="622" y="552"/>
                  </a:lnTo>
                  <a:lnTo>
                    <a:pt x="620" y="552"/>
                  </a:lnTo>
                  <a:lnTo>
                    <a:pt x="564" y="607"/>
                  </a:lnTo>
                  <a:lnTo>
                    <a:pt x="511" y="664"/>
                  </a:lnTo>
                  <a:lnTo>
                    <a:pt x="461" y="725"/>
                  </a:lnTo>
                  <a:lnTo>
                    <a:pt x="415" y="786"/>
                  </a:lnTo>
                  <a:lnTo>
                    <a:pt x="371" y="852"/>
                  </a:lnTo>
                  <a:lnTo>
                    <a:pt x="330" y="920"/>
                  </a:lnTo>
                  <a:lnTo>
                    <a:pt x="303" y="969"/>
                  </a:lnTo>
                  <a:lnTo>
                    <a:pt x="277" y="1019"/>
                  </a:lnTo>
                  <a:lnTo>
                    <a:pt x="254" y="1070"/>
                  </a:lnTo>
                  <a:lnTo>
                    <a:pt x="252" y="1070"/>
                  </a:lnTo>
                  <a:lnTo>
                    <a:pt x="218" y="1156"/>
                  </a:lnTo>
                  <a:lnTo>
                    <a:pt x="188" y="1244"/>
                  </a:lnTo>
                  <a:lnTo>
                    <a:pt x="164" y="1334"/>
                  </a:lnTo>
                  <a:lnTo>
                    <a:pt x="145" y="1425"/>
                  </a:lnTo>
                  <a:lnTo>
                    <a:pt x="132" y="1518"/>
                  </a:lnTo>
                  <a:lnTo>
                    <a:pt x="123" y="1613"/>
                  </a:lnTo>
                  <a:lnTo>
                    <a:pt x="121" y="1710"/>
                  </a:lnTo>
                  <a:lnTo>
                    <a:pt x="121" y="1778"/>
                  </a:lnTo>
                  <a:lnTo>
                    <a:pt x="128" y="1875"/>
                  </a:lnTo>
                  <a:lnTo>
                    <a:pt x="141" y="1971"/>
                  </a:lnTo>
                  <a:lnTo>
                    <a:pt x="158" y="2065"/>
                  </a:lnTo>
                  <a:lnTo>
                    <a:pt x="183" y="2156"/>
                  </a:lnTo>
                  <a:lnTo>
                    <a:pt x="211" y="2245"/>
                  </a:lnTo>
                  <a:lnTo>
                    <a:pt x="245" y="2332"/>
                  </a:lnTo>
                  <a:lnTo>
                    <a:pt x="285" y="2417"/>
                  </a:lnTo>
                  <a:lnTo>
                    <a:pt x="329" y="2498"/>
                  </a:lnTo>
                  <a:lnTo>
                    <a:pt x="376" y="2576"/>
                  </a:lnTo>
                  <a:lnTo>
                    <a:pt x="429" y="2652"/>
                  </a:lnTo>
                  <a:lnTo>
                    <a:pt x="486" y="2725"/>
                  </a:lnTo>
                  <a:lnTo>
                    <a:pt x="547" y="2794"/>
                  </a:lnTo>
                  <a:lnTo>
                    <a:pt x="611" y="2859"/>
                  </a:lnTo>
                  <a:lnTo>
                    <a:pt x="637" y="2885"/>
                  </a:lnTo>
                  <a:lnTo>
                    <a:pt x="664" y="2908"/>
                  </a:lnTo>
                  <a:lnTo>
                    <a:pt x="664" y="2908"/>
                  </a:lnTo>
                  <a:lnTo>
                    <a:pt x="664" y="2909"/>
                  </a:lnTo>
                  <a:lnTo>
                    <a:pt x="665" y="2910"/>
                  </a:lnTo>
                  <a:lnTo>
                    <a:pt x="666" y="2910"/>
                  </a:lnTo>
                  <a:lnTo>
                    <a:pt x="692" y="2933"/>
                  </a:lnTo>
                  <a:lnTo>
                    <a:pt x="721" y="2956"/>
                  </a:lnTo>
                  <a:lnTo>
                    <a:pt x="750" y="2978"/>
                  </a:lnTo>
                  <a:lnTo>
                    <a:pt x="779" y="3000"/>
                  </a:lnTo>
                  <a:lnTo>
                    <a:pt x="809" y="3021"/>
                  </a:lnTo>
                  <a:lnTo>
                    <a:pt x="841" y="3041"/>
                  </a:lnTo>
                  <a:lnTo>
                    <a:pt x="841" y="3043"/>
                  </a:lnTo>
                  <a:lnTo>
                    <a:pt x="842" y="3043"/>
                  </a:lnTo>
                  <a:lnTo>
                    <a:pt x="843" y="3044"/>
                  </a:lnTo>
                  <a:lnTo>
                    <a:pt x="845" y="3045"/>
                  </a:lnTo>
                  <a:lnTo>
                    <a:pt x="845" y="3045"/>
                  </a:lnTo>
                  <a:lnTo>
                    <a:pt x="845" y="3045"/>
                  </a:lnTo>
                  <a:lnTo>
                    <a:pt x="845" y="3047"/>
                  </a:lnTo>
                  <a:lnTo>
                    <a:pt x="846" y="3047"/>
                  </a:lnTo>
                  <a:lnTo>
                    <a:pt x="848" y="3048"/>
                  </a:lnTo>
                  <a:lnTo>
                    <a:pt x="850" y="3049"/>
                  </a:lnTo>
                  <a:lnTo>
                    <a:pt x="852" y="3050"/>
                  </a:lnTo>
                  <a:lnTo>
                    <a:pt x="856" y="3052"/>
                  </a:lnTo>
                  <a:lnTo>
                    <a:pt x="861" y="3054"/>
                  </a:lnTo>
                  <a:lnTo>
                    <a:pt x="941" y="3102"/>
                  </a:lnTo>
                  <a:lnTo>
                    <a:pt x="1024" y="3144"/>
                  </a:lnTo>
                  <a:lnTo>
                    <a:pt x="1110" y="3183"/>
                  </a:lnTo>
                  <a:lnTo>
                    <a:pt x="1198" y="3216"/>
                  </a:lnTo>
                  <a:lnTo>
                    <a:pt x="1202" y="3216"/>
                  </a:lnTo>
                  <a:lnTo>
                    <a:pt x="1282" y="3242"/>
                  </a:lnTo>
                  <a:lnTo>
                    <a:pt x="1365" y="3262"/>
                  </a:lnTo>
                  <a:lnTo>
                    <a:pt x="1449" y="3279"/>
                  </a:lnTo>
                  <a:lnTo>
                    <a:pt x="1535" y="3291"/>
                  </a:lnTo>
                  <a:lnTo>
                    <a:pt x="1535" y="3291"/>
                  </a:lnTo>
                  <a:lnTo>
                    <a:pt x="1536" y="3291"/>
                  </a:lnTo>
                  <a:lnTo>
                    <a:pt x="1537" y="3291"/>
                  </a:lnTo>
                  <a:lnTo>
                    <a:pt x="1538" y="3291"/>
                  </a:lnTo>
                  <a:lnTo>
                    <a:pt x="1541" y="3291"/>
                  </a:lnTo>
                  <a:lnTo>
                    <a:pt x="1597" y="3296"/>
                  </a:lnTo>
                  <a:lnTo>
                    <a:pt x="1653" y="3299"/>
                  </a:lnTo>
                  <a:lnTo>
                    <a:pt x="1710" y="3300"/>
                  </a:lnTo>
                  <a:lnTo>
                    <a:pt x="1795" y="3298"/>
                  </a:lnTo>
                  <a:lnTo>
                    <a:pt x="1881" y="3291"/>
                  </a:lnTo>
                  <a:lnTo>
                    <a:pt x="1881" y="3291"/>
                  </a:lnTo>
                  <a:lnTo>
                    <a:pt x="1881" y="3291"/>
                  </a:lnTo>
                  <a:lnTo>
                    <a:pt x="1882" y="3291"/>
                  </a:lnTo>
                  <a:lnTo>
                    <a:pt x="1886" y="3291"/>
                  </a:lnTo>
                  <a:lnTo>
                    <a:pt x="1890" y="3291"/>
                  </a:lnTo>
                  <a:lnTo>
                    <a:pt x="1911" y="3288"/>
                  </a:lnTo>
                  <a:lnTo>
                    <a:pt x="1931" y="3284"/>
                  </a:lnTo>
                  <a:lnTo>
                    <a:pt x="2006" y="3273"/>
                  </a:lnTo>
                  <a:lnTo>
                    <a:pt x="2079" y="3258"/>
                  </a:lnTo>
                  <a:lnTo>
                    <a:pt x="2151" y="3239"/>
                  </a:lnTo>
                  <a:lnTo>
                    <a:pt x="2220" y="3216"/>
                  </a:lnTo>
                  <a:lnTo>
                    <a:pt x="2225" y="3216"/>
                  </a:lnTo>
                  <a:lnTo>
                    <a:pt x="2313" y="3183"/>
                  </a:lnTo>
                  <a:lnTo>
                    <a:pt x="2398" y="3144"/>
                  </a:lnTo>
                  <a:lnTo>
                    <a:pt x="2480" y="3102"/>
                  </a:lnTo>
                  <a:lnTo>
                    <a:pt x="2559" y="3054"/>
                  </a:lnTo>
                  <a:lnTo>
                    <a:pt x="2559" y="3054"/>
                  </a:lnTo>
                  <a:lnTo>
                    <a:pt x="2559" y="3054"/>
                  </a:lnTo>
                  <a:lnTo>
                    <a:pt x="2561" y="3054"/>
                  </a:lnTo>
                  <a:lnTo>
                    <a:pt x="2561" y="3054"/>
                  </a:lnTo>
                  <a:lnTo>
                    <a:pt x="2563" y="3053"/>
                  </a:lnTo>
                  <a:lnTo>
                    <a:pt x="2564" y="3052"/>
                  </a:lnTo>
                  <a:lnTo>
                    <a:pt x="2567" y="3051"/>
                  </a:lnTo>
                  <a:lnTo>
                    <a:pt x="2570" y="3049"/>
                  </a:lnTo>
                  <a:lnTo>
                    <a:pt x="2575" y="3045"/>
                  </a:lnTo>
                  <a:lnTo>
                    <a:pt x="2637" y="3004"/>
                  </a:lnTo>
                  <a:lnTo>
                    <a:pt x="2696" y="2958"/>
                  </a:lnTo>
                  <a:lnTo>
                    <a:pt x="2754" y="2911"/>
                  </a:lnTo>
                  <a:lnTo>
                    <a:pt x="2809" y="2859"/>
                  </a:lnTo>
                  <a:lnTo>
                    <a:pt x="2863" y="2805"/>
                  </a:lnTo>
                  <a:lnTo>
                    <a:pt x="2914" y="2750"/>
                  </a:lnTo>
                  <a:lnTo>
                    <a:pt x="2947" y="2711"/>
                  </a:lnTo>
                  <a:lnTo>
                    <a:pt x="2979" y="2671"/>
                  </a:lnTo>
                  <a:lnTo>
                    <a:pt x="3009" y="2629"/>
                  </a:lnTo>
                  <a:lnTo>
                    <a:pt x="3060" y="2551"/>
                  </a:lnTo>
                  <a:lnTo>
                    <a:pt x="3108" y="2470"/>
                  </a:lnTo>
                  <a:lnTo>
                    <a:pt x="3151" y="2386"/>
                  </a:lnTo>
                  <a:lnTo>
                    <a:pt x="3188" y="2299"/>
                  </a:lnTo>
                  <a:lnTo>
                    <a:pt x="3220" y="2211"/>
                  </a:lnTo>
                  <a:lnTo>
                    <a:pt x="3248" y="2120"/>
                  </a:lnTo>
                  <a:lnTo>
                    <a:pt x="3270" y="2025"/>
                  </a:lnTo>
                  <a:lnTo>
                    <a:pt x="3283" y="1945"/>
                  </a:lnTo>
                  <a:lnTo>
                    <a:pt x="3294" y="1862"/>
                  </a:lnTo>
                  <a:lnTo>
                    <a:pt x="3299" y="1778"/>
                  </a:lnTo>
                  <a:lnTo>
                    <a:pt x="3300" y="1745"/>
                  </a:lnTo>
                  <a:lnTo>
                    <a:pt x="3301" y="1710"/>
                  </a:lnTo>
                  <a:lnTo>
                    <a:pt x="3299" y="1613"/>
                  </a:lnTo>
                  <a:lnTo>
                    <a:pt x="3290" y="1518"/>
                  </a:lnTo>
                  <a:lnTo>
                    <a:pt x="3276" y="1425"/>
                  </a:lnTo>
                  <a:lnTo>
                    <a:pt x="3256" y="1334"/>
                  </a:lnTo>
                  <a:lnTo>
                    <a:pt x="3232" y="1244"/>
                  </a:lnTo>
                  <a:lnTo>
                    <a:pt x="3202" y="1156"/>
                  </a:lnTo>
                  <a:lnTo>
                    <a:pt x="3168" y="1070"/>
                  </a:lnTo>
                  <a:lnTo>
                    <a:pt x="3166" y="1070"/>
                  </a:lnTo>
                  <a:lnTo>
                    <a:pt x="3136" y="1007"/>
                  </a:lnTo>
                  <a:lnTo>
                    <a:pt x="3104" y="944"/>
                  </a:lnTo>
                  <a:lnTo>
                    <a:pt x="3068" y="883"/>
                  </a:lnTo>
                  <a:lnTo>
                    <a:pt x="3031" y="824"/>
                  </a:lnTo>
                  <a:lnTo>
                    <a:pt x="2980" y="752"/>
                  </a:lnTo>
                  <a:lnTo>
                    <a:pt x="2926" y="685"/>
                  </a:lnTo>
                  <a:lnTo>
                    <a:pt x="2869" y="620"/>
                  </a:lnTo>
                  <a:lnTo>
                    <a:pt x="2851" y="603"/>
                  </a:lnTo>
                  <a:lnTo>
                    <a:pt x="2834" y="585"/>
                  </a:lnTo>
                  <a:lnTo>
                    <a:pt x="2801" y="552"/>
                  </a:lnTo>
                  <a:lnTo>
                    <a:pt x="2798" y="552"/>
                  </a:lnTo>
                  <a:lnTo>
                    <a:pt x="2798" y="550"/>
                  </a:lnTo>
                  <a:lnTo>
                    <a:pt x="2771" y="523"/>
                  </a:lnTo>
                  <a:lnTo>
                    <a:pt x="2741" y="499"/>
                  </a:lnTo>
                  <a:lnTo>
                    <a:pt x="2740" y="498"/>
                  </a:lnTo>
                  <a:lnTo>
                    <a:pt x="2740" y="497"/>
                  </a:lnTo>
                  <a:lnTo>
                    <a:pt x="2739" y="497"/>
                  </a:lnTo>
                  <a:lnTo>
                    <a:pt x="2739" y="497"/>
                  </a:lnTo>
                  <a:lnTo>
                    <a:pt x="2709" y="473"/>
                  </a:lnTo>
                  <a:lnTo>
                    <a:pt x="2678" y="448"/>
                  </a:lnTo>
                  <a:lnTo>
                    <a:pt x="2678" y="446"/>
                  </a:lnTo>
                  <a:lnTo>
                    <a:pt x="2645" y="424"/>
                  </a:lnTo>
                  <a:lnTo>
                    <a:pt x="2614" y="401"/>
                  </a:lnTo>
                  <a:lnTo>
                    <a:pt x="2612" y="401"/>
                  </a:lnTo>
                  <a:lnTo>
                    <a:pt x="2579" y="378"/>
                  </a:lnTo>
                  <a:lnTo>
                    <a:pt x="2546" y="357"/>
                  </a:lnTo>
                  <a:lnTo>
                    <a:pt x="2463" y="309"/>
                  </a:lnTo>
                  <a:lnTo>
                    <a:pt x="2377" y="266"/>
                  </a:lnTo>
                  <a:lnTo>
                    <a:pt x="2289" y="228"/>
                  </a:lnTo>
                  <a:lnTo>
                    <a:pt x="2216" y="201"/>
                  </a:lnTo>
                  <a:lnTo>
                    <a:pt x="2143" y="180"/>
                  </a:lnTo>
                  <a:lnTo>
                    <a:pt x="2141" y="179"/>
                  </a:lnTo>
                  <a:lnTo>
                    <a:pt x="2139" y="178"/>
                  </a:lnTo>
                  <a:lnTo>
                    <a:pt x="2137" y="178"/>
                  </a:lnTo>
                  <a:lnTo>
                    <a:pt x="2135" y="178"/>
                  </a:lnTo>
                  <a:lnTo>
                    <a:pt x="2098" y="167"/>
                  </a:lnTo>
                  <a:lnTo>
                    <a:pt x="2092" y="167"/>
                  </a:lnTo>
                  <a:lnTo>
                    <a:pt x="2045" y="154"/>
                  </a:lnTo>
                  <a:lnTo>
                    <a:pt x="1999" y="147"/>
                  </a:lnTo>
                  <a:lnTo>
                    <a:pt x="1999" y="147"/>
                  </a:lnTo>
                  <a:lnTo>
                    <a:pt x="1999" y="147"/>
                  </a:lnTo>
                  <a:lnTo>
                    <a:pt x="1998" y="146"/>
                  </a:lnTo>
                  <a:lnTo>
                    <a:pt x="1997" y="145"/>
                  </a:lnTo>
                  <a:lnTo>
                    <a:pt x="1943" y="136"/>
                  </a:lnTo>
                  <a:lnTo>
                    <a:pt x="1888" y="129"/>
                  </a:lnTo>
                  <a:lnTo>
                    <a:pt x="1888" y="129"/>
                  </a:lnTo>
                  <a:lnTo>
                    <a:pt x="1887" y="129"/>
                  </a:lnTo>
                  <a:lnTo>
                    <a:pt x="1885" y="129"/>
                  </a:lnTo>
                  <a:lnTo>
                    <a:pt x="1881" y="129"/>
                  </a:lnTo>
                  <a:lnTo>
                    <a:pt x="1877" y="129"/>
                  </a:lnTo>
                  <a:lnTo>
                    <a:pt x="1831" y="124"/>
                  </a:lnTo>
                  <a:lnTo>
                    <a:pt x="1782" y="120"/>
                  </a:lnTo>
                  <a:lnTo>
                    <a:pt x="1719" y="120"/>
                  </a:lnTo>
                  <a:lnTo>
                    <a:pt x="1718" y="120"/>
                  </a:lnTo>
                  <a:lnTo>
                    <a:pt x="1718" y="120"/>
                  </a:lnTo>
                  <a:lnTo>
                    <a:pt x="1717" y="120"/>
                  </a:lnTo>
                  <a:lnTo>
                    <a:pt x="1715" y="120"/>
                  </a:lnTo>
                  <a:close/>
                  <a:moveTo>
                    <a:pt x="1710" y="0"/>
                  </a:moveTo>
                  <a:lnTo>
                    <a:pt x="1819" y="4"/>
                  </a:lnTo>
                  <a:lnTo>
                    <a:pt x="1924" y="14"/>
                  </a:lnTo>
                  <a:lnTo>
                    <a:pt x="2029" y="30"/>
                  </a:lnTo>
                  <a:lnTo>
                    <a:pt x="2131" y="52"/>
                  </a:lnTo>
                  <a:lnTo>
                    <a:pt x="2230" y="81"/>
                  </a:lnTo>
                  <a:lnTo>
                    <a:pt x="2328" y="115"/>
                  </a:lnTo>
                  <a:lnTo>
                    <a:pt x="2422" y="156"/>
                  </a:lnTo>
                  <a:lnTo>
                    <a:pt x="2513" y="201"/>
                  </a:lnTo>
                  <a:lnTo>
                    <a:pt x="2602" y="251"/>
                  </a:lnTo>
                  <a:lnTo>
                    <a:pt x="2687" y="306"/>
                  </a:lnTo>
                  <a:lnTo>
                    <a:pt x="2768" y="367"/>
                  </a:lnTo>
                  <a:lnTo>
                    <a:pt x="2846" y="432"/>
                  </a:lnTo>
                  <a:lnTo>
                    <a:pt x="2919" y="501"/>
                  </a:lnTo>
                  <a:lnTo>
                    <a:pt x="2989" y="575"/>
                  </a:lnTo>
                  <a:lnTo>
                    <a:pt x="3054" y="652"/>
                  </a:lnTo>
                  <a:lnTo>
                    <a:pt x="3113" y="734"/>
                  </a:lnTo>
                  <a:lnTo>
                    <a:pt x="3169" y="818"/>
                  </a:lnTo>
                  <a:lnTo>
                    <a:pt x="3220" y="906"/>
                  </a:lnTo>
                  <a:lnTo>
                    <a:pt x="3265" y="998"/>
                  </a:lnTo>
                  <a:lnTo>
                    <a:pt x="3305" y="1092"/>
                  </a:lnTo>
                  <a:lnTo>
                    <a:pt x="3339" y="1189"/>
                  </a:lnTo>
                  <a:lnTo>
                    <a:pt x="3368" y="1289"/>
                  </a:lnTo>
                  <a:lnTo>
                    <a:pt x="3391" y="1392"/>
                  </a:lnTo>
                  <a:lnTo>
                    <a:pt x="3407" y="1495"/>
                  </a:lnTo>
                  <a:lnTo>
                    <a:pt x="3417" y="1602"/>
                  </a:lnTo>
                  <a:lnTo>
                    <a:pt x="3420" y="1710"/>
                  </a:lnTo>
                  <a:lnTo>
                    <a:pt x="3417" y="1818"/>
                  </a:lnTo>
                  <a:lnTo>
                    <a:pt x="3407" y="1925"/>
                  </a:lnTo>
                  <a:lnTo>
                    <a:pt x="3391" y="2029"/>
                  </a:lnTo>
                  <a:lnTo>
                    <a:pt x="3368" y="2131"/>
                  </a:lnTo>
                  <a:lnTo>
                    <a:pt x="3339" y="2231"/>
                  </a:lnTo>
                  <a:lnTo>
                    <a:pt x="3305" y="2328"/>
                  </a:lnTo>
                  <a:lnTo>
                    <a:pt x="3265" y="2422"/>
                  </a:lnTo>
                  <a:lnTo>
                    <a:pt x="3220" y="2514"/>
                  </a:lnTo>
                  <a:lnTo>
                    <a:pt x="3169" y="2602"/>
                  </a:lnTo>
                  <a:lnTo>
                    <a:pt x="3113" y="2687"/>
                  </a:lnTo>
                  <a:lnTo>
                    <a:pt x="3054" y="2768"/>
                  </a:lnTo>
                  <a:lnTo>
                    <a:pt x="2989" y="2845"/>
                  </a:lnTo>
                  <a:lnTo>
                    <a:pt x="2919" y="2919"/>
                  </a:lnTo>
                  <a:lnTo>
                    <a:pt x="2846" y="2988"/>
                  </a:lnTo>
                  <a:lnTo>
                    <a:pt x="2768" y="3053"/>
                  </a:lnTo>
                  <a:lnTo>
                    <a:pt x="2687" y="3114"/>
                  </a:lnTo>
                  <a:lnTo>
                    <a:pt x="2602" y="3169"/>
                  </a:lnTo>
                  <a:lnTo>
                    <a:pt x="2513" y="3219"/>
                  </a:lnTo>
                  <a:lnTo>
                    <a:pt x="2422" y="3266"/>
                  </a:lnTo>
                  <a:lnTo>
                    <a:pt x="2328" y="3305"/>
                  </a:lnTo>
                  <a:lnTo>
                    <a:pt x="2230" y="3339"/>
                  </a:lnTo>
                  <a:lnTo>
                    <a:pt x="2131" y="3368"/>
                  </a:lnTo>
                  <a:lnTo>
                    <a:pt x="2029" y="3390"/>
                  </a:lnTo>
                  <a:lnTo>
                    <a:pt x="1924" y="3407"/>
                  </a:lnTo>
                  <a:lnTo>
                    <a:pt x="1819" y="3416"/>
                  </a:lnTo>
                  <a:lnTo>
                    <a:pt x="1710" y="3420"/>
                  </a:lnTo>
                  <a:lnTo>
                    <a:pt x="1602" y="3416"/>
                  </a:lnTo>
                  <a:lnTo>
                    <a:pt x="1496" y="3407"/>
                  </a:lnTo>
                  <a:lnTo>
                    <a:pt x="1391" y="3390"/>
                  </a:lnTo>
                  <a:lnTo>
                    <a:pt x="1289" y="3368"/>
                  </a:lnTo>
                  <a:lnTo>
                    <a:pt x="1190" y="3339"/>
                  </a:lnTo>
                  <a:lnTo>
                    <a:pt x="1092" y="3305"/>
                  </a:lnTo>
                  <a:lnTo>
                    <a:pt x="998" y="3266"/>
                  </a:lnTo>
                  <a:lnTo>
                    <a:pt x="907" y="3219"/>
                  </a:lnTo>
                  <a:lnTo>
                    <a:pt x="818" y="3169"/>
                  </a:lnTo>
                  <a:lnTo>
                    <a:pt x="733" y="3114"/>
                  </a:lnTo>
                  <a:lnTo>
                    <a:pt x="653" y="3053"/>
                  </a:lnTo>
                  <a:lnTo>
                    <a:pt x="575" y="2988"/>
                  </a:lnTo>
                  <a:lnTo>
                    <a:pt x="501" y="2919"/>
                  </a:lnTo>
                  <a:lnTo>
                    <a:pt x="431" y="2845"/>
                  </a:lnTo>
                  <a:lnTo>
                    <a:pt x="366" y="2768"/>
                  </a:lnTo>
                  <a:lnTo>
                    <a:pt x="307" y="2687"/>
                  </a:lnTo>
                  <a:lnTo>
                    <a:pt x="251" y="2602"/>
                  </a:lnTo>
                  <a:lnTo>
                    <a:pt x="200" y="2514"/>
                  </a:lnTo>
                  <a:lnTo>
                    <a:pt x="155" y="2422"/>
                  </a:lnTo>
                  <a:lnTo>
                    <a:pt x="115" y="2328"/>
                  </a:lnTo>
                  <a:lnTo>
                    <a:pt x="81" y="2231"/>
                  </a:lnTo>
                  <a:lnTo>
                    <a:pt x="53" y="2131"/>
                  </a:lnTo>
                  <a:lnTo>
                    <a:pt x="30" y="2029"/>
                  </a:lnTo>
                  <a:lnTo>
                    <a:pt x="13" y="1925"/>
                  </a:lnTo>
                  <a:lnTo>
                    <a:pt x="3" y="1818"/>
                  </a:lnTo>
                  <a:lnTo>
                    <a:pt x="0" y="1710"/>
                  </a:lnTo>
                  <a:lnTo>
                    <a:pt x="3" y="1602"/>
                  </a:lnTo>
                  <a:lnTo>
                    <a:pt x="13" y="1495"/>
                  </a:lnTo>
                  <a:lnTo>
                    <a:pt x="30" y="1392"/>
                  </a:lnTo>
                  <a:lnTo>
                    <a:pt x="53" y="1289"/>
                  </a:lnTo>
                  <a:lnTo>
                    <a:pt x="81" y="1189"/>
                  </a:lnTo>
                  <a:lnTo>
                    <a:pt x="115" y="1092"/>
                  </a:lnTo>
                  <a:lnTo>
                    <a:pt x="155" y="998"/>
                  </a:lnTo>
                  <a:lnTo>
                    <a:pt x="200" y="906"/>
                  </a:lnTo>
                  <a:lnTo>
                    <a:pt x="251" y="818"/>
                  </a:lnTo>
                  <a:lnTo>
                    <a:pt x="307" y="734"/>
                  </a:lnTo>
                  <a:lnTo>
                    <a:pt x="366" y="652"/>
                  </a:lnTo>
                  <a:lnTo>
                    <a:pt x="431" y="575"/>
                  </a:lnTo>
                  <a:lnTo>
                    <a:pt x="501" y="501"/>
                  </a:lnTo>
                  <a:lnTo>
                    <a:pt x="575" y="432"/>
                  </a:lnTo>
                  <a:lnTo>
                    <a:pt x="653" y="367"/>
                  </a:lnTo>
                  <a:lnTo>
                    <a:pt x="733" y="306"/>
                  </a:lnTo>
                  <a:lnTo>
                    <a:pt x="818" y="251"/>
                  </a:lnTo>
                  <a:lnTo>
                    <a:pt x="907" y="201"/>
                  </a:lnTo>
                  <a:lnTo>
                    <a:pt x="998" y="156"/>
                  </a:lnTo>
                  <a:lnTo>
                    <a:pt x="1092" y="115"/>
                  </a:lnTo>
                  <a:lnTo>
                    <a:pt x="1190" y="81"/>
                  </a:lnTo>
                  <a:lnTo>
                    <a:pt x="1289" y="52"/>
                  </a:lnTo>
                  <a:lnTo>
                    <a:pt x="1391" y="30"/>
                  </a:lnTo>
                  <a:lnTo>
                    <a:pt x="1496" y="14"/>
                  </a:lnTo>
                  <a:lnTo>
                    <a:pt x="1602" y="4"/>
                  </a:lnTo>
                  <a:lnTo>
                    <a:pt x="1710"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03" name="Freeform 39"/>
            <p:cNvSpPr>
              <a:spLocks/>
            </p:cNvSpPr>
            <p:nvPr/>
          </p:nvSpPr>
          <p:spPr bwMode="auto">
            <a:xfrm>
              <a:off x="5791" y="865"/>
              <a:ext cx="220" cy="220"/>
            </a:xfrm>
            <a:custGeom>
              <a:avLst/>
              <a:gdLst>
                <a:gd name="T0" fmla="*/ 0 w 2203"/>
                <a:gd name="T1" fmla="*/ 0 h 2202"/>
                <a:gd name="T2" fmla="*/ 1855 w 2203"/>
                <a:gd name="T3" fmla="*/ 497 h 2202"/>
                <a:gd name="T4" fmla="*/ 1422 w 2203"/>
                <a:gd name="T5" fmla="*/ 929 h 2202"/>
                <a:gd name="T6" fmla="*/ 1521 w 2203"/>
                <a:gd name="T7" fmla="*/ 1030 h 2202"/>
                <a:gd name="T8" fmla="*/ 2203 w 2203"/>
                <a:gd name="T9" fmla="*/ 1711 h 2202"/>
                <a:gd name="T10" fmla="*/ 1711 w 2203"/>
                <a:gd name="T11" fmla="*/ 2202 h 2202"/>
                <a:gd name="T12" fmla="*/ 1029 w 2203"/>
                <a:gd name="T13" fmla="*/ 1521 h 2202"/>
                <a:gd name="T14" fmla="*/ 930 w 2203"/>
                <a:gd name="T15" fmla="*/ 1421 h 2202"/>
                <a:gd name="T16" fmla="*/ 497 w 2203"/>
                <a:gd name="T17" fmla="*/ 1855 h 2202"/>
                <a:gd name="T18" fmla="*/ 0 w 2203"/>
                <a:gd name="T19" fmla="*/ 0 h 2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3" h="2202">
                  <a:moveTo>
                    <a:pt x="0" y="0"/>
                  </a:moveTo>
                  <a:lnTo>
                    <a:pt x="1855" y="497"/>
                  </a:lnTo>
                  <a:lnTo>
                    <a:pt x="1422" y="929"/>
                  </a:lnTo>
                  <a:lnTo>
                    <a:pt x="1521" y="1030"/>
                  </a:lnTo>
                  <a:lnTo>
                    <a:pt x="2203" y="1711"/>
                  </a:lnTo>
                  <a:lnTo>
                    <a:pt x="1711" y="2202"/>
                  </a:lnTo>
                  <a:lnTo>
                    <a:pt x="1029" y="1521"/>
                  </a:lnTo>
                  <a:lnTo>
                    <a:pt x="930" y="1421"/>
                  </a:lnTo>
                  <a:lnTo>
                    <a:pt x="497" y="1855"/>
                  </a:lnTo>
                  <a:lnTo>
                    <a:pt x="0" y="0"/>
                  </a:lnTo>
                  <a:close/>
                </a:path>
              </a:pathLst>
            </a:custGeom>
            <a:grpFill/>
            <a:ln w="190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pic>
        <p:nvPicPr>
          <p:cNvPr id="104" name="Picture 10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176574" y="1832659"/>
            <a:ext cx="272703" cy="503955"/>
          </a:xfrm>
          <a:prstGeom prst="rect">
            <a:avLst/>
          </a:prstGeom>
        </p:spPr>
      </p:pic>
      <p:pic>
        <p:nvPicPr>
          <p:cNvPr id="105" name="Picture 10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717289" y="2372230"/>
            <a:ext cx="757421" cy="505479"/>
          </a:xfrm>
          <a:prstGeom prst="rect">
            <a:avLst/>
          </a:prstGeom>
        </p:spPr>
      </p:pic>
      <p:sp>
        <p:nvSpPr>
          <p:cNvPr id="76" name="Freeform 21"/>
          <p:cNvSpPr>
            <a:spLocks noEditPoints="1"/>
          </p:cNvSpPr>
          <p:nvPr/>
        </p:nvSpPr>
        <p:spPr bwMode="auto">
          <a:xfrm>
            <a:off x="5100442" y="4685442"/>
            <a:ext cx="1293719" cy="199065"/>
          </a:xfrm>
          <a:custGeom>
            <a:avLst/>
            <a:gdLst>
              <a:gd name="T0" fmla="*/ 81 w 1381"/>
              <a:gd name="T1" fmla="*/ 8 h 210"/>
              <a:gd name="T2" fmla="*/ 695 w 1381"/>
              <a:gd name="T3" fmla="*/ 114 h 210"/>
              <a:gd name="T4" fmla="*/ 630 w 1381"/>
              <a:gd name="T5" fmla="*/ 127 h 210"/>
              <a:gd name="T6" fmla="*/ 256 w 1381"/>
              <a:gd name="T7" fmla="*/ 201 h 210"/>
              <a:gd name="T8" fmla="*/ 870 w 1381"/>
              <a:gd name="T9" fmla="*/ 136 h 210"/>
              <a:gd name="T10" fmla="*/ 909 w 1381"/>
              <a:gd name="T11" fmla="*/ 132 h 210"/>
              <a:gd name="T12" fmla="*/ 357 w 1381"/>
              <a:gd name="T13" fmla="*/ 37 h 210"/>
              <a:gd name="T14" fmla="*/ 395 w 1381"/>
              <a:gd name="T15" fmla="*/ 34 h 210"/>
              <a:gd name="T16" fmla="*/ 371 w 1381"/>
              <a:gd name="T17" fmla="*/ 2 h 210"/>
              <a:gd name="T18" fmla="*/ 688 w 1381"/>
              <a:gd name="T19" fmla="*/ 45 h 210"/>
              <a:gd name="T20" fmla="*/ 1313 w 1381"/>
              <a:gd name="T21" fmla="*/ 7 h 210"/>
              <a:gd name="T22" fmla="*/ 1316 w 1381"/>
              <a:gd name="T23" fmla="*/ 52 h 210"/>
              <a:gd name="T24" fmla="*/ 13 w 1381"/>
              <a:gd name="T25" fmla="*/ 133 h 210"/>
              <a:gd name="T26" fmla="*/ 760 w 1381"/>
              <a:gd name="T27" fmla="*/ 40 h 210"/>
              <a:gd name="T28" fmla="*/ 603 w 1381"/>
              <a:gd name="T29" fmla="*/ 55 h 210"/>
              <a:gd name="T30" fmla="*/ 467 w 1381"/>
              <a:gd name="T31" fmla="*/ 63 h 210"/>
              <a:gd name="T32" fmla="*/ 449 w 1381"/>
              <a:gd name="T33" fmla="*/ 72 h 210"/>
              <a:gd name="T34" fmla="*/ 831 w 1381"/>
              <a:gd name="T35" fmla="*/ 80 h 210"/>
              <a:gd name="T36" fmla="*/ 938 w 1381"/>
              <a:gd name="T37" fmla="*/ 185 h 210"/>
              <a:gd name="T38" fmla="*/ 989 w 1381"/>
              <a:gd name="T39" fmla="*/ 78 h 210"/>
              <a:gd name="T40" fmla="*/ 843 w 1381"/>
              <a:gd name="T41" fmla="*/ 142 h 210"/>
              <a:gd name="T42" fmla="*/ 408 w 1381"/>
              <a:gd name="T43" fmla="*/ 183 h 210"/>
              <a:gd name="T44" fmla="*/ 376 w 1381"/>
              <a:gd name="T45" fmla="*/ 166 h 210"/>
              <a:gd name="T46" fmla="*/ 314 w 1381"/>
              <a:gd name="T47" fmla="*/ 80 h 210"/>
              <a:gd name="T48" fmla="*/ 1215 w 1381"/>
              <a:gd name="T49" fmla="*/ 72 h 210"/>
              <a:gd name="T50" fmla="*/ 530 w 1381"/>
              <a:gd name="T51" fmla="*/ 169 h 210"/>
              <a:gd name="T52" fmla="*/ 1067 w 1381"/>
              <a:gd name="T53" fmla="*/ 70 h 210"/>
              <a:gd name="T54" fmla="*/ 1337 w 1381"/>
              <a:gd name="T55" fmla="*/ 79 h 210"/>
              <a:gd name="T56" fmla="*/ 738 w 1381"/>
              <a:gd name="T57" fmla="*/ 151 h 210"/>
              <a:gd name="T58" fmla="*/ 712 w 1381"/>
              <a:gd name="T59" fmla="*/ 135 h 210"/>
              <a:gd name="T60" fmla="*/ 495 w 1381"/>
              <a:gd name="T61" fmla="*/ 70 h 210"/>
              <a:gd name="T62" fmla="*/ 148 w 1381"/>
              <a:gd name="T63" fmla="*/ 138 h 210"/>
              <a:gd name="T64" fmla="*/ 760 w 1381"/>
              <a:gd name="T65" fmla="*/ 133 h 210"/>
              <a:gd name="T66" fmla="*/ 803 w 1381"/>
              <a:gd name="T67" fmla="*/ 148 h 210"/>
              <a:gd name="T68" fmla="*/ 902 w 1381"/>
              <a:gd name="T69" fmla="*/ 41 h 210"/>
              <a:gd name="T70" fmla="*/ 325 w 1381"/>
              <a:gd name="T71" fmla="*/ 132 h 210"/>
              <a:gd name="T72" fmla="*/ 324 w 1381"/>
              <a:gd name="T73" fmla="*/ 177 h 210"/>
              <a:gd name="T74" fmla="*/ 583 w 1381"/>
              <a:gd name="T75" fmla="*/ 184 h 210"/>
              <a:gd name="T76" fmla="*/ 176 w 1381"/>
              <a:gd name="T77" fmla="*/ 139 h 210"/>
              <a:gd name="T78" fmla="*/ 206 w 1381"/>
              <a:gd name="T79" fmla="*/ 107 h 210"/>
              <a:gd name="T80" fmla="*/ 540 w 1381"/>
              <a:gd name="T81" fmla="*/ 59 h 210"/>
              <a:gd name="T82" fmla="*/ 277 w 1381"/>
              <a:gd name="T83" fmla="*/ 27 h 210"/>
              <a:gd name="T84" fmla="*/ 926 w 1381"/>
              <a:gd name="T85" fmla="*/ 35 h 210"/>
              <a:gd name="T86" fmla="*/ 935 w 1381"/>
              <a:gd name="T87" fmla="*/ 11 h 210"/>
              <a:gd name="T88" fmla="*/ 431 w 1381"/>
              <a:gd name="T89" fmla="*/ 132 h 210"/>
              <a:gd name="T90" fmla="*/ 153 w 1381"/>
              <a:gd name="T91" fmla="*/ 30 h 210"/>
              <a:gd name="T92" fmla="*/ 586 w 1381"/>
              <a:gd name="T93" fmla="*/ 26 h 210"/>
              <a:gd name="T94" fmla="*/ 586 w 1381"/>
              <a:gd name="T95" fmla="*/ 72 h 210"/>
              <a:gd name="T96" fmla="*/ 983 w 1381"/>
              <a:gd name="T97" fmla="*/ 133 h 210"/>
              <a:gd name="T98" fmla="*/ 163 w 1381"/>
              <a:gd name="T99" fmla="*/ 76 h 210"/>
              <a:gd name="T100" fmla="*/ 355 w 1381"/>
              <a:gd name="T101" fmla="*/ 133 h 210"/>
              <a:gd name="T102" fmla="*/ 1015 w 1381"/>
              <a:gd name="T103" fmla="*/ 33 h 210"/>
              <a:gd name="T104" fmla="*/ 462 w 1381"/>
              <a:gd name="T105" fmla="*/ 178 h 210"/>
              <a:gd name="T106" fmla="*/ 210 w 1381"/>
              <a:gd name="T107" fmla="*/ 132 h 210"/>
              <a:gd name="T108" fmla="*/ 220 w 1381"/>
              <a:gd name="T109" fmla="*/ 113 h 210"/>
              <a:gd name="T110" fmla="*/ 872 w 1381"/>
              <a:gd name="T111" fmla="*/ 150 h 210"/>
              <a:gd name="T112" fmla="*/ 1145 w 1381"/>
              <a:gd name="T113" fmla="*/ 17 h 210"/>
              <a:gd name="T114" fmla="*/ 821 w 1381"/>
              <a:gd name="T115" fmla="*/ 47 h 210"/>
              <a:gd name="T116" fmla="*/ 844 w 1381"/>
              <a:gd name="T117" fmla="*/ 158 h 210"/>
              <a:gd name="T118" fmla="*/ 408 w 1381"/>
              <a:gd name="T119" fmla="*/ 159 h 210"/>
              <a:gd name="T120" fmla="*/ 325 w 1381"/>
              <a:gd name="T121" fmla="*/ 67 h 210"/>
              <a:gd name="T122" fmla="*/ 726 w 1381"/>
              <a:gd name="T123" fmla="*/ 17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81" h="210">
                <a:moveTo>
                  <a:pt x="14" y="20"/>
                </a:moveTo>
                <a:cubicBezTo>
                  <a:pt x="14" y="21"/>
                  <a:pt x="14" y="22"/>
                  <a:pt x="14" y="22"/>
                </a:cubicBezTo>
                <a:cubicBezTo>
                  <a:pt x="14" y="40"/>
                  <a:pt x="14" y="58"/>
                  <a:pt x="14" y="76"/>
                </a:cubicBezTo>
                <a:cubicBezTo>
                  <a:pt x="14" y="80"/>
                  <a:pt x="14" y="79"/>
                  <a:pt x="11" y="79"/>
                </a:cubicBezTo>
                <a:cubicBezTo>
                  <a:pt x="9" y="79"/>
                  <a:pt x="8" y="79"/>
                  <a:pt x="6" y="79"/>
                </a:cubicBezTo>
                <a:cubicBezTo>
                  <a:pt x="6" y="79"/>
                  <a:pt x="6" y="79"/>
                  <a:pt x="6" y="78"/>
                </a:cubicBezTo>
                <a:cubicBezTo>
                  <a:pt x="6" y="78"/>
                  <a:pt x="6" y="77"/>
                  <a:pt x="6" y="77"/>
                </a:cubicBezTo>
                <a:cubicBezTo>
                  <a:pt x="6" y="54"/>
                  <a:pt x="6" y="31"/>
                  <a:pt x="6" y="7"/>
                </a:cubicBezTo>
                <a:cubicBezTo>
                  <a:pt x="6" y="7"/>
                  <a:pt x="6" y="7"/>
                  <a:pt x="6" y="7"/>
                </a:cubicBezTo>
                <a:cubicBezTo>
                  <a:pt x="6" y="5"/>
                  <a:pt x="6" y="5"/>
                  <a:pt x="7" y="5"/>
                </a:cubicBezTo>
                <a:cubicBezTo>
                  <a:pt x="9" y="5"/>
                  <a:pt x="10" y="5"/>
                  <a:pt x="12" y="5"/>
                </a:cubicBezTo>
                <a:cubicBezTo>
                  <a:pt x="13" y="5"/>
                  <a:pt x="15" y="5"/>
                  <a:pt x="16" y="5"/>
                </a:cubicBezTo>
                <a:cubicBezTo>
                  <a:pt x="17" y="5"/>
                  <a:pt x="17" y="6"/>
                  <a:pt x="17" y="6"/>
                </a:cubicBezTo>
                <a:cubicBezTo>
                  <a:pt x="18" y="7"/>
                  <a:pt x="18" y="7"/>
                  <a:pt x="18" y="8"/>
                </a:cubicBezTo>
                <a:cubicBezTo>
                  <a:pt x="26" y="26"/>
                  <a:pt x="34" y="44"/>
                  <a:pt x="42" y="62"/>
                </a:cubicBezTo>
                <a:cubicBezTo>
                  <a:pt x="42" y="62"/>
                  <a:pt x="42" y="63"/>
                  <a:pt x="43" y="64"/>
                </a:cubicBezTo>
                <a:cubicBezTo>
                  <a:pt x="44" y="63"/>
                  <a:pt x="44" y="63"/>
                  <a:pt x="44" y="62"/>
                </a:cubicBezTo>
                <a:cubicBezTo>
                  <a:pt x="53" y="44"/>
                  <a:pt x="61" y="26"/>
                  <a:pt x="69" y="8"/>
                </a:cubicBezTo>
                <a:cubicBezTo>
                  <a:pt x="69" y="8"/>
                  <a:pt x="69" y="8"/>
                  <a:pt x="69" y="7"/>
                </a:cubicBezTo>
                <a:cubicBezTo>
                  <a:pt x="69" y="6"/>
                  <a:pt x="70" y="5"/>
                  <a:pt x="72" y="5"/>
                </a:cubicBezTo>
                <a:cubicBezTo>
                  <a:pt x="75" y="5"/>
                  <a:pt x="77" y="5"/>
                  <a:pt x="80" y="5"/>
                </a:cubicBezTo>
                <a:cubicBezTo>
                  <a:pt x="81" y="5"/>
                  <a:pt x="81" y="6"/>
                  <a:pt x="81" y="6"/>
                </a:cubicBezTo>
                <a:cubicBezTo>
                  <a:pt x="81" y="7"/>
                  <a:pt x="81" y="8"/>
                  <a:pt x="81" y="8"/>
                </a:cubicBezTo>
                <a:cubicBezTo>
                  <a:pt x="81" y="31"/>
                  <a:pt x="81" y="54"/>
                  <a:pt x="81" y="76"/>
                </a:cubicBezTo>
                <a:cubicBezTo>
                  <a:pt x="81" y="80"/>
                  <a:pt x="81" y="79"/>
                  <a:pt x="78" y="79"/>
                </a:cubicBezTo>
                <a:cubicBezTo>
                  <a:pt x="76" y="79"/>
                  <a:pt x="75" y="79"/>
                  <a:pt x="73" y="79"/>
                </a:cubicBezTo>
                <a:cubicBezTo>
                  <a:pt x="73" y="79"/>
                  <a:pt x="72" y="79"/>
                  <a:pt x="72" y="78"/>
                </a:cubicBezTo>
                <a:cubicBezTo>
                  <a:pt x="72" y="77"/>
                  <a:pt x="72" y="77"/>
                  <a:pt x="72" y="76"/>
                </a:cubicBezTo>
                <a:cubicBezTo>
                  <a:pt x="72" y="58"/>
                  <a:pt x="72" y="41"/>
                  <a:pt x="72" y="23"/>
                </a:cubicBezTo>
                <a:cubicBezTo>
                  <a:pt x="72" y="22"/>
                  <a:pt x="72" y="21"/>
                  <a:pt x="72" y="21"/>
                </a:cubicBezTo>
                <a:cubicBezTo>
                  <a:pt x="72" y="20"/>
                  <a:pt x="72" y="20"/>
                  <a:pt x="72" y="20"/>
                </a:cubicBezTo>
                <a:cubicBezTo>
                  <a:pt x="72" y="20"/>
                  <a:pt x="71" y="20"/>
                  <a:pt x="71" y="21"/>
                </a:cubicBezTo>
                <a:cubicBezTo>
                  <a:pt x="71" y="21"/>
                  <a:pt x="71" y="22"/>
                  <a:pt x="71" y="22"/>
                </a:cubicBezTo>
                <a:cubicBezTo>
                  <a:pt x="64" y="37"/>
                  <a:pt x="57" y="53"/>
                  <a:pt x="50" y="68"/>
                </a:cubicBezTo>
                <a:cubicBezTo>
                  <a:pt x="49" y="71"/>
                  <a:pt x="47" y="75"/>
                  <a:pt x="46" y="78"/>
                </a:cubicBezTo>
                <a:cubicBezTo>
                  <a:pt x="45" y="79"/>
                  <a:pt x="45" y="79"/>
                  <a:pt x="44" y="79"/>
                </a:cubicBezTo>
                <a:cubicBezTo>
                  <a:pt x="41" y="79"/>
                  <a:pt x="41" y="80"/>
                  <a:pt x="40" y="77"/>
                </a:cubicBezTo>
                <a:cubicBezTo>
                  <a:pt x="32" y="58"/>
                  <a:pt x="24" y="40"/>
                  <a:pt x="16" y="22"/>
                </a:cubicBezTo>
                <a:cubicBezTo>
                  <a:pt x="15" y="21"/>
                  <a:pt x="15" y="21"/>
                  <a:pt x="14" y="20"/>
                </a:cubicBezTo>
                <a:cubicBezTo>
                  <a:pt x="14" y="20"/>
                  <a:pt x="14" y="20"/>
                  <a:pt x="14" y="20"/>
                </a:cubicBezTo>
                <a:close/>
                <a:moveTo>
                  <a:pt x="687" y="128"/>
                </a:moveTo>
                <a:cubicBezTo>
                  <a:pt x="687" y="145"/>
                  <a:pt x="686" y="162"/>
                  <a:pt x="687" y="179"/>
                </a:cubicBezTo>
                <a:cubicBezTo>
                  <a:pt x="687" y="181"/>
                  <a:pt x="686" y="182"/>
                  <a:pt x="687" y="184"/>
                </a:cubicBezTo>
                <a:cubicBezTo>
                  <a:pt x="688" y="185"/>
                  <a:pt x="690" y="184"/>
                  <a:pt x="692" y="184"/>
                </a:cubicBezTo>
                <a:cubicBezTo>
                  <a:pt x="696" y="184"/>
                  <a:pt x="695" y="185"/>
                  <a:pt x="695" y="181"/>
                </a:cubicBezTo>
                <a:cubicBezTo>
                  <a:pt x="695" y="159"/>
                  <a:pt x="695" y="136"/>
                  <a:pt x="695" y="114"/>
                </a:cubicBezTo>
                <a:cubicBezTo>
                  <a:pt x="695" y="113"/>
                  <a:pt x="695" y="112"/>
                  <a:pt x="695" y="112"/>
                </a:cubicBezTo>
                <a:cubicBezTo>
                  <a:pt x="695" y="111"/>
                  <a:pt x="695" y="111"/>
                  <a:pt x="694" y="111"/>
                </a:cubicBezTo>
                <a:cubicBezTo>
                  <a:pt x="692" y="111"/>
                  <a:pt x="689" y="111"/>
                  <a:pt x="686" y="111"/>
                </a:cubicBezTo>
                <a:cubicBezTo>
                  <a:pt x="685" y="111"/>
                  <a:pt x="684" y="111"/>
                  <a:pt x="683" y="113"/>
                </a:cubicBezTo>
                <a:cubicBezTo>
                  <a:pt x="683" y="113"/>
                  <a:pt x="683" y="113"/>
                  <a:pt x="683" y="113"/>
                </a:cubicBezTo>
                <a:cubicBezTo>
                  <a:pt x="678" y="124"/>
                  <a:pt x="674" y="134"/>
                  <a:pt x="669" y="145"/>
                </a:cubicBezTo>
                <a:cubicBezTo>
                  <a:pt x="666" y="152"/>
                  <a:pt x="662" y="160"/>
                  <a:pt x="659" y="167"/>
                </a:cubicBezTo>
                <a:cubicBezTo>
                  <a:pt x="658" y="168"/>
                  <a:pt x="658" y="168"/>
                  <a:pt x="658" y="169"/>
                </a:cubicBezTo>
                <a:cubicBezTo>
                  <a:pt x="658" y="169"/>
                  <a:pt x="658" y="169"/>
                  <a:pt x="658" y="169"/>
                </a:cubicBezTo>
                <a:cubicBezTo>
                  <a:pt x="657" y="169"/>
                  <a:pt x="657" y="169"/>
                  <a:pt x="657" y="169"/>
                </a:cubicBezTo>
                <a:cubicBezTo>
                  <a:pt x="657" y="168"/>
                  <a:pt x="656" y="168"/>
                  <a:pt x="656" y="167"/>
                </a:cubicBezTo>
                <a:cubicBezTo>
                  <a:pt x="652" y="156"/>
                  <a:pt x="647" y="146"/>
                  <a:pt x="642" y="135"/>
                </a:cubicBezTo>
                <a:cubicBezTo>
                  <a:pt x="639" y="128"/>
                  <a:pt x="636" y="120"/>
                  <a:pt x="632" y="112"/>
                </a:cubicBezTo>
                <a:cubicBezTo>
                  <a:pt x="632" y="111"/>
                  <a:pt x="631" y="111"/>
                  <a:pt x="630" y="111"/>
                </a:cubicBezTo>
                <a:cubicBezTo>
                  <a:pt x="627" y="111"/>
                  <a:pt x="625" y="111"/>
                  <a:pt x="623" y="111"/>
                </a:cubicBezTo>
                <a:cubicBezTo>
                  <a:pt x="620" y="111"/>
                  <a:pt x="620" y="110"/>
                  <a:pt x="620" y="114"/>
                </a:cubicBezTo>
                <a:cubicBezTo>
                  <a:pt x="620" y="136"/>
                  <a:pt x="620" y="157"/>
                  <a:pt x="620" y="179"/>
                </a:cubicBezTo>
                <a:cubicBezTo>
                  <a:pt x="620" y="181"/>
                  <a:pt x="620" y="182"/>
                  <a:pt x="620" y="184"/>
                </a:cubicBezTo>
                <a:cubicBezTo>
                  <a:pt x="622" y="185"/>
                  <a:pt x="623" y="184"/>
                  <a:pt x="625" y="184"/>
                </a:cubicBezTo>
                <a:cubicBezTo>
                  <a:pt x="629" y="184"/>
                  <a:pt x="628" y="185"/>
                  <a:pt x="628" y="181"/>
                </a:cubicBezTo>
                <a:cubicBezTo>
                  <a:pt x="628" y="163"/>
                  <a:pt x="628" y="145"/>
                  <a:pt x="628" y="127"/>
                </a:cubicBezTo>
                <a:cubicBezTo>
                  <a:pt x="628" y="126"/>
                  <a:pt x="628" y="126"/>
                  <a:pt x="629" y="125"/>
                </a:cubicBezTo>
                <a:cubicBezTo>
                  <a:pt x="629" y="125"/>
                  <a:pt x="629" y="126"/>
                  <a:pt x="630" y="127"/>
                </a:cubicBezTo>
                <a:cubicBezTo>
                  <a:pt x="636" y="142"/>
                  <a:pt x="643" y="156"/>
                  <a:pt x="649" y="171"/>
                </a:cubicBezTo>
                <a:cubicBezTo>
                  <a:pt x="651" y="175"/>
                  <a:pt x="653" y="179"/>
                  <a:pt x="655" y="183"/>
                </a:cubicBezTo>
                <a:cubicBezTo>
                  <a:pt x="655" y="184"/>
                  <a:pt x="656" y="184"/>
                  <a:pt x="657" y="184"/>
                </a:cubicBezTo>
                <a:cubicBezTo>
                  <a:pt x="660" y="184"/>
                  <a:pt x="660" y="185"/>
                  <a:pt x="661" y="182"/>
                </a:cubicBezTo>
                <a:cubicBezTo>
                  <a:pt x="669" y="164"/>
                  <a:pt x="677" y="146"/>
                  <a:pt x="685" y="128"/>
                </a:cubicBezTo>
                <a:cubicBezTo>
                  <a:pt x="685" y="127"/>
                  <a:pt x="685" y="126"/>
                  <a:pt x="687" y="125"/>
                </a:cubicBezTo>
                <a:cubicBezTo>
                  <a:pt x="687" y="126"/>
                  <a:pt x="687" y="127"/>
                  <a:pt x="687" y="128"/>
                </a:cubicBezTo>
                <a:close/>
                <a:moveTo>
                  <a:pt x="267" y="138"/>
                </a:moveTo>
                <a:cubicBezTo>
                  <a:pt x="267" y="138"/>
                  <a:pt x="267" y="137"/>
                  <a:pt x="266" y="137"/>
                </a:cubicBezTo>
                <a:cubicBezTo>
                  <a:pt x="264" y="134"/>
                  <a:pt x="260" y="132"/>
                  <a:pt x="256" y="131"/>
                </a:cubicBezTo>
                <a:cubicBezTo>
                  <a:pt x="254" y="130"/>
                  <a:pt x="252" y="130"/>
                  <a:pt x="250" y="131"/>
                </a:cubicBezTo>
                <a:cubicBezTo>
                  <a:pt x="244" y="131"/>
                  <a:pt x="239" y="133"/>
                  <a:pt x="235" y="138"/>
                </a:cubicBezTo>
                <a:cubicBezTo>
                  <a:pt x="232" y="140"/>
                  <a:pt x="231" y="144"/>
                  <a:pt x="230" y="147"/>
                </a:cubicBezTo>
                <a:cubicBezTo>
                  <a:pt x="228" y="153"/>
                  <a:pt x="227" y="159"/>
                  <a:pt x="228" y="165"/>
                </a:cubicBezTo>
                <a:cubicBezTo>
                  <a:pt x="228" y="169"/>
                  <a:pt x="230" y="172"/>
                  <a:pt x="232" y="176"/>
                </a:cubicBezTo>
                <a:cubicBezTo>
                  <a:pt x="235" y="180"/>
                  <a:pt x="239" y="184"/>
                  <a:pt x="244" y="185"/>
                </a:cubicBezTo>
                <a:cubicBezTo>
                  <a:pt x="248" y="186"/>
                  <a:pt x="252" y="186"/>
                  <a:pt x="256" y="185"/>
                </a:cubicBezTo>
                <a:cubicBezTo>
                  <a:pt x="260" y="184"/>
                  <a:pt x="263" y="181"/>
                  <a:pt x="266" y="178"/>
                </a:cubicBezTo>
                <a:cubicBezTo>
                  <a:pt x="266" y="178"/>
                  <a:pt x="266" y="177"/>
                  <a:pt x="267" y="177"/>
                </a:cubicBezTo>
                <a:cubicBezTo>
                  <a:pt x="267" y="177"/>
                  <a:pt x="267" y="176"/>
                  <a:pt x="268" y="176"/>
                </a:cubicBezTo>
                <a:cubicBezTo>
                  <a:pt x="268" y="179"/>
                  <a:pt x="268" y="181"/>
                  <a:pt x="268" y="183"/>
                </a:cubicBezTo>
                <a:cubicBezTo>
                  <a:pt x="268" y="185"/>
                  <a:pt x="268" y="187"/>
                  <a:pt x="267" y="189"/>
                </a:cubicBezTo>
                <a:cubicBezTo>
                  <a:pt x="266" y="195"/>
                  <a:pt x="262" y="199"/>
                  <a:pt x="256" y="201"/>
                </a:cubicBezTo>
                <a:cubicBezTo>
                  <a:pt x="253" y="202"/>
                  <a:pt x="249" y="202"/>
                  <a:pt x="246" y="202"/>
                </a:cubicBezTo>
                <a:cubicBezTo>
                  <a:pt x="242" y="201"/>
                  <a:pt x="238" y="200"/>
                  <a:pt x="234" y="198"/>
                </a:cubicBezTo>
                <a:cubicBezTo>
                  <a:pt x="233" y="198"/>
                  <a:pt x="233" y="197"/>
                  <a:pt x="232" y="197"/>
                </a:cubicBezTo>
                <a:cubicBezTo>
                  <a:pt x="232" y="198"/>
                  <a:pt x="231" y="198"/>
                  <a:pt x="231" y="198"/>
                </a:cubicBezTo>
                <a:cubicBezTo>
                  <a:pt x="231" y="200"/>
                  <a:pt x="231" y="202"/>
                  <a:pt x="231" y="204"/>
                </a:cubicBezTo>
                <a:cubicBezTo>
                  <a:pt x="231" y="205"/>
                  <a:pt x="232" y="206"/>
                  <a:pt x="233" y="206"/>
                </a:cubicBezTo>
                <a:cubicBezTo>
                  <a:pt x="233" y="206"/>
                  <a:pt x="233" y="206"/>
                  <a:pt x="233" y="206"/>
                </a:cubicBezTo>
                <a:cubicBezTo>
                  <a:pt x="242" y="210"/>
                  <a:pt x="251" y="210"/>
                  <a:pt x="260" y="208"/>
                </a:cubicBezTo>
                <a:cubicBezTo>
                  <a:pt x="265" y="206"/>
                  <a:pt x="269" y="203"/>
                  <a:pt x="271" y="199"/>
                </a:cubicBezTo>
                <a:cubicBezTo>
                  <a:pt x="273" y="197"/>
                  <a:pt x="274" y="195"/>
                  <a:pt x="275" y="192"/>
                </a:cubicBezTo>
                <a:cubicBezTo>
                  <a:pt x="276" y="188"/>
                  <a:pt x="276" y="183"/>
                  <a:pt x="276" y="179"/>
                </a:cubicBezTo>
                <a:cubicBezTo>
                  <a:pt x="276" y="164"/>
                  <a:pt x="276" y="149"/>
                  <a:pt x="276" y="135"/>
                </a:cubicBezTo>
                <a:cubicBezTo>
                  <a:pt x="276" y="134"/>
                  <a:pt x="276" y="134"/>
                  <a:pt x="276" y="133"/>
                </a:cubicBezTo>
                <a:cubicBezTo>
                  <a:pt x="276" y="132"/>
                  <a:pt x="276" y="132"/>
                  <a:pt x="275" y="132"/>
                </a:cubicBezTo>
                <a:cubicBezTo>
                  <a:pt x="273" y="132"/>
                  <a:pt x="271" y="132"/>
                  <a:pt x="269" y="132"/>
                </a:cubicBezTo>
                <a:cubicBezTo>
                  <a:pt x="268" y="132"/>
                  <a:pt x="268" y="132"/>
                  <a:pt x="268" y="133"/>
                </a:cubicBezTo>
                <a:cubicBezTo>
                  <a:pt x="268" y="135"/>
                  <a:pt x="268" y="136"/>
                  <a:pt x="268" y="138"/>
                </a:cubicBezTo>
                <a:cubicBezTo>
                  <a:pt x="267" y="138"/>
                  <a:pt x="267" y="138"/>
                  <a:pt x="267" y="138"/>
                </a:cubicBezTo>
                <a:close/>
                <a:moveTo>
                  <a:pt x="901" y="138"/>
                </a:moveTo>
                <a:cubicBezTo>
                  <a:pt x="901" y="138"/>
                  <a:pt x="901" y="137"/>
                  <a:pt x="900" y="137"/>
                </a:cubicBezTo>
                <a:cubicBezTo>
                  <a:pt x="898" y="134"/>
                  <a:pt x="895" y="132"/>
                  <a:pt x="891" y="131"/>
                </a:cubicBezTo>
                <a:cubicBezTo>
                  <a:pt x="888" y="130"/>
                  <a:pt x="885" y="130"/>
                  <a:pt x="883" y="131"/>
                </a:cubicBezTo>
                <a:cubicBezTo>
                  <a:pt x="878" y="131"/>
                  <a:pt x="874" y="133"/>
                  <a:pt x="870" y="136"/>
                </a:cubicBezTo>
                <a:cubicBezTo>
                  <a:pt x="867" y="139"/>
                  <a:pt x="865" y="143"/>
                  <a:pt x="864" y="146"/>
                </a:cubicBezTo>
                <a:cubicBezTo>
                  <a:pt x="862" y="153"/>
                  <a:pt x="861" y="160"/>
                  <a:pt x="862" y="167"/>
                </a:cubicBezTo>
                <a:cubicBezTo>
                  <a:pt x="863" y="170"/>
                  <a:pt x="864" y="173"/>
                  <a:pt x="866" y="176"/>
                </a:cubicBezTo>
                <a:cubicBezTo>
                  <a:pt x="869" y="180"/>
                  <a:pt x="872" y="183"/>
                  <a:pt x="877" y="185"/>
                </a:cubicBezTo>
                <a:cubicBezTo>
                  <a:pt x="880" y="186"/>
                  <a:pt x="883" y="186"/>
                  <a:pt x="886" y="186"/>
                </a:cubicBezTo>
                <a:cubicBezTo>
                  <a:pt x="892" y="185"/>
                  <a:pt x="897" y="182"/>
                  <a:pt x="900" y="178"/>
                </a:cubicBezTo>
                <a:cubicBezTo>
                  <a:pt x="901" y="177"/>
                  <a:pt x="901" y="177"/>
                  <a:pt x="901" y="177"/>
                </a:cubicBezTo>
                <a:cubicBezTo>
                  <a:pt x="901" y="176"/>
                  <a:pt x="901" y="176"/>
                  <a:pt x="902" y="176"/>
                </a:cubicBezTo>
                <a:cubicBezTo>
                  <a:pt x="902" y="179"/>
                  <a:pt x="902" y="181"/>
                  <a:pt x="902" y="183"/>
                </a:cubicBezTo>
                <a:cubicBezTo>
                  <a:pt x="902" y="186"/>
                  <a:pt x="901" y="188"/>
                  <a:pt x="900" y="191"/>
                </a:cubicBezTo>
                <a:cubicBezTo>
                  <a:pt x="899" y="196"/>
                  <a:pt x="896" y="199"/>
                  <a:pt x="891" y="201"/>
                </a:cubicBezTo>
                <a:cubicBezTo>
                  <a:pt x="887" y="202"/>
                  <a:pt x="884" y="202"/>
                  <a:pt x="880" y="202"/>
                </a:cubicBezTo>
                <a:cubicBezTo>
                  <a:pt x="876" y="201"/>
                  <a:pt x="872" y="200"/>
                  <a:pt x="868" y="198"/>
                </a:cubicBezTo>
                <a:cubicBezTo>
                  <a:pt x="867" y="198"/>
                  <a:pt x="867" y="197"/>
                  <a:pt x="866" y="197"/>
                </a:cubicBezTo>
                <a:cubicBezTo>
                  <a:pt x="866" y="200"/>
                  <a:pt x="866" y="202"/>
                  <a:pt x="866" y="204"/>
                </a:cubicBezTo>
                <a:cubicBezTo>
                  <a:pt x="866" y="205"/>
                  <a:pt x="866" y="206"/>
                  <a:pt x="867" y="206"/>
                </a:cubicBezTo>
                <a:cubicBezTo>
                  <a:pt x="868" y="206"/>
                  <a:pt x="868" y="207"/>
                  <a:pt x="869" y="207"/>
                </a:cubicBezTo>
                <a:cubicBezTo>
                  <a:pt x="877" y="209"/>
                  <a:pt x="884" y="210"/>
                  <a:pt x="892" y="208"/>
                </a:cubicBezTo>
                <a:cubicBezTo>
                  <a:pt x="901" y="206"/>
                  <a:pt x="906" y="201"/>
                  <a:pt x="909" y="192"/>
                </a:cubicBezTo>
                <a:cubicBezTo>
                  <a:pt x="910" y="188"/>
                  <a:pt x="910" y="184"/>
                  <a:pt x="910" y="180"/>
                </a:cubicBezTo>
                <a:cubicBezTo>
                  <a:pt x="910" y="165"/>
                  <a:pt x="910" y="150"/>
                  <a:pt x="910" y="134"/>
                </a:cubicBezTo>
                <a:cubicBezTo>
                  <a:pt x="910" y="134"/>
                  <a:pt x="910" y="133"/>
                  <a:pt x="910" y="133"/>
                </a:cubicBezTo>
                <a:cubicBezTo>
                  <a:pt x="910" y="132"/>
                  <a:pt x="910" y="132"/>
                  <a:pt x="909" y="132"/>
                </a:cubicBezTo>
                <a:cubicBezTo>
                  <a:pt x="907" y="132"/>
                  <a:pt x="905" y="132"/>
                  <a:pt x="903" y="132"/>
                </a:cubicBezTo>
                <a:cubicBezTo>
                  <a:pt x="902" y="132"/>
                  <a:pt x="902" y="132"/>
                  <a:pt x="902" y="133"/>
                </a:cubicBezTo>
                <a:cubicBezTo>
                  <a:pt x="902" y="134"/>
                  <a:pt x="902" y="136"/>
                  <a:pt x="902" y="138"/>
                </a:cubicBezTo>
                <a:cubicBezTo>
                  <a:pt x="902" y="138"/>
                  <a:pt x="902" y="138"/>
                  <a:pt x="901" y="138"/>
                </a:cubicBezTo>
                <a:close/>
                <a:moveTo>
                  <a:pt x="371" y="2"/>
                </a:moveTo>
                <a:cubicBezTo>
                  <a:pt x="371" y="1"/>
                  <a:pt x="371" y="1"/>
                  <a:pt x="370" y="1"/>
                </a:cubicBezTo>
                <a:cubicBezTo>
                  <a:pt x="368" y="0"/>
                  <a:pt x="366" y="0"/>
                  <a:pt x="364" y="0"/>
                </a:cubicBezTo>
                <a:cubicBezTo>
                  <a:pt x="358" y="0"/>
                  <a:pt x="352" y="4"/>
                  <a:pt x="350" y="11"/>
                </a:cubicBezTo>
                <a:cubicBezTo>
                  <a:pt x="349" y="13"/>
                  <a:pt x="349" y="15"/>
                  <a:pt x="349" y="17"/>
                </a:cubicBezTo>
                <a:cubicBezTo>
                  <a:pt x="349" y="20"/>
                  <a:pt x="349" y="23"/>
                  <a:pt x="349" y="25"/>
                </a:cubicBezTo>
                <a:cubicBezTo>
                  <a:pt x="349" y="26"/>
                  <a:pt x="348" y="26"/>
                  <a:pt x="347" y="26"/>
                </a:cubicBezTo>
                <a:cubicBezTo>
                  <a:pt x="347" y="26"/>
                  <a:pt x="346" y="26"/>
                  <a:pt x="345" y="26"/>
                </a:cubicBezTo>
                <a:cubicBezTo>
                  <a:pt x="344" y="27"/>
                  <a:pt x="342" y="26"/>
                  <a:pt x="340" y="27"/>
                </a:cubicBezTo>
                <a:cubicBezTo>
                  <a:pt x="340" y="29"/>
                  <a:pt x="340" y="31"/>
                  <a:pt x="340" y="32"/>
                </a:cubicBezTo>
                <a:cubicBezTo>
                  <a:pt x="340" y="33"/>
                  <a:pt x="340" y="33"/>
                  <a:pt x="340" y="33"/>
                </a:cubicBezTo>
                <a:cubicBezTo>
                  <a:pt x="340" y="33"/>
                  <a:pt x="340" y="34"/>
                  <a:pt x="340" y="34"/>
                </a:cubicBezTo>
                <a:cubicBezTo>
                  <a:pt x="342" y="34"/>
                  <a:pt x="344" y="34"/>
                  <a:pt x="346" y="34"/>
                </a:cubicBezTo>
                <a:cubicBezTo>
                  <a:pt x="349" y="34"/>
                  <a:pt x="349" y="34"/>
                  <a:pt x="349" y="36"/>
                </a:cubicBezTo>
                <a:cubicBezTo>
                  <a:pt x="349" y="49"/>
                  <a:pt x="349" y="61"/>
                  <a:pt x="349" y="74"/>
                </a:cubicBezTo>
                <a:cubicBezTo>
                  <a:pt x="349" y="75"/>
                  <a:pt x="348" y="77"/>
                  <a:pt x="349" y="79"/>
                </a:cubicBezTo>
                <a:cubicBezTo>
                  <a:pt x="350" y="80"/>
                  <a:pt x="352" y="79"/>
                  <a:pt x="354" y="79"/>
                </a:cubicBezTo>
                <a:cubicBezTo>
                  <a:pt x="357" y="79"/>
                  <a:pt x="357" y="79"/>
                  <a:pt x="357" y="76"/>
                </a:cubicBezTo>
                <a:cubicBezTo>
                  <a:pt x="357" y="63"/>
                  <a:pt x="357" y="50"/>
                  <a:pt x="357" y="37"/>
                </a:cubicBezTo>
                <a:cubicBezTo>
                  <a:pt x="357" y="36"/>
                  <a:pt x="357" y="35"/>
                  <a:pt x="357" y="34"/>
                </a:cubicBezTo>
                <a:cubicBezTo>
                  <a:pt x="357" y="34"/>
                  <a:pt x="357" y="34"/>
                  <a:pt x="358" y="34"/>
                </a:cubicBezTo>
                <a:cubicBezTo>
                  <a:pt x="358" y="34"/>
                  <a:pt x="358" y="34"/>
                  <a:pt x="359" y="34"/>
                </a:cubicBezTo>
                <a:cubicBezTo>
                  <a:pt x="364" y="34"/>
                  <a:pt x="370" y="34"/>
                  <a:pt x="376" y="34"/>
                </a:cubicBezTo>
                <a:cubicBezTo>
                  <a:pt x="376" y="34"/>
                  <a:pt x="376" y="34"/>
                  <a:pt x="377" y="34"/>
                </a:cubicBezTo>
                <a:cubicBezTo>
                  <a:pt x="377" y="34"/>
                  <a:pt x="378" y="34"/>
                  <a:pt x="378" y="35"/>
                </a:cubicBezTo>
                <a:cubicBezTo>
                  <a:pt x="378" y="35"/>
                  <a:pt x="378" y="36"/>
                  <a:pt x="378" y="36"/>
                </a:cubicBezTo>
                <a:cubicBezTo>
                  <a:pt x="378" y="43"/>
                  <a:pt x="378" y="50"/>
                  <a:pt x="378" y="56"/>
                </a:cubicBezTo>
                <a:cubicBezTo>
                  <a:pt x="378" y="59"/>
                  <a:pt x="378" y="62"/>
                  <a:pt x="378" y="65"/>
                </a:cubicBezTo>
                <a:cubicBezTo>
                  <a:pt x="378" y="68"/>
                  <a:pt x="378" y="70"/>
                  <a:pt x="379" y="73"/>
                </a:cubicBezTo>
                <a:cubicBezTo>
                  <a:pt x="380" y="76"/>
                  <a:pt x="383" y="78"/>
                  <a:pt x="386" y="79"/>
                </a:cubicBezTo>
                <a:cubicBezTo>
                  <a:pt x="387" y="80"/>
                  <a:pt x="388" y="80"/>
                  <a:pt x="389" y="80"/>
                </a:cubicBezTo>
                <a:cubicBezTo>
                  <a:pt x="392" y="81"/>
                  <a:pt x="395" y="80"/>
                  <a:pt x="398" y="79"/>
                </a:cubicBezTo>
                <a:cubicBezTo>
                  <a:pt x="399" y="79"/>
                  <a:pt x="399" y="78"/>
                  <a:pt x="399" y="78"/>
                </a:cubicBezTo>
                <a:cubicBezTo>
                  <a:pt x="399" y="76"/>
                  <a:pt x="399" y="74"/>
                  <a:pt x="399" y="72"/>
                </a:cubicBezTo>
                <a:cubicBezTo>
                  <a:pt x="399" y="72"/>
                  <a:pt x="398" y="72"/>
                  <a:pt x="398" y="72"/>
                </a:cubicBezTo>
                <a:cubicBezTo>
                  <a:pt x="396" y="73"/>
                  <a:pt x="394" y="73"/>
                  <a:pt x="392" y="73"/>
                </a:cubicBezTo>
                <a:cubicBezTo>
                  <a:pt x="389" y="72"/>
                  <a:pt x="387" y="71"/>
                  <a:pt x="387" y="68"/>
                </a:cubicBezTo>
                <a:cubicBezTo>
                  <a:pt x="386" y="66"/>
                  <a:pt x="386" y="65"/>
                  <a:pt x="386" y="63"/>
                </a:cubicBezTo>
                <a:cubicBezTo>
                  <a:pt x="386" y="54"/>
                  <a:pt x="386" y="45"/>
                  <a:pt x="386" y="36"/>
                </a:cubicBezTo>
                <a:cubicBezTo>
                  <a:pt x="386" y="36"/>
                  <a:pt x="386" y="35"/>
                  <a:pt x="386" y="35"/>
                </a:cubicBezTo>
                <a:cubicBezTo>
                  <a:pt x="386" y="34"/>
                  <a:pt x="386" y="34"/>
                  <a:pt x="387" y="34"/>
                </a:cubicBezTo>
                <a:cubicBezTo>
                  <a:pt x="390" y="34"/>
                  <a:pt x="392" y="34"/>
                  <a:pt x="395" y="34"/>
                </a:cubicBezTo>
                <a:cubicBezTo>
                  <a:pt x="396" y="33"/>
                  <a:pt x="398" y="34"/>
                  <a:pt x="399" y="33"/>
                </a:cubicBezTo>
                <a:cubicBezTo>
                  <a:pt x="400" y="32"/>
                  <a:pt x="399" y="31"/>
                  <a:pt x="399" y="29"/>
                </a:cubicBezTo>
                <a:cubicBezTo>
                  <a:pt x="399" y="26"/>
                  <a:pt x="400" y="26"/>
                  <a:pt x="397" y="26"/>
                </a:cubicBezTo>
                <a:cubicBezTo>
                  <a:pt x="394" y="26"/>
                  <a:pt x="391" y="26"/>
                  <a:pt x="388" y="26"/>
                </a:cubicBezTo>
                <a:cubicBezTo>
                  <a:pt x="386" y="26"/>
                  <a:pt x="386" y="26"/>
                  <a:pt x="386" y="24"/>
                </a:cubicBezTo>
                <a:cubicBezTo>
                  <a:pt x="386" y="21"/>
                  <a:pt x="386" y="17"/>
                  <a:pt x="386" y="14"/>
                </a:cubicBezTo>
                <a:cubicBezTo>
                  <a:pt x="386" y="13"/>
                  <a:pt x="386" y="12"/>
                  <a:pt x="386" y="11"/>
                </a:cubicBezTo>
                <a:cubicBezTo>
                  <a:pt x="386" y="11"/>
                  <a:pt x="385" y="11"/>
                  <a:pt x="385" y="11"/>
                </a:cubicBezTo>
                <a:cubicBezTo>
                  <a:pt x="383" y="12"/>
                  <a:pt x="381" y="12"/>
                  <a:pt x="379" y="13"/>
                </a:cubicBezTo>
                <a:cubicBezTo>
                  <a:pt x="378" y="14"/>
                  <a:pt x="378" y="14"/>
                  <a:pt x="378" y="15"/>
                </a:cubicBezTo>
                <a:cubicBezTo>
                  <a:pt x="378" y="18"/>
                  <a:pt x="378" y="20"/>
                  <a:pt x="378" y="23"/>
                </a:cubicBezTo>
                <a:cubicBezTo>
                  <a:pt x="378" y="24"/>
                  <a:pt x="378" y="25"/>
                  <a:pt x="378" y="25"/>
                </a:cubicBezTo>
                <a:cubicBezTo>
                  <a:pt x="378" y="26"/>
                  <a:pt x="378" y="26"/>
                  <a:pt x="377" y="26"/>
                </a:cubicBezTo>
                <a:cubicBezTo>
                  <a:pt x="376" y="26"/>
                  <a:pt x="375" y="26"/>
                  <a:pt x="375" y="26"/>
                </a:cubicBezTo>
                <a:cubicBezTo>
                  <a:pt x="370" y="26"/>
                  <a:pt x="365" y="26"/>
                  <a:pt x="360" y="26"/>
                </a:cubicBezTo>
                <a:cubicBezTo>
                  <a:pt x="359" y="26"/>
                  <a:pt x="359" y="26"/>
                  <a:pt x="358" y="26"/>
                </a:cubicBezTo>
                <a:cubicBezTo>
                  <a:pt x="357" y="26"/>
                  <a:pt x="357" y="26"/>
                  <a:pt x="357" y="25"/>
                </a:cubicBezTo>
                <a:cubicBezTo>
                  <a:pt x="357" y="22"/>
                  <a:pt x="357" y="18"/>
                  <a:pt x="357" y="15"/>
                </a:cubicBezTo>
                <a:cubicBezTo>
                  <a:pt x="357" y="14"/>
                  <a:pt x="358" y="12"/>
                  <a:pt x="358" y="11"/>
                </a:cubicBezTo>
                <a:cubicBezTo>
                  <a:pt x="359" y="9"/>
                  <a:pt x="361" y="8"/>
                  <a:pt x="363" y="8"/>
                </a:cubicBezTo>
                <a:cubicBezTo>
                  <a:pt x="365" y="7"/>
                  <a:pt x="367" y="7"/>
                  <a:pt x="369" y="7"/>
                </a:cubicBezTo>
                <a:cubicBezTo>
                  <a:pt x="370" y="8"/>
                  <a:pt x="370" y="8"/>
                  <a:pt x="371" y="8"/>
                </a:cubicBezTo>
                <a:cubicBezTo>
                  <a:pt x="371" y="6"/>
                  <a:pt x="371" y="4"/>
                  <a:pt x="371" y="2"/>
                </a:cubicBezTo>
                <a:close/>
                <a:moveTo>
                  <a:pt x="655" y="33"/>
                </a:moveTo>
                <a:cubicBezTo>
                  <a:pt x="655" y="31"/>
                  <a:pt x="655" y="30"/>
                  <a:pt x="655" y="28"/>
                </a:cubicBezTo>
                <a:cubicBezTo>
                  <a:pt x="655" y="27"/>
                  <a:pt x="654" y="26"/>
                  <a:pt x="653" y="26"/>
                </a:cubicBezTo>
                <a:cubicBezTo>
                  <a:pt x="652" y="26"/>
                  <a:pt x="650" y="26"/>
                  <a:pt x="649" y="26"/>
                </a:cubicBezTo>
                <a:cubicBezTo>
                  <a:pt x="646" y="26"/>
                  <a:pt x="646" y="26"/>
                  <a:pt x="646" y="29"/>
                </a:cubicBezTo>
                <a:cubicBezTo>
                  <a:pt x="646" y="45"/>
                  <a:pt x="646" y="61"/>
                  <a:pt x="646" y="77"/>
                </a:cubicBezTo>
                <a:cubicBezTo>
                  <a:pt x="646" y="77"/>
                  <a:pt x="646" y="77"/>
                  <a:pt x="646" y="78"/>
                </a:cubicBezTo>
                <a:cubicBezTo>
                  <a:pt x="646" y="79"/>
                  <a:pt x="646" y="79"/>
                  <a:pt x="647" y="79"/>
                </a:cubicBezTo>
                <a:cubicBezTo>
                  <a:pt x="649" y="79"/>
                  <a:pt x="651" y="79"/>
                  <a:pt x="653" y="79"/>
                </a:cubicBezTo>
                <a:cubicBezTo>
                  <a:pt x="654" y="79"/>
                  <a:pt x="654" y="79"/>
                  <a:pt x="655" y="78"/>
                </a:cubicBezTo>
                <a:cubicBezTo>
                  <a:pt x="655" y="77"/>
                  <a:pt x="655" y="76"/>
                  <a:pt x="655" y="76"/>
                </a:cubicBezTo>
                <a:cubicBezTo>
                  <a:pt x="655" y="67"/>
                  <a:pt x="655" y="59"/>
                  <a:pt x="655" y="51"/>
                </a:cubicBezTo>
                <a:cubicBezTo>
                  <a:pt x="655" y="49"/>
                  <a:pt x="655" y="47"/>
                  <a:pt x="655" y="45"/>
                </a:cubicBezTo>
                <a:cubicBezTo>
                  <a:pt x="655" y="42"/>
                  <a:pt x="657" y="38"/>
                  <a:pt x="659" y="36"/>
                </a:cubicBezTo>
                <a:cubicBezTo>
                  <a:pt x="664" y="30"/>
                  <a:pt x="676" y="31"/>
                  <a:pt x="678" y="40"/>
                </a:cubicBezTo>
                <a:cubicBezTo>
                  <a:pt x="679" y="43"/>
                  <a:pt x="679" y="45"/>
                  <a:pt x="679" y="48"/>
                </a:cubicBezTo>
                <a:cubicBezTo>
                  <a:pt x="679" y="57"/>
                  <a:pt x="679" y="67"/>
                  <a:pt x="679" y="76"/>
                </a:cubicBezTo>
                <a:cubicBezTo>
                  <a:pt x="679" y="77"/>
                  <a:pt x="679" y="78"/>
                  <a:pt x="679" y="78"/>
                </a:cubicBezTo>
                <a:cubicBezTo>
                  <a:pt x="679" y="79"/>
                  <a:pt x="680" y="79"/>
                  <a:pt x="680" y="79"/>
                </a:cubicBezTo>
                <a:cubicBezTo>
                  <a:pt x="682" y="79"/>
                  <a:pt x="683" y="79"/>
                  <a:pt x="685" y="79"/>
                </a:cubicBezTo>
                <a:cubicBezTo>
                  <a:pt x="688" y="79"/>
                  <a:pt x="688" y="79"/>
                  <a:pt x="688" y="77"/>
                </a:cubicBezTo>
                <a:cubicBezTo>
                  <a:pt x="688" y="68"/>
                  <a:pt x="688" y="59"/>
                  <a:pt x="688" y="50"/>
                </a:cubicBezTo>
                <a:cubicBezTo>
                  <a:pt x="688" y="49"/>
                  <a:pt x="688" y="47"/>
                  <a:pt x="688" y="45"/>
                </a:cubicBezTo>
                <a:cubicBezTo>
                  <a:pt x="689" y="41"/>
                  <a:pt x="690" y="38"/>
                  <a:pt x="693" y="36"/>
                </a:cubicBezTo>
                <a:cubicBezTo>
                  <a:pt x="695" y="33"/>
                  <a:pt x="698" y="32"/>
                  <a:pt x="701" y="32"/>
                </a:cubicBezTo>
                <a:cubicBezTo>
                  <a:pt x="708" y="33"/>
                  <a:pt x="711" y="36"/>
                  <a:pt x="712" y="41"/>
                </a:cubicBezTo>
                <a:cubicBezTo>
                  <a:pt x="712" y="44"/>
                  <a:pt x="712" y="46"/>
                  <a:pt x="712" y="49"/>
                </a:cubicBezTo>
                <a:cubicBezTo>
                  <a:pt x="712" y="58"/>
                  <a:pt x="712" y="67"/>
                  <a:pt x="712" y="76"/>
                </a:cubicBezTo>
                <a:cubicBezTo>
                  <a:pt x="712" y="76"/>
                  <a:pt x="712" y="77"/>
                  <a:pt x="712" y="78"/>
                </a:cubicBezTo>
                <a:cubicBezTo>
                  <a:pt x="712" y="79"/>
                  <a:pt x="713" y="79"/>
                  <a:pt x="714" y="79"/>
                </a:cubicBezTo>
                <a:cubicBezTo>
                  <a:pt x="716" y="79"/>
                  <a:pt x="718" y="79"/>
                  <a:pt x="720" y="79"/>
                </a:cubicBezTo>
                <a:cubicBezTo>
                  <a:pt x="720" y="79"/>
                  <a:pt x="721" y="79"/>
                  <a:pt x="721" y="78"/>
                </a:cubicBezTo>
                <a:cubicBezTo>
                  <a:pt x="721" y="78"/>
                  <a:pt x="721" y="77"/>
                  <a:pt x="721" y="76"/>
                </a:cubicBezTo>
                <a:cubicBezTo>
                  <a:pt x="721" y="66"/>
                  <a:pt x="721" y="56"/>
                  <a:pt x="721" y="46"/>
                </a:cubicBezTo>
                <a:cubicBezTo>
                  <a:pt x="721" y="45"/>
                  <a:pt x="721" y="44"/>
                  <a:pt x="721" y="43"/>
                </a:cubicBezTo>
                <a:cubicBezTo>
                  <a:pt x="721" y="40"/>
                  <a:pt x="720" y="37"/>
                  <a:pt x="719" y="34"/>
                </a:cubicBezTo>
                <a:cubicBezTo>
                  <a:pt x="717" y="30"/>
                  <a:pt x="714" y="27"/>
                  <a:pt x="710" y="26"/>
                </a:cubicBezTo>
                <a:cubicBezTo>
                  <a:pt x="706" y="25"/>
                  <a:pt x="703" y="25"/>
                  <a:pt x="700" y="25"/>
                </a:cubicBezTo>
                <a:cubicBezTo>
                  <a:pt x="695" y="26"/>
                  <a:pt x="691" y="29"/>
                  <a:pt x="688" y="33"/>
                </a:cubicBezTo>
                <a:cubicBezTo>
                  <a:pt x="687" y="34"/>
                  <a:pt x="687" y="35"/>
                  <a:pt x="686" y="36"/>
                </a:cubicBezTo>
                <a:cubicBezTo>
                  <a:pt x="683" y="29"/>
                  <a:pt x="678" y="25"/>
                  <a:pt x="671" y="25"/>
                </a:cubicBezTo>
                <a:cubicBezTo>
                  <a:pt x="664" y="25"/>
                  <a:pt x="659" y="28"/>
                  <a:pt x="655" y="34"/>
                </a:cubicBezTo>
                <a:cubicBezTo>
                  <a:pt x="654" y="34"/>
                  <a:pt x="655" y="33"/>
                  <a:pt x="655" y="33"/>
                </a:cubicBezTo>
                <a:close/>
                <a:moveTo>
                  <a:pt x="1312" y="45"/>
                </a:moveTo>
                <a:cubicBezTo>
                  <a:pt x="1326" y="40"/>
                  <a:pt x="1328" y="27"/>
                  <a:pt x="1325" y="17"/>
                </a:cubicBezTo>
                <a:cubicBezTo>
                  <a:pt x="1323" y="12"/>
                  <a:pt x="1318" y="8"/>
                  <a:pt x="1313" y="7"/>
                </a:cubicBezTo>
                <a:cubicBezTo>
                  <a:pt x="1310" y="6"/>
                  <a:pt x="1306" y="5"/>
                  <a:pt x="1303" y="5"/>
                </a:cubicBezTo>
                <a:cubicBezTo>
                  <a:pt x="1296" y="5"/>
                  <a:pt x="1290" y="5"/>
                  <a:pt x="1284" y="5"/>
                </a:cubicBezTo>
                <a:cubicBezTo>
                  <a:pt x="1281" y="5"/>
                  <a:pt x="1282" y="5"/>
                  <a:pt x="1282" y="8"/>
                </a:cubicBezTo>
                <a:cubicBezTo>
                  <a:pt x="1282" y="29"/>
                  <a:pt x="1282" y="51"/>
                  <a:pt x="1282" y="72"/>
                </a:cubicBezTo>
                <a:cubicBezTo>
                  <a:pt x="1282" y="74"/>
                  <a:pt x="1281" y="77"/>
                  <a:pt x="1282" y="79"/>
                </a:cubicBezTo>
                <a:cubicBezTo>
                  <a:pt x="1284" y="79"/>
                  <a:pt x="1286" y="79"/>
                  <a:pt x="1289" y="79"/>
                </a:cubicBezTo>
                <a:cubicBezTo>
                  <a:pt x="1289" y="79"/>
                  <a:pt x="1289" y="79"/>
                  <a:pt x="1289" y="79"/>
                </a:cubicBezTo>
                <a:cubicBezTo>
                  <a:pt x="1290" y="79"/>
                  <a:pt x="1290" y="79"/>
                  <a:pt x="1290" y="78"/>
                </a:cubicBezTo>
                <a:cubicBezTo>
                  <a:pt x="1290" y="78"/>
                  <a:pt x="1290" y="77"/>
                  <a:pt x="1290" y="76"/>
                </a:cubicBezTo>
                <a:cubicBezTo>
                  <a:pt x="1290" y="68"/>
                  <a:pt x="1290" y="59"/>
                  <a:pt x="1290" y="51"/>
                </a:cubicBezTo>
                <a:cubicBezTo>
                  <a:pt x="1290" y="50"/>
                  <a:pt x="1290" y="49"/>
                  <a:pt x="1290" y="49"/>
                </a:cubicBezTo>
                <a:cubicBezTo>
                  <a:pt x="1290" y="48"/>
                  <a:pt x="1291" y="48"/>
                  <a:pt x="1291" y="48"/>
                </a:cubicBezTo>
                <a:cubicBezTo>
                  <a:pt x="1293" y="48"/>
                  <a:pt x="1295" y="48"/>
                  <a:pt x="1297" y="48"/>
                </a:cubicBezTo>
                <a:cubicBezTo>
                  <a:pt x="1301" y="48"/>
                  <a:pt x="1304" y="49"/>
                  <a:pt x="1306" y="52"/>
                </a:cubicBezTo>
                <a:cubicBezTo>
                  <a:pt x="1308" y="54"/>
                  <a:pt x="1309" y="56"/>
                  <a:pt x="1309" y="58"/>
                </a:cubicBezTo>
                <a:cubicBezTo>
                  <a:pt x="1312" y="64"/>
                  <a:pt x="1315" y="70"/>
                  <a:pt x="1318" y="77"/>
                </a:cubicBezTo>
                <a:cubicBezTo>
                  <a:pt x="1318" y="77"/>
                  <a:pt x="1318" y="78"/>
                  <a:pt x="1318" y="78"/>
                </a:cubicBezTo>
                <a:cubicBezTo>
                  <a:pt x="1319" y="79"/>
                  <a:pt x="1319" y="79"/>
                  <a:pt x="1319" y="79"/>
                </a:cubicBezTo>
                <a:cubicBezTo>
                  <a:pt x="1322" y="79"/>
                  <a:pt x="1325" y="79"/>
                  <a:pt x="1328" y="79"/>
                </a:cubicBezTo>
                <a:cubicBezTo>
                  <a:pt x="1329" y="79"/>
                  <a:pt x="1329" y="79"/>
                  <a:pt x="1329" y="78"/>
                </a:cubicBezTo>
                <a:cubicBezTo>
                  <a:pt x="1328" y="78"/>
                  <a:pt x="1328" y="77"/>
                  <a:pt x="1328" y="76"/>
                </a:cubicBezTo>
                <a:cubicBezTo>
                  <a:pt x="1324" y="69"/>
                  <a:pt x="1321" y="62"/>
                  <a:pt x="1318" y="55"/>
                </a:cubicBezTo>
                <a:cubicBezTo>
                  <a:pt x="1317" y="54"/>
                  <a:pt x="1317" y="53"/>
                  <a:pt x="1316" y="52"/>
                </a:cubicBezTo>
                <a:cubicBezTo>
                  <a:pt x="1315" y="50"/>
                  <a:pt x="1313" y="47"/>
                  <a:pt x="1310" y="46"/>
                </a:cubicBezTo>
                <a:cubicBezTo>
                  <a:pt x="1311" y="45"/>
                  <a:pt x="1311" y="45"/>
                  <a:pt x="1312" y="45"/>
                </a:cubicBezTo>
                <a:close/>
                <a:moveTo>
                  <a:pt x="1111" y="49"/>
                </a:moveTo>
                <a:cubicBezTo>
                  <a:pt x="1111" y="53"/>
                  <a:pt x="1112" y="58"/>
                  <a:pt x="1113" y="62"/>
                </a:cubicBezTo>
                <a:cubicBezTo>
                  <a:pt x="1114" y="66"/>
                  <a:pt x="1116" y="70"/>
                  <a:pt x="1119" y="74"/>
                </a:cubicBezTo>
                <a:cubicBezTo>
                  <a:pt x="1121" y="77"/>
                  <a:pt x="1124" y="79"/>
                  <a:pt x="1128" y="80"/>
                </a:cubicBezTo>
                <a:cubicBezTo>
                  <a:pt x="1132" y="81"/>
                  <a:pt x="1136" y="81"/>
                  <a:pt x="1141" y="79"/>
                </a:cubicBezTo>
                <a:cubicBezTo>
                  <a:pt x="1145" y="78"/>
                  <a:pt x="1149" y="75"/>
                  <a:pt x="1152" y="71"/>
                </a:cubicBezTo>
                <a:cubicBezTo>
                  <a:pt x="1154" y="67"/>
                  <a:pt x="1156" y="63"/>
                  <a:pt x="1157" y="58"/>
                </a:cubicBezTo>
                <a:cubicBezTo>
                  <a:pt x="1159" y="51"/>
                  <a:pt x="1159" y="43"/>
                  <a:pt x="1158" y="36"/>
                </a:cubicBezTo>
                <a:cubicBezTo>
                  <a:pt x="1158" y="31"/>
                  <a:pt x="1158" y="27"/>
                  <a:pt x="1157" y="22"/>
                </a:cubicBezTo>
                <a:cubicBezTo>
                  <a:pt x="1155" y="19"/>
                  <a:pt x="1154" y="15"/>
                  <a:pt x="1152" y="12"/>
                </a:cubicBezTo>
                <a:cubicBezTo>
                  <a:pt x="1149" y="8"/>
                  <a:pt x="1145" y="6"/>
                  <a:pt x="1141" y="5"/>
                </a:cubicBezTo>
                <a:cubicBezTo>
                  <a:pt x="1137" y="4"/>
                  <a:pt x="1133" y="4"/>
                  <a:pt x="1130" y="5"/>
                </a:cubicBezTo>
                <a:cubicBezTo>
                  <a:pt x="1124" y="6"/>
                  <a:pt x="1120" y="9"/>
                  <a:pt x="1117" y="14"/>
                </a:cubicBezTo>
                <a:cubicBezTo>
                  <a:pt x="1115" y="17"/>
                  <a:pt x="1114" y="20"/>
                  <a:pt x="1113" y="24"/>
                </a:cubicBezTo>
                <a:cubicBezTo>
                  <a:pt x="1111" y="30"/>
                  <a:pt x="1111" y="37"/>
                  <a:pt x="1111" y="43"/>
                </a:cubicBezTo>
                <a:cubicBezTo>
                  <a:pt x="1111" y="45"/>
                  <a:pt x="1111" y="47"/>
                  <a:pt x="1111" y="49"/>
                </a:cubicBezTo>
                <a:close/>
                <a:moveTo>
                  <a:pt x="55" y="174"/>
                </a:moveTo>
                <a:cubicBezTo>
                  <a:pt x="49" y="177"/>
                  <a:pt x="43" y="178"/>
                  <a:pt x="37" y="178"/>
                </a:cubicBezTo>
                <a:cubicBezTo>
                  <a:pt x="35" y="178"/>
                  <a:pt x="33" y="178"/>
                  <a:pt x="31" y="177"/>
                </a:cubicBezTo>
                <a:cubicBezTo>
                  <a:pt x="22" y="175"/>
                  <a:pt x="16" y="170"/>
                  <a:pt x="12" y="162"/>
                </a:cubicBezTo>
                <a:cubicBezTo>
                  <a:pt x="9" y="152"/>
                  <a:pt x="9" y="142"/>
                  <a:pt x="13" y="133"/>
                </a:cubicBezTo>
                <a:cubicBezTo>
                  <a:pt x="16" y="125"/>
                  <a:pt x="22" y="120"/>
                  <a:pt x="30" y="118"/>
                </a:cubicBezTo>
                <a:cubicBezTo>
                  <a:pt x="35" y="117"/>
                  <a:pt x="40" y="117"/>
                  <a:pt x="45" y="118"/>
                </a:cubicBezTo>
                <a:cubicBezTo>
                  <a:pt x="48" y="118"/>
                  <a:pt x="52" y="119"/>
                  <a:pt x="55" y="121"/>
                </a:cubicBezTo>
                <a:cubicBezTo>
                  <a:pt x="55" y="121"/>
                  <a:pt x="56" y="121"/>
                  <a:pt x="56" y="120"/>
                </a:cubicBezTo>
                <a:cubicBezTo>
                  <a:pt x="56" y="118"/>
                  <a:pt x="56" y="116"/>
                  <a:pt x="56" y="114"/>
                </a:cubicBezTo>
                <a:cubicBezTo>
                  <a:pt x="56" y="113"/>
                  <a:pt x="56" y="112"/>
                  <a:pt x="55" y="112"/>
                </a:cubicBezTo>
                <a:cubicBezTo>
                  <a:pt x="54" y="112"/>
                  <a:pt x="52" y="111"/>
                  <a:pt x="51" y="111"/>
                </a:cubicBezTo>
                <a:cubicBezTo>
                  <a:pt x="45" y="109"/>
                  <a:pt x="39" y="109"/>
                  <a:pt x="33" y="110"/>
                </a:cubicBezTo>
                <a:cubicBezTo>
                  <a:pt x="20" y="111"/>
                  <a:pt x="11" y="118"/>
                  <a:pt x="5" y="129"/>
                </a:cubicBezTo>
                <a:cubicBezTo>
                  <a:pt x="3" y="134"/>
                  <a:pt x="2" y="138"/>
                  <a:pt x="1" y="143"/>
                </a:cubicBezTo>
                <a:cubicBezTo>
                  <a:pt x="0" y="150"/>
                  <a:pt x="1" y="157"/>
                  <a:pt x="3" y="164"/>
                </a:cubicBezTo>
                <a:cubicBezTo>
                  <a:pt x="7" y="175"/>
                  <a:pt x="15" y="182"/>
                  <a:pt x="27" y="185"/>
                </a:cubicBezTo>
                <a:cubicBezTo>
                  <a:pt x="34" y="186"/>
                  <a:pt x="41" y="186"/>
                  <a:pt x="48" y="184"/>
                </a:cubicBezTo>
                <a:cubicBezTo>
                  <a:pt x="50" y="184"/>
                  <a:pt x="53" y="183"/>
                  <a:pt x="55" y="182"/>
                </a:cubicBezTo>
                <a:cubicBezTo>
                  <a:pt x="55" y="182"/>
                  <a:pt x="56" y="181"/>
                  <a:pt x="56" y="180"/>
                </a:cubicBezTo>
                <a:cubicBezTo>
                  <a:pt x="56" y="178"/>
                  <a:pt x="56" y="176"/>
                  <a:pt x="56" y="173"/>
                </a:cubicBezTo>
                <a:cubicBezTo>
                  <a:pt x="55" y="173"/>
                  <a:pt x="55" y="173"/>
                  <a:pt x="55" y="174"/>
                </a:cubicBezTo>
                <a:close/>
                <a:moveTo>
                  <a:pt x="806" y="68"/>
                </a:moveTo>
                <a:cubicBezTo>
                  <a:pt x="805" y="68"/>
                  <a:pt x="805" y="68"/>
                  <a:pt x="805" y="68"/>
                </a:cubicBezTo>
                <a:cubicBezTo>
                  <a:pt x="800" y="71"/>
                  <a:pt x="795" y="72"/>
                  <a:pt x="789" y="72"/>
                </a:cubicBezTo>
                <a:cubicBezTo>
                  <a:pt x="785" y="73"/>
                  <a:pt x="782" y="72"/>
                  <a:pt x="778" y="71"/>
                </a:cubicBezTo>
                <a:cubicBezTo>
                  <a:pt x="770" y="69"/>
                  <a:pt x="765" y="63"/>
                  <a:pt x="762" y="55"/>
                </a:cubicBezTo>
                <a:cubicBezTo>
                  <a:pt x="760" y="50"/>
                  <a:pt x="760" y="45"/>
                  <a:pt x="760" y="40"/>
                </a:cubicBezTo>
                <a:cubicBezTo>
                  <a:pt x="760" y="35"/>
                  <a:pt x="761" y="31"/>
                  <a:pt x="763" y="27"/>
                </a:cubicBezTo>
                <a:cubicBezTo>
                  <a:pt x="768" y="18"/>
                  <a:pt x="776" y="13"/>
                  <a:pt x="786" y="12"/>
                </a:cubicBezTo>
                <a:cubicBezTo>
                  <a:pt x="792" y="12"/>
                  <a:pt x="798" y="13"/>
                  <a:pt x="804" y="15"/>
                </a:cubicBezTo>
                <a:cubicBezTo>
                  <a:pt x="805" y="16"/>
                  <a:pt x="805" y="16"/>
                  <a:pt x="806" y="16"/>
                </a:cubicBezTo>
                <a:cubicBezTo>
                  <a:pt x="806" y="16"/>
                  <a:pt x="806" y="16"/>
                  <a:pt x="806" y="16"/>
                </a:cubicBezTo>
                <a:cubicBezTo>
                  <a:pt x="806" y="14"/>
                  <a:pt x="806" y="12"/>
                  <a:pt x="806" y="10"/>
                </a:cubicBezTo>
                <a:cubicBezTo>
                  <a:pt x="806" y="7"/>
                  <a:pt x="807" y="7"/>
                  <a:pt x="803" y="6"/>
                </a:cubicBezTo>
                <a:cubicBezTo>
                  <a:pt x="797" y="4"/>
                  <a:pt x="791" y="4"/>
                  <a:pt x="784" y="4"/>
                </a:cubicBezTo>
                <a:cubicBezTo>
                  <a:pt x="770" y="6"/>
                  <a:pt x="760" y="13"/>
                  <a:pt x="754" y="26"/>
                </a:cubicBezTo>
                <a:cubicBezTo>
                  <a:pt x="750" y="37"/>
                  <a:pt x="750" y="47"/>
                  <a:pt x="753" y="58"/>
                </a:cubicBezTo>
                <a:cubicBezTo>
                  <a:pt x="756" y="67"/>
                  <a:pt x="762" y="73"/>
                  <a:pt x="770" y="77"/>
                </a:cubicBezTo>
                <a:cubicBezTo>
                  <a:pt x="774" y="79"/>
                  <a:pt x="779" y="80"/>
                  <a:pt x="783" y="80"/>
                </a:cubicBezTo>
                <a:cubicBezTo>
                  <a:pt x="787" y="80"/>
                  <a:pt x="791" y="80"/>
                  <a:pt x="794" y="80"/>
                </a:cubicBezTo>
                <a:cubicBezTo>
                  <a:pt x="798" y="79"/>
                  <a:pt x="801" y="78"/>
                  <a:pt x="805" y="77"/>
                </a:cubicBezTo>
                <a:cubicBezTo>
                  <a:pt x="806" y="76"/>
                  <a:pt x="806" y="76"/>
                  <a:pt x="806" y="75"/>
                </a:cubicBezTo>
                <a:cubicBezTo>
                  <a:pt x="806" y="73"/>
                  <a:pt x="806" y="70"/>
                  <a:pt x="806" y="68"/>
                </a:cubicBezTo>
                <a:cubicBezTo>
                  <a:pt x="806" y="68"/>
                  <a:pt x="806" y="68"/>
                  <a:pt x="806" y="68"/>
                </a:cubicBezTo>
                <a:close/>
                <a:moveTo>
                  <a:pt x="631" y="69"/>
                </a:moveTo>
                <a:cubicBezTo>
                  <a:pt x="625" y="73"/>
                  <a:pt x="619" y="74"/>
                  <a:pt x="613" y="73"/>
                </a:cubicBezTo>
                <a:cubicBezTo>
                  <a:pt x="609" y="72"/>
                  <a:pt x="606" y="70"/>
                  <a:pt x="604" y="67"/>
                </a:cubicBezTo>
                <a:cubicBezTo>
                  <a:pt x="601" y="64"/>
                  <a:pt x="600" y="60"/>
                  <a:pt x="600" y="56"/>
                </a:cubicBezTo>
                <a:cubicBezTo>
                  <a:pt x="600" y="55"/>
                  <a:pt x="600" y="55"/>
                  <a:pt x="601" y="55"/>
                </a:cubicBezTo>
                <a:cubicBezTo>
                  <a:pt x="602" y="55"/>
                  <a:pt x="602" y="55"/>
                  <a:pt x="603" y="55"/>
                </a:cubicBezTo>
                <a:cubicBezTo>
                  <a:pt x="613" y="55"/>
                  <a:pt x="624" y="55"/>
                  <a:pt x="634" y="55"/>
                </a:cubicBezTo>
                <a:cubicBezTo>
                  <a:pt x="635" y="55"/>
                  <a:pt x="635" y="55"/>
                  <a:pt x="636" y="55"/>
                </a:cubicBezTo>
                <a:cubicBezTo>
                  <a:pt x="637" y="55"/>
                  <a:pt x="637" y="55"/>
                  <a:pt x="637" y="54"/>
                </a:cubicBezTo>
                <a:cubicBezTo>
                  <a:pt x="637" y="50"/>
                  <a:pt x="637" y="47"/>
                  <a:pt x="637" y="44"/>
                </a:cubicBezTo>
                <a:cubicBezTo>
                  <a:pt x="636" y="42"/>
                  <a:pt x="636" y="39"/>
                  <a:pt x="635" y="37"/>
                </a:cubicBezTo>
                <a:cubicBezTo>
                  <a:pt x="632" y="32"/>
                  <a:pt x="629" y="28"/>
                  <a:pt x="624" y="26"/>
                </a:cubicBezTo>
                <a:cubicBezTo>
                  <a:pt x="621" y="25"/>
                  <a:pt x="618" y="25"/>
                  <a:pt x="615" y="25"/>
                </a:cubicBezTo>
                <a:cubicBezTo>
                  <a:pt x="607" y="25"/>
                  <a:pt x="601" y="29"/>
                  <a:pt x="596" y="35"/>
                </a:cubicBezTo>
                <a:cubicBezTo>
                  <a:pt x="594" y="38"/>
                  <a:pt x="593" y="42"/>
                  <a:pt x="592" y="45"/>
                </a:cubicBezTo>
                <a:cubicBezTo>
                  <a:pt x="591" y="49"/>
                  <a:pt x="591" y="53"/>
                  <a:pt x="591" y="58"/>
                </a:cubicBezTo>
                <a:cubicBezTo>
                  <a:pt x="592" y="61"/>
                  <a:pt x="592" y="64"/>
                  <a:pt x="594" y="67"/>
                </a:cubicBezTo>
                <a:cubicBezTo>
                  <a:pt x="597" y="74"/>
                  <a:pt x="602" y="79"/>
                  <a:pt x="610" y="80"/>
                </a:cubicBezTo>
                <a:cubicBezTo>
                  <a:pt x="615" y="81"/>
                  <a:pt x="619" y="80"/>
                  <a:pt x="623" y="80"/>
                </a:cubicBezTo>
                <a:cubicBezTo>
                  <a:pt x="627" y="79"/>
                  <a:pt x="630" y="78"/>
                  <a:pt x="632" y="76"/>
                </a:cubicBezTo>
                <a:cubicBezTo>
                  <a:pt x="633" y="76"/>
                  <a:pt x="634" y="75"/>
                  <a:pt x="633" y="74"/>
                </a:cubicBezTo>
                <a:cubicBezTo>
                  <a:pt x="633" y="72"/>
                  <a:pt x="633" y="70"/>
                  <a:pt x="633" y="68"/>
                </a:cubicBezTo>
                <a:cubicBezTo>
                  <a:pt x="632" y="68"/>
                  <a:pt x="632" y="69"/>
                  <a:pt x="631" y="69"/>
                </a:cubicBezTo>
                <a:close/>
                <a:moveTo>
                  <a:pt x="426" y="75"/>
                </a:moveTo>
                <a:cubicBezTo>
                  <a:pt x="426" y="76"/>
                  <a:pt x="427" y="77"/>
                  <a:pt x="428" y="77"/>
                </a:cubicBezTo>
                <a:cubicBezTo>
                  <a:pt x="429" y="77"/>
                  <a:pt x="430" y="78"/>
                  <a:pt x="431" y="78"/>
                </a:cubicBezTo>
                <a:cubicBezTo>
                  <a:pt x="433" y="79"/>
                  <a:pt x="436" y="80"/>
                  <a:pt x="439" y="80"/>
                </a:cubicBezTo>
                <a:cubicBezTo>
                  <a:pt x="445" y="81"/>
                  <a:pt x="450" y="80"/>
                  <a:pt x="456" y="78"/>
                </a:cubicBezTo>
                <a:cubicBezTo>
                  <a:pt x="462" y="75"/>
                  <a:pt x="466" y="70"/>
                  <a:pt x="467" y="63"/>
                </a:cubicBezTo>
                <a:cubicBezTo>
                  <a:pt x="468" y="57"/>
                  <a:pt x="466" y="53"/>
                  <a:pt x="463" y="48"/>
                </a:cubicBezTo>
                <a:cubicBezTo>
                  <a:pt x="461" y="47"/>
                  <a:pt x="460" y="46"/>
                  <a:pt x="459" y="45"/>
                </a:cubicBezTo>
                <a:cubicBezTo>
                  <a:pt x="456" y="43"/>
                  <a:pt x="453" y="41"/>
                  <a:pt x="450" y="39"/>
                </a:cubicBezTo>
                <a:cubicBezTo>
                  <a:pt x="448" y="38"/>
                  <a:pt x="445" y="36"/>
                  <a:pt x="443" y="35"/>
                </a:cubicBezTo>
                <a:cubicBezTo>
                  <a:pt x="441" y="34"/>
                  <a:pt x="440" y="33"/>
                  <a:pt x="438" y="31"/>
                </a:cubicBezTo>
                <a:cubicBezTo>
                  <a:pt x="437" y="30"/>
                  <a:pt x="437" y="29"/>
                  <a:pt x="436" y="28"/>
                </a:cubicBezTo>
                <a:cubicBezTo>
                  <a:pt x="434" y="21"/>
                  <a:pt x="436" y="15"/>
                  <a:pt x="443" y="13"/>
                </a:cubicBezTo>
                <a:cubicBezTo>
                  <a:pt x="444" y="13"/>
                  <a:pt x="445" y="12"/>
                  <a:pt x="446" y="12"/>
                </a:cubicBezTo>
                <a:cubicBezTo>
                  <a:pt x="452" y="12"/>
                  <a:pt x="457" y="12"/>
                  <a:pt x="463" y="15"/>
                </a:cubicBezTo>
                <a:cubicBezTo>
                  <a:pt x="463" y="16"/>
                  <a:pt x="463" y="16"/>
                  <a:pt x="464" y="16"/>
                </a:cubicBezTo>
                <a:cubicBezTo>
                  <a:pt x="464" y="14"/>
                  <a:pt x="464" y="12"/>
                  <a:pt x="464" y="10"/>
                </a:cubicBezTo>
                <a:cubicBezTo>
                  <a:pt x="464" y="6"/>
                  <a:pt x="464" y="6"/>
                  <a:pt x="461" y="5"/>
                </a:cubicBezTo>
                <a:cubicBezTo>
                  <a:pt x="460" y="5"/>
                  <a:pt x="460" y="5"/>
                  <a:pt x="459" y="5"/>
                </a:cubicBezTo>
                <a:cubicBezTo>
                  <a:pt x="454" y="4"/>
                  <a:pt x="449" y="4"/>
                  <a:pt x="444" y="5"/>
                </a:cubicBezTo>
                <a:cubicBezTo>
                  <a:pt x="440" y="5"/>
                  <a:pt x="436" y="7"/>
                  <a:pt x="433" y="10"/>
                </a:cubicBezTo>
                <a:cubicBezTo>
                  <a:pt x="430" y="12"/>
                  <a:pt x="428" y="16"/>
                  <a:pt x="427" y="19"/>
                </a:cubicBezTo>
                <a:cubicBezTo>
                  <a:pt x="426" y="21"/>
                  <a:pt x="426" y="24"/>
                  <a:pt x="426" y="26"/>
                </a:cubicBezTo>
                <a:cubicBezTo>
                  <a:pt x="427" y="30"/>
                  <a:pt x="428" y="34"/>
                  <a:pt x="431" y="37"/>
                </a:cubicBezTo>
                <a:cubicBezTo>
                  <a:pt x="433" y="38"/>
                  <a:pt x="434" y="39"/>
                  <a:pt x="436" y="40"/>
                </a:cubicBezTo>
                <a:cubicBezTo>
                  <a:pt x="438" y="42"/>
                  <a:pt x="441" y="44"/>
                  <a:pt x="443" y="45"/>
                </a:cubicBezTo>
                <a:cubicBezTo>
                  <a:pt x="446" y="47"/>
                  <a:pt x="450" y="49"/>
                  <a:pt x="453" y="51"/>
                </a:cubicBezTo>
                <a:cubicBezTo>
                  <a:pt x="454" y="52"/>
                  <a:pt x="455" y="54"/>
                  <a:pt x="456" y="55"/>
                </a:cubicBezTo>
                <a:cubicBezTo>
                  <a:pt x="461" y="62"/>
                  <a:pt x="457" y="70"/>
                  <a:pt x="449" y="72"/>
                </a:cubicBezTo>
                <a:cubicBezTo>
                  <a:pt x="449" y="72"/>
                  <a:pt x="449" y="72"/>
                  <a:pt x="449" y="72"/>
                </a:cubicBezTo>
                <a:cubicBezTo>
                  <a:pt x="445" y="73"/>
                  <a:pt x="441" y="73"/>
                  <a:pt x="436" y="71"/>
                </a:cubicBezTo>
                <a:cubicBezTo>
                  <a:pt x="433" y="70"/>
                  <a:pt x="430" y="69"/>
                  <a:pt x="426" y="66"/>
                </a:cubicBezTo>
                <a:cubicBezTo>
                  <a:pt x="426" y="69"/>
                  <a:pt x="426" y="72"/>
                  <a:pt x="426" y="75"/>
                </a:cubicBezTo>
                <a:close/>
                <a:moveTo>
                  <a:pt x="854" y="68"/>
                </a:moveTo>
                <a:cubicBezTo>
                  <a:pt x="853" y="68"/>
                  <a:pt x="853" y="69"/>
                  <a:pt x="852" y="69"/>
                </a:cubicBezTo>
                <a:cubicBezTo>
                  <a:pt x="846" y="73"/>
                  <a:pt x="840" y="74"/>
                  <a:pt x="834" y="73"/>
                </a:cubicBezTo>
                <a:cubicBezTo>
                  <a:pt x="830" y="72"/>
                  <a:pt x="826" y="70"/>
                  <a:pt x="824" y="66"/>
                </a:cubicBezTo>
                <a:cubicBezTo>
                  <a:pt x="822" y="63"/>
                  <a:pt x="821" y="59"/>
                  <a:pt x="821" y="56"/>
                </a:cubicBezTo>
                <a:cubicBezTo>
                  <a:pt x="821" y="55"/>
                  <a:pt x="822" y="55"/>
                  <a:pt x="822" y="55"/>
                </a:cubicBezTo>
                <a:cubicBezTo>
                  <a:pt x="823" y="55"/>
                  <a:pt x="824" y="55"/>
                  <a:pt x="824" y="55"/>
                </a:cubicBezTo>
                <a:cubicBezTo>
                  <a:pt x="835" y="55"/>
                  <a:pt x="845" y="55"/>
                  <a:pt x="855" y="55"/>
                </a:cubicBezTo>
                <a:cubicBezTo>
                  <a:pt x="856" y="55"/>
                  <a:pt x="857" y="55"/>
                  <a:pt x="857" y="55"/>
                </a:cubicBezTo>
                <a:cubicBezTo>
                  <a:pt x="858" y="55"/>
                  <a:pt x="858" y="55"/>
                  <a:pt x="858" y="54"/>
                </a:cubicBezTo>
                <a:cubicBezTo>
                  <a:pt x="858" y="52"/>
                  <a:pt x="858" y="49"/>
                  <a:pt x="858" y="47"/>
                </a:cubicBezTo>
                <a:cubicBezTo>
                  <a:pt x="858" y="44"/>
                  <a:pt x="857" y="40"/>
                  <a:pt x="856" y="36"/>
                </a:cubicBezTo>
                <a:cubicBezTo>
                  <a:pt x="853" y="31"/>
                  <a:pt x="849" y="28"/>
                  <a:pt x="843" y="26"/>
                </a:cubicBezTo>
                <a:cubicBezTo>
                  <a:pt x="841" y="25"/>
                  <a:pt x="839" y="25"/>
                  <a:pt x="836" y="25"/>
                </a:cubicBezTo>
                <a:cubicBezTo>
                  <a:pt x="829" y="25"/>
                  <a:pt x="823" y="28"/>
                  <a:pt x="818" y="34"/>
                </a:cubicBezTo>
                <a:cubicBezTo>
                  <a:pt x="816" y="37"/>
                  <a:pt x="815" y="39"/>
                  <a:pt x="814" y="42"/>
                </a:cubicBezTo>
                <a:cubicBezTo>
                  <a:pt x="812" y="48"/>
                  <a:pt x="812" y="53"/>
                  <a:pt x="813" y="59"/>
                </a:cubicBezTo>
                <a:cubicBezTo>
                  <a:pt x="813" y="62"/>
                  <a:pt x="814" y="65"/>
                  <a:pt x="815" y="68"/>
                </a:cubicBezTo>
                <a:cubicBezTo>
                  <a:pt x="819" y="74"/>
                  <a:pt x="824" y="79"/>
                  <a:pt x="831" y="80"/>
                </a:cubicBezTo>
                <a:cubicBezTo>
                  <a:pt x="837" y="81"/>
                  <a:pt x="843" y="80"/>
                  <a:pt x="848" y="79"/>
                </a:cubicBezTo>
                <a:cubicBezTo>
                  <a:pt x="850" y="78"/>
                  <a:pt x="852" y="77"/>
                  <a:pt x="854" y="76"/>
                </a:cubicBezTo>
                <a:cubicBezTo>
                  <a:pt x="854" y="76"/>
                  <a:pt x="855" y="75"/>
                  <a:pt x="855" y="74"/>
                </a:cubicBezTo>
                <a:cubicBezTo>
                  <a:pt x="855" y="72"/>
                  <a:pt x="855" y="70"/>
                  <a:pt x="855" y="68"/>
                </a:cubicBezTo>
                <a:cubicBezTo>
                  <a:pt x="854" y="68"/>
                  <a:pt x="854" y="68"/>
                  <a:pt x="854" y="68"/>
                </a:cubicBezTo>
                <a:close/>
                <a:moveTo>
                  <a:pt x="960" y="175"/>
                </a:moveTo>
                <a:cubicBezTo>
                  <a:pt x="955" y="177"/>
                  <a:pt x="951" y="179"/>
                  <a:pt x="946" y="178"/>
                </a:cubicBezTo>
                <a:cubicBezTo>
                  <a:pt x="936" y="178"/>
                  <a:pt x="932" y="173"/>
                  <a:pt x="930" y="166"/>
                </a:cubicBezTo>
                <a:cubicBezTo>
                  <a:pt x="929" y="165"/>
                  <a:pt x="929" y="163"/>
                  <a:pt x="929" y="161"/>
                </a:cubicBezTo>
                <a:cubicBezTo>
                  <a:pt x="929" y="161"/>
                  <a:pt x="929" y="160"/>
                  <a:pt x="930" y="160"/>
                </a:cubicBezTo>
                <a:cubicBezTo>
                  <a:pt x="930" y="160"/>
                  <a:pt x="931" y="160"/>
                  <a:pt x="932" y="160"/>
                </a:cubicBezTo>
                <a:cubicBezTo>
                  <a:pt x="942" y="160"/>
                  <a:pt x="952" y="160"/>
                  <a:pt x="963" y="160"/>
                </a:cubicBezTo>
                <a:cubicBezTo>
                  <a:pt x="963" y="160"/>
                  <a:pt x="964" y="160"/>
                  <a:pt x="965" y="160"/>
                </a:cubicBezTo>
                <a:cubicBezTo>
                  <a:pt x="966" y="160"/>
                  <a:pt x="966" y="160"/>
                  <a:pt x="966" y="159"/>
                </a:cubicBezTo>
                <a:cubicBezTo>
                  <a:pt x="966" y="157"/>
                  <a:pt x="966" y="154"/>
                  <a:pt x="966" y="152"/>
                </a:cubicBezTo>
                <a:cubicBezTo>
                  <a:pt x="966" y="148"/>
                  <a:pt x="965" y="144"/>
                  <a:pt x="963" y="141"/>
                </a:cubicBezTo>
                <a:cubicBezTo>
                  <a:pt x="960" y="136"/>
                  <a:pt x="956" y="132"/>
                  <a:pt x="950" y="131"/>
                </a:cubicBezTo>
                <a:cubicBezTo>
                  <a:pt x="948" y="131"/>
                  <a:pt x="946" y="130"/>
                  <a:pt x="944" y="130"/>
                </a:cubicBezTo>
                <a:cubicBezTo>
                  <a:pt x="937" y="131"/>
                  <a:pt x="931" y="134"/>
                  <a:pt x="926" y="139"/>
                </a:cubicBezTo>
                <a:cubicBezTo>
                  <a:pt x="924" y="142"/>
                  <a:pt x="923" y="144"/>
                  <a:pt x="922" y="148"/>
                </a:cubicBezTo>
                <a:cubicBezTo>
                  <a:pt x="920" y="153"/>
                  <a:pt x="920" y="158"/>
                  <a:pt x="920" y="164"/>
                </a:cubicBezTo>
                <a:cubicBezTo>
                  <a:pt x="921" y="167"/>
                  <a:pt x="922" y="171"/>
                  <a:pt x="923" y="174"/>
                </a:cubicBezTo>
                <a:cubicBezTo>
                  <a:pt x="927" y="180"/>
                  <a:pt x="931" y="184"/>
                  <a:pt x="938" y="185"/>
                </a:cubicBezTo>
                <a:cubicBezTo>
                  <a:pt x="944" y="186"/>
                  <a:pt x="951" y="186"/>
                  <a:pt x="957" y="183"/>
                </a:cubicBezTo>
                <a:cubicBezTo>
                  <a:pt x="959" y="183"/>
                  <a:pt x="960" y="182"/>
                  <a:pt x="962" y="181"/>
                </a:cubicBezTo>
                <a:cubicBezTo>
                  <a:pt x="962" y="181"/>
                  <a:pt x="962" y="181"/>
                  <a:pt x="962" y="180"/>
                </a:cubicBezTo>
                <a:cubicBezTo>
                  <a:pt x="962" y="178"/>
                  <a:pt x="962" y="176"/>
                  <a:pt x="962" y="173"/>
                </a:cubicBezTo>
                <a:cubicBezTo>
                  <a:pt x="961" y="174"/>
                  <a:pt x="960" y="174"/>
                  <a:pt x="960" y="175"/>
                </a:cubicBezTo>
                <a:close/>
                <a:moveTo>
                  <a:pt x="992" y="69"/>
                </a:moveTo>
                <a:cubicBezTo>
                  <a:pt x="992" y="69"/>
                  <a:pt x="992" y="69"/>
                  <a:pt x="991" y="69"/>
                </a:cubicBezTo>
                <a:cubicBezTo>
                  <a:pt x="986" y="73"/>
                  <a:pt x="980" y="74"/>
                  <a:pt x="974" y="73"/>
                </a:cubicBezTo>
                <a:cubicBezTo>
                  <a:pt x="968" y="72"/>
                  <a:pt x="964" y="69"/>
                  <a:pt x="962" y="64"/>
                </a:cubicBezTo>
                <a:cubicBezTo>
                  <a:pt x="961" y="62"/>
                  <a:pt x="961" y="60"/>
                  <a:pt x="961" y="57"/>
                </a:cubicBezTo>
                <a:cubicBezTo>
                  <a:pt x="961" y="55"/>
                  <a:pt x="960" y="55"/>
                  <a:pt x="963" y="55"/>
                </a:cubicBezTo>
                <a:cubicBezTo>
                  <a:pt x="974" y="55"/>
                  <a:pt x="984" y="55"/>
                  <a:pt x="994" y="55"/>
                </a:cubicBezTo>
                <a:cubicBezTo>
                  <a:pt x="995" y="55"/>
                  <a:pt x="996" y="55"/>
                  <a:pt x="997" y="55"/>
                </a:cubicBezTo>
                <a:cubicBezTo>
                  <a:pt x="998" y="55"/>
                  <a:pt x="998" y="55"/>
                  <a:pt x="998" y="54"/>
                </a:cubicBezTo>
                <a:cubicBezTo>
                  <a:pt x="998" y="51"/>
                  <a:pt x="998" y="48"/>
                  <a:pt x="998" y="46"/>
                </a:cubicBezTo>
                <a:cubicBezTo>
                  <a:pt x="997" y="42"/>
                  <a:pt x="996" y="38"/>
                  <a:pt x="994" y="35"/>
                </a:cubicBezTo>
                <a:cubicBezTo>
                  <a:pt x="992" y="31"/>
                  <a:pt x="989" y="28"/>
                  <a:pt x="985" y="27"/>
                </a:cubicBezTo>
                <a:cubicBezTo>
                  <a:pt x="981" y="25"/>
                  <a:pt x="976" y="25"/>
                  <a:pt x="972" y="25"/>
                </a:cubicBezTo>
                <a:cubicBezTo>
                  <a:pt x="965" y="27"/>
                  <a:pt x="959" y="31"/>
                  <a:pt x="956" y="37"/>
                </a:cubicBezTo>
                <a:cubicBezTo>
                  <a:pt x="954" y="41"/>
                  <a:pt x="952" y="45"/>
                  <a:pt x="952" y="49"/>
                </a:cubicBezTo>
                <a:cubicBezTo>
                  <a:pt x="951" y="55"/>
                  <a:pt x="952" y="62"/>
                  <a:pt x="955" y="67"/>
                </a:cubicBezTo>
                <a:cubicBezTo>
                  <a:pt x="957" y="74"/>
                  <a:pt x="962" y="78"/>
                  <a:pt x="969" y="80"/>
                </a:cubicBezTo>
                <a:cubicBezTo>
                  <a:pt x="976" y="81"/>
                  <a:pt x="983" y="81"/>
                  <a:pt x="989" y="78"/>
                </a:cubicBezTo>
                <a:cubicBezTo>
                  <a:pt x="991" y="77"/>
                  <a:pt x="992" y="77"/>
                  <a:pt x="993" y="76"/>
                </a:cubicBezTo>
                <a:cubicBezTo>
                  <a:pt x="994" y="76"/>
                  <a:pt x="994" y="75"/>
                  <a:pt x="994" y="74"/>
                </a:cubicBezTo>
                <a:cubicBezTo>
                  <a:pt x="994" y="72"/>
                  <a:pt x="994" y="70"/>
                  <a:pt x="994" y="67"/>
                </a:cubicBezTo>
                <a:cubicBezTo>
                  <a:pt x="993" y="68"/>
                  <a:pt x="993" y="68"/>
                  <a:pt x="992" y="69"/>
                </a:cubicBezTo>
                <a:close/>
                <a:moveTo>
                  <a:pt x="845" y="177"/>
                </a:moveTo>
                <a:cubicBezTo>
                  <a:pt x="845" y="177"/>
                  <a:pt x="845" y="178"/>
                  <a:pt x="845" y="178"/>
                </a:cubicBezTo>
                <a:cubicBezTo>
                  <a:pt x="845" y="180"/>
                  <a:pt x="844" y="182"/>
                  <a:pt x="845" y="184"/>
                </a:cubicBezTo>
                <a:cubicBezTo>
                  <a:pt x="847" y="185"/>
                  <a:pt x="849" y="184"/>
                  <a:pt x="851" y="184"/>
                </a:cubicBezTo>
                <a:cubicBezTo>
                  <a:pt x="852" y="184"/>
                  <a:pt x="852" y="184"/>
                  <a:pt x="853" y="184"/>
                </a:cubicBezTo>
                <a:cubicBezTo>
                  <a:pt x="853" y="184"/>
                  <a:pt x="853" y="184"/>
                  <a:pt x="853" y="183"/>
                </a:cubicBezTo>
                <a:cubicBezTo>
                  <a:pt x="853" y="183"/>
                  <a:pt x="853" y="183"/>
                  <a:pt x="853" y="183"/>
                </a:cubicBezTo>
                <a:cubicBezTo>
                  <a:pt x="853" y="172"/>
                  <a:pt x="853" y="161"/>
                  <a:pt x="853" y="150"/>
                </a:cubicBezTo>
                <a:cubicBezTo>
                  <a:pt x="853" y="147"/>
                  <a:pt x="853" y="144"/>
                  <a:pt x="852" y="141"/>
                </a:cubicBezTo>
                <a:cubicBezTo>
                  <a:pt x="850" y="136"/>
                  <a:pt x="847" y="133"/>
                  <a:pt x="842" y="131"/>
                </a:cubicBezTo>
                <a:cubicBezTo>
                  <a:pt x="841" y="131"/>
                  <a:pt x="839" y="131"/>
                  <a:pt x="838" y="131"/>
                </a:cubicBezTo>
                <a:cubicBezTo>
                  <a:pt x="831" y="130"/>
                  <a:pt x="825" y="132"/>
                  <a:pt x="819" y="134"/>
                </a:cubicBezTo>
                <a:cubicBezTo>
                  <a:pt x="818" y="135"/>
                  <a:pt x="817" y="136"/>
                  <a:pt x="817" y="138"/>
                </a:cubicBezTo>
                <a:cubicBezTo>
                  <a:pt x="817" y="139"/>
                  <a:pt x="817" y="141"/>
                  <a:pt x="817" y="142"/>
                </a:cubicBezTo>
                <a:cubicBezTo>
                  <a:pt x="817" y="143"/>
                  <a:pt x="817" y="143"/>
                  <a:pt x="817" y="143"/>
                </a:cubicBezTo>
                <a:cubicBezTo>
                  <a:pt x="817" y="144"/>
                  <a:pt x="817" y="144"/>
                  <a:pt x="817" y="144"/>
                </a:cubicBezTo>
                <a:cubicBezTo>
                  <a:pt x="818" y="143"/>
                  <a:pt x="819" y="143"/>
                  <a:pt x="819" y="142"/>
                </a:cubicBezTo>
                <a:cubicBezTo>
                  <a:pt x="824" y="139"/>
                  <a:pt x="829" y="137"/>
                  <a:pt x="835" y="138"/>
                </a:cubicBezTo>
                <a:cubicBezTo>
                  <a:pt x="838" y="138"/>
                  <a:pt x="841" y="139"/>
                  <a:pt x="843" y="142"/>
                </a:cubicBezTo>
                <a:cubicBezTo>
                  <a:pt x="844" y="144"/>
                  <a:pt x="845" y="147"/>
                  <a:pt x="845" y="150"/>
                </a:cubicBezTo>
                <a:cubicBezTo>
                  <a:pt x="845" y="151"/>
                  <a:pt x="844" y="151"/>
                  <a:pt x="844" y="151"/>
                </a:cubicBezTo>
                <a:cubicBezTo>
                  <a:pt x="844" y="151"/>
                  <a:pt x="843" y="151"/>
                  <a:pt x="843" y="151"/>
                </a:cubicBezTo>
                <a:cubicBezTo>
                  <a:pt x="838" y="152"/>
                  <a:pt x="833" y="153"/>
                  <a:pt x="828" y="153"/>
                </a:cubicBezTo>
                <a:cubicBezTo>
                  <a:pt x="825" y="154"/>
                  <a:pt x="822" y="155"/>
                  <a:pt x="819" y="156"/>
                </a:cubicBezTo>
                <a:cubicBezTo>
                  <a:pt x="816" y="158"/>
                  <a:pt x="813" y="161"/>
                  <a:pt x="812" y="166"/>
                </a:cubicBezTo>
                <a:cubicBezTo>
                  <a:pt x="812" y="167"/>
                  <a:pt x="812" y="169"/>
                  <a:pt x="812" y="171"/>
                </a:cubicBezTo>
                <a:cubicBezTo>
                  <a:pt x="812" y="179"/>
                  <a:pt x="817" y="184"/>
                  <a:pt x="824" y="185"/>
                </a:cubicBezTo>
                <a:cubicBezTo>
                  <a:pt x="826" y="186"/>
                  <a:pt x="828" y="186"/>
                  <a:pt x="830" y="186"/>
                </a:cubicBezTo>
                <a:cubicBezTo>
                  <a:pt x="835" y="185"/>
                  <a:pt x="839" y="183"/>
                  <a:pt x="843" y="179"/>
                </a:cubicBezTo>
                <a:cubicBezTo>
                  <a:pt x="843" y="178"/>
                  <a:pt x="844" y="178"/>
                  <a:pt x="844" y="177"/>
                </a:cubicBezTo>
                <a:cubicBezTo>
                  <a:pt x="845" y="177"/>
                  <a:pt x="845" y="177"/>
                  <a:pt x="845" y="177"/>
                </a:cubicBezTo>
                <a:close/>
                <a:moveTo>
                  <a:pt x="241" y="42"/>
                </a:moveTo>
                <a:cubicBezTo>
                  <a:pt x="238" y="33"/>
                  <a:pt x="232" y="27"/>
                  <a:pt x="223" y="26"/>
                </a:cubicBezTo>
                <a:cubicBezTo>
                  <a:pt x="219" y="25"/>
                  <a:pt x="215" y="25"/>
                  <a:pt x="211" y="26"/>
                </a:cubicBezTo>
                <a:cubicBezTo>
                  <a:pt x="202" y="27"/>
                  <a:pt x="195" y="33"/>
                  <a:pt x="192" y="42"/>
                </a:cubicBezTo>
                <a:cubicBezTo>
                  <a:pt x="190" y="49"/>
                  <a:pt x="190" y="56"/>
                  <a:pt x="192" y="63"/>
                </a:cubicBezTo>
                <a:cubicBezTo>
                  <a:pt x="195" y="72"/>
                  <a:pt x="200" y="77"/>
                  <a:pt x="209" y="80"/>
                </a:cubicBezTo>
                <a:cubicBezTo>
                  <a:pt x="212" y="80"/>
                  <a:pt x="216" y="81"/>
                  <a:pt x="219" y="80"/>
                </a:cubicBezTo>
                <a:cubicBezTo>
                  <a:pt x="230" y="80"/>
                  <a:pt x="238" y="73"/>
                  <a:pt x="241" y="63"/>
                </a:cubicBezTo>
                <a:cubicBezTo>
                  <a:pt x="242" y="59"/>
                  <a:pt x="242" y="56"/>
                  <a:pt x="242" y="52"/>
                </a:cubicBezTo>
                <a:cubicBezTo>
                  <a:pt x="242" y="49"/>
                  <a:pt x="242" y="45"/>
                  <a:pt x="241" y="42"/>
                </a:cubicBezTo>
                <a:close/>
                <a:moveTo>
                  <a:pt x="408" y="183"/>
                </a:moveTo>
                <a:cubicBezTo>
                  <a:pt x="408" y="184"/>
                  <a:pt x="409" y="184"/>
                  <a:pt x="410" y="184"/>
                </a:cubicBezTo>
                <a:cubicBezTo>
                  <a:pt x="411" y="184"/>
                  <a:pt x="413" y="184"/>
                  <a:pt x="415" y="184"/>
                </a:cubicBezTo>
                <a:cubicBezTo>
                  <a:pt x="417" y="184"/>
                  <a:pt x="417" y="184"/>
                  <a:pt x="417" y="182"/>
                </a:cubicBezTo>
                <a:cubicBezTo>
                  <a:pt x="417" y="182"/>
                  <a:pt x="417" y="182"/>
                  <a:pt x="417" y="181"/>
                </a:cubicBezTo>
                <a:cubicBezTo>
                  <a:pt x="417" y="171"/>
                  <a:pt x="417" y="161"/>
                  <a:pt x="417" y="151"/>
                </a:cubicBezTo>
                <a:cubicBezTo>
                  <a:pt x="417" y="150"/>
                  <a:pt x="417" y="149"/>
                  <a:pt x="417" y="147"/>
                </a:cubicBezTo>
                <a:cubicBezTo>
                  <a:pt x="417" y="145"/>
                  <a:pt x="416" y="142"/>
                  <a:pt x="415" y="140"/>
                </a:cubicBezTo>
                <a:cubicBezTo>
                  <a:pt x="413" y="136"/>
                  <a:pt x="411" y="133"/>
                  <a:pt x="406" y="132"/>
                </a:cubicBezTo>
                <a:cubicBezTo>
                  <a:pt x="405" y="131"/>
                  <a:pt x="403" y="131"/>
                  <a:pt x="401" y="131"/>
                </a:cubicBezTo>
                <a:cubicBezTo>
                  <a:pt x="395" y="130"/>
                  <a:pt x="389" y="132"/>
                  <a:pt x="383" y="134"/>
                </a:cubicBezTo>
                <a:cubicBezTo>
                  <a:pt x="382" y="134"/>
                  <a:pt x="382" y="135"/>
                  <a:pt x="381" y="135"/>
                </a:cubicBezTo>
                <a:cubicBezTo>
                  <a:pt x="381" y="135"/>
                  <a:pt x="380" y="136"/>
                  <a:pt x="380" y="136"/>
                </a:cubicBezTo>
                <a:cubicBezTo>
                  <a:pt x="380" y="138"/>
                  <a:pt x="380" y="139"/>
                  <a:pt x="380" y="140"/>
                </a:cubicBezTo>
                <a:cubicBezTo>
                  <a:pt x="380" y="141"/>
                  <a:pt x="380" y="142"/>
                  <a:pt x="381" y="143"/>
                </a:cubicBezTo>
                <a:cubicBezTo>
                  <a:pt x="382" y="144"/>
                  <a:pt x="382" y="142"/>
                  <a:pt x="383" y="142"/>
                </a:cubicBezTo>
                <a:cubicBezTo>
                  <a:pt x="388" y="139"/>
                  <a:pt x="393" y="138"/>
                  <a:pt x="398" y="138"/>
                </a:cubicBezTo>
                <a:cubicBezTo>
                  <a:pt x="403" y="138"/>
                  <a:pt x="406" y="140"/>
                  <a:pt x="408" y="145"/>
                </a:cubicBezTo>
                <a:cubicBezTo>
                  <a:pt x="408" y="147"/>
                  <a:pt x="408" y="148"/>
                  <a:pt x="408" y="150"/>
                </a:cubicBezTo>
                <a:cubicBezTo>
                  <a:pt x="408" y="151"/>
                  <a:pt x="408" y="151"/>
                  <a:pt x="407" y="151"/>
                </a:cubicBezTo>
                <a:cubicBezTo>
                  <a:pt x="407" y="151"/>
                  <a:pt x="407" y="151"/>
                  <a:pt x="406" y="151"/>
                </a:cubicBezTo>
                <a:cubicBezTo>
                  <a:pt x="401" y="152"/>
                  <a:pt x="396" y="153"/>
                  <a:pt x="391" y="153"/>
                </a:cubicBezTo>
                <a:cubicBezTo>
                  <a:pt x="388" y="154"/>
                  <a:pt x="385" y="155"/>
                  <a:pt x="383" y="156"/>
                </a:cubicBezTo>
                <a:cubicBezTo>
                  <a:pt x="379" y="158"/>
                  <a:pt x="377" y="162"/>
                  <a:pt x="376" y="166"/>
                </a:cubicBezTo>
                <a:cubicBezTo>
                  <a:pt x="375" y="168"/>
                  <a:pt x="375" y="170"/>
                  <a:pt x="375" y="172"/>
                </a:cubicBezTo>
                <a:cubicBezTo>
                  <a:pt x="376" y="177"/>
                  <a:pt x="378" y="181"/>
                  <a:pt x="383" y="184"/>
                </a:cubicBezTo>
                <a:cubicBezTo>
                  <a:pt x="385" y="185"/>
                  <a:pt x="387" y="185"/>
                  <a:pt x="389" y="185"/>
                </a:cubicBezTo>
                <a:cubicBezTo>
                  <a:pt x="396" y="186"/>
                  <a:pt x="402" y="184"/>
                  <a:pt x="407" y="178"/>
                </a:cubicBezTo>
                <a:cubicBezTo>
                  <a:pt x="407" y="178"/>
                  <a:pt x="407" y="177"/>
                  <a:pt x="408" y="177"/>
                </a:cubicBezTo>
                <a:cubicBezTo>
                  <a:pt x="408" y="179"/>
                  <a:pt x="408" y="181"/>
                  <a:pt x="408" y="183"/>
                </a:cubicBezTo>
                <a:close/>
                <a:moveTo>
                  <a:pt x="64" y="168"/>
                </a:moveTo>
                <a:cubicBezTo>
                  <a:pt x="66" y="177"/>
                  <a:pt x="72" y="183"/>
                  <a:pt x="81" y="185"/>
                </a:cubicBezTo>
                <a:cubicBezTo>
                  <a:pt x="85" y="186"/>
                  <a:pt x="89" y="186"/>
                  <a:pt x="93" y="185"/>
                </a:cubicBezTo>
                <a:cubicBezTo>
                  <a:pt x="102" y="184"/>
                  <a:pt x="109" y="179"/>
                  <a:pt x="112" y="170"/>
                </a:cubicBezTo>
                <a:cubicBezTo>
                  <a:pt x="115" y="162"/>
                  <a:pt x="115" y="153"/>
                  <a:pt x="112" y="144"/>
                </a:cubicBezTo>
                <a:cubicBezTo>
                  <a:pt x="109" y="137"/>
                  <a:pt x="103" y="133"/>
                  <a:pt x="95" y="131"/>
                </a:cubicBezTo>
                <a:cubicBezTo>
                  <a:pt x="91" y="130"/>
                  <a:pt x="87" y="130"/>
                  <a:pt x="82" y="131"/>
                </a:cubicBezTo>
                <a:cubicBezTo>
                  <a:pt x="74" y="133"/>
                  <a:pt x="68" y="138"/>
                  <a:pt x="65" y="146"/>
                </a:cubicBezTo>
                <a:cubicBezTo>
                  <a:pt x="63" y="150"/>
                  <a:pt x="62" y="154"/>
                  <a:pt x="62" y="158"/>
                </a:cubicBezTo>
                <a:cubicBezTo>
                  <a:pt x="62" y="162"/>
                  <a:pt x="63" y="165"/>
                  <a:pt x="64" y="168"/>
                </a:cubicBezTo>
                <a:close/>
                <a:moveTo>
                  <a:pt x="335" y="40"/>
                </a:moveTo>
                <a:cubicBezTo>
                  <a:pt x="332" y="32"/>
                  <a:pt x="327" y="27"/>
                  <a:pt x="318" y="26"/>
                </a:cubicBezTo>
                <a:cubicBezTo>
                  <a:pt x="314" y="25"/>
                  <a:pt x="310" y="25"/>
                  <a:pt x="306" y="26"/>
                </a:cubicBezTo>
                <a:cubicBezTo>
                  <a:pt x="297" y="27"/>
                  <a:pt x="290" y="33"/>
                  <a:pt x="287" y="42"/>
                </a:cubicBezTo>
                <a:cubicBezTo>
                  <a:pt x="285" y="49"/>
                  <a:pt x="285" y="56"/>
                  <a:pt x="287" y="62"/>
                </a:cubicBezTo>
                <a:cubicBezTo>
                  <a:pt x="289" y="71"/>
                  <a:pt x="295" y="77"/>
                  <a:pt x="304" y="80"/>
                </a:cubicBezTo>
                <a:cubicBezTo>
                  <a:pt x="307" y="80"/>
                  <a:pt x="311" y="81"/>
                  <a:pt x="314" y="80"/>
                </a:cubicBezTo>
                <a:cubicBezTo>
                  <a:pt x="325" y="80"/>
                  <a:pt x="333" y="73"/>
                  <a:pt x="336" y="63"/>
                </a:cubicBezTo>
                <a:cubicBezTo>
                  <a:pt x="337" y="60"/>
                  <a:pt x="338" y="56"/>
                  <a:pt x="338" y="52"/>
                </a:cubicBezTo>
                <a:cubicBezTo>
                  <a:pt x="338" y="48"/>
                  <a:pt x="337" y="44"/>
                  <a:pt x="335" y="40"/>
                </a:cubicBezTo>
                <a:close/>
                <a:moveTo>
                  <a:pt x="1208" y="18"/>
                </a:moveTo>
                <a:cubicBezTo>
                  <a:pt x="1210" y="16"/>
                  <a:pt x="1213" y="14"/>
                  <a:pt x="1216" y="13"/>
                </a:cubicBezTo>
                <a:cubicBezTo>
                  <a:pt x="1219" y="11"/>
                  <a:pt x="1223" y="11"/>
                  <a:pt x="1227" y="12"/>
                </a:cubicBezTo>
                <a:cubicBezTo>
                  <a:pt x="1232" y="12"/>
                  <a:pt x="1235" y="15"/>
                  <a:pt x="1236" y="20"/>
                </a:cubicBezTo>
                <a:cubicBezTo>
                  <a:pt x="1237" y="23"/>
                  <a:pt x="1237" y="26"/>
                  <a:pt x="1237" y="29"/>
                </a:cubicBezTo>
                <a:cubicBezTo>
                  <a:pt x="1236" y="33"/>
                  <a:pt x="1234" y="36"/>
                  <a:pt x="1231" y="39"/>
                </a:cubicBezTo>
                <a:cubicBezTo>
                  <a:pt x="1229" y="42"/>
                  <a:pt x="1226" y="44"/>
                  <a:pt x="1224" y="46"/>
                </a:cubicBezTo>
                <a:cubicBezTo>
                  <a:pt x="1220" y="48"/>
                  <a:pt x="1217" y="51"/>
                  <a:pt x="1214" y="53"/>
                </a:cubicBezTo>
                <a:cubicBezTo>
                  <a:pt x="1212" y="55"/>
                  <a:pt x="1210" y="56"/>
                  <a:pt x="1209" y="58"/>
                </a:cubicBezTo>
                <a:cubicBezTo>
                  <a:pt x="1206" y="61"/>
                  <a:pt x="1205" y="64"/>
                  <a:pt x="1204" y="67"/>
                </a:cubicBezTo>
                <a:cubicBezTo>
                  <a:pt x="1203" y="71"/>
                  <a:pt x="1203" y="75"/>
                  <a:pt x="1203" y="78"/>
                </a:cubicBezTo>
                <a:cubicBezTo>
                  <a:pt x="1203" y="79"/>
                  <a:pt x="1203" y="79"/>
                  <a:pt x="1204" y="79"/>
                </a:cubicBezTo>
                <a:cubicBezTo>
                  <a:pt x="1204" y="79"/>
                  <a:pt x="1205" y="79"/>
                  <a:pt x="1205" y="79"/>
                </a:cubicBezTo>
                <a:cubicBezTo>
                  <a:pt x="1219" y="79"/>
                  <a:pt x="1232" y="79"/>
                  <a:pt x="1246" y="79"/>
                </a:cubicBezTo>
                <a:cubicBezTo>
                  <a:pt x="1246" y="79"/>
                  <a:pt x="1247" y="79"/>
                  <a:pt x="1247" y="79"/>
                </a:cubicBezTo>
                <a:cubicBezTo>
                  <a:pt x="1248" y="79"/>
                  <a:pt x="1248" y="79"/>
                  <a:pt x="1248" y="78"/>
                </a:cubicBezTo>
                <a:cubicBezTo>
                  <a:pt x="1248" y="76"/>
                  <a:pt x="1248" y="74"/>
                  <a:pt x="1248" y="72"/>
                </a:cubicBezTo>
                <a:cubicBezTo>
                  <a:pt x="1248" y="72"/>
                  <a:pt x="1248" y="72"/>
                  <a:pt x="1248" y="72"/>
                </a:cubicBezTo>
                <a:cubicBezTo>
                  <a:pt x="1247" y="72"/>
                  <a:pt x="1246" y="72"/>
                  <a:pt x="1245" y="72"/>
                </a:cubicBezTo>
                <a:cubicBezTo>
                  <a:pt x="1235" y="72"/>
                  <a:pt x="1225" y="72"/>
                  <a:pt x="1215" y="72"/>
                </a:cubicBezTo>
                <a:cubicBezTo>
                  <a:pt x="1214" y="72"/>
                  <a:pt x="1213" y="72"/>
                  <a:pt x="1213" y="72"/>
                </a:cubicBezTo>
                <a:cubicBezTo>
                  <a:pt x="1212" y="71"/>
                  <a:pt x="1212" y="71"/>
                  <a:pt x="1212" y="70"/>
                </a:cubicBezTo>
                <a:cubicBezTo>
                  <a:pt x="1212" y="67"/>
                  <a:pt x="1213" y="65"/>
                  <a:pt x="1215" y="63"/>
                </a:cubicBezTo>
                <a:cubicBezTo>
                  <a:pt x="1216" y="61"/>
                  <a:pt x="1218" y="59"/>
                  <a:pt x="1219" y="58"/>
                </a:cubicBezTo>
                <a:cubicBezTo>
                  <a:pt x="1223" y="55"/>
                  <a:pt x="1226" y="53"/>
                  <a:pt x="1229" y="51"/>
                </a:cubicBezTo>
                <a:cubicBezTo>
                  <a:pt x="1232" y="48"/>
                  <a:pt x="1236" y="45"/>
                  <a:pt x="1239" y="42"/>
                </a:cubicBezTo>
                <a:cubicBezTo>
                  <a:pt x="1242" y="39"/>
                  <a:pt x="1244" y="35"/>
                  <a:pt x="1245" y="31"/>
                </a:cubicBezTo>
                <a:cubicBezTo>
                  <a:pt x="1245" y="28"/>
                  <a:pt x="1246" y="25"/>
                  <a:pt x="1246" y="22"/>
                </a:cubicBezTo>
                <a:cubicBezTo>
                  <a:pt x="1245" y="14"/>
                  <a:pt x="1240" y="7"/>
                  <a:pt x="1232" y="5"/>
                </a:cubicBezTo>
                <a:cubicBezTo>
                  <a:pt x="1227" y="4"/>
                  <a:pt x="1222" y="4"/>
                  <a:pt x="1217" y="5"/>
                </a:cubicBezTo>
                <a:cubicBezTo>
                  <a:pt x="1213" y="6"/>
                  <a:pt x="1210" y="8"/>
                  <a:pt x="1207" y="10"/>
                </a:cubicBezTo>
                <a:cubicBezTo>
                  <a:pt x="1206" y="11"/>
                  <a:pt x="1206" y="11"/>
                  <a:pt x="1206" y="12"/>
                </a:cubicBezTo>
                <a:cubicBezTo>
                  <a:pt x="1206" y="15"/>
                  <a:pt x="1206" y="17"/>
                  <a:pt x="1206" y="20"/>
                </a:cubicBezTo>
                <a:cubicBezTo>
                  <a:pt x="1207" y="19"/>
                  <a:pt x="1207" y="19"/>
                  <a:pt x="1208" y="18"/>
                </a:cubicBezTo>
                <a:close/>
                <a:moveTo>
                  <a:pt x="529" y="145"/>
                </a:moveTo>
                <a:cubicBezTo>
                  <a:pt x="526" y="137"/>
                  <a:pt x="521" y="133"/>
                  <a:pt x="513" y="131"/>
                </a:cubicBezTo>
                <a:cubicBezTo>
                  <a:pt x="508" y="130"/>
                  <a:pt x="504" y="130"/>
                  <a:pt x="500" y="131"/>
                </a:cubicBezTo>
                <a:cubicBezTo>
                  <a:pt x="491" y="133"/>
                  <a:pt x="486" y="138"/>
                  <a:pt x="482" y="146"/>
                </a:cubicBezTo>
                <a:cubicBezTo>
                  <a:pt x="480" y="150"/>
                  <a:pt x="480" y="155"/>
                  <a:pt x="480" y="160"/>
                </a:cubicBezTo>
                <a:cubicBezTo>
                  <a:pt x="480" y="163"/>
                  <a:pt x="480" y="166"/>
                  <a:pt x="481" y="169"/>
                </a:cubicBezTo>
                <a:cubicBezTo>
                  <a:pt x="484" y="177"/>
                  <a:pt x="490" y="183"/>
                  <a:pt x="499" y="185"/>
                </a:cubicBezTo>
                <a:cubicBezTo>
                  <a:pt x="502" y="186"/>
                  <a:pt x="506" y="186"/>
                  <a:pt x="510" y="185"/>
                </a:cubicBezTo>
                <a:cubicBezTo>
                  <a:pt x="520" y="184"/>
                  <a:pt x="526" y="178"/>
                  <a:pt x="530" y="169"/>
                </a:cubicBezTo>
                <a:cubicBezTo>
                  <a:pt x="531" y="166"/>
                  <a:pt x="532" y="162"/>
                  <a:pt x="532" y="158"/>
                </a:cubicBezTo>
                <a:cubicBezTo>
                  <a:pt x="532" y="153"/>
                  <a:pt x="531" y="149"/>
                  <a:pt x="529" y="145"/>
                </a:cubicBezTo>
                <a:close/>
                <a:moveTo>
                  <a:pt x="1064" y="18"/>
                </a:moveTo>
                <a:cubicBezTo>
                  <a:pt x="1066" y="16"/>
                  <a:pt x="1068" y="14"/>
                  <a:pt x="1071" y="13"/>
                </a:cubicBezTo>
                <a:cubicBezTo>
                  <a:pt x="1075" y="11"/>
                  <a:pt x="1078" y="11"/>
                  <a:pt x="1082" y="12"/>
                </a:cubicBezTo>
                <a:cubicBezTo>
                  <a:pt x="1087" y="12"/>
                  <a:pt x="1091" y="16"/>
                  <a:pt x="1092" y="21"/>
                </a:cubicBezTo>
                <a:cubicBezTo>
                  <a:pt x="1093" y="24"/>
                  <a:pt x="1092" y="28"/>
                  <a:pt x="1092" y="31"/>
                </a:cubicBezTo>
                <a:cubicBezTo>
                  <a:pt x="1091" y="34"/>
                  <a:pt x="1089" y="36"/>
                  <a:pt x="1087" y="38"/>
                </a:cubicBezTo>
                <a:cubicBezTo>
                  <a:pt x="1085" y="41"/>
                  <a:pt x="1082" y="44"/>
                  <a:pt x="1079" y="46"/>
                </a:cubicBezTo>
                <a:cubicBezTo>
                  <a:pt x="1075" y="49"/>
                  <a:pt x="1072" y="51"/>
                  <a:pt x="1068" y="54"/>
                </a:cubicBezTo>
                <a:cubicBezTo>
                  <a:pt x="1066" y="56"/>
                  <a:pt x="1064" y="58"/>
                  <a:pt x="1063" y="60"/>
                </a:cubicBezTo>
                <a:cubicBezTo>
                  <a:pt x="1061" y="63"/>
                  <a:pt x="1059" y="67"/>
                  <a:pt x="1059" y="70"/>
                </a:cubicBezTo>
                <a:cubicBezTo>
                  <a:pt x="1058" y="73"/>
                  <a:pt x="1058" y="75"/>
                  <a:pt x="1058" y="77"/>
                </a:cubicBezTo>
                <a:cubicBezTo>
                  <a:pt x="1058" y="79"/>
                  <a:pt x="1058" y="79"/>
                  <a:pt x="1061" y="79"/>
                </a:cubicBezTo>
                <a:cubicBezTo>
                  <a:pt x="1074" y="79"/>
                  <a:pt x="1088" y="79"/>
                  <a:pt x="1102" y="79"/>
                </a:cubicBezTo>
                <a:cubicBezTo>
                  <a:pt x="1102" y="79"/>
                  <a:pt x="1102" y="79"/>
                  <a:pt x="1102" y="79"/>
                </a:cubicBezTo>
                <a:cubicBezTo>
                  <a:pt x="1104" y="79"/>
                  <a:pt x="1104" y="79"/>
                  <a:pt x="1104" y="78"/>
                </a:cubicBezTo>
                <a:cubicBezTo>
                  <a:pt x="1104" y="76"/>
                  <a:pt x="1104" y="75"/>
                  <a:pt x="1104" y="73"/>
                </a:cubicBezTo>
                <a:cubicBezTo>
                  <a:pt x="1104" y="72"/>
                  <a:pt x="1104" y="72"/>
                  <a:pt x="1102" y="72"/>
                </a:cubicBezTo>
                <a:cubicBezTo>
                  <a:pt x="1102" y="72"/>
                  <a:pt x="1101" y="72"/>
                  <a:pt x="1101" y="72"/>
                </a:cubicBezTo>
                <a:cubicBezTo>
                  <a:pt x="1091" y="72"/>
                  <a:pt x="1080" y="72"/>
                  <a:pt x="1070" y="72"/>
                </a:cubicBezTo>
                <a:cubicBezTo>
                  <a:pt x="1070" y="72"/>
                  <a:pt x="1069" y="72"/>
                  <a:pt x="1068" y="72"/>
                </a:cubicBezTo>
                <a:cubicBezTo>
                  <a:pt x="1067" y="71"/>
                  <a:pt x="1067" y="71"/>
                  <a:pt x="1067" y="70"/>
                </a:cubicBezTo>
                <a:cubicBezTo>
                  <a:pt x="1067" y="67"/>
                  <a:pt x="1069" y="64"/>
                  <a:pt x="1071" y="62"/>
                </a:cubicBezTo>
                <a:cubicBezTo>
                  <a:pt x="1072" y="60"/>
                  <a:pt x="1073" y="59"/>
                  <a:pt x="1075" y="58"/>
                </a:cubicBezTo>
                <a:cubicBezTo>
                  <a:pt x="1078" y="56"/>
                  <a:pt x="1081" y="53"/>
                  <a:pt x="1084" y="51"/>
                </a:cubicBezTo>
                <a:cubicBezTo>
                  <a:pt x="1087" y="48"/>
                  <a:pt x="1090" y="46"/>
                  <a:pt x="1093" y="43"/>
                </a:cubicBezTo>
                <a:cubicBezTo>
                  <a:pt x="1099" y="37"/>
                  <a:pt x="1102" y="30"/>
                  <a:pt x="1101" y="22"/>
                </a:cubicBezTo>
                <a:cubicBezTo>
                  <a:pt x="1100" y="13"/>
                  <a:pt x="1094" y="7"/>
                  <a:pt x="1087" y="5"/>
                </a:cubicBezTo>
                <a:cubicBezTo>
                  <a:pt x="1082" y="4"/>
                  <a:pt x="1076" y="4"/>
                  <a:pt x="1071" y="5"/>
                </a:cubicBezTo>
                <a:cubicBezTo>
                  <a:pt x="1068" y="6"/>
                  <a:pt x="1065" y="8"/>
                  <a:pt x="1062" y="10"/>
                </a:cubicBezTo>
                <a:cubicBezTo>
                  <a:pt x="1062" y="11"/>
                  <a:pt x="1061" y="11"/>
                  <a:pt x="1061" y="12"/>
                </a:cubicBezTo>
                <a:cubicBezTo>
                  <a:pt x="1061" y="15"/>
                  <a:pt x="1061" y="17"/>
                  <a:pt x="1061" y="20"/>
                </a:cubicBezTo>
                <a:cubicBezTo>
                  <a:pt x="1062" y="19"/>
                  <a:pt x="1063" y="19"/>
                  <a:pt x="1064" y="18"/>
                </a:cubicBezTo>
                <a:close/>
                <a:moveTo>
                  <a:pt x="1340" y="18"/>
                </a:moveTo>
                <a:cubicBezTo>
                  <a:pt x="1342" y="16"/>
                  <a:pt x="1345" y="14"/>
                  <a:pt x="1347" y="13"/>
                </a:cubicBezTo>
                <a:cubicBezTo>
                  <a:pt x="1351" y="11"/>
                  <a:pt x="1355" y="11"/>
                  <a:pt x="1358" y="12"/>
                </a:cubicBezTo>
                <a:cubicBezTo>
                  <a:pt x="1363" y="12"/>
                  <a:pt x="1367" y="15"/>
                  <a:pt x="1368" y="20"/>
                </a:cubicBezTo>
                <a:cubicBezTo>
                  <a:pt x="1369" y="22"/>
                  <a:pt x="1369" y="25"/>
                  <a:pt x="1369" y="27"/>
                </a:cubicBezTo>
                <a:cubicBezTo>
                  <a:pt x="1368" y="32"/>
                  <a:pt x="1366" y="36"/>
                  <a:pt x="1363" y="39"/>
                </a:cubicBezTo>
                <a:cubicBezTo>
                  <a:pt x="1361" y="42"/>
                  <a:pt x="1358" y="44"/>
                  <a:pt x="1355" y="46"/>
                </a:cubicBezTo>
                <a:cubicBezTo>
                  <a:pt x="1352" y="49"/>
                  <a:pt x="1348" y="51"/>
                  <a:pt x="1345" y="54"/>
                </a:cubicBezTo>
                <a:cubicBezTo>
                  <a:pt x="1343" y="56"/>
                  <a:pt x="1341" y="58"/>
                  <a:pt x="1339" y="60"/>
                </a:cubicBezTo>
                <a:cubicBezTo>
                  <a:pt x="1337" y="63"/>
                  <a:pt x="1336" y="66"/>
                  <a:pt x="1335" y="70"/>
                </a:cubicBezTo>
                <a:cubicBezTo>
                  <a:pt x="1335" y="72"/>
                  <a:pt x="1335" y="74"/>
                  <a:pt x="1335" y="77"/>
                </a:cubicBezTo>
                <a:cubicBezTo>
                  <a:pt x="1335" y="79"/>
                  <a:pt x="1335" y="79"/>
                  <a:pt x="1337" y="79"/>
                </a:cubicBezTo>
                <a:cubicBezTo>
                  <a:pt x="1350" y="79"/>
                  <a:pt x="1363" y="79"/>
                  <a:pt x="1376" y="79"/>
                </a:cubicBezTo>
                <a:cubicBezTo>
                  <a:pt x="1377" y="79"/>
                  <a:pt x="1379" y="79"/>
                  <a:pt x="1380" y="79"/>
                </a:cubicBezTo>
                <a:cubicBezTo>
                  <a:pt x="1381" y="78"/>
                  <a:pt x="1380" y="76"/>
                  <a:pt x="1380" y="75"/>
                </a:cubicBezTo>
                <a:cubicBezTo>
                  <a:pt x="1380" y="71"/>
                  <a:pt x="1381" y="72"/>
                  <a:pt x="1377" y="72"/>
                </a:cubicBezTo>
                <a:cubicBezTo>
                  <a:pt x="1367" y="72"/>
                  <a:pt x="1357" y="72"/>
                  <a:pt x="1346" y="72"/>
                </a:cubicBezTo>
                <a:cubicBezTo>
                  <a:pt x="1346" y="72"/>
                  <a:pt x="1345" y="72"/>
                  <a:pt x="1344" y="71"/>
                </a:cubicBezTo>
                <a:cubicBezTo>
                  <a:pt x="1343" y="68"/>
                  <a:pt x="1344" y="65"/>
                  <a:pt x="1346" y="63"/>
                </a:cubicBezTo>
                <a:cubicBezTo>
                  <a:pt x="1347" y="61"/>
                  <a:pt x="1349" y="60"/>
                  <a:pt x="1351" y="58"/>
                </a:cubicBezTo>
                <a:cubicBezTo>
                  <a:pt x="1354" y="55"/>
                  <a:pt x="1358" y="53"/>
                  <a:pt x="1361" y="50"/>
                </a:cubicBezTo>
                <a:cubicBezTo>
                  <a:pt x="1365" y="48"/>
                  <a:pt x="1368" y="45"/>
                  <a:pt x="1370" y="42"/>
                </a:cubicBezTo>
                <a:cubicBezTo>
                  <a:pt x="1376" y="36"/>
                  <a:pt x="1378" y="29"/>
                  <a:pt x="1377" y="21"/>
                </a:cubicBezTo>
                <a:cubicBezTo>
                  <a:pt x="1376" y="12"/>
                  <a:pt x="1370" y="7"/>
                  <a:pt x="1363" y="5"/>
                </a:cubicBezTo>
                <a:cubicBezTo>
                  <a:pt x="1358" y="4"/>
                  <a:pt x="1353" y="4"/>
                  <a:pt x="1348" y="5"/>
                </a:cubicBezTo>
                <a:cubicBezTo>
                  <a:pt x="1344" y="6"/>
                  <a:pt x="1341" y="8"/>
                  <a:pt x="1338" y="10"/>
                </a:cubicBezTo>
                <a:cubicBezTo>
                  <a:pt x="1338" y="11"/>
                  <a:pt x="1338" y="11"/>
                  <a:pt x="1338" y="12"/>
                </a:cubicBezTo>
                <a:cubicBezTo>
                  <a:pt x="1338" y="14"/>
                  <a:pt x="1338" y="16"/>
                  <a:pt x="1338" y="17"/>
                </a:cubicBezTo>
                <a:cubicBezTo>
                  <a:pt x="1338" y="18"/>
                  <a:pt x="1337" y="19"/>
                  <a:pt x="1338" y="20"/>
                </a:cubicBezTo>
                <a:cubicBezTo>
                  <a:pt x="1339" y="19"/>
                  <a:pt x="1339" y="18"/>
                  <a:pt x="1340" y="18"/>
                </a:cubicBezTo>
                <a:close/>
                <a:moveTo>
                  <a:pt x="714" y="142"/>
                </a:moveTo>
                <a:cubicBezTo>
                  <a:pt x="718" y="139"/>
                  <a:pt x="723" y="137"/>
                  <a:pt x="729" y="138"/>
                </a:cubicBezTo>
                <a:cubicBezTo>
                  <a:pt x="734" y="138"/>
                  <a:pt x="737" y="140"/>
                  <a:pt x="738" y="145"/>
                </a:cubicBezTo>
                <a:cubicBezTo>
                  <a:pt x="739" y="147"/>
                  <a:pt x="739" y="148"/>
                  <a:pt x="739" y="150"/>
                </a:cubicBezTo>
                <a:cubicBezTo>
                  <a:pt x="739" y="151"/>
                  <a:pt x="739" y="151"/>
                  <a:pt x="738" y="151"/>
                </a:cubicBezTo>
                <a:cubicBezTo>
                  <a:pt x="736" y="151"/>
                  <a:pt x="735" y="152"/>
                  <a:pt x="733" y="152"/>
                </a:cubicBezTo>
                <a:cubicBezTo>
                  <a:pt x="729" y="152"/>
                  <a:pt x="725" y="153"/>
                  <a:pt x="721" y="153"/>
                </a:cubicBezTo>
                <a:cubicBezTo>
                  <a:pt x="718" y="154"/>
                  <a:pt x="716" y="155"/>
                  <a:pt x="713" y="156"/>
                </a:cubicBezTo>
                <a:cubicBezTo>
                  <a:pt x="710" y="158"/>
                  <a:pt x="707" y="161"/>
                  <a:pt x="706" y="165"/>
                </a:cubicBezTo>
                <a:cubicBezTo>
                  <a:pt x="706" y="167"/>
                  <a:pt x="705" y="170"/>
                  <a:pt x="706" y="172"/>
                </a:cubicBezTo>
                <a:cubicBezTo>
                  <a:pt x="706" y="178"/>
                  <a:pt x="709" y="182"/>
                  <a:pt x="715" y="184"/>
                </a:cubicBezTo>
                <a:cubicBezTo>
                  <a:pt x="719" y="186"/>
                  <a:pt x="724" y="186"/>
                  <a:pt x="728" y="185"/>
                </a:cubicBezTo>
                <a:cubicBezTo>
                  <a:pt x="732" y="184"/>
                  <a:pt x="735" y="182"/>
                  <a:pt x="737" y="179"/>
                </a:cubicBezTo>
                <a:cubicBezTo>
                  <a:pt x="737" y="178"/>
                  <a:pt x="738" y="178"/>
                  <a:pt x="738" y="178"/>
                </a:cubicBezTo>
                <a:cubicBezTo>
                  <a:pt x="738" y="177"/>
                  <a:pt x="738" y="177"/>
                  <a:pt x="739" y="177"/>
                </a:cubicBezTo>
                <a:cubicBezTo>
                  <a:pt x="739" y="178"/>
                  <a:pt x="739" y="179"/>
                  <a:pt x="739" y="180"/>
                </a:cubicBezTo>
                <a:cubicBezTo>
                  <a:pt x="739" y="181"/>
                  <a:pt x="739" y="182"/>
                  <a:pt x="739" y="183"/>
                </a:cubicBezTo>
                <a:cubicBezTo>
                  <a:pt x="739" y="184"/>
                  <a:pt x="739" y="184"/>
                  <a:pt x="740" y="184"/>
                </a:cubicBezTo>
                <a:cubicBezTo>
                  <a:pt x="742" y="184"/>
                  <a:pt x="744" y="184"/>
                  <a:pt x="746" y="184"/>
                </a:cubicBezTo>
                <a:cubicBezTo>
                  <a:pt x="747" y="184"/>
                  <a:pt x="747" y="184"/>
                  <a:pt x="747" y="183"/>
                </a:cubicBezTo>
                <a:cubicBezTo>
                  <a:pt x="747" y="183"/>
                  <a:pt x="747" y="182"/>
                  <a:pt x="747" y="182"/>
                </a:cubicBezTo>
                <a:cubicBezTo>
                  <a:pt x="747" y="171"/>
                  <a:pt x="747" y="161"/>
                  <a:pt x="747" y="150"/>
                </a:cubicBezTo>
                <a:cubicBezTo>
                  <a:pt x="747" y="149"/>
                  <a:pt x="747" y="148"/>
                  <a:pt x="747" y="146"/>
                </a:cubicBezTo>
                <a:cubicBezTo>
                  <a:pt x="747" y="144"/>
                  <a:pt x="746" y="142"/>
                  <a:pt x="745" y="140"/>
                </a:cubicBezTo>
                <a:cubicBezTo>
                  <a:pt x="744" y="136"/>
                  <a:pt x="741" y="133"/>
                  <a:pt x="737" y="132"/>
                </a:cubicBezTo>
                <a:cubicBezTo>
                  <a:pt x="736" y="131"/>
                  <a:pt x="734" y="131"/>
                  <a:pt x="732" y="131"/>
                </a:cubicBezTo>
                <a:cubicBezTo>
                  <a:pt x="725" y="130"/>
                  <a:pt x="719" y="131"/>
                  <a:pt x="713" y="134"/>
                </a:cubicBezTo>
                <a:cubicBezTo>
                  <a:pt x="713" y="134"/>
                  <a:pt x="712" y="135"/>
                  <a:pt x="712" y="135"/>
                </a:cubicBezTo>
                <a:cubicBezTo>
                  <a:pt x="711" y="135"/>
                  <a:pt x="711" y="136"/>
                  <a:pt x="711" y="136"/>
                </a:cubicBezTo>
                <a:cubicBezTo>
                  <a:pt x="711" y="139"/>
                  <a:pt x="711" y="141"/>
                  <a:pt x="711" y="144"/>
                </a:cubicBezTo>
                <a:cubicBezTo>
                  <a:pt x="712" y="143"/>
                  <a:pt x="713" y="143"/>
                  <a:pt x="714" y="142"/>
                </a:cubicBezTo>
                <a:close/>
                <a:moveTo>
                  <a:pt x="471" y="29"/>
                </a:moveTo>
                <a:cubicBezTo>
                  <a:pt x="473" y="36"/>
                  <a:pt x="476" y="43"/>
                  <a:pt x="479" y="49"/>
                </a:cubicBezTo>
                <a:cubicBezTo>
                  <a:pt x="482" y="59"/>
                  <a:pt x="486" y="68"/>
                  <a:pt x="490" y="77"/>
                </a:cubicBezTo>
                <a:cubicBezTo>
                  <a:pt x="490" y="78"/>
                  <a:pt x="490" y="79"/>
                  <a:pt x="490" y="81"/>
                </a:cubicBezTo>
                <a:cubicBezTo>
                  <a:pt x="488" y="83"/>
                  <a:pt x="487" y="86"/>
                  <a:pt x="486" y="89"/>
                </a:cubicBezTo>
                <a:cubicBezTo>
                  <a:pt x="486" y="90"/>
                  <a:pt x="485" y="91"/>
                  <a:pt x="484" y="92"/>
                </a:cubicBezTo>
                <a:cubicBezTo>
                  <a:pt x="482" y="96"/>
                  <a:pt x="479" y="97"/>
                  <a:pt x="475" y="96"/>
                </a:cubicBezTo>
                <a:cubicBezTo>
                  <a:pt x="474" y="96"/>
                  <a:pt x="472" y="95"/>
                  <a:pt x="472" y="96"/>
                </a:cubicBezTo>
                <a:cubicBezTo>
                  <a:pt x="471" y="97"/>
                  <a:pt x="472" y="98"/>
                  <a:pt x="472" y="99"/>
                </a:cubicBezTo>
                <a:cubicBezTo>
                  <a:pt x="471" y="100"/>
                  <a:pt x="471" y="101"/>
                  <a:pt x="472" y="102"/>
                </a:cubicBezTo>
                <a:cubicBezTo>
                  <a:pt x="472" y="103"/>
                  <a:pt x="472" y="103"/>
                  <a:pt x="473" y="103"/>
                </a:cubicBezTo>
                <a:cubicBezTo>
                  <a:pt x="478" y="104"/>
                  <a:pt x="483" y="104"/>
                  <a:pt x="487" y="100"/>
                </a:cubicBezTo>
                <a:cubicBezTo>
                  <a:pt x="489" y="98"/>
                  <a:pt x="490" y="97"/>
                  <a:pt x="492" y="95"/>
                </a:cubicBezTo>
                <a:cubicBezTo>
                  <a:pt x="493" y="92"/>
                  <a:pt x="494" y="90"/>
                  <a:pt x="495" y="87"/>
                </a:cubicBezTo>
                <a:cubicBezTo>
                  <a:pt x="499" y="79"/>
                  <a:pt x="502" y="70"/>
                  <a:pt x="506" y="62"/>
                </a:cubicBezTo>
                <a:cubicBezTo>
                  <a:pt x="510" y="51"/>
                  <a:pt x="514" y="40"/>
                  <a:pt x="519" y="29"/>
                </a:cubicBezTo>
                <a:cubicBezTo>
                  <a:pt x="519" y="28"/>
                  <a:pt x="519" y="27"/>
                  <a:pt x="519" y="26"/>
                </a:cubicBezTo>
                <a:cubicBezTo>
                  <a:pt x="516" y="26"/>
                  <a:pt x="514" y="26"/>
                  <a:pt x="511" y="26"/>
                </a:cubicBezTo>
                <a:cubicBezTo>
                  <a:pt x="508" y="34"/>
                  <a:pt x="505" y="41"/>
                  <a:pt x="503" y="48"/>
                </a:cubicBezTo>
                <a:cubicBezTo>
                  <a:pt x="500" y="55"/>
                  <a:pt x="498" y="63"/>
                  <a:pt x="495" y="70"/>
                </a:cubicBezTo>
                <a:cubicBezTo>
                  <a:pt x="494" y="69"/>
                  <a:pt x="494" y="68"/>
                  <a:pt x="493" y="67"/>
                </a:cubicBezTo>
                <a:cubicBezTo>
                  <a:pt x="489" y="54"/>
                  <a:pt x="485" y="42"/>
                  <a:pt x="480" y="30"/>
                </a:cubicBezTo>
                <a:cubicBezTo>
                  <a:pt x="479" y="26"/>
                  <a:pt x="480" y="26"/>
                  <a:pt x="475" y="26"/>
                </a:cubicBezTo>
                <a:cubicBezTo>
                  <a:pt x="474" y="26"/>
                  <a:pt x="472" y="26"/>
                  <a:pt x="470" y="26"/>
                </a:cubicBezTo>
                <a:cubicBezTo>
                  <a:pt x="470" y="26"/>
                  <a:pt x="470" y="27"/>
                  <a:pt x="470" y="27"/>
                </a:cubicBezTo>
                <a:cubicBezTo>
                  <a:pt x="470" y="27"/>
                  <a:pt x="470" y="28"/>
                  <a:pt x="471" y="29"/>
                </a:cubicBezTo>
                <a:close/>
                <a:moveTo>
                  <a:pt x="132" y="140"/>
                </a:moveTo>
                <a:cubicBezTo>
                  <a:pt x="132" y="139"/>
                  <a:pt x="132" y="138"/>
                  <a:pt x="132" y="137"/>
                </a:cubicBezTo>
                <a:cubicBezTo>
                  <a:pt x="132" y="136"/>
                  <a:pt x="132" y="134"/>
                  <a:pt x="132" y="133"/>
                </a:cubicBezTo>
                <a:cubicBezTo>
                  <a:pt x="132" y="132"/>
                  <a:pt x="132" y="132"/>
                  <a:pt x="131" y="132"/>
                </a:cubicBezTo>
                <a:cubicBezTo>
                  <a:pt x="129" y="132"/>
                  <a:pt x="127" y="132"/>
                  <a:pt x="125" y="132"/>
                </a:cubicBezTo>
                <a:cubicBezTo>
                  <a:pt x="124" y="132"/>
                  <a:pt x="124" y="132"/>
                  <a:pt x="124" y="133"/>
                </a:cubicBezTo>
                <a:cubicBezTo>
                  <a:pt x="124" y="133"/>
                  <a:pt x="124" y="133"/>
                  <a:pt x="124" y="134"/>
                </a:cubicBezTo>
                <a:cubicBezTo>
                  <a:pt x="124" y="150"/>
                  <a:pt x="124" y="166"/>
                  <a:pt x="124" y="182"/>
                </a:cubicBezTo>
                <a:cubicBezTo>
                  <a:pt x="124" y="184"/>
                  <a:pt x="124" y="184"/>
                  <a:pt x="126" y="184"/>
                </a:cubicBezTo>
                <a:cubicBezTo>
                  <a:pt x="127" y="184"/>
                  <a:pt x="129" y="184"/>
                  <a:pt x="130" y="184"/>
                </a:cubicBezTo>
                <a:cubicBezTo>
                  <a:pt x="131" y="184"/>
                  <a:pt x="131" y="184"/>
                  <a:pt x="131" y="184"/>
                </a:cubicBezTo>
                <a:cubicBezTo>
                  <a:pt x="132" y="184"/>
                  <a:pt x="132" y="184"/>
                  <a:pt x="132" y="183"/>
                </a:cubicBezTo>
                <a:cubicBezTo>
                  <a:pt x="132" y="183"/>
                  <a:pt x="132" y="182"/>
                  <a:pt x="132" y="181"/>
                </a:cubicBezTo>
                <a:cubicBezTo>
                  <a:pt x="132" y="173"/>
                  <a:pt x="132" y="164"/>
                  <a:pt x="132" y="156"/>
                </a:cubicBezTo>
                <a:cubicBezTo>
                  <a:pt x="132" y="155"/>
                  <a:pt x="132" y="154"/>
                  <a:pt x="132" y="153"/>
                </a:cubicBezTo>
                <a:cubicBezTo>
                  <a:pt x="132" y="150"/>
                  <a:pt x="133" y="148"/>
                  <a:pt x="134" y="146"/>
                </a:cubicBezTo>
                <a:cubicBezTo>
                  <a:pt x="137" y="140"/>
                  <a:pt x="142" y="137"/>
                  <a:pt x="148" y="138"/>
                </a:cubicBezTo>
                <a:cubicBezTo>
                  <a:pt x="152" y="138"/>
                  <a:pt x="155" y="140"/>
                  <a:pt x="157" y="144"/>
                </a:cubicBezTo>
                <a:cubicBezTo>
                  <a:pt x="158" y="145"/>
                  <a:pt x="158" y="145"/>
                  <a:pt x="158" y="146"/>
                </a:cubicBezTo>
                <a:cubicBezTo>
                  <a:pt x="159" y="149"/>
                  <a:pt x="159" y="152"/>
                  <a:pt x="159" y="155"/>
                </a:cubicBezTo>
                <a:cubicBezTo>
                  <a:pt x="159" y="164"/>
                  <a:pt x="159" y="172"/>
                  <a:pt x="159" y="181"/>
                </a:cubicBezTo>
                <a:cubicBezTo>
                  <a:pt x="159" y="182"/>
                  <a:pt x="159" y="183"/>
                  <a:pt x="159" y="183"/>
                </a:cubicBezTo>
                <a:cubicBezTo>
                  <a:pt x="159" y="184"/>
                  <a:pt x="159" y="184"/>
                  <a:pt x="160" y="184"/>
                </a:cubicBezTo>
                <a:cubicBezTo>
                  <a:pt x="162" y="184"/>
                  <a:pt x="164" y="184"/>
                  <a:pt x="167" y="184"/>
                </a:cubicBezTo>
                <a:cubicBezTo>
                  <a:pt x="167" y="184"/>
                  <a:pt x="167" y="184"/>
                  <a:pt x="167" y="184"/>
                </a:cubicBezTo>
                <a:cubicBezTo>
                  <a:pt x="168" y="183"/>
                  <a:pt x="167" y="182"/>
                  <a:pt x="167" y="182"/>
                </a:cubicBezTo>
                <a:cubicBezTo>
                  <a:pt x="167" y="172"/>
                  <a:pt x="168" y="163"/>
                  <a:pt x="167" y="153"/>
                </a:cubicBezTo>
                <a:cubicBezTo>
                  <a:pt x="167" y="151"/>
                  <a:pt x="167" y="150"/>
                  <a:pt x="167" y="148"/>
                </a:cubicBezTo>
                <a:cubicBezTo>
                  <a:pt x="167" y="145"/>
                  <a:pt x="166" y="142"/>
                  <a:pt x="165" y="139"/>
                </a:cubicBezTo>
                <a:cubicBezTo>
                  <a:pt x="162" y="135"/>
                  <a:pt x="159" y="132"/>
                  <a:pt x="155" y="131"/>
                </a:cubicBezTo>
                <a:cubicBezTo>
                  <a:pt x="153" y="130"/>
                  <a:pt x="151" y="130"/>
                  <a:pt x="149" y="130"/>
                </a:cubicBezTo>
                <a:cubicBezTo>
                  <a:pt x="143" y="131"/>
                  <a:pt x="138" y="133"/>
                  <a:pt x="134" y="138"/>
                </a:cubicBezTo>
                <a:cubicBezTo>
                  <a:pt x="134" y="138"/>
                  <a:pt x="133" y="139"/>
                  <a:pt x="133" y="140"/>
                </a:cubicBezTo>
                <a:cubicBezTo>
                  <a:pt x="133" y="140"/>
                  <a:pt x="132" y="140"/>
                  <a:pt x="132" y="140"/>
                </a:cubicBezTo>
                <a:close/>
                <a:moveTo>
                  <a:pt x="768" y="140"/>
                </a:moveTo>
                <a:cubicBezTo>
                  <a:pt x="768" y="139"/>
                  <a:pt x="768" y="139"/>
                  <a:pt x="768" y="138"/>
                </a:cubicBezTo>
                <a:cubicBezTo>
                  <a:pt x="768" y="136"/>
                  <a:pt x="768" y="135"/>
                  <a:pt x="768" y="133"/>
                </a:cubicBezTo>
                <a:cubicBezTo>
                  <a:pt x="768" y="132"/>
                  <a:pt x="768" y="132"/>
                  <a:pt x="767" y="132"/>
                </a:cubicBezTo>
                <a:cubicBezTo>
                  <a:pt x="765" y="132"/>
                  <a:pt x="763" y="132"/>
                  <a:pt x="761" y="132"/>
                </a:cubicBezTo>
                <a:cubicBezTo>
                  <a:pt x="760" y="132"/>
                  <a:pt x="760" y="132"/>
                  <a:pt x="760" y="133"/>
                </a:cubicBezTo>
                <a:cubicBezTo>
                  <a:pt x="760" y="133"/>
                  <a:pt x="760" y="134"/>
                  <a:pt x="760" y="134"/>
                </a:cubicBezTo>
                <a:cubicBezTo>
                  <a:pt x="760" y="150"/>
                  <a:pt x="760" y="166"/>
                  <a:pt x="760" y="182"/>
                </a:cubicBezTo>
                <a:cubicBezTo>
                  <a:pt x="760" y="183"/>
                  <a:pt x="760" y="183"/>
                  <a:pt x="760" y="184"/>
                </a:cubicBezTo>
                <a:cubicBezTo>
                  <a:pt x="760" y="184"/>
                  <a:pt x="760" y="184"/>
                  <a:pt x="761" y="184"/>
                </a:cubicBezTo>
                <a:cubicBezTo>
                  <a:pt x="761" y="184"/>
                  <a:pt x="762" y="184"/>
                  <a:pt x="763" y="184"/>
                </a:cubicBezTo>
                <a:cubicBezTo>
                  <a:pt x="764" y="184"/>
                  <a:pt x="766" y="184"/>
                  <a:pt x="767" y="184"/>
                </a:cubicBezTo>
                <a:cubicBezTo>
                  <a:pt x="768" y="184"/>
                  <a:pt x="768" y="184"/>
                  <a:pt x="768" y="183"/>
                </a:cubicBezTo>
                <a:cubicBezTo>
                  <a:pt x="768" y="183"/>
                  <a:pt x="768" y="182"/>
                  <a:pt x="768" y="182"/>
                </a:cubicBezTo>
                <a:cubicBezTo>
                  <a:pt x="768" y="173"/>
                  <a:pt x="768" y="165"/>
                  <a:pt x="768" y="156"/>
                </a:cubicBezTo>
                <a:cubicBezTo>
                  <a:pt x="768" y="155"/>
                  <a:pt x="768" y="153"/>
                  <a:pt x="768" y="152"/>
                </a:cubicBezTo>
                <a:cubicBezTo>
                  <a:pt x="769" y="150"/>
                  <a:pt x="769" y="147"/>
                  <a:pt x="771" y="145"/>
                </a:cubicBezTo>
                <a:cubicBezTo>
                  <a:pt x="774" y="140"/>
                  <a:pt x="778" y="137"/>
                  <a:pt x="784" y="138"/>
                </a:cubicBezTo>
                <a:cubicBezTo>
                  <a:pt x="788" y="138"/>
                  <a:pt x="791" y="140"/>
                  <a:pt x="793" y="143"/>
                </a:cubicBezTo>
                <a:cubicBezTo>
                  <a:pt x="793" y="144"/>
                  <a:pt x="794" y="145"/>
                  <a:pt x="794" y="146"/>
                </a:cubicBezTo>
                <a:cubicBezTo>
                  <a:pt x="795" y="149"/>
                  <a:pt x="795" y="152"/>
                  <a:pt x="795" y="154"/>
                </a:cubicBezTo>
                <a:cubicBezTo>
                  <a:pt x="795" y="163"/>
                  <a:pt x="795" y="172"/>
                  <a:pt x="795" y="181"/>
                </a:cubicBezTo>
                <a:cubicBezTo>
                  <a:pt x="795" y="182"/>
                  <a:pt x="795" y="183"/>
                  <a:pt x="795" y="184"/>
                </a:cubicBezTo>
                <a:cubicBezTo>
                  <a:pt x="795" y="184"/>
                  <a:pt x="795" y="184"/>
                  <a:pt x="796" y="184"/>
                </a:cubicBezTo>
                <a:cubicBezTo>
                  <a:pt x="798" y="184"/>
                  <a:pt x="800" y="184"/>
                  <a:pt x="803" y="184"/>
                </a:cubicBezTo>
                <a:cubicBezTo>
                  <a:pt x="803" y="184"/>
                  <a:pt x="803" y="184"/>
                  <a:pt x="803" y="184"/>
                </a:cubicBezTo>
                <a:cubicBezTo>
                  <a:pt x="804" y="183"/>
                  <a:pt x="804" y="182"/>
                  <a:pt x="804" y="182"/>
                </a:cubicBezTo>
                <a:cubicBezTo>
                  <a:pt x="804" y="172"/>
                  <a:pt x="804" y="162"/>
                  <a:pt x="804" y="152"/>
                </a:cubicBezTo>
                <a:cubicBezTo>
                  <a:pt x="804" y="151"/>
                  <a:pt x="803" y="149"/>
                  <a:pt x="803" y="148"/>
                </a:cubicBezTo>
                <a:cubicBezTo>
                  <a:pt x="803" y="144"/>
                  <a:pt x="802" y="141"/>
                  <a:pt x="801" y="138"/>
                </a:cubicBezTo>
                <a:cubicBezTo>
                  <a:pt x="798" y="135"/>
                  <a:pt x="795" y="132"/>
                  <a:pt x="791" y="131"/>
                </a:cubicBezTo>
                <a:cubicBezTo>
                  <a:pt x="789" y="131"/>
                  <a:pt x="787" y="130"/>
                  <a:pt x="785" y="130"/>
                </a:cubicBezTo>
                <a:cubicBezTo>
                  <a:pt x="779" y="131"/>
                  <a:pt x="774" y="133"/>
                  <a:pt x="770" y="138"/>
                </a:cubicBezTo>
                <a:cubicBezTo>
                  <a:pt x="770" y="139"/>
                  <a:pt x="769" y="139"/>
                  <a:pt x="769" y="140"/>
                </a:cubicBezTo>
                <a:cubicBezTo>
                  <a:pt x="769" y="140"/>
                  <a:pt x="768" y="140"/>
                  <a:pt x="768" y="140"/>
                </a:cubicBezTo>
                <a:close/>
                <a:moveTo>
                  <a:pt x="876" y="33"/>
                </a:moveTo>
                <a:cubicBezTo>
                  <a:pt x="876" y="31"/>
                  <a:pt x="876" y="29"/>
                  <a:pt x="876" y="28"/>
                </a:cubicBezTo>
                <a:cubicBezTo>
                  <a:pt x="876" y="26"/>
                  <a:pt x="876" y="26"/>
                  <a:pt x="874" y="26"/>
                </a:cubicBezTo>
                <a:cubicBezTo>
                  <a:pt x="873" y="26"/>
                  <a:pt x="871" y="26"/>
                  <a:pt x="870" y="26"/>
                </a:cubicBezTo>
                <a:cubicBezTo>
                  <a:pt x="867" y="26"/>
                  <a:pt x="867" y="26"/>
                  <a:pt x="867" y="29"/>
                </a:cubicBezTo>
                <a:cubicBezTo>
                  <a:pt x="867" y="45"/>
                  <a:pt x="867" y="61"/>
                  <a:pt x="867" y="77"/>
                </a:cubicBezTo>
                <a:cubicBezTo>
                  <a:pt x="867" y="77"/>
                  <a:pt x="867" y="78"/>
                  <a:pt x="867" y="78"/>
                </a:cubicBezTo>
                <a:cubicBezTo>
                  <a:pt x="867" y="79"/>
                  <a:pt x="868" y="79"/>
                  <a:pt x="868" y="79"/>
                </a:cubicBezTo>
                <a:cubicBezTo>
                  <a:pt x="870" y="79"/>
                  <a:pt x="873" y="79"/>
                  <a:pt x="875" y="79"/>
                </a:cubicBezTo>
                <a:cubicBezTo>
                  <a:pt x="876" y="79"/>
                  <a:pt x="876" y="79"/>
                  <a:pt x="876" y="78"/>
                </a:cubicBezTo>
                <a:cubicBezTo>
                  <a:pt x="876" y="77"/>
                  <a:pt x="876" y="77"/>
                  <a:pt x="876" y="76"/>
                </a:cubicBezTo>
                <a:cubicBezTo>
                  <a:pt x="876" y="68"/>
                  <a:pt x="876" y="59"/>
                  <a:pt x="876" y="51"/>
                </a:cubicBezTo>
                <a:cubicBezTo>
                  <a:pt x="876" y="50"/>
                  <a:pt x="876" y="48"/>
                  <a:pt x="876" y="47"/>
                </a:cubicBezTo>
                <a:cubicBezTo>
                  <a:pt x="876" y="44"/>
                  <a:pt x="877" y="41"/>
                  <a:pt x="879" y="39"/>
                </a:cubicBezTo>
                <a:cubicBezTo>
                  <a:pt x="882" y="34"/>
                  <a:pt x="886" y="32"/>
                  <a:pt x="892" y="32"/>
                </a:cubicBezTo>
                <a:cubicBezTo>
                  <a:pt x="896" y="33"/>
                  <a:pt x="899" y="35"/>
                  <a:pt x="901" y="39"/>
                </a:cubicBezTo>
                <a:cubicBezTo>
                  <a:pt x="901" y="40"/>
                  <a:pt x="901" y="40"/>
                  <a:pt x="902" y="41"/>
                </a:cubicBezTo>
                <a:cubicBezTo>
                  <a:pt x="902" y="44"/>
                  <a:pt x="903" y="47"/>
                  <a:pt x="903" y="49"/>
                </a:cubicBezTo>
                <a:cubicBezTo>
                  <a:pt x="903" y="58"/>
                  <a:pt x="903" y="67"/>
                  <a:pt x="903" y="76"/>
                </a:cubicBezTo>
                <a:cubicBezTo>
                  <a:pt x="903" y="76"/>
                  <a:pt x="903" y="77"/>
                  <a:pt x="903" y="78"/>
                </a:cubicBezTo>
                <a:cubicBezTo>
                  <a:pt x="903" y="79"/>
                  <a:pt x="903" y="79"/>
                  <a:pt x="904" y="79"/>
                </a:cubicBezTo>
                <a:cubicBezTo>
                  <a:pt x="906" y="79"/>
                  <a:pt x="907" y="79"/>
                  <a:pt x="909" y="79"/>
                </a:cubicBezTo>
                <a:cubicBezTo>
                  <a:pt x="911" y="79"/>
                  <a:pt x="911" y="79"/>
                  <a:pt x="911" y="77"/>
                </a:cubicBezTo>
                <a:cubicBezTo>
                  <a:pt x="911" y="77"/>
                  <a:pt x="911" y="77"/>
                  <a:pt x="911" y="76"/>
                </a:cubicBezTo>
                <a:cubicBezTo>
                  <a:pt x="911" y="67"/>
                  <a:pt x="911" y="57"/>
                  <a:pt x="911" y="47"/>
                </a:cubicBezTo>
                <a:cubicBezTo>
                  <a:pt x="911" y="46"/>
                  <a:pt x="911" y="44"/>
                  <a:pt x="911" y="43"/>
                </a:cubicBezTo>
                <a:cubicBezTo>
                  <a:pt x="911" y="39"/>
                  <a:pt x="910" y="36"/>
                  <a:pt x="908" y="33"/>
                </a:cubicBezTo>
                <a:cubicBezTo>
                  <a:pt x="906" y="29"/>
                  <a:pt x="903" y="27"/>
                  <a:pt x="898" y="26"/>
                </a:cubicBezTo>
                <a:cubicBezTo>
                  <a:pt x="896" y="25"/>
                  <a:pt x="894" y="25"/>
                  <a:pt x="892" y="25"/>
                </a:cubicBezTo>
                <a:cubicBezTo>
                  <a:pt x="886" y="25"/>
                  <a:pt x="882" y="28"/>
                  <a:pt x="878" y="32"/>
                </a:cubicBezTo>
                <a:cubicBezTo>
                  <a:pt x="877" y="33"/>
                  <a:pt x="877" y="34"/>
                  <a:pt x="876" y="35"/>
                </a:cubicBezTo>
                <a:cubicBezTo>
                  <a:pt x="876" y="34"/>
                  <a:pt x="876" y="33"/>
                  <a:pt x="876" y="33"/>
                </a:cubicBezTo>
                <a:close/>
                <a:moveTo>
                  <a:pt x="324" y="179"/>
                </a:moveTo>
                <a:cubicBezTo>
                  <a:pt x="324" y="181"/>
                  <a:pt x="324" y="182"/>
                  <a:pt x="324" y="183"/>
                </a:cubicBezTo>
                <a:cubicBezTo>
                  <a:pt x="324" y="184"/>
                  <a:pt x="324" y="184"/>
                  <a:pt x="325" y="184"/>
                </a:cubicBezTo>
                <a:cubicBezTo>
                  <a:pt x="327" y="184"/>
                  <a:pt x="328" y="184"/>
                  <a:pt x="330" y="184"/>
                </a:cubicBezTo>
                <a:cubicBezTo>
                  <a:pt x="333" y="184"/>
                  <a:pt x="333" y="185"/>
                  <a:pt x="333" y="181"/>
                </a:cubicBezTo>
                <a:cubicBezTo>
                  <a:pt x="333" y="166"/>
                  <a:pt x="333" y="150"/>
                  <a:pt x="333" y="135"/>
                </a:cubicBezTo>
                <a:cubicBezTo>
                  <a:pt x="333" y="131"/>
                  <a:pt x="333" y="132"/>
                  <a:pt x="329" y="132"/>
                </a:cubicBezTo>
                <a:cubicBezTo>
                  <a:pt x="328" y="132"/>
                  <a:pt x="326" y="132"/>
                  <a:pt x="325" y="132"/>
                </a:cubicBezTo>
                <a:cubicBezTo>
                  <a:pt x="324" y="132"/>
                  <a:pt x="324" y="132"/>
                  <a:pt x="324" y="132"/>
                </a:cubicBezTo>
                <a:cubicBezTo>
                  <a:pt x="324" y="133"/>
                  <a:pt x="324" y="134"/>
                  <a:pt x="324" y="135"/>
                </a:cubicBezTo>
                <a:cubicBezTo>
                  <a:pt x="324" y="143"/>
                  <a:pt x="324" y="151"/>
                  <a:pt x="324" y="160"/>
                </a:cubicBezTo>
                <a:cubicBezTo>
                  <a:pt x="324" y="161"/>
                  <a:pt x="324" y="163"/>
                  <a:pt x="324" y="164"/>
                </a:cubicBezTo>
                <a:cubicBezTo>
                  <a:pt x="324" y="166"/>
                  <a:pt x="323" y="169"/>
                  <a:pt x="322" y="171"/>
                </a:cubicBezTo>
                <a:cubicBezTo>
                  <a:pt x="319" y="178"/>
                  <a:pt x="312" y="180"/>
                  <a:pt x="306" y="178"/>
                </a:cubicBezTo>
                <a:cubicBezTo>
                  <a:pt x="303" y="177"/>
                  <a:pt x="301" y="176"/>
                  <a:pt x="300" y="173"/>
                </a:cubicBezTo>
                <a:cubicBezTo>
                  <a:pt x="299" y="172"/>
                  <a:pt x="299" y="171"/>
                  <a:pt x="298" y="170"/>
                </a:cubicBezTo>
                <a:cubicBezTo>
                  <a:pt x="298" y="167"/>
                  <a:pt x="297" y="165"/>
                  <a:pt x="297" y="162"/>
                </a:cubicBezTo>
                <a:cubicBezTo>
                  <a:pt x="297" y="153"/>
                  <a:pt x="297" y="144"/>
                  <a:pt x="297" y="135"/>
                </a:cubicBezTo>
                <a:cubicBezTo>
                  <a:pt x="297" y="134"/>
                  <a:pt x="297" y="133"/>
                  <a:pt x="297" y="132"/>
                </a:cubicBezTo>
                <a:cubicBezTo>
                  <a:pt x="297" y="132"/>
                  <a:pt x="297" y="132"/>
                  <a:pt x="297" y="132"/>
                </a:cubicBezTo>
                <a:cubicBezTo>
                  <a:pt x="296" y="132"/>
                  <a:pt x="296" y="132"/>
                  <a:pt x="296" y="132"/>
                </a:cubicBezTo>
                <a:cubicBezTo>
                  <a:pt x="294" y="132"/>
                  <a:pt x="292" y="132"/>
                  <a:pt x="290" y="132"/>
                </a:cubicBezTo>
                <a:cubicBezTo>
                  <a:pt x="289" y="132"/>
                  <a:pt x="289" y="132"/>
                  <a:pt x="289" y="133"/>
                </a:cubicBezTo>
                <a:cubicBezTo>
                  <a:pt x="289" y="133"/>
                  <a:pt x="289" y="134"/>
                  <a:pt x="289" y="134"/>
                </a:cubicBezTo>
                <a:cubicBezTo>
                  <a:pt x="289" y="144"/>
                  <a:pt x="289" y="154"/>
                  <a:pt x="289" y="163"/>
                </a:cubicBezTo>
                <a:cubicBezTo>
                  <a:pt x="289" y="165"/>
                  <a:pt x="289" y="166"/>
                  <a:pt x="289" y="168"/>
                </a:cubicBezTo>
                <a:cubicBezTo>
                  <a:pt x="289" y="171"/>
                  <a:pt x="290" y="174"/>
                  <a:pt x="291" y="176"/>
                </a:cubicBezTo>
                <a:cubicBezTo>
                  <a:pt x="293" y="181"/>
                  <a:pt x="296" y="183"/>
                  <a:pt x="301" y="185"/>
                </a:cubicBezTo>
                <a:cubicBezTo>
                  <a:pt x="304" y="186"/>
                  <a:pt x="307" y="186"/>
                  <a:pt x="310" y="186"/>
                </a:cubicBezTo>
                <a:cubicBezTo>
                  <a:pt x="315" y="185"/>
                  <a:pt x="319" y="183"/>
                  <a:pt x="322" y="178"/>
                </a:cubicBezTo>
                <a:cubicBezTo>
                  <a:pt x="323" y="178"/>
                  <a:pt x="323" y="177"/>
                  <a:pt x="324" y="177"/>
                </a:cubicBezTo>
                <a:cubicBezTo>
                  <a:pt x="324" y="178"/>
                  <a:pt x="324" y="178"/>
                  <a:pt x="324" y="179"/>
                </a:cubicBezTo>
                <a:close/>
                <a:moveTo>
                  <a:pt x="550" y="140"/>
                </a:moveTo>
                <a:cubicBezTo>
                  <a:pt x="550" y="139"/>
                  <a:pt x="550" y="138"/>
                  <a:pt x="550" y="137"/>
                </a:cubicBezTo>
                <a:cubicBezTo>
                  <a:pt x="550" y="136"/>
                  <a:pt x="550" y="134"/>
                  <a:pt x="550" y="133"/>
                </a:cubicBezTo>
                <a:cubicBezTo>
                  <a:pt x="550" y="132"/>
                  <a:pt x="550" y="132"/>
                  <a:pt x="549" y="132"/>
                </a:cubicBezTo>
                <a:cubicBezTo>
                  <a:pt x="547" y="132"/>
                  <a:pt x="545" y="132"/>
                  <a:pt x="543" y="132"/>
                </a:cubicBezTo>
                <a:cubicBezTo>
                  <a:pt x="541" y="132"/>
                  <a:pt x="541" y="132"/>
                  <a:pt x="541" y="133"/>
                </a:cubicBezTo>
                <a:cubicBezTo>
                  <a:pt x="541" y="133"/>
                  <a:pt x="541" y="134"/>
                  <a:pt x="541" y="135"/>
                </a:cubicBezTo>
                <a:cubicBezTo>
                  <a:pt x="541" y="150"/>
                  <a:pt x="541" y="166"/>
                  <a:pt x="541" y="182"/>
                </a:cubicBezTo>
                <a:cubicBezTo>
                  <a:pt x="541" y="182"/>
                  <a:pt x="541" y="183"/>
                  <a:pt x="541" y="183"/>
                </a:cubicBezTo>
                <a:cubicBezTo>
                  <a:pt x="541" y="184"/>
                  <a:pt x="542" y="184"/>
                  <a:pt x="542" y="184"/>
                </a:cubicBezTo>
                <a:cubicBezTo>
                  <a:pt x="544" y="184"/>
                  <a:pt x="545" y="184"/>
                  <a:pt x="547" y="184"/>
                </a:cubicBezTo>
                <a:cubicBezTo>
                  <a:pt x="550" y="184"/>
                  <a:pt x="550" y="185"/>
                  <a:pt x="550" y="181"/>
                </a:cubicBezTo>
                <a:cubicBezTo>
                  <a:pt x="550" y="173"/>
                  <a:pt x="550" y="164"/>
                  <a:pt x="550" y="155"/>
                </a:cubicBezTo>
                <a:cubicBezTo>
                  <a:pt x="550" y="153"/>
                  <a:pt x="550" y="151"/>
                  <a:pt x="551" y="148"/>
                </a:cubicBezTo>
                <a:cubicBezTo>
                  <a:pt x="552" y="143"/>
                  <a:pt x="557" y="137"/>
                  <a:pt x="566" y="138"/>
                </a:cubicBezTo>
                <a:cubicBezTo>
                  <a:pt x="570" y="138"/>
                  <a:pt x="573" y="140"/>
                  <a:pt x="575" y="144"/>
                </a:cubicBezTo>
                <a:cubicBezTo>
                  <a:pt x="575" y="145"/>
                  <a:pt x="575" y="146"/>
                  <a:pt x="576" y="146"/>
                </a:cubicBezTo>
                <a:cubicBezTo>
                  <a:pt x="576" y="149"/>
                  <a:pt x="577" y="152"/>
                  <a:pt x="577" y="155"/>
                </a:cubicBezTo>
                <a:cubicBezTo>
                  <a:pt x="577" y="163"/>
                  <a:pt x="577" y="172"/>
                  <a:pt x="577" y="181"/>
                </a:cubicBezTo>
                <a:cubicBezTo>
                  <a:pt x="577" y="182"/>
                  <a:pt x="577" y="182"/>
                  <a:pt x="577" y="183"/>
                </a:cubicBezTo>
                <a:cubicBezTo>
                  <a:pt x="577" y="184"/>
                  <a:pt x="577" y="184"/>
                  <a:pt x="578" y="184"/>
                </a:cubicBezTo>
                <a:cubicBezTo>
                  <a:pt x="579" y="184"/>
                  <a:pt x="581" y="184"/>
                  <a:pt x="583" y="184"/>
                </a:cubicBezTo>
                <a:cubicBezTo>
                  <a:pt x="585" y="184"/>
                  <a:pt x="585" y="184"/>
                  <a:pt x="585" y="182"/>
                </a:cubicBezTo>
                <a:cubicBezTo>
                  <a:pt x="585" y="172"/>
                  <a:pt x="585" y="162"/>
                  <a:pt x="585" y="151"/>
                </a:cubicBezTo>
                <a:cubicBezTo>
                  <a:pt x="585" y="150"/>
                  <a:pt x="585" y="149"/>
                  <a:pt x="585" y="148"/>
                </a:cubicBezTo>
                <a:cubicBezTo>
                  <a:pt x="585" y="145"/>
                  <a:pt x="584" y="142"/>
                  <a:pt x="582" y="139"/>
                </a:cubicBezTo>
                <a:cubicBezTo>
                  <a:pt x="580" y="135"/>
                  <a:pt x="577" y="132"/>
                  <a:pt x="572" y="131"/>
                </a:cubicBezTo>
                <a:cubicBezTo>
                  <a:pt x="570" y="130"/>
                  <a:pt x="568" y="130"/>
                  <a:pt x="566" y="130"/>
                </a:cubicBezTo>
                <a:cubicBezTo>
                  <a:pt x="560" y="131"/>
                  <a:pt x="555" y="133"/>
                  <a:pt x="552" y="138"/>
                </a:cubicBezTo>
                <a:cubicBezTo>
                  <a:pt x="551" y="138"/>
                  <a:pt x="551" y="139"/>
                  <a:pt x="550" y="140"/>
                </a:cubicBezTo>
                <a:cubicBezTo>
                  <a:pt x="550" y="140"/>
                  <a:pt x="550" y="140"/>
                  <a:pt x="550" y="140"/>
                </a:cubicBezTo>
                <a:close/>
                <a:moveTo>
                  <a:pt x="206" y="107"/>
                </a:moveTo>
                <a:cubicBezTo>
                  <a:pt x="206" y="106"/>
                  <a:pt x="206" y="106"/>
                  <a:pt x="205" y="106"/>
                </a:cubicBezTo>
                <a:cubicBezTo>
                  <a:pt x="203" y="105"/>
                  <a:pt x="201" y="105"/>
                  <a:pt x="199" y="105"/>
                </a:cubicBezTo>
                <a:cubicBezTo>
                  <a:pt x="192" y="106"/>
                  <a:pt x="188" y="109"/>
                  <a:pt x="185" y="115"/>
                </a:cubicBezTo>
                <a:cubicBezTo>
                  <a:pt x="184" y="117"/>
                  <a:pt x="183" y="120"/>
                  <a:pt x="183" y="122"/>
                </a:cubicBezTo>
                <a:cubicBezTo>
                  <a:pt x="183" y="124"/>
                  <a:pt x="183" y="126"/>
                  <a:pt x="183" y="128"/>
                </a:cubicBezTo>
                <a:cubicBezTo>
                  <a:pt x="183" y="129"/>
                  <a:pt x="183" y="130"/>
                  <a:pt x="183" y="130"/>
                </a:cubicBezTo>
                <a:cubicBezTo>
                  <a:pt x="183" y="132"/>
                  <a:pt x="183" y="132"/>
                  <a:pt x="182" y="132"/>
                </a:cubicBezTo>
                <a:cubicBezTo>
                  <a:pt x="181" y="132"/>
                  <a:pt x="181" y="132"/>
                  <a:pt x="181" y="132"/>
                </a:cubicBezTo>
                <a:cubicBezTo>
                  <a:pt x="179" y="132"/>
                  <a:pt x="177" y="132"/>
                  <a:pt x="175" y="132"/>
                </a:cubicBezTo>
                <a:cubicBezTo>
                  <a:pt x="175" y="132"/>
                  <a:pt x="174" y="132"/>
                  <a:pt x="174" y="133"/>
                </a:cubicBezTo>
                <a:cubicBezTo>
                  <a:pt x="174" y="134"/>
                  <a:pt x="174" y="136"/>
                  <a:pt x="174" y="138"/>
                </a:cubicBezTo>
                <a:cubicBezTo>
                  <a:pt x="174" y="139"/>
                  <a:pt x="175" y="139"/>
                  <a:pt x="175" y="139"/>
                </a:cubicBezTo>
                <a:cubicBezTo>
                  <a:pt x="175" y="139"/>
                  <a:pt x="176" y="139"/>
                  <a:pt x="176" y="139"/>
                </a:cubicBezTo>
                <a:cubicBezTo>
                  <a:pt x="178" y="139"/>
                  <a:pt x="180" y="139"/>
                  <a:pt x="182" y="139"/>
                </a:cubicBezTo>
                <a:cubicBezTo>
                  <a:pt x="183" y="139"/>
                  <a:pt x="183" y="139"/>
                  <a:pt x="183" y="140"/>
                </a:cubicBezTo>
                <a:cubicBezTo>
                  <a:pt x="183" y="141"/>
                  <a:pt x="183" y="141"/>
                  <a:pt x="183" y="142"/>
                </a:cubicBezTo>
                <a:cubicBezTo>
                  <a:pt x="183" y="155"/>
                  <a:pt x="183" y="168"/>
                  <a:pt x="183" y="181"/>
                </a:cubicBezTo>
                <a:cubicBezTo>
                  <a:pt x="183" y="182"/>
                  <a:pt x="183" y="183"/>
                  <a:pt x="183" y="183"/>
                </a:cubicBezTo>
                <a:cubicBezTo>
                  <a:pt x="183" y="184"/>
                  <a:pt x="183" y="184"/>
                  <a:pt x="184" y="184"/>
                </a:cubicBezTo>
                <a:cubicBezTo>
                  <a:pt x="186" y="184"/>
                  <a:pt x="188" y="184"/>
                  <a:pt x="191" y="184"/>
                </a:cubicBezTo>
                <a:cubicBezTo>
                  <a:pt x="191" y="184"/>
                  <a:pt x="192" y="184"/>
                  <a:pt x="192" y="184"/>
                </a:cubicBezTo>
                <a:cubicBezTo>
                  <a:pt x="192" y="183"/>
                  <a:pt x="192" y="182"/>
                  <a:pt x="192" y="181"/>
                </a:cubicBezTo>
                <a:cubicBezTo>
                  <a:pt x="192" y="168"/>
                  <a:pt x="192" y="155"/>
                  <a:pt x="192" y="142"/>
                </a:cubicBezTo>
                <a:cubicBezTo>
                  <a:pt x="192" y="141"/>
                  <a:pt x="192" y="141"/>
                  <a:pt x="192" y="140"/>
                </a:cubicBezTo>
                <a:cubicBezTo>
                  <a:pt x="192" y="139"/>
                  <a:pt x="192" y="139"/>
                  <a:pt x="193" y="139"/>
                </a:cubicBezTo>
                <a:cubicBezTo>
                  <a:pt x="195" y="139"/>
                  <a:pt x="198" y="139"/>
                  <a:pt x="200" y="139"/>
                </a:cubicBezTo>
                <a:cubicBezTo>
                  <a:pt x="201" y="139"/>
                  <a:pt x="203" y="139"/>
                  <a:pt x="204" y="139"/>
                </a:cubicBezTo>
                <a:cubicBezTo>
                  <a:pt x="204" y="137"/>
                  <a:pt x="204" y="136"/>
                  <a:pt x="204" y="135"/>
                </a:cubicBezTo>
                <a:cubicBezTo>
                  <a:pt x="204" y="131"/>
                  <a:pt x="204" y="132"/>
                  <a:pt x="201" y="132"/>
                </a:cubicBezTo>
                <a:cubicBezTo>
                  <a:pt x="198" y="132"/>
                  <a:pt x="195" y="132"/>
                  <a:pt x="193" y="132"/>
                </a:cubicBezTo>
                <a:cubicBezTo>
                  <a:pt x="192" y="132"/>
                  <a:pt x="192" y="131"/>
                  <a:pt x="192" y="131"/>
                </a:cubicBezTo>
                <a:cubicBezTo>
                  <a:pt x="192" y="128"/>
                  <a:pt x="192" y="125"/>
                  <a:pt x="192" y="122"/>
                </a:cubicBezTo>
                <a:cubicBezTo>
                  <a:pt x="192" y="121"/>
                  <a:pt x="192" y="120"/>
                  <a:pt x="192" y="118"/>
                </a:cubicBezTo>
                <a:cubicBezTo>
                  <a:pt x="194" y="115"/>
                  <a:pt x="196" y="113"/>
                  <a:pt x="200" y="112"/>
                </a:cubicBezTo>
                <a:cubicBezTo>
                  <a:pt x="202" y="112"/>
                  <a:pt x="204" y="113"/>
                  <a:pt x="206" y="114"/>
                </a:cubicBezTo>
                <a:cubicBezTo>
                  <a:pt x="206" y="111"/>
                  <a:pt x="206" y="109"/>
                  <a:pt x="206" y="107"/>
                </a:cubicBezTo>
                <a:close/>
                <a:moveTo>
                  <a:pt x="522" y="69"/>
                </a:moveTo>
                <a:cubicBezTo>
                  <a:pt x="522" y="71"/>
                  <a:pt x="522" y="74"/>
                  <a:pt x="522" y="76"/>
                </a:cubicBezTo>
                <a:cubicBezTo>
                  <a:pt x="522" y="77"/>
                  <a:pt x="522" y="77"/>
                  <a:pt x="523" y="78"/>
                </a:cubicBezTo>
                <a:cubicBezTo>
                  <a:pt x="523" y="78"/>
                  <a:pt x="524" y="78"/>
                  <a:pt x="525" y="79"/>
                </a:cubicBezTo>
                <a:cubicBezTo>
                  <a:pt x="530" y="80"/>
                  <a:pt x="534" y="81"/>
                  <a:pt x="539" y="80"/>
                </a:cubicBezTo>
                <a:cubicBezTo>
                  <a:pt x="541" y="80"/>
                  <a:pt x="543" y="79"/>
                  <a:pt x="545" y="78"/>
                </a:cubicBezTo>
                <a:cubicBezTo>
                  <a:pt x="551" y="75"/>
                  <a:pt x="554" y="70"/>
                  <a:pt x="554" y="64"/>
                </a:cubicBezTo>
                <a:cubicBezTo>
                  <a:pt x="554" y="60"/>
                  <a:pt x="552" y="57"/>
                  <a:pt x="550" y="55"/>
                </a:cubicBezTo>
                <a:cubicBezTo>
                  <a:pt x="549" y="54"/>
                  <a:pt x="547" y="53"/>
                  <a:pt x="546" y="52"/>
                </a:cubicBezTo>
                <a:cubicBezTo>
                  <a:pt x="544" y="51"/>
                  <a:pt x="542" y="50"/>
                  <a:pt x="540" y="49"/>
                </a:cubicBezTo>
                <a:cubicBezTo>
                  <a:pt x="537" y="48"/>
                  <a:pt x="535" y="47"/>
                  <a:pt x="533" y="46"/>
                </a:cubicBezTo>
                <a:cubicBezTo>
                  <a:pt x="530" y="44"/>
                  <a:pt x="529" y="37"/>
                  <a:pt x="534" y="34"/>
                </a:cubicBezTo>
                <a:cubicBezTo>
                  <a:pt x="535" y="33"/>
                  <a:pt x="535" y="33"/>
                  <a:pt x="536" y="33"/>
                </a:cubicBezTo>
                <a:cubicBezTo>
                  <a:pt x="540" y="32"/>
                  <a:pt x="544" y="33"/>
                  <a:pt x="548" y="34"/>
                </a:cubicBezTo>
                <a:cubicBezTo>
                  <a:pt x="549" y="34"/>
                  <a:pt x="550" y="35"/>
                  <a:pt x="551" y="36"/>
                </a:cubicBezTo>
                <a:cubicBezTo>
                  <a:pt x="552" y="34"/>
                  <a:pt x="551" y="33"/>
                  <a:pt x="552" y="32"/>
                </a:cubicBezTo>
                <a:cubicBezTo>
                  <a:pt x="552" y="31"/>
                  <a:pt x="551" y="30"/>
                  <a:pt x="552" y="29"/>
                </a:cubicBezTo>
                <a:cubicBezTo>
                  <a:pt x="552" y="28"/>
                  <a:pt x="551" y="27"/>
                  <a:pt x="550" y="27"/>
                </a:cubicBezTo>
                <a:cubicBezTo>
                  <a:pt x="544" y="25"/>
                  <a:pt x="539" y="24"/>
                  <a:pt x="533" y="26"/>
                </a:cubicBezTo>
                <a:cubicBezTo>
                  <a:pt x="530" y="27"/>
                  <a:pt x="527" y="29"/>
                  <a:pt x="525" y="31"/>
                </a:cubicBezTo>
                <a:cubicBezTo>
                  <a:pt x="520" y="37"/>
                  <a:pt x="520" y="47"/>
                  <a:pt x="527" y="52"/>
                </a:cubicBezTo>
                <a:cubicBezTo>
                  <a:pt x="529" y="53"/>
                  <a:pt x="532" y="55"/>
                  <a:pt x="534" y="56"/>
                </a:cubicBezTo>
                <a:cubicBezTo>
                  <a:pt x="536" y="57"/>
                  <a:pt x="538" y="58"/>
                  <a:pt x="540" y="59"/>
                </a:cubicBezTo>
                <a:cubicBezTo>
                  <a:pt x="541" y="60"/>
                  <a:pt x="542" y="60"/>
                  <a:pt x="543" y="61"/>
                </a:cubicBezTo>
                <a:cubicBezTo>
                  <a:pt x="546" y="63"/>
                  <a:pt x="546" y="70"/>
                  <a:pt x="541" y="72"/>
                </a:cubicBezTo>
                <a:cubicBezTo>
                  <a:pt x="541" y="72"/>
                  <a:pt x="540" y="73"/>
                  <a:pt x="539" y="73"/>
                </a:cubicBezTo>
                <a:cubicBezTo>
                  <a:pt x="534" y="74"/>
                  <a:pt x="529" y="73"/>
                  <a:pt x="524" y="70"/>
                </a:cubicBezTo>
                <a:cubicBezTo>
                  <a:pt x="523" y="69"/>
                  <a:pt x="523" y="69"/>
                  <a:pt x="522" y="68"/>
                </a:cubicBezTo>
                <a:cubicBezTo>
                  <a:pt x="522" y="69"/>
                  <a:pt x="522" y="69"/>
                  <a:pt x="522" y="69"/>
                </a:cubicBezTo>
                <a:close/>
                <a:moveTo>
                  <a:pt x="249" y="76"/>
                </a:moveTo>
                <a:cubicBezTo>
                  <a:pt x="249" y="77"/>
                  <a:pt x="249" y="77"/>
                  <a:pt x="250" y="78"/>
                </a:cubicBezTo>
                <a:cubicBezTo>
                  <a:pt x="250" y="78"/>
                  <a:pt x="251" y="78"/>
                  <a:pt x="252" y="79"/>
                </a:cubicBezTo>
                <a:cubicBezTo>
                  <a:pt x="256" y="80"/>
                  <a:pt x="261" y="81"/>
                  <a:pt x="266" y="80"/>
                </a:cubicBezTo>
                <a:cubicBezTo>
                  <a:pt x="269" y="80"/>
                  <a:pt x="272" y="79"/>
                  <a:pt x="274" y="77"/>
                </a:cubicBezTo>
                <a:cubicBezTo>
                  <a:pt x="278" y="75"/>
                  <a:pt x="280" y="72"/>
                  <a:pt x="281" y="68"/>
                </a:cubicBezTo>
                <a:cubicBezTo>
                  <a:pt x="282" y="62"/>
                  <a:pt x="280" y="57"/>
                  <a:pt x="275" y="54"/>
                </a:cubicBezTo>
                <a:cubicBezTo>
                  <a:pt x="274" y="53"/>
                  <a:pt x="273" y="52"/>
                  <a:pt x="272" y="52"/>
                </a:cubicBezTo>
                <a:cubicBezTo>
                  <a:pt x="270" y="51"/>
                  <a:pt x="268" y="50"/>
                  <a:pt x="267" y="49"/>
                </a:cubicBezTo>
                <a:cubicBezTo>
                  <a:pt x="264" y="48"/>
                  <a:pt x="262" y="47"/>
                  <a:pt x="260" y="46"/>
                </a:cubicBezTo>
                <a:cubicBezTo>
                  <a:pt x="257" y="43"/>
                  <a:pt x="256" y="37"/>
                  <a:pt x="260" y="34"/>
                </a:cubicBezTo>
                <a:cubicBezTo>
                  <a:pt x="261" y="33"/>
                  <a:pt x="262" y="33"/>
                  <a:pt x="263" y="33"/>
                </a:cubicBezTo>
                <a:cubicBezTo>
                  <a:pt x="265" y="32"/>
                  <a:pt x="267" y="32"/>
                  <a:pt x="269" y="33"/>
                </a:cubicBezTo>
                <a:cubicBezTo>
                  <a:pt x="272" y="33"/>
                  <a:pt x="275" y="34"/>
                  <a:pt x="277" y="35"/>
                </a:cubicBezTo>
                <a:cubicBezTo>
                  <a:pt x="278" y="36"/>
                  <a:pt x="278" y="36"/>
                  <a:pt x="278" y="35"/>
                </a:cubicBezTo>
                <a:cubicBezTo>
                  <a:pt x="278" y="33"/>
                  <a:pt x="278" y="31"/>
                  <a:pt x="278" y="29"/>
                </a:cubicBezTo>
                <a:cubicBezTo>
                  <a:pt x="279" y="28"/>
                  <a:pt x="278" y="27"/>
                  <a:pt x="277" y="27"/>
                </a:cubicBezTo>
                <a:cubicBezTo>
                  <a:pt x="272" y="25"/>
                  <a:pt x="268" y="25"/>
                  <a:pt x="263" y="25"/>
                </a:cubicBezTo>
                <a:cubicBezTo>
                  <a:pt x="260" y="26"/>
                  <a:pt x="258" y="27"/>
                  <a:pt x="256" y="28"/>
                </a:cubicBezTo>
                <a:cubicBezTo>
                  <a:pt x="251" y="31"/>
                  <a:pt x="248" y="36"/>
                  <a:pt x="249" y="42"/>
                </a:cubicBezTo>
                <a:cubicBezTo>
                  <a:pt x="249" y="46"/>
                  <a:pt x="250" y="49"/>
                  <a:pt x="254" y="52"/>
                </a:cubicBezTo>
                <a:cubicBezTo>
                  <a:pt x="256" y="53"/>
                  <a:pt x="258" y="54"/>
                  <a:pt x="260" y="55"/>
                </a:cubicBezTo>
                <a:cubicBezTo>
                  <a:pt x="262" y="56"/>
                  <a:pt x="264" y="57"/>
                  <a:pt x="267" y="59"/>
                </a:cubicBezTo>
                <a:cubicBezTo>
                  <a:pt x="268" y="59"/>
                  <a:pt x="269" y="60"/>
                  <a:pt x="270" y="60"/>
                </a:cubicBezTo>
                <a:cubicBezTo>
                  <a:pt x="272" y="62"/>
                  <a:pt x="272" y="65"/>
                  <a:pt x="272" y="67"/>
                </a:cubicBezTo>
                <a:cubicBezTo>
                  <a:pt x="272" y="70"/>
                  <a:pt x="270" y="71"/>
                  <a:pt x="268" y="72"/>
                </a:cubicBezTo>
                <a:cubicBezTo>
                  <a:pt x="267" y="72"/>
                  <a:pt x="267" y="73"/>
                  <a:pt x="266" y="73"/>
                </a:cubicBezTo>
                <a:cubicBezTo>
                  <a:pt x="261" y="74"/>
                  <a:pt x="256" y="73"/>
                  <a:pt x="251" y="70"/>
                </a:cubicBezTo>
                <a:cubicBezTo>
                  <a:pt x="250" y="70"/>
                  <a:pt x="250" y="69"/>
                  <a:pt x="249" y="68"/>
                </a:cubicBezTo>
                <a:cubicBezTo>
                  <a:pt x="249" y="71"/>
                  <a:pt x="249" y="74"/>
                  <a:pt x="249" y="76"/>
                </a:cubicBezTo>
                <a:close/>
                <a:moveTo>
                  <a:pt x="934" y="11"/>
                </a:moveTo>
                <a:cubicBezTo>
                  <a:pt x="932" y="12"/>
                  <a:pt x="930" y="13"/>
                  <a:pt x="927" y="13"/>
                </a:cubicBezTo>
                <a:cubicBezTo>
                  <a:pt x="927" y="13"/>
                  <a:pt x="926" y="14"/>
                  <a:pt x="926" y="15"/>
                </a:cubicBezTo>
                <a:cubicBezTo>
                  <a:pt x="926" y="18"/>
                  <a:pt x="926" y="20"/>
                  <a:pt x="926" y="23"/>
                </a:cubicBezTo>
                <a:cubicBezTo>
                  <a:pt x="926" y="27"/>
                  <a:pt x="927" y="26"/>
                  <a:pt x="923" y="26"/>
                </a:cubicBezTo>
                <a:cubicBezTo>
                  <a:pt x="921" y="26"/>
                  <a:pt x="919" y="26"/>
                  <a:pt x="917" y="27"/>
                </a:cubicBezTo>
                <a:cubicBezTo>
                  <a:pt x="917" y="29"/>
                  <a:pt x="917" y="30"/>
                  <a:pt x="917" y="32"/>
                </a:cubicBezTo>
                <a:cubicBezTo>
                  <a:pt x="917" y="33"/>
                  <a:pt x="917" y="34"/>
                  <a:pt x="918" y="34"/>
                </a:cubicBezTo>
                <a:cubicBezTo>
                  <a:pt x="921" y="34"/>
                  <a:pt x="923" y="34"/>
                  <a:pt x="925" y="34"/>
                </a:cubicBezTo>
                <a:cubicBezTo>
                  <a:pt x="926" y="34"/>
                  <a:pt x="926" y="34"/>
                  <a:pt x="926" y="35"/>
                </a:cubicBezTo>
                <a:cubicBezTo>
                  <a:pt x="926" y="35"/>
                  <a:pt x="926" y="36"/>
                  <a:pt x="926" y="37"/>
                </a:cubicBezTo>
                <a:cubicBezTo>
                  <a:pt x="926" y="46"/>
                  <a:pt x="926" y="55"/>
                  <a:pt x="926" y="64"/>
                </a:cubicBezTo>
                <a:cubicBezTo>
                  <a:pt x="926" y="66"/>
                  <a:pt x="926" y="68"/>
                  <a:pt x="927" y="70"/>
                </a:cubicBezTo>
                <a:cubicBezTo>
                  <a:pt x="928" y="74"/>
                  <a:pt x="930" y="78"/>
                  <a:pt x="935" y="79"/>
                </a:cubicBezTo>
                <a:cubicBezTo>
                  <a:pt x="938" y="81"/>
                  <a:pt x="942" y="81"/>
                  <a:pt x="946" y="79"/>
                </a:cubicBezTo>
                <a:cubicBezTo>
                  <a:pt x="947" y="79"/>
                  <a:pt x="947" y="79"/>
                  <a:pt x="947" y="79"/>
                </a:cubicBezTo>
                <a:cubicBezTo>
                  <a:pt x="948" y="79"/>
                  <a:pt x="948" y="78"/>
                  <a:pt x="948" y="78"/>
                </a:cubicBezTo>
                <a:cubicBezTo>
                  <a:pt x="948" y="76"/>
                  <a:pt x="948" y="74"/>
                  <a:pt x="948" y="72"/>
                </a:cubicBezTo>
                <a:cubicBezTo>
                  <a:pt x="947" y="72"/>
                  <a:pt x="947" y="72"/>
                  <a:pt x="946" y="72"/>
                </a:cubicBezTo>
                <a:cubicBezTo>
                  <a:pt x="944" y="73"/>
                  <a:pt x="942" y="73"/>
                  <a:pt x="940" y="73"/>
                </a:cubicBezTo>
                <a:cubicBezTo>
                  <a:pt x="938" y="72"/>
                  <a:pt x="936" y="71"/>
                  <a:pt x="935" y="68"/>
                </a:cubicBezTo>
                <a:cubicBezTo>
                  <a:pt x="935" y="66"/>
                  <a:pt x="935" y="64"/>
                  <a:pt x="935" y="62"/>
                </a:cubicBezTo>
                <a:cubicBezTo>
                  <a:pt x="935" y="54"/>
                  <a:pt x="935" y="45"/>
                  <a:pt x="935" y="36"/>
                </a:cubicBezTo>
                <a:cubicBezTo>
                  <a:pt x="935" y="33"/>
                  <a:pt x="935" y="34"/>
                  <a:pt x="938" y="34"/>
                </a:cubicBezTo>
                <a:cubicBezTo>
                  <a:pt x="941" y="34"/>
                  <a:pt x="944" y="34"/>
                  <a:pt x="947" y="34"/>
                </a:cubicBezTo>
                <a:cubicBezTo>
                  <a:pt x="948" y="34"/>
                  <a:pt x="948" y="33"/>
                  <a:pt x="948" y="32"/>
                </a:cubicBezTo>
                <a:cubicBezTo>
                  <a:pt x="948" y="31"/>
                  <a:pt x="948" y="29"/>
                  <a:pt x="948" y="28"/>
                </a:cubicBezTo>
                <a:cubicBezTo>
                  <a:pt x="948" y="27"/>
                  <a:pt x="948" y="26"/>
                  <a:pt x="947" y="26"/>
                </a:cubicBezTo>
                <a:cubicBezTo>
                  <a:pt x="944" y="26"/>
                  <a:pt x="940" y="26"/>
                  <a:pt x="937" y="26"/>
                </a:cubicBezTo>
                <a:cubicBezTo>
                  <a:pt x="937" y="26"/>
                  <a:pt x="936" y="26"/>
                  <a:pt x="935" y="26"/>
                </a:cubicBezTo>
                <a:cubicBezTo>
                  <a:pt x="935" y="26"/>
                  <a:pt x="935" y="26"/>
                  <a:pt x="935" y="26"/>
                </a:cubicBezTo>
                <a:cubicBezTo>
                  <a:pt x="935" y="25"/>
                  <a:pt x="935" y="24"/>
                  <a:pt x="935" y="23"/>
                </a:cubicBezTo>
                <a:cubicBezTo>
                  <a:pt x="935" y="19"/>
                  <a:pt x="935" y="15"/>
                  <a:pt x="935" y="11"/>
                </a:cubicBezTo>
                <a:cubicBezTo>
                  <a:pt x="934" y="11"/>
                  <a:pt x="934" y="11"/>
                  <a:pt x="934" y="11"/>
                </a:cubicBezTo>
                <a:close/>
                <a:moveTo>
                  <a:pt x="452" y="177"/>
                </a:moveTo>
                <a:cubicBezTo>
                  <a:pt x="450" y="178"/>
                  <a:pt x="448" y="178"/>
                  <a:pt x="446" y="178"/>
                </a:cubicBezTo>
                <a:cubicBezTo>
                  <a:pt x="444" y="178"/>
                  <a:pt x="442" y="176"/>
                  <a:pt x="441" y="174"/>
                </a:cubicBezTo>
                <a:cubicBezTo>
                  <a:pt x="441" y="174"/>
                  <a:pt x="441" y="173"/>
                  <a:pt x="441" y="172"/>
                </a:cubicBezTo>
                <a:cubicBezTo>
                  <a:pt x="441" y="170"/>
                  <a:pt x="441" y="169"/>
                  <a:pt x="441" y="167"/>
                </a:cubicBezTo>
                <a:cubicBezTo>
                  <a:pt x="441" y="159"/>
                  <a:pt x="441" y="150"/>
                  <a:pt x="441" y="142"/>
                </a:cubicBezTo>
                <a:cubicBezTo>
                  <a:pt x="441" y="141"/>
                  <a:pt x="441" y="140"/>
                  <a:pt x="441" y="140"/>
                </a:cubicBezTo>
                <a:cubicBezTo>
                  <a:pt x="441" y="139"/>
                  <a:pt x="441" y="139"/>
                  <a:pt x="442" y="139"/>
                </a:cubicBezTo>
                <a:cubicBezTo>
                  <a:pt x="444" y="139"/>
                  <a:pt x="446" y="139"/>
                  <a:pt x="448" y="139"/>
                </a:cubicBezTo>
                <a:cubicBezTo>
                  <a:pt x="450" y="139"/>
                  <a:pt x="452" y="139"/>
                  <a:pt x="454" y="139"/>
                </a:cubicBezTo>
                <a:cubicBezTo>
                  <a:pt x="454" y="137"/>
                  <a:pt x="454" y="135"/>
                  <a:pt x="454" y="133"/>
                </a:cubicBezTo>
                <a:cubicBezTo>
                  <a:pt x="454" y="132"/>
                  <a:pt x="454" y="132"/>
                  <a:pt x="452" y="132"/>
                </a:cubicBezTo>
                <a:cubicBezTo>
                  <a:pt x="449" y="132"/>
                  <a:pt x="446" y="132"/>
                  <a:pt x="443" y="132"/>
                </a:cubicBezTo>
                <a:cubicBezTo>
                  <a:pt x="442" y="132"/>
                  <a:pt x="442" y="132"/>
                  <a:pt x="441" y="132"/>
                </a:cubicBezTo>
                <a:cubicBezTo>
                  <a:pt x="441" y="132"/>
                  <a:pt x="441" y="131"/>
                  <a:pt x="441" y="131"/>
                </a:cubicBezTo>
                <a:cubicBezTo>
                  <a:pt x="441" y="131"/>
                  <a:pt x="441" y="130"/>
                  <a:pt x="441" y="129"/>
                </a:cubicBezTo>
                <a:cubicBezTo>
                  <a:pt x="441" y="126"/>
                  <a:pt x="441" y="122"/>
                  <a:pt x="441" y="119"/>
                </a:cubicBezTo>
                <a:cubicBezTo>
                  <a:pt x="441" y="118"/>
                  <a:pt x="441" y="117"/>
                  <a:pt x="440" y="116"/>
                </a:cubicBezTo>
                <a:cubicBezTo>
                  <a:pt x="438" y="117"/>
                  <a:pt x="436" y="118"/>
                  <a:pt x="433" y="118"/>
                </a:cubicBezTo>
                <a:cubicBezTo>
                  <a:pt x="432" y="119"/>
                  <a:pt x="432" y="119"/>
                  <a:pt x="432" y="120"/>
                </a:cubicBezTo>
                <a:cubicBezTo>
                  <a:pt x="432" y="124"/>
                  <a:pt x="432" y="127"/>
                  <a:pt x="432" y="130"/>
                </a:cubicBezTo>
                <a:cubicBezTo>
                  <a:pt x="432" y="132"/>
                  <a:pt x="432" y="132"/>
                  <a:pt x="431" y="132"/>
                </a:cubicBezTo>
                <a:cubicBezTo>
                  <a:pt x="429" y="132"/>
                  <a:pt x="426" y="132"/>
                  <a:pt x="424" y="132"/>
                </a:cubicBezTo>
                <a:cubicBezTo>
                  <a:pt x="423" y="132"/>
                  <a:pt x="423" y="132"/>
                  <a:pt x="423" y="133"/>
                </a:cubicBezTo>
                <a:cubicBezTo>
                  <a:pt x="423" y="135"/>
                  <a:pt x="423" y="136"/>
                  <a:pt x="423" y="138"/>
                </a:cubicBezTo>
                <a:cubicBezTo>
                  <a:pt x="423" y="139"/>
                  <a:pt x="423" y="139"/>
                  <a:pt x="424" y="139"/>
                </a:cubicBezTo>
                <a:cubicBezTo>
                  <a:pt x="426" y="139"/>
                  <a:pt x="428" y="139"/>
                  <a:pt x="430" y="139"/>
                </a:cubicBezTo>
                <a:cubicBezTo>
                  <a:pt x="432" y="139"/>
                  <a:pt x="432" y="139"/>
                  <a:pt x="432" y="141"/>
                </a:cubicBezTo>
                <a:cubicBezTo>
                  <a:pt x="432" y="151"/>
                  <a:pt x="432" y="160"/>
                  <a:pt x="432" y="169"/>
                </a:cubicBezTo>
                <a:cubicBezTo>
                  <a:pt x="432" y="171"/>
                  <a:pt x="432" y="173"/>
                  <a:pt x="432" y="175"/>
                </a:cubicBezTo>
                <a:cubicBezTo>
                  <a:pt x="434" y="181"/>
                  <a:pt x="437" y="185"/>
                  <a:pt x="444" y="185"/>
                </a:cubicBezTo>
                <a:cubicBezTo>
                  <a:pt x="447" y="186"/>
                  <a:pt x="450" y="186"/>
                  <a:pt x="453" y="184"/>
                </a:cubicBezTo>
                <a:cubicBezTo>
                  <a:pt x="454" y="184"/>
                  <a:pt x="454" y="184"/>
                  <a:pt x="454" y="183"/>
                </a:cubicBezTo>
                <a:cubicBezTo>
                  <a:pt x="454" y="181"/>
                  <a:pt x="454" y="179"/>
                  <a:pt x="454" y="177"/>
                </a:cubicBezTo>
                <a:cubicBezTo>
                  <a:pt x="453" y="177"/>
                  <a:pt x="453" y="177"/>
                  <a:pt x="452" y="177"/>
                </a:cubicBezTo>
                <a:close/>
                <a:moveTo>
                  <a:pt x="151" y="70"/>
                </a:moveTo>
                <a:cubicBezTo>
                  <a:pt x="149" y="72"/>
                  <a:pt x="146" y="73"/>
                  <a:pt x="143" y="73"/>
                </a:cubicBezTo>
                <a:cubicBezTo>
                  <a:pt x="134" y="74"/>
                  <a:pt x="126" y="70"/>
                  <a:pt x="123" y="60"/>
                </a:cubicBezTo>
                <a:cubicBezTo>
                  <a:pt x="122" y="57"/>
                  <a:pt x="122" y="53"/>
                  <a:pt x="123" y="49"/>
                </a:cubicBezTo>
                <a:cubicBezTo>
                  <a:pt x="123" y="45"/>
                  <a:pt x="125" y="41"/>
                  <a:pt x="128" y="38"/>
                </a:cubicBezTo>
                <a:cubicBezTo>
                  <a:pt x="130" y="35"/>
                  <a:pt x="133" y="33"/>
                  <a:pt x="137" y="33"/>
                </a:cubicBezTo>
                <a:cubicBezTo>
                  <a:pt x="142" y="32"/>
                  <a:pt x="146" y="33"/>
                  <a:pt x="151" y="35"/>
                </a:cubicBezTo>
                <a:cubicBezTo>
                  <a:pt x="151" y="35"/>
                  <a:pt x="152" y="36"/>
                  <a:pt x="153" y="36"/>
                </a:cubicBezTo>
                <a:cubicBezTo>
                  <a:pt x="153" y="36"/>
                  <a:pt x="153" y="35"/>
                  <a:pt x="153" y="35"/>
                </a:cubicBezTo>
                <a:cubicBezTo>
                  <a:pt x="153" y="33"/>
                  <a:pt x="153" y="31"/>
                  <a:pt x="153" y="30"/>
                </a:cubicBezTo>
                <a:cubicBezTo>
                  <a:pt x="154" y="28"/>
                  <a:pt x="153" y="27"/>
                  <a:pt x="152" y="27"/>
                </a:cubicBezTo>
                <a:cubicBezTo>
                  <a:pt x="151" y="27"/>
                  <a:pt x="150" y="26"/>
                  <a:pt x="150" y="26"/>
                </a:cubicBezTo>
                <a:cubicBezTo>
                  <a:pt x="145" y="25"/>
                  <a:pt x="140" y="25"/>
                  <a:pt x="135" y="26"/>
                </a:cubicBezTo>
                <a:cubicBezTo>
                  <a:pt x="126" y="27"/>
                  <a:pt x="120" y="33"/>
                  <a:pt x="116" y="41"/>
                </a:cubicBezTo>
                <a:cubicBezTo>
                  <a:pt x="113" y="48"/>
                  <a:pt x="113" y="55"/>
                  <a:pt x="115" y="63"/>
                </a:cubicBezTo>
                <a:cubicBezTo>
                  <a:pt x="117" y="71"/>
                  <a:pt x="122" y="76"/>
                  <a:pt x="130" y="79"/>
                </a:cubicBezTo>
                <a:cubicBezTo>
                  <a:pt x="135" y="81"/>
                  <a:pt x="139" y="81"/>
                  <a:pt x="143" y="80"/>
                </a:cubicBezTo>
                <a:cubicBezTo>
                  <a:pt x="146" y="80"/>
                  <a:pt x="149" y="79"/>
                  <a:pt x="152" y="77"/>
                </a:cubicBezTo>
                <a:cubicBezTo>
                  <a:pt x="153" y="77"/>
                  <a:pt x="153" y="77"/>
                  <a:pt x="153" y="76"/>
                </a:cubicBezTo>
                <a:cubicBezTo>
                  <a:pt x="153" y="74"/>
                  <a:pt x="153" y="71"/>
                  <a:pt x="153" y="69"/>
                </a:cubicBezTo>
                <a:cubicBezTo>
                  <a:pt x="152" y="69"/>
                  <a:pt x="152" y="70"/>
                  <a:pt x="151" y="70"/>
                </a:cubicBezTo>
                <a:close/>
                <a:moveTo>
                  <a:pt x="586" y="72"/>
                </a:moveTo>
                <a:cubicBezTo>
                  <a:pt x="584" y="73"/>
                  <a:pt x="582" y="73"/>
                  <a:pt x="580" y="73"/>
                </a:cubicBezTo>
                <a:cubicBezTo>
                  <a:pt x="577" y="72"/>
                  <a:pt x="575" y="71"/>
                  <a:pt x="575" y="68"/>
                </a:cubicBezTo>
                <a:cubicBezTo>
                  <a:pt x="574" y="66"/>
                  <a:pt x="574" y="65"/>
                  <a:pt x="574" y="63"/>
                </a:cubicBezTo>
                <a:cubicBezTo>
                  <a:pt x="574" y="55"/>
                  <a:pt x="574" y="47"/>
                  <a:pt x="574" y="39"/>
                </a:cubicBezTo>
                <a:cubicBezTo>
                  <a:pt x="574" y="38"/>
                  <a:pt x="574" y="37"/>
                  <a:pt x="574" y="35"/>
                </a:cubicBezTo>
                <a:cubicBezTo>
                  <a:pt x="574" y="34"/>
                  <a:pt x="574" y="34"/>
                  <a:pt x="576" y="34"/>
                </a:cubicBezTo>
                <a:cubicBezTo>
                  <a:pt x="578" y="34"/>
                  <a:pt x="581" y="34"/>
                  <a:pt x="583" y="34"/>
                </a:cubicBezTo>
                <a:cubicBezTo>
                  <a:pt x="584" y="34"/>
                  <a:pt x="585" y="34"/>
                  <a:pt x="586" y="34"/>
                </a:cubicBezTo>
                <a:cubicBezTo>
                  <a:pt x="587" y="34"/>
                  <a:pt x="587" y="33"/>
                  <a:pt x="587" y="33"/>
                </a:cubicBezTo>
                <a:cubicBezTo>
                  <a:pt x="587" y="31"/>
                  <a:pt x="587" y="29"/>
                  <a:pt x="587" y="28"/>
                </a:cubicBezTo>
                <a:cubicBezTo>
                  <a:pt x="587" y="27"/>
                  <a:pt x="587" y="26"/>
                  <a:pt x="586" y="26"/>
                </a:cubicBezTo>
                <a:cubicBezTo>
                  <a:pt x="582" y="26"/>
                  <a:pt x="579" y="26"/>
                  <a:pt x="575" y="26"/>
                </a:cubicBezTo>
                <a:cubicBezTo>
                  <a:pt x="574" y="26"/>
                  <a:pt x="574" y="26"/>
                  <a:pt x="574" y="25"/>
                </a:cubicBezTo>
                <a:cubicBezTo>
                  <a:pt x="574" y="21"/>
                  <a:pt x="574" y="17"/>
                  <a:pt x="574" y="13"/>
                </a:cubicBezTo>
                <a:cubicBezTo>
                  <a:pt x="574" y="12"/>
                  <a:pt x="574" y="11"/>
                  <a:pt x="574" y="11"/>
                </a:cubicBezTo>
                <a:cubicBezTo>
                  <a:pt x="571" y="12"/>
                  <a:pt x="569" y="12"/>
                  <a:pt x="567" y="13"/>
                </a:cubicBezTo>
                <a:cubicBezTo>
                  <a:pt x="566" y="14"/>
                  <a:pt x="566" y="14"/>
                  <a:pt x="566" y="15"/>
                </a:cubicBezTo>
                <a:cubicBezTo>
                  <a:pt x="566" y="18"/>
                  <a:pt x="566" y="20"/>
                  <a:pt x="566" y="23"/>
                </a:cubicBezTo>
                <a:cubicBezTo>
                  <a:pt x="566" y="27"/>
                  <a:pt x="566" y="26"/>
                  <a:pt x="562" y="26"/>
                </a:cubicBezTo>
                <a:cubicBezTo>
                  <a:pt x="560" y="26"/>
                  <a:pt x="559" y="26"/>
                  <a:pt x="557" y="27"/>
                </a:cubicBezTo>
                <a:cubicBezTo>
                  <a:pt x="556" y="29"/>
                  <a:pt x="557" y="31"/>
                  <a:pt x="557" y="32"/>
                </a:cubicBezTo>
                <a:cubicBezTo>
                  <a:pt x="557" y="33"/>
                  <a:pt x="557" y="34"/>
                  <a:pt x="558" y="34"/>
                </a:cubicBezTo>
                <a:cubicBezTo>
                  <a:pt x="560" y="34"/>
                  <a:pt x="562" y="34"/>
                  <a:pt x="564" y="34"/>
                </a:cubicBezTo>
                <a:cubicBezTo>
                  <a:pt x="566" y="34"/>
                  <a:pt x="566" y="34"/>
                  <a:pt x="566" y="36"/>
                </a:cubicBezTo>
                <a:cubicBezTo>
                  <a:pt x="566" y="36"/>
                  <a:pt x="566" y="37"/>
                  <a:pt x="566" y="37"/>
                </a:cubicBezTo>
                <a:cubicBezTo>
                  <a:pt x="566" y="46"/>
                  <a:pt x="566" y="54"/>
                  <a:pt x="566" y="63"/>
                </a:cubicBezTo>
                <a:cubicBezTo>
                  <a:pt x="566" y="65"/>
                  <a:pt x="566" y="66"/>
                  <a:pt x="566" y="68"/>
                </a:cubicBezTo>
                <a:cubicBezTo>
                  <a:pt x="566" y="70"/>
                  <a:pt x="566" y="72"/>
                  <a:pt x="567" y="74"/>
                </a:cubicBezTo>
                <a:cubicBezTo>
                  <a:pt x="569" y="76"/>
                  <a:pt x="571" y="78"/>
                  <a:pt x="573" y="79"/>
                </a:cubicBezTo>
                <a:cubicBezTo>
                  <a:pt x="574" y="80"/>
                  <a:pt x="576" y="80"/>
                  <a:pt x="577" y="80"/>
                </a:cubicBezTo>
                <a:cubicBezTo>
                  <a:pt x="580" y="81"/>
                  <a:pt x="583" y="80"/>
                  <a:pt x="586" y="79"/>
                </a:cubicBezTo>
                <a:cubicBezTo>
                  <a:pt x="587" y="79"/>
                  <a:pt x="587" y="78"/>
                  <a:pt x="587" y="77"/>
                </a:cubicBezTo>
                <a:cubicBezTo>
                  <a:pt x="587" y="76"/>
                  <a:pt x="587" y="74"/>
                  <a:pt x="587" y="72"/>
                </a:cubicBezTo>
                <a:cubicBezTo>
                  <a:pt x="587" y="72"/>
                  <a:pt x="586" y="72"/>
                  <a:pt x="586" y="72"/>
                </a:cubicBezTo>
                <a:close/>
                <a:moveTo>
                  <a:pt x="1189" y="7"/>
                </a:moveTo>
                <a:cubicBezTo>
                  <a:pt x="1189" y="6"/>
                  <a:pt x="1189" y="5"/>
                  <a:pt x="1189" y="4"/>
                </a:cubicBezTo>
                <a:cubicBezTo>
                  <a:pt x="1189" y="4"/>
                  <a:pt x="1189" y="4"/>
                  <a:pt x="1189" y="4"/>
                </a:cubicBezTo>
                <a:cubicBezTo>
                  <a:pt x="1187" y="4"/>
                  <a:pt x="1186" y="4"/>
                  <a:pt x="1185" y="5"/>
                </a:cubicBezTo>
                <a:cubicBezTo>
                  <a:pt x="1184" y="6"/>
                  <a:pt x="1182" y="7"/>
                  <a:pt x="1181" y="8"/>
                </a:cubicBezTo>
                <a:cubicBezTo>
                  <a:pt x="1176" y="11"/>
                  <a:pt x="1171" y="13"/>
                  <a:pt x="1165" y="15"/>
                </a:cubicBezTo>
                <a:cubicBezTo>
                  <a:pt x="1164" y="15"/>
                  <a:pt x="1164" y="16"/>
                  <a:pt x="1164" y="17"/>
                </a:cubicBezTo>
                <a:cubicBezTo>
                  <a:pt x="1164" y="19"/>
                  <a:pt x="1164" y="21"/>
                  <a:pt x="1164" y="23"/>
                </a:cubicBezTo>
                <a:cubicBezTo>
                  <a:pt x="1164" y="24"/>
                  <a:pt x="1164" y="24"/>
                  <a:pt x="1165" y="24"/>
                </a:cubicBezTo>
                <a:cubicBezTo>
                  <a:pt x="1170" y="22"/>
                  <a:pt x="1175" y="20"/>
                  <a:pt x="1180" y="17"/>
                </a:cubicBezTo>
                <a:cubicBezTo>
                  <a:pt x="1180" y="16"/>
                  <a:pt x="1180" y="16"/>
                  <a:pt x="1181" y="16"/>
                </a:cubicBezTo>
                <a:cubicBezTo>
                  <a:pt x="1181" y="16"/>
                  <a:pt x="1181" y="17"/>
                  <a:pt x="1181" y="17"/>
                </a:cubicBezTo>
                <a:cubicBezTo>
                  <a:pt x="1181" y="18"/>
                  <a:pt x="1181" y="18"/>
                  <a:pt x="1181" y="19"/>
                </a:cubicBezTo>
                <a:cubicBezTo>
                  <a:pt x="1181" y="38"/>
                  <a:pt x="1181" y="57"/>
                  <a:pt x="1181" y="76"/>
                </a:cubicBezTo>
                <a:cubicBezTo>
                  <a:pt x="1181" y="76"/>
                  <a:pt x="1181" y="77"/>
                  <a:pt x="1181" y="78"/>
                </a:cubicBezTo>
                <a:cubicBezTo>
                  <a:pt x="1181" y="79"/>
                  <a:pt x="1181" y="79"/>
                  <a:pt x="1182" y="79"/>
                </a:cubicBezTo>
                <a:cubicBezTo>
                  <a:pt x="1184" y="79"/>
                  <a:pt x="1185" y="79"/>
                  <a:pt x="1187" y="79"/>
                </a:cubicBezTo>
                <a:cubicBezTo>
                  <a:pt x="1189" y="79"/>
                  <a:pt x="1189" y="79"/>
                  <a:pt x="1189" y="77"/>
                </a:cubicBezTo>
                <a:cubicBezTo>
                  <a:pt x="1189" y="65"/>
                  <a:pt x="1189" y="53"/>
                  <a:pt x="1189" y="41"/>
                </a:cubicBezTo>
                <a:cubicBezTo>
                  <a:pt x="1189" y="30"/>
                  <a:pt x="1189" y="18"/>
                  <a:pt x="1189" y="7"/>
                </a:cubicBezTo>
                <a:close/>
                <a:moveTo>
                  <a:pt x="983" y="141"/>
                </a:moveTo>
                <a:cubicBezTo>
                  <a:pt x="983" y="139"/>
                  <a:pt x="983" y="137"/>
                  <a:pt x="983" y="135"/>
                </a:cubicBezTo>
                <a:cubicBezTo>
                  <a:pt x="983" y="134"/>
                  <a:pt x="983" y="133"/>
                  <a:pt x="983" y="133"/>
                </a:cubicBezTo>
                <a:cubicBezTo>
                  <a:pt x="983" y="132"/>
                  <a:pt x="983" y="132"/>
                  <a:pt x="982" y="132"/>
                </a:cubicBezTo>
                <a:cubicBezTo>
                  <a:pt x="981" y="132"/>
                  <a:pt x="979" y="132"/>
                  <a:pt x="978" y="132"/>
                </a:cubicBezTo>
                <a:cubicBezTo>
                  <a:pt x="975" y="132"/>
                  <a:pt x="975" y="131"/>
                  <a:pt x="975" y="134"/>
                </a:cubicBezTo>
                <a:cubicBezTo>
                  <a:pt x="975" y="150"/>
                  <a:pt x="975" y="166"/>
                  <a:pt x="975" y="182"/>
                </a:cubicBezTo>
                <a:cubicBezTo>
                  <a:pt x="975" y="182"/>
                  <a:pt x="975" y="183"/>
                  <a:pt x="975" y="183"/>
                </a:cubicBezTo>
                <a:cubicBezTo>
                  <a:pt x="975" y="184"/>
                  <a:pt x="975" y="184"/>
                  <a:pt x="976" y="184"/>
                </a:cubicBezTo>
                <a:cubicBezTo>
                  <a:pt x="978" y="184"/>
                  <a:pt x="980" y="184"/>
                  <a:pt x="983" y="184"/>
                </a:cubicBezTo>
                <a:cubicBezTo>
                  <a:pt x="983" y="184"/>
                  <a:pt x="983" y="184"/>
                  <a:pt x="983" y="183"/>
                </a:cubicBezTo>
                <a:cubicBezTo>
                  <a:pt x="983" y="183"/>
                  <a:pt x="983" y="182"/>
                  <a:pt x="983" y="181"/>
                </a:cubicBezTo>
                <a:cubicBezTo>
                  <a:pt x="983" y="174"/>
                  <a:pt x="983" y="166"/>
                  <a:pt x="983" y="159"/>
                </a:cubicBezTo>
                <a:cubicBezTo>
                  <a:pt x="983" y="156"/>
                  <a:pt x="984" y="154"/>
                  <a:pt x="984" y="151"/>
                </a:cubicBezTo>
                <a:cubicBezTo>
                  <a:pt x="985" y="148"/>
                  <a:pt x="986" y="145"/>
                  <a:pt x="988" y="142"/>
                </a:cubicBezTo>
                <a:cubicBezTo>
                  <a:pt x="990" y="140"/>
                  <a:pt x="992" y="139"/>
                  <a:pt x="994" y="139"/>
                </a:cubicBezTo>
                <a:cubicBezTo>
                  <a:pt x="997" y="138"/>
                  <a:pt x="999" y="139"/>
                  <a:pt x="1001" y="139"/>
                </a:cubicBezTo>
                <a:cubicBezTo>
                  <a:pt x="1002" y="140"/>
                  <a:pt x="1002" y="140"/>
                  <a:pt x="1002" y="140"/>
                </a:cubicBezTo>
                <a:cubicBezTo>
                  <a:pt x="1002" y="137"/>
                  <a:pt x="1002" y="135"/>
                  <a:pt x="1002" y="132"/>
                </a:cubicBezTo>
                <a:cubicBezTo>
                  <a:pt x="1002" y="132"/>
                  <a:pt x="1002" y="131"/>
                  <a:pt x="1002" y="131"/>
                </a:cubicBezTo>
                <a:cubicBezTo>
                  <a:pt x="996" y="130"/>
                  <a:pt x="992" y="131"/>
                  <a:pt x="988" y="135"/>
                </a:cubicBezTo>
                <a:cubicBezTo>
                  <a:pt x="987" y="136"/>
                  <a:pt x="986" y="138"/>
                  <a:pt x="985" y="139"/>
                </a:cubicBezTo>
                <a:cubicBezTo>
                  <a:pt x="985" y="140"/>
                  <a:pt x="984" y="141"/>
                  <a:pt x="984" y="141"/>
                </a:cubicBezTo>
                <a:cubicBezTo>
                  <a:pt x="984" y="141"/>
                  <a:pt x="984" y="141"/>
                  <a:pt x="983" y="141"/>
                </a:cubicBezTo>
                <a:close/>
                <a:moveTo>
                  <a:pt x="163" y="29"/>
                </a:moveTo>
                <a:cubicBezTo>
                  <a:pt x="163" y="45"/>
                  <a:pt x="163" y="61"/>
                  <a:pt x="163" y="76"/>
                </a:cubicBezTo>
                <a:cubicBezTo>
                  <a:pt x="163" y="77"/>
                  <a:pt x="163" y="77"/>
                  <a:pt x="163" y="78"/>
                </a:cubicBezTo>
                <a:cubicBezTo>
                  <a:pt x="163" y="79"/>
                  <a:pt x="163" y="79"/>
                  <a:pt x="164" y="79"/>
                </a:cubicBezTo>
                <a:cubicBezTo>
                  <a:pt x="166" y="79"/>
                  <a:pt x="168" y="79"/>
                  <a:pt x="170" y="79"/>
                </a:cubicBezTo>
                <a:cubicBezTo>
                  <a:pt x="171" y="79"/>
                  <a:pt x="171" y="79"/>
                  <a:pt x="171" y="78"/>
                </a:cubicBezTo>
                <a:cubicBezTo>
                  <a:pt x="171" y="77"/>
                  <a:pt x="171" y="77"/>
                  <a:pt x="171" y="76"/>
                </a:cubicBezTo>
                <a:cubicBezTo>
                  <a:pt x="171" y="68"/>
                  <a:pt x="171" y="60"/>
                  <a:pt x="171" y="52"/>
                </a:cubicBezTo>
                <a:cubicBezTo>
                  <a:pt x="171" y="50"/>
                  <a:pt x="171" y="48"/>
                  <a:pt x="172" y="46"/>
                </a:cubicBezTo>
                <a:cubicBezTo>
                  <a:pt x="172" y="43"/>
                  <a:pt x="174" y="40"/>
                  <a:pt x="176" y="37"/>
                </a:cubicBezTo>
                <a:cubicBezTo>
                  <a:pt x="178" y="35"/>
                  <a:pt x="180" y="34"/>
                  <a:pt x="182" y="33"/>
                </a:cubicBezTo>
                <a:cubicBezTo>
                  <a:pt x="185" y="33"/>
                  <a:pt x="187" y="33"/>
                  <a:pt x="189" y="34"/>
                </a:cubicBezTo>
                <a:cubicBezTo>
                  <a:pt x="189" y="34"/>
                  <a:pt x="190" y="35"/>
                  <a:pt x="190" y="34"/>
                </a:cubicBezTo>
                <a:cubicBezTo>
                  <a:pt x="190" y="32"/>
                  <a:pt x="190" y="30"/>
                  <a:pt x="190" y="28"/>
                </a:cubicBezTo>
                <a:cubicBezTo>
                  <a:pt x="190" y="26"/>
                  <a:pt x="190" y="26"/>
                  <a:pt x="188" y="26"/>
                </a:cubicBezTo>
                <a:cubicBezTo>
                  <a:pt x="187" y="26"/>
                  <a:pt x="187" y="26"/>
                  <a:pt x="186" y="26"/>
                </a:cubicBezTo>
                <a:cubicBezTo>
                  <a:pt x="182" y="25"/>
                  <a:pt x="178" y="27"/>
                  <a:pt x="175" y="30"/>
                </a:cubicBezTo>
                <a:cubicBezTo>
                  <a:pt x="174" y="31"/>
                  <a:pt x="173" y="33"/>
                  <a:pt x="172" y="35"/>
                </a:cubicBezTo>
                <a:cubicBezTo>
                  <a:pt x="172" y="36"/>
                  <a:pt x="172" y="36"/>
                  <a:pt x="171" y="36"/>
                </a:cubicBezTo>
                <a:cubicBezTo>
                  <a:pt x="171" y="35"/>
                  <a:pt x="171" y="34"/>
                  <a:pt x="171" y="33"/>
                </a:cubicBezTo>
                <a:cubicBezTo>
                  <a:pt x="171" y="31"/>
                  <a:pt x="171" y="29"/>
                  <a:pt x="171" y="27"/>
                </a:cubicBezTo>
                <a:cubicBezTo>
                  <a:pt x="171" y="27"/>
                  <a:pt x="171" y="26"/>
                  <a:pt x="170" y="26"/>
                </a:cubicBezTo>
                <a:cubicBezTo>
                  <a:pt x="168" y="26"/>
                  <a:pt x="165" y="26"/>
                  <a:pt x="163" y="26"/>
                </a:cubicBezTo>
                <a:cubicBezTo>
                  <a:pt x="162" y="27"/>
                  <a:pt x="163" y="28"/>
                  <a:pt x="163" y="29"/>
                </a:cubicBezTo>
                <a:close/>
                <a:moveTo>
                  <a:pt x="355" y="133"/>
                </a:moveTo>
                <a:cubicBezTo>
                  <a:pt x="355" y="132"/>
                  <a:pt x="354" y="132"/>
                  <a:pt x="354" y="132"/>
                </a:cubicBezTo>
                <a:cubicBezTo>
                  <a:pt x="352" y="132"/>
                  <a:pt x="350" y="132"/>
                  <a:pt x="348" y="132"/>
                </a:cubicBezTo>
                <a:cubicBezTo>
                  <a:pt x="346" y="132"/>
                  <a:pt x="346" y="132"/>
                  <a:pt x="346" y="133"/>
                </a:cubicBezTo>
                <a:cubicBezTo>
                  <a:pt x="346" y="133"/>
                  <a:pt x="346" y="134"/>
                  <a:pt x="346" y="134"/>
                </a:cubicBezTo>
                <a:cubicBezTo>
                  <a:pt x="346" y="150"/>
                  <a:pt x="346" y="166"/>
                  <a:pt x="346" y="182"/>
                </a:cubicBezTo>
                <a:cubicBezTo>
                  <a:pt x="346" y="183"/>
                  <a:pt x="346" y="183"/>
                  <a:pt x="346" y="184"/>
                </a:cubicBezTo>
                <a:cubicBezTo>
                  <a:pt x="346" y="184"/>
                  <a:pt x="347" y="184"/>
                  <a:pt x="347" y="184"/>
                </a:cubicBezTo>
                <a:cubicBezTo>
                  <a:pt x="349" y="184"/>
                  <a:pt x="352" y="184"/>
                  <a:pt x="354" y="184"/>
                </a:cubicBezTo>
                <a:cubicBezTo>
                  <a:pt x="354" y="184"/>
                  <a:pt x="355" y="184"/>
                  <a:pt x="355" y="183"/>
                </a:cubicBezTo>
                <a:cubicBezTo>
                  <a:pt x="355" y="183"/>
                  <a:pt x="355" y="182"/>
                  <a:pt x="355" y="181"/>
                </a:cubicBezTo>
                <a:cubicBezTo>
                  <a:pt x="355" y="174"/>
                  <a:pt x="355" y="166"/>
                  <a:pt x="355" y="158"/>
                </a:cubicBezTo>
                <a:cubicBezTo>
                  <a:pt x="355" y="156"/>
                  <a:pt x="355" y="154"/>
                  <a:pt x="355" y="152"/>
                </a:cubicBezTo>
                <a:cubicBezTo>
                  <a:pt x="356" y="149"/>
                  <a:pt x="357" y="145"/>
                  <a:pt x="359" y="143"/>
                </a:cubicBezTo>
                <a:cubicBezTo>
                  <a:pt x="361" y="140"/>
                  <a:pt x="364" y="138"/>
                  <a:pt x="368" y="139"/>
                </a:cubicBezTo>
                <a:cubicBezTo>
                  <a:pt x="369" y="139"/>
                  <a:pt x="371" y="139"/>
                  <a:pt x="372" y="139"/>
                </a:cubicBezTo>
                <a:cubicBezTo>
                  <a:pt x="373" y="140"/>
                  <a:pt x="373" y="140"/>
                  <a:pt x="374" y="140"/>
                </a:cubicBezTo>
                <a:cubicBezTo>
                  <a:pt x="374" y="137"/>
                  <a:pt x="374" y="135"/>
                  <a:pt x="374" y="132"/>
                </a:cubicBezTo>
                <a:cubicBezTo>
                  <a:pt x="374" y="132"/>
                  <a:pt x="373" y="131"/>
                  <a:pt x="373" y="131"/>
                </a:cubicBezTo>
                <a:cubicBezTo>
                  <a:pt x="367" y="130"/>
                  <a:pt x="362" y="131"/>
                  <a:pt x="358" y="136"/>
                </a:cubicBezTo>
                <a:cubicBezTo>
                  <a:pt x="357" y="137"/>
                  <a:pt x="356" y="139"/>
                  <a:pt x="356" y="140"/>
                </a:cubicBezTo>
                <a:cubicBezTo>
                  <a:pt x="356" y="141"/>
                  <a:pt x="355" y="141"/>
                  <a:pt x="355" y="141"/>
                </a:cubicBezTo>
                <a:cubicBezTo>
                  <a:pt x="355" y="138"/>
                  <a:pt x="355" y="136"/>
                  <a:pt x="355" y="133"/>
                </a:cubicBezTo>
                <a:close/>
                <a:moveTo>
                  <a:pt x="1015" y="33"/>
                </a:moveTo>
                <a:cubicBezTo>
                  <a:pt x="1015" y="31"/>
                  <a:pt x="1015" y="29"/>
                  <a:pt x="1015" y="27"/>
                </a:cubicBezTo>
                <a:cubicBezTo>
                  <a:pt x="1015" y="27"/>
                  <a:pt x="1015" y="26"/>
                  <a:pt x="1014" y="26"/>
                </a:cubicBezTo>
                <a:cubicBezTo>
                  <a:pt x="1013" y="26"/>
                  <a:pt x="1011" y="26"/>
                  <a:pt x="1009" y="26"/>
                </a:cubicBezTo>
                <a:cubicBezTo>
                  <a:pt x="1007" y="26"/>
                  <a:pt x="1007" y="26"/>
                  <a:pt x="1007" y="29"/>
                </a:cubicBezTo>
                <a:cubicBezTo>
                  <a:pt x="1007" y="45"/>
                  <a:pt x="1007" y="61"/>
                  <a:pt x="1007" y="77"/>
                </a:cubicBezTo>
                <a:cubicBezTo>
                  <a:pt x="1007" y="77"/>
                  <a:pt x="1007" y="78"/>
                  <a:pt x="1007" y="78"/>
                </a:cubicBezTo>
                <a:cubicBezTo>
                  <a:pt x="1007" y="79"/>
                  <a:pt x="1007" y="79"/>
                  <a:pt x="1008" y="79"/>
                </a:cubicBezTo>
                <a:cubicBezTo>
                  <a:pt x="1010" y="79"/>
                  <a:pt x="1012" y="79"/>
                  <a:pt x="1014" y="79"/>
                </a:cubicBezTo>
                <a:cubicBezTo>
                  <a:pt x="1015" y="79"/>
                  <a:pt x="1015" y="79"/>
                  <a:pt x="1015" y="78"/>
                </a:cubicBezTo>
                <a:cubicBezTo>
                  <a:pt x="1015" y="77"/>
                  <a:pt x="1015" y="77"/>
                  <a:pt x="1015" y="76"/>
                </a:cubicBezTo>
                <a:cubicBezTo>
                  <a:pt x="1015" y="69"/>
                  <a:pt x="1015" y="61"/>
                  <a:pt x="1015" y="54"/>
                </a:cubicBezTo>
                <a:cubicBezTo>
                  <a:pt x="1015" y="51"/>
                  <a:pt x="1015" y="49"/>
                  <a:pt x="1016" y="47"/>
                </a:cubicBezTo>
                <a:cubicBezTo>
                  <a:pt x="1016" y="43"/>
                  <a:pt x="1017" y="40"/>
                  <a:pt x="1020" y="37"/>
                </a:cubicBezTo>
                <a:cubicBezTo>
                  <a:pt x="1021" y="35"/>
                  <a:pt x="1023" y="34"/>
                  <a:pt x="1026" y="33"/>
                </a:cubicBezTo>
                <a:cubicBezTo>
                  <a:pt x="1028" y="33"/>
                  <a:pt x="1031" y="33"/>
                  <a:pt x="1033" y="34"/>
                </a:cubicBezTo>
                <a:cubicBezTo>
                  <a:pt x="1033" y="34"/>
                  <a:pt x="1034" y="35"/>
                  <a:pt x="1034" y="34"/>
                </a:cubicBezTo>
                <a:cubicBezTo>
                  <a:pt x="1034" y="32"/>
                  <a:pt x="1034" y="30"/>
                  <a:pt x="1034" y="27"/>
                </a:cubicBezTo>
                <a:cubicBezTo>
                  <a:pt x="1034" y="26"/>
                  <a:pt x="1034" y="26"/>
                  <a:pt x="1033" y="26"/>
                </a:cubicBezTo>
                <a:cubicBezTo>
                  <a:pt x="1028" y="25"/>
                  <a:pt x="1023" y="26"/>
                  <a:pt x="1019" y="31"/>
                </a:cubicBezTo>
                <a:cubicBezTo>
                  <a:pt x="1018" y="32"/>
                  <a:pt x="1017" y="33"/>
                  <a:pt x="1016" y="35"/>
                </a:cubicBezTo>
                <a:cubicBezTo>
                  <a:pt x="1016" y="35"/>
                  <a:pt x="1016" y="36"/>
                  <a:pt x="1015" y="36"/>
                </a:cubicBezTo>
                <a:cubicBezTo>
                  <a:pt x="1015" y="35"/>
                  <a:pt x="1015" y="34"/>
                  <a:pt x="1015" y="33"/>
                </a:cubicBezTo>
                <a:close/>
                <a:moveTo>
                  <a:pt x="462" y="178"/>
                </a:moveTo>
                <a:cubicBezTo>
                  <a:pt x="462" y="180"/>
                  <a:pt x="461" y="182"/>
                  <a:pt x="462" y="184"/>
                </a:cubicBezTo>
                <a:cubicBezTo>
                  <a:pt x="464" y="185"/>
                  <a:pt x="466" y="184"/>
                  <a:pt x="469" y="184"/>
                </a:cubicBezTo>
                <a:cubicBezTo>
                  <a:pt x="469" y="184"/>
                  <a:pt x="469" y="184"/>
                  <a:pt x="469" y="184"/>
                </a:cubicBezTo>
                <a:cubicBezTo>
                  <a:pt x="470" y="184"/>
                  <a:pt x="470" y="184"/>
                  <a:pt x="470" y="183"/>
                </a:cubicBezTo>
                <a:cubicBezTo>
                  <a:pt x="470" y="183"/>
                  <a:pt x="470" y="182"/>
                  <a:pt x="470" y="181"/>
                </a:cubicBezTo>
                <a:cubicBezTo>
                  <a:pt x="470" y="167"/>
                  <a:pt x="470" y="153"/>
                  <a:pt x="470" y="139"/>
                </a:cubicBezTo>
                <a:cubicBezTo>
                  <a:pt x="470" y="136"/>
                  <a:pt x="471" y="134"/>
                  <a:pt x="470" y="132"/>
                </a:cubicBezTo>
                <a:cubicBezTo>
                  <a:pt x="467" y="131"/>
                  <a:pt x="465" y="132"/>
                  <a:pt x="463" y="132"/>
                </a:cubicBezTo>
                <a:cubicBezTo>
                  <a:pt x="463" y="132"/>
                  <a:pt x="463" y="132"/>
                  <a:pt x="463" y="132"/>
                </a:cubicBezTo>
                <a:cubicBezTo>
                  <a:pt x="462" y="132"/>
                  <a:pt x="462" y="132"/>
                  <a:pt x="462" y="133"/>
                </a:cubicBezTo>
                <a:cubicBezTo>
                  <a:pt x="462" y="133"/>
                  <a:pt x="462" y="134"/>
                  <a:pt x="462" y="135"/>
                </a:cubicBezTo>
                <a:cubicBezTo>
                  <a:pt x="462" y="143"/>
                  <a:pt x="462" y="150"/>
                  <a:pt x="462" y="158"/>
                </a:cubicBezTo>
                <a:cubicBezTo>
                  <a:pt x="462" y="165"/>
                  <a:pt x="462" y="171"/>
                  <a:pt x="462" y="178"/>
                </a:cubicBezTo>
                <a:close/>
                <a:moveTo>
                  <a:pt x="210" y="135"/>
                </a:moveTo>
                <a:cubicBezTo>
                  <a:pt x="210" y="149"/>
                  <a:pt x="210" y="164"/>
                  <a:pt x="210" y="178"/>
                </a:cubicBezTo>
                <a:cubicBezTo>
                  <a:pt x="210" y="180"/>
                  <a:pt x="210" y="181"/>
                  <a:pt x="210" y="183"/>
                </a:cubicBezTo>
                <a:cubicBezTo>
                  <a:pt x="210" y="184"/>
                  <a:pt x="210" y="184"/>
                  <a:pt x="211" y="184"/>
                </a:cubicBezTo>
                <a:cubicBezTo>
                  <a:pt x="213" y="184"/>
                  <a:pt x="214" y="184"/>
                  <a:pt x="216" y="184"/>
                </a:cubicBezTo>
                <a:cubicBezTo>
                  <a:pt x="218" y="184"/>
                  <a:pt x="218" y="184"/>
                  <a:pt x="218" y="182"/>
                </a:cubicBezTo>
                <a:cubicBezTo>
                  <a:pt x="218" y="166"/>
                  <a:pt x="218" y="150"/>
                  <a:pt x="218" y="134"/>
                </a:cubicBezTo>
                <a:cubicBezTo>
                  <a:pt x="218" y="133"/>
                  <a:pt x="218" y="133"/>
                  <a:pt x="218" y="133"/>
                </a:cubicBezTo>
                <a:cubicBezTo>
                  <a:pt x="218" y="132"/>
                  <a:pt x="218" y="132"/>
                  <a:pt x="217" y="132"/>
                </a:cubicBezTo>
                <a:cubicBezTo>
                  <a:pt x="215" y="132"/>
                  <a:pt x="212" y="132"/>
                  <a:pt x="210" y="132"/>
                </a:cubicBezTo>
                <a:cubicBezTo>
                  <a:pt x="209" y="133"/>
                  <a:pt x="210" y="134"/>
                  <a:pt x="210" y="135"/>
                </a:cubicBezTo>
                <a:close/>
                <a:moveTo>
                  <a:pt x="96" y="76"/>
                </a:moveTo>
                <a:cubicBezTo>
                  <a:pt x="96" y="77"/>
                  <a:pt x="96" y="78"/>
                  <a:pt x="96" y="78"/>
                </a:cubicBezTo>
                <a:cubicBezTo>
                  <a:pt x="96" y="79"/>
                  <a:pt x="96" y="79"/>
                  <a:pt x="96" y="79"/>
                </a:cubicBezTo>
                <a:cubicBezTo>
                  <a:pt x="99" y="79"/>
                  <a:pt x="101" y="79"/>
                  <a:pt x="103" y="79"/>
                </a:cubicBezTo>
                <a:cubicBezTo>
                  <a:pt x="104" y="79"/>
                  <a:pt x="104" y="79"/>
                  <a:pt x="104" y="78"/>
                </a:cubicBezTo>
                <a:cubicBezTo>
                  <a:pt x="104" y="77"/>
                  <a:pt x="104" y="77"/>
                  <a:pt x="104" y="76"/>
                </a:cubicBezTo>
                <a:cubicBezTo>
                  <a:pt x="104" y="62"/>
                  <a:pt x="104" y="47"/>
                  <a:pt x="104" y="33"/>
                </a:cubicBezTo>
                <a:cubicBezTo>
                  <a:pt x="104" y="31"/>
                  <a:pt x="104" y="29"/>
                  <a:pt x="104" y="27"/>
                </a:cubicBezTo>
                <a:cubicBezTo>
                  <a:pt x="102" y="26"/>
                  <a:pt x="99" y="27"/>
                  <a:pt x="97" y="26"/>
                </a:cubicBezTo>
                <a:cubicBezTo>
                  <a:pt x="97" y="26"/>
                  <a:pt x="97" y="26"/>
                  <a:pt x="96" y="26"/>
                </a:cubicBezTo>
                <a:cubicBezTo>
                  <a:pt x="96" y="26"/>
                  <a:pt x="96" y="27"/>
                  <a:pt x="96" y="27"/>
                </a:cubicBezTo>
                <a:cubicBezTo>
                  <a:pt x="96" y="28"/>
                  <a:pt x="96" y="29"/>
                  <a:pt x="96" y="29"/>
                </a:cubicBezTo>
                <a:cubicBezTo>
                  <a:pt x="96" y="37"/>
                  <a:pt x="96" y="45"/>
                  <a:pt x="96" y="52"/>
                </a:cubicBezTo>
                <a:cubicBezTo>
                  <a:pt x="96" y="60"/>
                  <a:pt x="96" y="68"/>
                  <a:pt x="96" y="76"/>
                </a:cubicBezTo>
                <a:close/>
                <a:moveTo>
                  <a:pt x="94" y="8"/>
                </a:moveTo>
                <a:cubicBezTo>
                  <a:pt x="94" y="11"/>
                  <a:pt x="97" y="13"/>
                  <a:pt x="100" y="13"/>
                </a:cubicBezTo>
                <a:cubicBezTo>
                  <a:pt x="103" y="13"/>
                  <a:pt x="105" y="11"/>
                  <a:pt x="106" y="8"/>
                </a:cubicBezTo>
                <a:cubicBezTo>
                  <a:pt x="106" y="5"/>
                  <a:pt x="103" y="2"/>
                  <a:pt x="100" y="2"/>
                </a:cubicBezTo>
                <a:cubicBezTo>
                  <a:pt x="97" y="2"/>
                  <a:pt x="94" y="5"/>
                  <a:pt x="94" y="8"/>
                </a:cubicBezTo>
                <a:close/>
                <a:moveTo>
                  <a:pt x="208" y="113"/>
                </a:moveTo>
                <a:cubicBezTo>
                  <a:pt x="208" y="116"/>
                  <a:pt x="211" y="118"/>
                  <a:pt x="214" y="118"/>
                </a:cubicBezTo>
                <a:cubicBezTo>
                  <a:pt x="217" y="119"/>
                  <a:pt x="220" y="116"/>
                  <a:pt x="220" y="113"/>
                </a:cubicBezTo>
                <a:cubicBezTo>
                  <a:pt x="220" y="110"/>
                  <a:pt x="217" y="107"/>
                  <a:pt x="214" y="107"/>
                </a:cubicBezTo>
                <a:cubicBezTo>
                  <a:pt x="211" y="107"/>
                  <a:pt x="208" y="110"/>
                  <a:pt x="208" y="113"/>
                </a:cubicBezTo>
                <a:close/>
                <a:moveTo>
                  <a:pt x="466" y="107"/>
                </a:moveTo>
                <a:cubicBezTo>
                  <a:pt x="463" y="107"/>
                  <a:pt x="460" y="110"/>
                  <a:pt x="460" y="113"/>
                </a:cubicBezTo>
                <a:cubicBezTo>
                  <a:pt x="460" y="116"/>
                  <a:pt x="463" y="118"/>
                  <a:pt x="466" y="118"/>
                </a:cubicBezTo>
                <a:cubicBezTo>
                  <a:pt x="469" y="118"/>
                  <a:pt x="472" y="116"/>
                  <a:pt x="472" y="113"/>
                </a:cubicBezTo>
                <a:cubicBezTo>
                  <a:pt x="472" y="110"/>
                  <a:pt x="469" y="107"/>
                  <a:pt x="466" y="107"/>
                </a:cubicBezTo>
                <a:close/>
                <a:moveTo>
                  <a:pt x="268" y="157"/>
                </a:moveTo>
                <a:cubicBezTo>
                  <a:pt x="268" y="156"/>
                  <a:pt x="268" y="154"/>
                  <a:pt x="268" y="152"/>
                </a:cubicBezTo>
                <a:cubicBezTo>
                  <a:pt x="268" y="151"/>
                  <a:pt x="268" y="150"/>
                  <a:pt x="267" y="149"/>
                </a:cubicBezTo>
                <a:cubicBezTo>
                  <a:pt x="266" y="143"/>
                  <a:pt x="261" y="139"/>
                  <a:pt x="255" y="138"/>
                </a:cubicBezTo>
                <a:cubicBezTo>
                  <a:pt x="249" y="137"/>
                  <a:pt x="244" y="139"/>
                  <a:pt x="240" y="144"/>
                </a:cubicBezTo>
                <a:cubicBezTo>
                  <a:pt x="239" y="146"/>
                  <a:pt x="238" y="148"/>
                  <a:pt x="238" y="149"/>
                </a:cubicBezTo>
                <a:cubicBezTo>
                  <a:pt x="236" y="154"/>
                  <a:pt x="236" y="159"/>
                  <a:pt x="237" y="164"/>
                </a:cubicBezTo>
                <a:cubicBezTo>
                  <a:pt x="237" y="167"/>
                  <a:pt x="238" y="169"/>
                  <a:pt x="239" y="171"/>
                </a:cubicBezTo>
                <a:cubicBezTo>
                  <a:pt x="245" y="181"/>
                  <a:pt x="257" y="180"/>
                  <a:pt x="262" y="175"/>
                </a:cubicBezTo>
                <a:cubicBezTo>
                  <a:pt x="266" y="171"/>
                  <a:pt x="267" y="167"/>
                  <a:pt x="268" y="163"/>
                </a:cubicBezTo>
                <a:cubicBezTo>
                  <a:pt x="268" y="161"/>
                  <a:pt x="268" y="159"/>
                  <a:pt x="268" y="157"/>
                </a:cubicBezTo>
                <a:cubicBezTo>
                  <a:pt x="268" y="157"/>
                  <a:pt x="268" y="157"/>
                  <a:pt x="268" y="157"/>
                </a:cubicBezTo>
                <a:close/>
                <a:moveTo>
                  <a:pt x="902" y="150"/>
                </a:moveTo>
                <a:cubicBezTo>
                  <a:pt x="900" y="144"/>
                  <a:pt x="897" y="140"/>
                  <a:pt x="891" y="138"/>
                </a:cubicBezTo>
                <a:cubicBezTo>
                  <a:pt x="884" y="136"/>
                  <a:pt x="877" y="139"/>
                  <a:pt x="873" y="146"/>
                </a:cubicBezTo>
                <a:cubicBezTo>
                  <a:pt x="873" y="147"/>
                  <a:pt x="872" y="149"/>
                  <a:pt x="872" y="150"/>
                </a:cubicBezTo>
                <a:cubicBezTo>
                  <a:pt x="871" y="154"/>
                  <a:pt x="870" y="158"/>
                  <a:pt x="871" y="162"/>
                </a:cubicBezTo>
                <a:cubicBezTo>
                  <a:pt x="871" y="166"/>
                  <a:pt x="872" y="169"/>
                  <a:pt x="874" y="172"/>
                </a:cubicBezTo>
                <a:cubicBezTo>
                  <a:pt x="876" y="175"/>
                  <a:pt x="878" y="177"/>
                  <a:pt x="881" y="178"/>
                </a:cubicBezTo>
                <a:cubicBezTo>
                  <a:pt x="887" y="180"/>
                  <a:pt x="894" y="178"/>
                  <a:pt x="898" y="173"/>
                </a:cubicBezTo>
                <a:cubicBezTo>
                  <a:pt x="900" y="170"/>
                  <a:pt x="901" y="168"/>
                  <a:pt x="902" y="165"/>
                </a:cubicBezTo>
                <a:cubicBezTo>
                  <a:pt x="902" y="162"/>
                  <a:pt x="902" y="160"/>
                  <a:pt x="902" y="157"/>
                </a:cubicBezTo>
                <a:cubicBezTo>
                  <a:pt x="902" y="155"/>
                  <a:pt x="902" y="152"/>
                  <a:pt x="902" y="150"/>
                </a:cubicBezTo>
                <a:close/>
                <a:moveTo>
                  <a:pt x="1298" y="13"/>
                </a:moveTo>
                <a:cubicBezTo>
                  <a:pt x="1296" y="13"/>
                  <a:pt x="1294" y="13"/>
                  <a:pt x="1292" y="13"/>
                </a:cubicBezTo>
                <a:cubicBezTo>
                  <a:pt x="1290" y="13"/>
                  <a:pt x="1290" y="13"/>
                  <a:pt x="1290" y="15"/>
                </a:cubicBezTo>
                <a:cubicBezTo>
                  <a:pt x="1290" y="17"/>
                  <a:pt x="1290" y="19"/>
                  <a:pt x="1290" y="22"/>
                </a:cubicBezTo>
                <a:cubicBezTo>
                  <a:pt x="1290" y="27"/>
                  <a:pt x="1290" y="33"/>
                  <a:pt x="1290" y="39"/>
                </a:cubicBezTo>
                <a:cubicBezTo>
                  <a:pt x="1290" y="40"/>
                  <a:pt x="1290" y="40"/>
                  <a:pt x="1291" y="40"/>
                </a:cubicBezTo>
                <a:cubicBezTo>
                  <a:pt x="1295" y="40"/>
                  <a:pt x="1299" y="40"/>
                  <a:pt x="1303" y="40"/>
                </a:cubicBezTo>
                <a:cubicBezTo>
                  <a:pt x="1304" y="40"/>
                  <a:pt x="1305" y="40"/>
                  <a:pt x="1306" y="39"/>
                </a:cubicBezTo>
                <a:cubicBezTo>
                  <a:pt x="1312" y="38"/>
                  <a:pt x="1318" y="33"/>
                  <a:pt x="1317" y="24"/>
                </a:cubicBezTo>
                <a:cubicBezTo>
                  <a:pt x="1316" y="19"/>
                  <a:pt x="1314" y="16"/>
                  <a:pt x="1309" y="14"/>
                </a:cubicBezTo>
                <a:cubicBezTo>
                  <a:pt x="1307" y="14"/>
                  <a:pt x="1305" y="13"/>
                  <a:pt x="1304" y="13"/>
                </a:cubicBezTo>
                <a:cubicBezTo>
                  <a:pt x="1302" y="13"/>
                  <a:pt x="1300" y="13"/>
                  <a:pt x="1298" y="13"/>
                </a:cubicBezTo>
                <a:cubicBezTo>
                  <a:pt x="1298" y="13"/>
                  <a:pt x="1298" y="13"/>
                  <a:pt x="1298" y="13"/>
                </a:cubicBezTo>
                <a:close/>
                <a:moveTo>
                  <a:pt x="1150" y="38"/>
                </a:moveTo>
                <a:cubicBezTo>
                  <a:pt x="1150" y="33"/>
                  <a:pt x="1149" y="28"/>
                  <a:pt x="1148" y="23"/>
                </a:cubicBezTo>
                <a:cubicBezTo>
                  <a:pt x="1147" y="21"/>
                  <a:pt x="1146" y="19"/>
                  <a:pt x="1145" y="17"/>
                </a:cubicBezTo>
                <a:cubicBezTo>
                  <a:pt x="1140" y="9"/>
                  <a:pt x="1130" y="10"/>
                  <a:pt x="1125" y="16"/>
                </a:cubicBezTo>
                <a:cubicBezTo>
                  <a:pt x="1124" y="17"/>
                  <a:pt x="1123" y="19"/>
                  <a:pt x="1123" y="21"/>
                </a:cubicBezTo>
                <a:cubicBezTo>
                  <a:pt x="1121" y="24"/>
                  <a:pt x="1120" y="28"/>
                  <a:pt x="1120" y="31"/>
                </a:cubicBezTo>
                <a:cubicBezTo>
                  <a:pt x="1119" y="37"/>
                  <a:pt x="1119" y="43"/>
                  <a:pt x="1119" y="49"/>
                </a:cubicBezTo>
                <a:cubicBezTo>
                  <a:pt x="1120" y="54"/>
                  <a:pt x="1120" y="58"/>
                  <a:pt x="1122" y="62"/>
                </a:cubicBezTo>
                <a:cubicBezTo>
                  <a:pt x="1122" y="64"/>
                  <a:pt x="1123" y="66"/>
                  <a:pt x="1125" y="68"/>
                </a:cubicBezTo>
                <a:cubicBezTo>
                  <a:pt x="1126" y="70"/>
                  <a:pt x="1129" y="72"/>
                  <a:pt x="1131" y="73"/>
                </a:cubicBezTo>
                <a:cubicBezTo>
                  <a:pt x="1137" y="74"/>
                  <a:pt x="1142" y="72"/>
                  <a:pt x="1145" y="67"/>
                </a:cubicBezTo>
                <a:cubicBezTo>
                  <a:pt x="1147" y="64"/>
                  <a:pt x="1148" y="62"/>
                  <a:pt x="1148" y="59"/>
                </a:cubicBezTo>
                <a:cubicBezTo>
                  <a:pt x="1150" y="54"/>
                  <a:pt x="1150" y="48"/>
                  <a:pt x="1150" y="42"/>
                </a:cubicBezTo>
                <a:cubicBezTo>
                  <a:pt x="1150" y="41"/>
                  <a:pt x="1150" y="40"/>
                  <a:pt x="1150" y="38"/>
                </a:cubicBezTo>
                <a:close/>
                <a:moveTo>
                  <a:pt x="627" y="40"/>
                </a:moveTo>
                <a:cubicBezTo>
                  <a:pt x="625" y="36"/>
                  <a:pt x="623" y="34"/>
                  <a:pt x="620" y="33"/>
                </a:cubicBezTo>
                <a:cubicBezTo>
                  <a:pt x="614" y="31"/>
                  <a:pt x="609" y="33"/>
                  <a:pt x="605" y="37"/>
                </a:cubicBezTo>
                <a:cubicBezTo>
                  <a:pt x="603" y="39"/>
                  <a:pt x="601" y="43"/>
                  <a:pt x="600" y="46"/>
                </a:cubicBezTo>
                <a:cubicBezTo>
                  <a:pt x="600" y="46"/>
                  <a:pt x="600" y="47"/>
                  <a:pt x="600" y="47"/>
                </a:cubicBezTo>
                <a:cubicBezTo>
                  <a:pt x="603" y="48"/>
                  <a:pt x="626" y="48"/>
                  <a:pt x="628" y="47"/>
                </a:cubicBezTo>
                <a:cubicBezTo>
                  <a:pt x="628" y="45"/>
                  <a:pt x="628" y="42"/>
                  <a:pt x="627" y="40"/>
                </a:cubicBezTo>
                <a:close/>
                <a:moveTo>
                  <a:pt x="848" y="39"/>
                </a:moveTo>
                <a:cubicBezTo>
                  <a:pt x="846" y="36"/>
                  <a:pt x="844" y="34"/>
                  <a:pt x="842" y="33"/>
                </a:cubicBezTo>
                <a:cubicBezTo>
                  <a:pt x="836" y="31"/>
                  <a:pt x="832" y="32"/>
                  <a:pt x="827" y="36"/>
                </a:cubicBezTo>
                <a:cubicBezTo>
                  <a:pt x="825" y="38"/>
                  <a:pt x="823" y="41"/>
                  <a:pt x="822" y="44"/>
                </a:cubicBezTo>
                <a:cubicBezTo>
                  <a:pt x="822" y="45"/>
                  <a:pt x="821" y="46"/>
                  <a:pt x="821" y="47"/>
                </a:cubicBezTo>
                <a:cubicBezTo>
                  <a:pt x="824" y="48"/>
                  <a:pt x="847" y="48"/>
                  <a:pt x="850" y="47"/>
                </a:cubicBezTo>
                <a:cubicBezTo>
                  <a:pt x="850" y="44"/>
                  <a:pt x="849" y="41"/>
                  <a:pt x="848" y="39"/>
                </a:cubicBezTo>
                <a:close/>
                <a:moveTo>
                  <a:pt x="956" y="144"/>
                </a:moveTo>
                <a:cubicBezTo>
                  <a:pt x="954" y="142"/>
                  <a:pt x="952" y="140"/>
                  <a:pt x="950" y="139"/>
                </a:cubicBezTo>
                <a:cubicBezTo>
                  <a:pt x="945" y="137"/>
                  <a:pt x="941" y="137"/>
                  <a:pt x="936" y="140"/>
                </a:cubicBezTo>
                <a:cubicBezTo>
                  <a:pt x="932" y="143"/>
                  <a:pt x="930" y="148"/>
                  <a:pt x="929" y="153"/>
                </a:cubicBezTo>
                <a:cubicBezTo>
                  <a:pt x="938" y="153"/>
                  <a:pt x="948" y="153"/>
                  <a:pt x="957" y="153"/>
                </a:cubicBezTo>
                <a:cubicBezTo>
                  <a:pt x="957" y="150"/>
                  <a:pt x="957" y="147"/>
                  <a:pt x="956" y="144"/>
                </a:cubicBezTo>
                <a:close/>
                <a:moveTo>
                  <a:pt x="986" y="37"/>
                </a:moveTo>
                <a:cubicBezTo>
                  <a:pt x="985" y="35"/>
                  <a:pt x="983" y="34"/>
                  <a:pt x="980" y="33"/>
                </a:cubicBezTo>
                <a:cubicBezTo>
                  <a:pt x="975" y="31"/>
                  <a:pt x="969" y="33"/>
                  <a:pt x="965" y="37"/>
                </a:cubicBezTo>
                <a:cubicBezTo>
                  <a:pt x="963" y="40"/>
                  <a:pt x="962" y="43"/>
                  <a:pt x="961" y="46"/>
                </a:cubicBezTo>
                <a:cubicBezTo>
                  <a:pt x="961" y="46"/>
                  <a:pt x="961" y="47"/>
                  <a:pt x="961" y="47"/>
                </a:cubicBezTo>
                <a:cubicBezTo>
                  <a:pt x="965" y="48"/>
                  <a:pt x="987" y="48"/>
                  <a:pt x="989" y="47"/>
                </a:cubicBezTo>
                <a:cubicBezTo>
                  <a:pt x="989" y="44"/>
                  <a:pt x="988" y="40"/>
                  <a:pt x="986" y="37"/>
                </a:cubicBezTo>
                <a:close/>
                <a:moveTo>
                  <a:pt x="844" y="158"/>
                </a:moveTo>
                <a:cubicBezTo>
                  <a:pt x="840" y="158"/>
                  <a:pt x="835" y="159"/>
                  <a:pt x="831" y="160"/>
                </a:cubicBezTo>
                <a:cubicBezTo>
                  <a:pt x="830" y="160"/>
                  <a:pt x="828" y="160"/>
                  <a:pt x="826" y="161"/>
                </a:cubicBezTo>
                <a:cubicBezTo>
                  <a:pt x="823" y="162"/>
                  <a:pt x="821" y="164"/>
                  <a:pt x="820" y="168"/>
                </a:cubicBezTo>
                <a:cubicBezTo>
                  <a:pt x="820" y="173"/>
                  <a:pt x="823" y="177"/>
                  <a:pt x="827" y="178"/>
                </a:cubicBezTo>
                <a:cubicBezTo>
                  <a:pt x="835" y="180"/>
                  <a:pt x="842" y="176"/>
                  <a:pt x="844" y="168"/>
                </a:cubicBezTo>
                <a:cubicBezTo>
                  <a:pt x="845" y="166"/>
                  <a:pt x="845" y="161"/>
                  <a:pt x="845" y="158"/>
                </a:cubicBezTo>
                <a:cubicBezTo>
                  <a:pt x="844" y="158"/>
                  <a:pt x="844" y="158"/>
                  <a:pt x="844" y="158"/>
                </a:cubicBezTo>
                <a:close/>
                <a:moveTo>
                  <a:pt x="200" y="61"/>
                </a:moveTo>
                <a:cubicBezTo>
                  <a:pt x="202" y="67"/>
                  <a:pt x="206" y="71"/>
                  <a:pt x="212" y="73"/>
                </a:cubicBezTo>
                <a:cubicBezTo>
                  <a:pt x="215" y="73"/>
                  <a:pt x="219" y="73"/>
                  <a:pt x="222" y="73"/>
                </a:cubicBezTo>
                <a:cubicBezTo>
                  <a:pt x="226" y="71"/>
                  <a:pt x="229" y="69"/>
                  <a:pt x="231" y="66"/>
                </a:cubicBezTo>
                <a:cubicBezTo>
                  <a:pt x="232" y="64"/>
                  <a:pt x="232" y="62"/>
                  <a:pt x="233" y="61"/>
                </a:cubicBezTo>
                <a:cubicBezTo>
                  <a:pt x="234" y="56"/>
                  <a:pt x="234" y="51"/>
                  <a:pt x="233" y="46"/>
                </a:cubicBezTo>
                <a:cubicBezTo>
                  <a:pt x="233" y="44"/>
                  <a:pt x="232" y="42"/>
                  <a:pt x="231" y="40"/>
                </a:cubicBezTo>
                <a:cubicBezTo>
                  <a:pt x="229" y="37"/>
                  <a:pt x="226" y="34"/>
                  <a:pt x="223" y="33"/>
                </a:cubicBezTo>
                <a:cubicBezTo>
                  <a:pt x="219" y="32"/>
                  <a:pt x="215" y="32"/>
                  <a:pt x="211" y="33"/>
                </a:cubicBezTo>
                <a:cubicBezTo>
                  <a:pt x="206" y="35"/>
                  <a:pt x="202" y="39"/>
                  <a:pt x="201" y="44"/>
                </a:cubicBezTo>
                <a:cubicBezTo>
                  <a:pt x="200" y="47"/>
                  <a:pt x="199" y="50"/>
                  <a:pt x="199" y="53"/>
                </a:cubicBezTo>
                <a:cubicBezTo>
                  <a:pt x="199" y="55"/>
                  <a:pt x="199" y="58"/>
                  <a:pt x="200" y="61"/>
                </a:cubicBezTo>
                <a:close/>
                <a:moveTo>
                  <a:pt x="408" y="159"/>
                </a:moveTo>
                <a:cubicBezTo>
                  <a:pt x="408" y="158"/>
                  <a:pt x="408" y="158"/>
                  <a:pt x="408" y="158"/>
                </a:cubicBezTo>
                <a:cubicBezTo>
                  <a:pt x="407" y="158"/>
                  <a:pt x="407" y="158"/>
                  <a:pt x="407" y="158"/>
                </a:cubicBezTo>
                <a:cubicBezTo>
                  <a:pt x="403" y="159"/>
                  <a:pt x="399" y="159"/>
                  <a:pt x="395" y="160"/>
                </a:cubicBezTo>
                <a:cubicBezTo>
                  <a:pt x="393" y="160"/>
                  <a:pt x="391" y="160"/>
                  <a:pt x="389" y="161"/>
                </a:cubicBezTo>
                <a:cubicBezTo>
                  <a:pt x="387" y="162"/>
                  <a:pt x="386" y="163"/>
                  <a:pt x="385" y="164"/>
                </a:cubicBezTo>
                <a:cubicBezTo>
                  <a:pt x="384" y="167"/>
                  <a:pt x="383" y="171"/>
                  <a:pt x="385" y="174"/>
                </a:cubicBezTo>
                <a:cubicBezTo>
                  <a:pt x="386" y="176"/>
                  <a:pt x="388" y="178"/>
                  <a:pt x="391" y="178"/>
                </a:cubicBezTo>
                <a:cubicBezTo>
                  <a:pt x="398" y="180"/>
                  <a:pt x="405" y="176"/>
                  <a:pt x="407" y="169"/>
                </a:cubicBezTo>
                <a:cubicBezTo>
                  <a:pt x="408" y="166"/>
                  <a:pt x="408" y="164"/>
                  <a:pt x="408" y="161"/>
                </a:cubicBezTo>
                <a:cubicBezTo>
                  <a:pt x="408" y="160"/>
                  <a:pt x="408" y="160"/>
                  <a:pt x="408" y="159"/>
                </a:cubicBezTo>
                <a:close/>
                <a:moveTo>
                  <a:pt x="71" y="163"/>
                </a:moveTo>
                <a:cubicBezTo>
                  <a:pt x="71" y="164"/>
                  <a:pt x="72" y="165"/>
                  <a:pt x="72" y="166"/>
                </a:cubicBezTo>
                <a:cubicBezTo>
                  <a:pt x="74" y="172"/>
                  <a:pt x="77" y="176"/>
                  <a:pt x="83" y="178"/>
                </a:cubicBezTo>
                <a:cubicBezTo>
                  <a:pt x="87" y="179"/>
                  <a:pt x="90" y="179"/>
                  <a:pt x="94" y="178"/>
                </a:cubicBezTo>
                <a:cubicBezTo>
                  <a:pt x="97" y="177"/>
                  <a:pt x="100" y="175"/>
                  <a:pt x="102" y="171"/>
                </a:cubicBezTo>
                <a:cubicBezTo>
                  <a:pt x="103" y="170"/>
                  <a:pt x="104" y="168"/>
                  <a:pt x="104" y="166"/>
                </a:cubicBezTo>
                <a:cubicBezTo>
                  <a:pt x="106" y="161"/>
                  <a:pt x="106" y="157"/>
                  <a:pt x="105" y="152"/>
                </a:cubicBezTo>
                <a:cubicBezTo>
                  <a:pt x="105" y="150"/>
                  <a:pt x="104" y="148"/>
                  <a:pt x="103" y="146"/>
                </a:cubicBezTo>
                <a:cubicBezTo>
                  <a:pt x="101" y="142"/>
                  <a:pt x="97" y="139"/>
                  <a:pt x="93" y="138"/>
                </a:cubicBezTo>
                <a:cubicBezTo>
                  <a:pt x="91" y="138"/>
                  <a:pt x="90" y="138"/>
                  <a:pt x="88" y="138"/>
                </a:cubicBezTo>
                <a:cubicBezTo>
                  <a:pt x="80" y="138"/>
                  <a:pt x="75" y="142"/>
                  <a:pt x="72" y="149"/>
                </a:cubicBezTo>
                <a:cubicBezTo>
                  <a:pt x="71" y="152"/>
                  <a:pt x="71" y="155"/>
                  <a:pt x="71" y="159"/>
                </a:cubicBezTo>
                <a:cubicBezTo>
                  <a:pt x="71" y="160"/>
                  <a:pt x="71" y="162"/>
                  <a:pt x="71" y="163"/>
                </a:cubicBezTo>
                <a:close/>
                <a:moveTo>
                  <a:pt x="329" y="49"/>
                </a:moveTo>
                <a:cubicBezTo>
                  <a:pt x="329" y="47"/>
                  <a:pt x="328" y="44"/>
                  <a:pt x="327" y="41"/>
                </a:cubicBezTo>
                <a:cubicBezTo>
                  <a:pt x="325" y="37"/>
                  <a:pt x="322" y="34"/>
                  <a:pt x="318" y="33"/>
                </a:cubicBezTo>
                <a:cubicBezTo>
                  <a:pt x="314" y="32"/>
                  <a:pt x="310" y="32"/>
                  <a:pt x="306" y="33"/>
                </a:cubicBezTo>
                <a:cubicBezTo>
                  <a:pt x="301" y="35"/>
                  <a:pt x="297" y="39"/>
                  <a:pt x="296" y="44"/>
                </a:cubicBezTo>
                <a:cubicBezTo>
                  <a:pt x="294" y="48"/>
                  <a:pt x="294" y="53"/>
                  <a:pt x="295" y="57"/>
                </a:cubicBezTo>
                <a:cubicBezTo>
                  <a:pt x="295" y="59"/>
                  <a:pt x="295" y="61"/>
                  <a:pt x="296" y="63"/>
                </a:cubicBezTo>
                <a:cubicBezTo>
                  <a:pt x="298" y="67"/>
                  <a:pt x="301" y="71"/>
                  <a:pt x="306" y="72"/>
                </a:cubicBezTo>
                <a:cubicBezTo>
                  <a:pt x="310" y="74"/>
                  <a:pt x="314" y="74"/>
                  <a:pt x="318" y="72"/>
                </a:cubicBezTo>
                <a:cubicBezTo>
                  <a:pt x="321" y="71"/>
                  <a:pt x="324" y="69"/>
                  <a:pt x="325" y="67"/>
                </a:cubicBezTo>
                <a:cubicBezTo>
                  <a:pt x="327" y="65"/>
                  <a:pt x="327" y="63"/>
                  <a:pt x="328" y="62"/>
                </a:cubicBezTo>
                <a:cubicBezTo>
                  <a:pt x="329" y="59"/>
                  <a:pt x="329" y="56"/>
                  <a:pt x="329" y="53"/>
                </a:cubicBezTo>
                <a:cubicBezTo>
                  <a:pt x="329" y="52"/>
                  <a:pt x="329" y="51"/>
                  <a:pt x="329" y="49"/>
                </a:cubicBezTo>
                <a:close/>
                <a:moveTo>
                  <a:pt x="523" y="152"/>
                </a:moveTo>
                <a:cubicBezTo>
                  <a:pt x="522" y="150"/>
                  <a:pt x="522" y="148"/>
                  <a:pt x="520" y="146"/>
                </a:cubicBezTo>
                <a:cubicBezTo>
                  <a:pt x="518" y="142"/>
                  <a:pt x="515" y="139"/>
                  <a:pt x="510" y="138"/>
                </a:cubicBezTo>
                <a:cubicBezTo>
                  <a:pt x="509" y="138"/>
                  <a:pt x="507" y="138"/>
                  <a:pt x="505" y="138"/>
                </a:cubicBezTo>
                <a:cubicBezTo>
                  <a:pt x="498" y="138"/>
                  <a:pt x="492" y="142"/>
                  <a:pt x="490" y="149"/>
                </a:cubicBezTo>
                <a:cubicBezTo>
                  <a:pt x="488" y="154"/>
                  <a:pt x="488" y="159"/>
                  <a:pt x="489" y="165"/>
                </a:cubicBezTo>
                <a:cubicBezTo>
                  <a:pt x="489" y="166"/>
                  <a:pt x="490" y="167"/>
                  <a:pt x="490" y="169"/>
                </a:cubicBezTo>
                <a:cubicBezTo>
                  <a:pt x="493" y="175"/>
                  <a:pt x="498" y="178"/>
                  <a:pt x="505" y="178"/>
                </a:cubicBezTo>
                <a:cubicBezTo>
                  <a:pt x="514" y="179"/>
                  <a:pt x="520" y="175"/>
                  <a:pt x="522" y="166"/>
                </a:cubicBezTo>
                <a:cubicBezTo>
                  <a:pt x="523" y="164"/>
                  <a:pt x="523" y="161"/>
                  <a:pt x="523" y="159"/>
                </a:cubicBezTo>
                <a:cubicBezTo>
                  <a:pt x="523" y="157"/>
                  <a:pt x="523" y="155"/>
                  <a:pt x="523" y="152"/>
                </a:cubicBezTo>
                <a:close/>
                <a:moveTo>
                  <a:pt x="739" y="159"/>
                </a:moveTo>
                <a:cubicBezTo>
                  <a:pt x="739" y="158"/>
                  <a:pt x="738" y="158"/>
                  <a:pt x="738" y="158"/>
                </a:cubicBezTo>
                <a:cubicBezTo>
                  <a:pt x="738" y="158"/>
                  <a:pt x="737" y="158"/>
                  <a:pt x="737" y="158"/>
                </a:cubicBezTo>
                <a:cubicBezTo>
                  <a:pt x="733" y="158"/>
                  <a:pt x="730" y="159"/>
                  <a:pt x="726" y="160"/>
                </a:cubicBezTo>
                <a:cubicBezTo>
                  <a:pt x="723" y="160"/>
                  <a:pt x="721" y="160"/>
                  <a:pt x="719" y="162"/>
                </a:cubicBezTo>
                <a:cubicBezTo>
                  <a:pt x="717" y="163"/>
                  <a:pt x="715" y="164"/>
                  <a:pt x="715" y="166"/>
                </a:cubicBezTo>
                <a:cubicBezTo>
                  <a:pt x="714" y="167"/>
                  <a:pt x="714" y="169"/>
                  <a:pt x="714" y="170"/>
                </a:cubicBezTo>
                <a:cubicBezTo>
                  <a:pt x="714" y="173"/>
                  <a:pt x="716" y="176"/>
                  <a:pt x="719" y="177"/>
                </a:cubicBezTo>
                <a:cubicBezTo>
                  <a:pt x="721" y="178"/>
                  <a:pt x="724" y="179"/>
                  <a:pt x="726" y="178"/>
                </a:cubicBezTo>
                <a:cubicBezTo>
                  <a:pt x="732" y="178"/>
                  <a:pt x="737" y="173"/>
                  <a:pt x="738" y="167"/>
                </a:cubicBezTo>
                <a:cubicBezTo>
                  <a:pt x="739" y="165"/>
                  <a:pt x="739" y="164"/>
                  <a:pt x="739" y="162"/>
                </a:cubicBezTo>
                <a:cubicBezTo>
                  <a:pt x="739" y="161"/>
                  <a:pt x="739" y="160"/>
                  <a:pt x="739" y="159"/>
                </a:cubicBezTo>
                <a:close/>
              </a:path>
            </a:pathLst>
          </a:custGeom>
          <a:solidFill>
            <a:srgbClr val="EFEFEF"/>
          </a:solidFill>
          <a:ln>
            <a:noFill/>
          </a:ln>
        </p:spPr>
        <p:txBody>
          <a:bodyPr vert="horz" wrap="square" lIns="89619" tIns="44810" rIns="89619" bIns="44810"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smtClean="0">
              <a:ln>
                <a:noFill/>
              </a:ln>
              <a:solidFill>
                <a:srgbClr val="505050"/>
              </a:solidFill>
              <a:effectLst/>
              <a:uLnTx/>
              <a:uFillTx/>
            </a:endParaRPr>
          </a:p>
        </p:txBody>
      </p:sp>
    </p:spTree>
    <p:extLst>
      <p:ext uri="{BB962C8B-B14F-4D97-AF65-F5344CB8AC3E}">
        <p14:creationId xmlns:p14="http://schemas.microsoft.com/office/powerpoint/2010/main" val="5361658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41"/>
                                        </p:tgtEl>
                                        <p:attrNameLst>
                                          <p:attrName>style.visibility</p:attrName>
                                        </p:attrNameLst>
                                      </p:cBhvr>
                                      <p:to>
                                        <p:strVal val="visible"/>
                                      </p:to>
                                    </p:set>
                                    <p:animEffect transition="in" filter="fade">
                                      <p:cBhvr>
                                        <p:cTn id="7" dur="500"/>
                                        <p:tgtEl>
                                          <p:spTgt spid="74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40"/>
                                        </p:tgtEl>
                                        <p:attrNameLst>
                                          <p:attrName>style.visibility</p:attrName>
                                        </p:attrNameLst>
                                      </p:cBhvr>
                                      <p:to>
                                        <p:strVal val="visible"/>
                                      </p:to>
                                    </p:set>
                                    <p:animEffect transition="in" filter="fade">
                                      <p:cBhvr>
                                        <p:cTn id="10" dur="500"/>
                                        <p:tgtEl>
                                          <p:spTgt spid="74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11"/>
                                        </p:tgtEl>
                                        <p:attrNameLst>
                                          <p:attrName>style.visibility</p:attrName>
                                        </p:attrNameLst>
                                      </p:cBhvr>
                                      <p:to>
                                        <p:strVal val="visible"/>
                                      </p:to>
                                    </p:set>
                                    <p:animEffect transition="in" filter="fade">
                                      <p:cBhvr>
                                        <p:cTn id="15" dur="500"/>
                                        <p:tgtEl>
                                          <p:spTgt spid="711"/>
                                        </p:tgtEl>
                                      </p:cBhvr>
                                    </p:animEffect>
                                  </p:childTnLst>
                                </p:cTn>
                              </p:par>
                              <p:par>
                                <p:cTn id="16" presetID="10" presetClass="entr" presetSubtype="0" fill="hold" nodeType="withEffect">
                                  <p:stCondLst>
                                    <p:cond delay="0"/>
                                  </p:stCondLst>
                                  <p:childTnLst>
                                    <p:set>
                                      <p:cBhvr>
                                        <p:cTn id="17" dur="1" fill="hold">
                                          <p:stCondLst>
                                            <p:cond delay="0"/>
                                          </p:stCondLst>
                                        </p:cTn>
                                        <p:tgtEl>
                                          <p:spTgt spid="714"/>
                                        </p:tgtEl>
                                        <p:attrNameLst>
                                          <p:attrName>style.visibility</p:attrName>
                                        </p:attrNameLst>
                                      </p:cBhvr>
                                      <p:to>
                                        <p:strVal val="visible"/>
                                      </p:to>
                                    </p:set>
                                    <p:animEffect transition="in" filter="fade">
                                      <p:cBhvr>
                                        <p:cTn id="18" dur="500"/>
                                        <p:tgtEl>
                                          <p:spTgt spid="71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38"/>
                                        </p:tgtEl>
                                        <p:attrNameLst>
                                          <p:attrName>style.visibility</p:attrName>
                                        </p:attrNameLst>
                                      </p:cBhvr>
                                      <p:to>
                                        <p:strVal val="visible"/>
                                      </p:to>
                                    </p:set>
                                    <p:animEffect transition="in" filter="fade">
                                      <p:cBhvr>
                                        <p:cTn id="21" dur="500"/>
                                        <p:tgtEl>
                                          <p:spTgt spid="73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710"/>
                                        </p:tgtEl>
                                        <p:attrNameLst>
                                          <p:attrName>style.visibility</p:attrName>
                                        </p:attrNameLst>
                                      </p:cBhvr>
                                      <p:to>
                                        <p:strVal val="visible"/>
                                      </p:to>
                                    </p:set>
                                    <p:animEffect transition="in" filter="fade">
                                      <p:cBhvr>
                                        <p:cTn id="26" dur="500"/>
                                        <p:tgtEl>
                                          <p:spTgt spid="710"/>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712"/>
                                        </p:tgtEl>
                                        <p:attrNameLst>
                                          <p:attrName>style.visibility</p:attrName>
                                        </p:attrNameLst>
                                      </p:cBhvr>
                                      <p:to>
                                        <p:strVal val="visible"/>
                                      </p:to>
                                    </p:set>
                                    <p:animEffect transition="in" filter="fade">
                                      <p:cBhvr>
                                        <p:cTn id="29" dur="500"/>
                                        <p:tgtEl>
                                          <p:spTgt spid="712"/>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713"/>
                                        </p:tgtEl>
                                        <p:attrNameLst>
                                          <p:attrName>style.visibility</p:attrName>
                                        </p:attrNameLst>
                                      </p:cBhvr>
                                      <p:to>
                                        <p:strVal val="visible"/>
                                      </p:to>
                                    </p:set>
                                    <p:animEffect transition="in" filter="fade">
                                      <p:cBhvr>
                                        <p:cTn id="32" dur="500"/>
                                        <p:tgtEl>
                                          <p:spTgt spid="713"/>
                                        </p:tgtEl>
                                      </p:cBhvr>
                                    </p:animEffect>
                                  </p:childTnLst>
                                </p:cTn>
                              </p:par>
                              <p:par>
                                <p:cTn id="33" presetID="10" presetClass="entr" presetSubtype="0" fill="hold" nodeType="withEffect">
                                  <p:stCondLst>
                                    <p:cond delay="0"/>
                                  </p:stCondLst>
                                  <p:childTnLst>
                                    <p:set>
                                      <p:cBhvr>
                                        <p:cTn id="34" dur="1" fill="hold">
                                          <p:stCondLst>
                                            <p:cond delay="0"/>
                                          </p:stCondLst>
                                        </p:cTn>
                                        <p:tgtEl>
                                          <p:spTgt spid="718"/>
                                        </p:tgtEl>
                                        <p:attrNameLst>
                                          <p:attrName>style.visibility</p:attrName>
                                        </p:attrNameLst>
                                      </p:cBhvr>
                                      <p:to>
                                        <p:strVal val="visible"/>
                                      </p:to>
                                    </p:set>
                                    <p:animEffect transition="in" filter="fade">
                                      <p:cBhvr>
                                        <p:cTn id="35" dur="500"/>
                                        <p:tgtEl>
                                          <p:spTgt spid="718"/>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779"/>
                                        </p:tgtEl>
                                        <p:attrNameLst>
                                          <p:attrName>style.visibility</p:attrName>
                                        </p:attrNameLst>
                                      </p:cBhvr>
                                      <p:to>
                                        <p:strVal val="visible"/>
                                      </p:to>
                                    </p:set>
                                    <p:animEffect transition="in" filter="fade">
                                      <p:cBhvr>
                                        <p:cTn id="38" dur="500"/>
                                        <p:tgtEl>
                                          <p:spTgt spid="77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76"/>
                                        </p:tgtEl>
                                        <p:attrNameLst>
                                          <p:attrName>style.visibility</p:attrName>
                                        </p:attrNameLst>
                                      </p:cBhvr>
                                      <p:to>
                                        <p:strVal val="visible"/>
                                      </p:to>
                                    </p:set>
                                    <p:animEffect transition="in" filter="fade">
                                      <p:cBhvr>
                                        <p:cTn id="41" dur="500"/>
                                        <p:tgtEl>
                                          <p:spTgt spid="76"/>
                                        </p:tgtEl>
                                      </p:cBhvr>
                                    </p:animEffect>
                                  </p:childTnLst>
                                </p:cTn>
                              </p:par>
                              <p:par>
                                <p:cTn id="42" presetID="10" presetClass="entr" presetSubtype="0" fill="hold" nodeType="withEffect">
                                  <p:stCondLst>
                                    <p:cond delay="0"/>
                                  </p:stCondLst>
                                  <p:childTnLst>
                                    <p:set>
                                      <p:cBhvr>
                                        <p:cTn id="43" dur="1" fill="hold">
                                          <p:stCondLst>
                                            <p:cond delay="0"/>
                                          </p:stCondLst>
                                        </p:cTn>
                                        <p:tgtEl>
                                          <p:spTgt spid="719"/>
                                        </p:tgtEl>
                                        <p:attrNameLst>
                                          <p:attrName>style.visibility</p:attrName>
                                        </p:attrNameLst>
                                      </p:cBhvr>
                                      <p:to>
                                        <p:strVal val="visible"/>
                                      </p:to>
                                    </p:set>
                                    <p:animEffect transition="in" filter="fade">
                                      <p:cBhvr>
                                        <p:cTn id="44" dur="500"/>
                                        <p:tgtEl>
                                          <p:spTgt spid="719"/>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739"/>
                                        </p:tgtEl>
                                        <p:attrNameLst>
                                          <p:attrName>style.visibility</p:attrName>
                                        </p:attrNameLst>
                                      </p:cBhvr>
                                      <p:to>
                                        <p:strVal val="visible"/>
                                      </p:to>
                                    </p:set>
                                    <p:animEffect transition="in" filter="fade">
                                      <p:cBhvr>
                                        <p:cTn id="47" dur="500"/>
                                        <p:tgtEl>
                                          <p:spTgt spid="739"/>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721"/>
                                        </p:tgtEl>
                                        <p:attrNameLst>
                                          <p:attrName>style.visibility</p:attrName>
                                        </p:attrNameLst>
                                      </p:cBhvr>
                                      <p:to>
                                        <p:strVal val="visible"/>
                                      </p:to>
                                    </p:set>
                                    <p:animEffect transition="in" filter="fade">
                                      <p:cBhvr>
                                        <p:cTn id="52" dur="500"/>
                                        <p:tgtEl>
                                          <p:spTgt spid="72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722"/>
                                        </p:tgtEl>
                                        <p:attrNameLst>
                                          <p:attrName>style.visibility</p:attrName>
                                        </p:attrNameLst>
                                      </p:cBhvr>
                                      <p:to>
                                        <p:strVal val="visible"/>
                                      </p:to>
                                    </p:set>
                                    <p:animEffect transition="in" filter="fade">
                                      <p:cBhvr>
                                        <p:cTn id="55" dur="500"/>
                                        <p:tgtEl>
                                          <p:spTgt spid="722"/>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724"/>
                                        </p:tgtEl>
                                        <p:attrNameLst>
                                          <p:attrName>style.visibility</p:attrName>
                                        </p:attrNameLst>
                                      </p:cBhvr>
                                      <p:to>
                                        <p:strVal val="visible"/>
                                      </p:to>
                                    </p:set>
                                    <p:animEffect transition="in" filter="fade">
                                      <p:cBhvr>
                                        <p:cTn id="58" dur="500"/>
                                        <p:tgtEl>
                                          <p:spTgt spid="724"/>
                                        </p:tgtEl>
                                      </p:cBhvr>
                                    </p:animEffect>
                                  </p:childTnLst>
                                </p:cTn>
                              </p:par>
                              <p:par>
                                <p:cTn id="59" presetID="10" presetClass="entr" presetSubtype="0" fill="hold" nodeType="withEffect">
                                  <p:stCondLst>
                                    <p:cond delay="0"/>
                                  </p:stCondLst>
                                  <p:childTnLst>
                                    <p:set>
                                      <p:cBhvr>
                                        <p:cTn id="60" dur="1" fill="hold">
                                          <p:stCondLst>
                                            <p:cond delay="0"/>
                                          </p:stCondLst>
                                        </p:cTn>
                                        <p:tgtEl>
                                          <p:spTgt spid="725"/>
                                        </p:tgtEl>
                                        <p:attrNameLst>
                                          <p:attrName>style.visibility</p:attrName>
                                        </p:attrNameLst>
                                      </p:cBhvr>
                                      <p:to>
                                        <p:strVal val="visible"/>
                                      </p:to>
                                    </p:set>
                                    <p:animEffect transition="in" filter="fade">
                                      <p:cBhvr>
                                        <p:cTn id="61" dur="500"/>
                                        <p:tgtEl>
                                          <p:spTgt spid="725"/>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729"/>
                                        </p:tgtEl>
                                        <p:attrNameLst>
                                          <p:attrName>style.visibility</p:attrName>
                                        </p:attrNameLst>
                                      </p:cBhvr>
                                      <p:to>
                                        <p:strVal val="visible"/>
                                      </p:to>
                                    </p:set>
                                    <p:animEffect transition="in" filter="fade">
                                      <p:cBhvr>
                                        <p:cTn id="64" dur="500"/>
                                        <p:tgtEl>
                                          <p:spTgt spid="729"/>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730"/>
                                        </p:tgtEl>
                                        <p:attrNameLst>
                                          <p:attrName>style.visibility</p:attrName>
                                        </p:attrNameLst>
                                      </p:cBhvr>
                                      <p:to>
                                        <p:strVal val="visible"/>
                                      </p:to>
                                    </p:set>
                                    <p:animEffect transition="in" filter="fade">
                                      <p:cBhvr>
                                        <p:cTn id="67" dur="500"/>
                                        <p:tgtEl>
                                          <p:spTgt spid="730"/>
                                        </p:tgtEl>
                                      </p:cBhvr>
                                    </p:animEffect>
                                  </p:childTnLst>
                                </p:cTn>
                              </p:par>
                              <p:par>
                                <p:cTn id="68" presetID="10" presetClass="entr" presetSubtype="0" fill="hold" nodeType="withEffect">
                                  <p:stCondLst>
                                    <p:cond delay="0"/>
                                  </p:stCondLst>
                                  <p:childTnLst>
                                    <p:set>
                                      <p:cBhvr>
                                        <p:cTn id="69" dur="1" fill="hold">
                                          <p:stCondLst>
                                            <p:cond delay="0"/>
                                          </p:stCondLst>
                                        </p:cTn>
                                        <p:tgtEl>
                                          <p:spTgt spid="731"/>
                                        </p:tgtEl>
                                        <p:attrNameLst>
                                          <p:attrName>style.visibility</p:attrName>
                                        </p:attrNameLst>
                                      </p:cBhvr>
                                      <p:to>
                                        <p:strVal val="visible"/>
                                      </p:to>
                                    </p:set>
                                    <p:animEffect transition="in" filter="fade">
                                      <p:cBhvr>
                                        <p:cTn id="70" dur="500"/>
                                        <p:tgtEl>
                                          <p:spTgt spid="731"/>
                                        </p:tgtEl>
                                      </p:cBhvr>
                                    </p:animEffect>
                                  </p:childTnLst>
                                </p:cTn>
                              </p:par>
                              <p:par>
                                <p:cTn id="71" presetID="10" presetClass="entr" presetSubtype="0" fill="hold" nodeType="withEffect">
                                  <p:stCondLst>
                                    <p:cond delay="0"/>
                                  </p:stCondLst>
                                  <p:childTnLst>
                                    <p:set>
                                      <p:cBhvr>
                                        <p:cTn id="72" dur="1" fill="hold">
                                          <p:stCondLst>
                                            <p:cond delay="0"/>
                                          </p:stCondLst>
                                        </p:cTn>
                                        <p:tgtEl>
                                          <p:spTgt spid="732"/>
                                        </p:tgtEl>
                                        <p:attrNameLst>
                                          <p:attrName>style.visibility</p:attrName>
                                        </p:attrNameLst>
                                      </p:cBhvr>
                                      <p:to>
                                        <p:strVal val="visible"/>
                                      </p:to>
                                    </p:set>
                                    <p:animEffect transition="in" filter="fade">
                                      <p:cBhvr>
                                        <p:cTn id="73" dur="500"/>
                                        <p:tgtEl>
                                          <p:spTgt spid="732"/>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735"/>
                                        </p:tgtEl>
                                        <p:attrNameLst>
                                          <p:attrName>style.visibility</p:attrName>
                                        </p:attrNameLst>
                                      </p:cBhvr>
                                      <p:to>
                                        <p:strVal val="visible"/>
                                      </p:to>
                                    </p:set>
                                    <p:animEffect transition="in" filter="fade">
                                      <p:cBhvr>
                                        <p:cTn id="76" dur="500"/>
                                        <p:tgtEl>
                                          <p:spTgt spid="73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736"/>
                                        </p:tgtEl>
                                        <p:attrNameLst>
                                          <p:attrName>style.visibility</p:attrName>
                                        </p:attrNameLst>
                                      </p:cBhvr>
                                      <p:to>
                                        <p:strVal val="visible"/>
                                      </p:to>
                                    </p:set>
                                    <p:animEffect transition="in" filter="fade">
                                      <p:cBhvr>
                                        <p:cTn id="79" dur="500"/>
                                        <p:tgtEl>
                                          <p:spTgt spid="736"/>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737"/>
                                        </p:tgtEl>
                                        <p:attrNameLst>
                                          <p:attrName>style.visibility</p:attrName>
                                        </p:attrNameLst>
                                      </p:cBhvr>
                                      <p:to>
                                        <p:strVal val="visible"/>
                                      </p:to>
                                    </p:set>
                                    <p:animEffect transition="in" filter="fade">
                                      <p:cBhvr>
                                        <p:cTn id="82" dur="500"/>
                                        <p:tgtEl>
                                          <p:spTgt spid="737"/>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748"/>
                                        </p:tgtEl>
                                        <p:attrNameLst>
                                          <p:attrName>style.visibility</p:attrName>
                                        </p:attrNameLst>
                                      </p:cBhvr>
                                      <p:to>
                                        <p:strVal val="visible"/>
                                      </p:to>
                                    </p:set>
                                    <p:animEffect transition="in" filter="fade">
                                      <p:cBhvr>
                                        <p:cTn id="85" dur="500"/>
                                        <p:tgtEl>
                                          <p:spTgt spid="748"/>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749"/>
                                        </p:tgtEl>
                                        <p:attrNameLst>
                                          <p:attrName>style.visibility</p:attrName>
                                        </p:attrNameLst>
                                      </p:cBhvr>
                                      <p:to>
                                        <p:strVal val="visible"/>
                                      </p:to>
                                    </p:set>
                                    <p:animEffect transition="in" filter="fade">
                                      <p:cBhvr>
                                        <p:cTn id="88" dur="500"/>
                                        <p:tgtEl>
                                          <p:spTgt spid="749"/>
                                        </p:tgtEl>
                                      </p:cBhvr>
                                    </p:animEffect>
                                  </p:childTnLst>
                                </p:cTn>
                              </p:par>
                              <p:par>
                                <p:cTn id="89" presetID="10" presetClass="entr" presetSubtype="0" fill="hold" nodeType="withEffect">
                                  <p:stCondLst>
                                    <p:cond delay="0"/>
                                  </p:stCondLst>
                                  <p:childTnLst>
                                    <p:set>
                                      <p:cBhvr>
                                        <p:cTn id="90" dur="1" fill="hold">
                                          <p:stCondLst>
                                            <p:cond delay="0"/>
                                          </p:stCondLst>
                                        </p:cTn>
                                        <p:tgtEl>
                                          <p:spTgt spid="750"/>
                                        </p:tgtEl>
                                        <p:attrNameLst>
                                          <p:attrName>style.visibility</p:attrName>
                                        </p:attrNameLst>
                                      </p:cBhvr>
                                      <p:to>
                                        <p:strVal val="visible"/>
                                      </p:to>
                                    </p:set>
                                    <p:animEffect transition="in" filter="fade">
                                      <p:cBhvr>
                                        <p:cTn id="91" dur="500"/>
                                        <p:tgtEl>
                                          <p:spTgt spid="750"/>
                                        </p:tgtEl>
                                      </p:cBhvr>
                                    </p:animEffect>
                                  </p:childTnLst>
                                </p:cTn>
                              </p:par>
                              <p:par>
                                <p:cTn id="92" presetID="10" presetClass="entr" presetSubtype="0" fill="hold" nodeType="withEffect">
                                  <p:stCondLst>
                                    <p:cond delay="0"/>
                                  </p:stCondLst>
                                  <p:childTnLst>
                                    <p:set>
                                      <p:cBhvr>
                                        <p:cTn id="93" dur="1" fill="hold">
                                          <p:stCondLst>
                                            <p:cond delay="0"/>
                                          </p:stCondLst>
                                        </p:cTn>
                                        <p:tgtEl>
                                          <p:spTgt spid="753"/>
                                        </p:tgtEl>
                                        <p:attrNameLst>
                                          <p:attrName>style.visibility</p:attrName>
                                        </p:attrNameLst>
                                      </p:cBhvr>
                                      <p:to>
                                        <p:strVal val="visible"/>
                                      </p:to>
                                    </p:set>
                                    <p:animEffect transition="in" filter="fade">
                                      <p:cBhvr>
                                        <p:cTn id="94" dur="500"/>
                                        <p:tgtEl>
                                          <p:spTgt spid="753"/>
                                        </p:tgtEl>
                                      </p:cBhvr>
                                    </p:animEffect>
                                  </p:childTnLst>
                                </p:cTn>
                              </p:par>
                              <p:par>
                                <p:cTn id="95" presetID="10" presetClass="entr" presetSubtype="0" fill="hold" nodeType="withEffect">
                                  <p:stCondLst>
                                    <p:cond delay="0"/>
                                  </p:stCondLst>
                                  <p:childTnLst>
                                    <p:set>
                                      <p:cBhvr>
                                        <p:cTn id="96" dur="1" fill="hold">
                                          <p:stCondLst>
                                            <p:cond delay="0"/>
                                          </p:stCondLst>
                                        </p:cTn>
                                        <p:tgtEl>
                                          <p:spTgt spid="756"/>
                                        </p:tgtEl>
                                        <p:attrNameLst>
                                          <p:attrName>style.visibility</p:attrName>
                                        </p:attrNameLst>
                                      </p:cBhvr>
                                      <p:to>
                                        <p:strVal val="visible"/>
                                      </p:to>
                                    </p:set>
                                    <p:animEffect transition="in" filter="fade">
                                      <p:cBhvr>
                                        <p:cTn id="97" dur="500"/>
                                        <p:tgtEl>
                                          <p:spTgt spid="756"/>
                                        </p:tgtEl>
                                      </p:cBhvr>
                                    </p:animEffect>
                                  </p:childTnLst>
                                </p:cTn>
                              </p:par>
                              <p:par>
                                <p:cTn id="98" presetID="10" presetClass="entr" presetSubtype="0" fill="hold" nodeType="withEffect">
                                  <p:stCondLst>
                                    <p:cond delay="0"/>
                                  </p:stCondLst>
                                  <p:childTnLst>
                                    <p:set>
                                      <p:cBhvr>
                                        <p:cTn id="99" dur="1" fill="hold">
                                          <p:stCondLst>
                                            <p:cond delay="0"/>
                                          </p:stCondLst>
                                        </p:cTn>
                                        <p:tgtEl>
                                          <p:spTgt spid="763"/>
                                        </p:tgtEl>
                                        <p:attrNameLst>
                                          <p:attrName>style.visibility</p:attrName>
                                        </p:attrNameLst>
                                      </p:cBhvr>
                                      <p:to>
                                        <p:strVal val="visible"/>
                                      </p:to>
                                    </p:set>
                                    <p:animEffect transition="in" filter="fade">
                                      <p:cBhvr>
                                        <p:cTn id="100" dur="500"/>
                                        <p:tgtEl>
                                          <p:spTgt spid="763"/>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764"/>
                                        </p:tgtEl>
                                        <p:attrNameLst>
                                          <p:attrName>style.visibility</p:attrName>
                                        </p:attrNameLst>
                                      </p:cBhvr>
                                      <p:to>
                                        <p:strVal val="visible"/>
                                      </p:to>
                                    </p:set>
                                    <p:animEffect transition="in" filter="fade">
                                      <p:cBhvr>
                                        <p:cTn id="103" dur="500"/>
                                        <p:tgtEl>
                                          <p:spTgt spid="764"/>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765"/>
                                        </p:tgtEl>
                                        <p:attrNameLst>
                                          <p:attrName>style.visibility</p:attrName>
                                        </p:attrNameLst>
                                      </p:cBhvr>
                                      <p:to>
                                        <p:strVal val="visible"/>
                                      </p:to>
                                    </p:set>
                                    <p:animEffect transition="in" filter="fade">
                                      <p:cBhvr>
                                        <p:cTn id="106" dur="500"/>
                                        <p:tgtEl>
                                          <p:spTgt spid="765"/>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766"/>
                                        </p:tgtEl>
                                        <p:attrNameLst>
                                          <p:attrName>style.visibility</p:attrName>
                                        </p:attrNameLst>
                                      </p:cBhvr>
                                      <p:to>
                                        <p:strVal val="visible"/>
                                      </p:to>
                                    </p:set>
                                    <p:animEffect transition="in" filter="fade">
                                      <p:cBhvr>
                                        <p:cTn id="109" dur="500"/>
                                        <p:tgtEl>
                                          <p:spTgt spid="766"/>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767"/>
                                        </p:tgtEl>
                                        <p:attrNameLst>
                                          <p:attrName>style.visibility</p:attrName>
                                        </p:attrNameLst>
                                      </p:cBhvr>
                                      <p:to>
                                        <p:strVal val="visible"/>
                                      </p:to>
                                    </p:set>
                                    <p:animEffect transition="in" filter="fade">
                                      <p:cBhvr>
                                        <p:cTn id="112" dur="500"/>
                                        <p:tgtEl>
                                          <p:spTgt spid="767"/>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769"/>
                                        </p:tgtEl>
                                        <p:attrNameLst>
                                          <p:attrName>style.visibility</p:attrName>
                                        </p:attrNameLst>
                                      </p:cBhvr>
                                      <p:to>
                                        <p:strVal val="visible"/>
                                      </p:to>
                                    </p:set>
                                    <p:animEffect transition="in" filter="fade">
                                      <p:cBhvr>
                                        <p:cTn id="115" dur="500"/>
                                        <p:tgtEl>
                                          <p:spTgt spid="769"/>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770"/>
                                        </p:tgtEl>
                                        <p:attrNameLst>
                                          <p:attrName>style.visibility</p:attrName>
                                        </p:attrNameLst>
                                      </p:cBhvr>
                                      <p:to>
                                        <p:strVal val="visible"/>
                                      </p:to>
                                    </p:set>
                                    <p:animEffect transition="in" filter="fade">
                                      <p:cBhvr>
                                        <p:cTn id="118" dur="500"/>
                                        <p:tgtEl>
                                          <p:spTgt spid="770"/>
                                        </p:tgtEl>
                                      </p:cBhvr>
                                    </p:animEffect>
                                  </p:childTnLst>
                                </p:cTn>
                              </p:par>
                              <p:par>
                                <p:cTn id="119" presetID="10" presetClass="entr" presetSubtype="0" fill="hold" nodeType="withEffect">
                                  <p:stCondLst>
                                    <p:cond delay="0"/>
                                  </p:stCondLst>
                                  <p:childTnLst>
                                    <p:set>
                                      <p:cBhvr>
                                        <p:cTn id="120" dur="1" fill="hold">
                                          <p:stCondLst>
                                            <p:cond delay="0"/>
                                          </p:stCondLst>
                                        </p:cTn>
                                        <p:tgtEl>
                                          <p:spTgt spid="94"/>
                                        </p:tgtEl>
                                        <p:attrNameLst>
                                          <p:attrName>style.visibility</p:attrName>
                                        </p:attrNameLst>
                                      </p:cBhvr>
                                      <p:to>
                                        <p:strVal val="visible"/>
                                      </p:to>
                                    </p:set>
                                    <p:animEffect transition="in" filter="fade">
                                      <p:cBhvr>
                                        <p:cTn id="121" dur="500"/>
                                        <p:tgtEl>
                                          <p:spTgt spid="94"/>
                                        </p:tgtEl>
                                      </p:cBhvr>
                                    </p:animEffect>
                                  </p:childTnLst>
                                </p:cTn>
                              </p:par>
                              <p:par>
                                <p:cTn id="122" presetID="10" presetClass="entr" presetSubtype="0" fill="hold" nodeType="withEffect">
                                  <p:stCondLst>
                                    <p:cond delay="0"/>
                                  </p:stCondLst>
                                  <p:childTnLst>
                                    <p:set>
                                      <p:cBhvr>
                                        <p:cTn id="123" dur="1" fill="hold">
                                          <p:stCondLst>
                                            <p:cond delay="0"/>
                                          </p:stCondLst>
                                        </p:cTn>
                                        <p:tgtEl>
                                          <p:spTgt spid="104"/>
                                        </p:tgtEl>
                                        <p:attrNameLst>
                                          <p:attrName>style.visibility</p:attrName>
                                        </p:attrNameLst>
                                      </p:cBhvr>
                                      <p:to>
                                        <p:strVal val="visible"/>
                                      </p:to>
                                    </p:set>
                                    <p:animEffect transition="in" filter="fade">
                                      <p:cBhvr>
                                        <p:cTn id="124" dur="500"/>
                                        <p:tgtEl>
                                          <p:spTgt spid="104"/>
                                        </p:tgtEl>
                                      </p:cBhvr>
                                    </p:animEffect>
                                  </p:childTnLst>
                                </p:cTn>
                              </p:par>
                              <p:par>
                                <p:cTn id="125" presetID="10" presetClass="entr" presetSubtype="0" fill="hold" nodeType="withEffect">
                                  <p:stCondLst>
                                    <p:cond delay="0"/>
                                  </p:stCondLst>
                                  <p:childTnLst>
                                    <p:set>
                                      <p:cBhvr>
                                        <p:cTn id="126" dur="1" fill="hold">
                                          <p:stCondLst>
                                            <p:cond delay="0"/>
                                          </p:stCondLst>
                                        </p:cTn>
                                        <p:tgtEl>
                                          <p:spTgt spid="105"/>
                                        </p:tgtEl>
                                        <p:attrNameLst>
                                          <p:attrName>style.visibility</p:attrName>
                                        </p:attrNameLst>
                                      </p:cBhvr>
                                      <p:to>
                                        <p:strVal val="visible"/>
                                      </p:to>
                                    </p:set>
                                    <p:animEffect transition="in" filter="fade">
                                      <p:cBhvr>
                                        <p:cTn id="127" dur="500"/>
                                        <p:tgtEl>
                                          <p:spTgt spid="105"/>
                                        </p:tgtEl>
                                      </p:cBhvr>
                                    </p:animEffect>
                                  </p:childTnLst>
                                </p:cTn>
                              </p:par>
                              <p:par>
                                <p:cTn id="128" presetID="10" presetClass="entr" presetSubtype="0" fill="hold" nodeType="withEffect">
                                  <p:stCondLst>
                                    <p:cond delay="0"/>
                                  </p:stCondLst>
                                  <p:childTnLst>
                                    <p:set>
                                      <p:cBhvr>
                                        <p:cTn id="129" dur="1" fill="hold">
                                          <p:stCondLst>
                                            <p:cond delay="0"/>
                                          </p:stCondLst>
                                        </p:cTn>
                                        <p:tgtEl>
                                          <p:spTgt spid="720"/>
                                        </p:tgtEl>
                                        <p:attrNameLst>
                                          <p:attrName>style.visibility</p:attrName>
                                        </p:attrNameLst>
                                      </p:cBhvr>
                                      <p:to>
                                        <p:strVal val="visible"/>
                                      </p:to>
                                    </p:set>
                                    <p:animEffect transition="in" filter="fade">
                                      <p:cBhvr>
                                        <p:cTn id="130" dur="500"/>
                                        <p:tgtEl>
                                          <p:spTgt spid="720"/>
                                        </p:tgtEl>
                                      </p:cBhvr>
                                    </p:animEffect>
                                  </p:childTnLst>
                                </p:cTn>
                              </p:par>
                              <p:par>
                                <p:cTn id="131" presetID="10" presetClass="entr" presetSubtype="0" fill="hold" nodeType="withEffect">
                                  <p:stCondLst>
                                    <p:cond delay="0"/>
                                  </p:stCondLst>
                                  <p:childTnLst>
                                    <p:set>
                                      <p:cBhvr>
                                        <p:cTn id="132" dur="1" fill="hold">
                                          <p:stCondLst>
                                            <p:cond delay="0"/>
                                          </p:stCondLst>
                                        </p:cTn>
                                        <p:tgtEl>
                                          <p:spTgt spid="717"/>
                                        </p:tgtEl>
                                        <p:attrNameLst>
                                          <p:attrName>style.visibility</p:attrName>
                                        </p:attrNameLst>
                                      </p:cBhvr>
                                      <p:to>
                                        <p:strVal val="visible"/>
                                      </p:to>
                                    </p:set>
                                    <p:animEffect transition="in" filter="fade">
                                      <p:cBhvr>
                                        <p:cTn id="133" dur="500"/>
                                        <p:tgtEl>
                                          <p:spTgt spid="7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0" grpId="0" animBg="1"/>
      <p:bldP spid="712" grpId="0" animBg="1"/>
      <p:bldP spid="713" grpId="0" animBg="1"/>
      <p:bldP spid="721" grpId="0" animBg="1"/>
      <p:bldP spid="722" grpId="0" animBg="1"/>
      <p:bldP spid="724" grpId="0" animBg="1"/>
      <p:bldP spid="729" grpId="0" animBg="1"/>
      <p:bldP spid="730" grpId="0" animBg="1"/>
      <p:bldP spid="735" grpId="0" animBg="1"/>
      <p:bldP spid="736" grpId="0" animBg="1"/>
      <p:bldP spid="737" grpId="0"/>
      <p:bldP spid="738" grpId="0"/>
      <p:bldP spid="739" grpId="0"/>
      <p:bldP spid="740" grpId="0"/>
      <p:bldP spid="748" grpId="0" animBg="1"/>
      <p:bldP spid="749" grpId="0" animBg="1"/>
      <p:bldP spid="764" grpId="0"/>
      <p:bldP spid="765" grpId="0" animBg="1"/>
      <p:bldP spid="766" grpId="0" animBg="1"/>
      <p:bldP spid="767" grpId="0" animBg="1"/>
      <p:bldP spid="769" grpId="0" animBg="1"/>
      <p:bldP spid="770" grpId="0" animBg="1"/>
      <p:bldP spid="779" grpId="0" animBg="1"/>
      <p:bldP spid="7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br>
              <a:rPr lang="en-US" dirty="0" smtClean="0"/>
            </a:br>
            <a:r>
              <a:rPr lang="en-US" sz="6000" i="1" dirty="0" smtClean="0"/>
              <a:t>Unify Your Environment</a:t>
            </a:r>
            <a:endParaRPr lang="en-US" i="1" dirty="0"/>
          </a:p>
        </p:txBody>
      </p:sp>
      <p:sp>
        <p:nvSpPr>
          <p:cNvPr id="5" name="Text Placeholder 4"/>
          <p:cNvSpPr>
            <a:spLocks noGrp="1"/>
          </p:cNvSpPr>
          <p:nvPr>
            <p:ph type="body" sz="quarter" idx="12"/>
          </p:nvPr>
        </p:nvSpPr>
        <p:spPr/>
        <p:txBody>
          <a:bodyPr/>
          <a:lstStyle/>
          <a:p>
            <a:r>
              <a:rPr lang="en-US" dirty="0"/>
              <a:t>Dilip Radhakrishnan</a:t>
            </a:r>
            <a:endParaRPr lang="en-US" dirty="0" smtClean="0"/>
          </a:p>
          <a:p>
            <a:r>
              <a:rPr lang="en-US" dirty="0" smtClean="0"/>
              <a:t>Senior Program Manager</a:t>
            </a:r>
            <a:endParaRPr lang="en-US" dirty="0"/>
          </a:p>
        </p:txBody>
      </p:sp>
    </p:spTree>
    <p:extLst>
      <p:ext uri="{BB962C8B-B14F-4D97-AF65-F5344CB8AC3E}">
        <p14:creationId xmlns:p14="http://schemas.microsoft.com/office/powerpoint/2010/main" val="3754697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tect Your Data</a:t>
            </a:r>
            <a:endParaRPr lang="en-US" dirty="0"/>
          </a:p>
        </p:txBody>
      </p:sp>
      <p:sp>
        <p:nvSpPr>
          <p:cNvPr id="13" name="Rectangle 12"/>
          <p:cNvSpPr/>
          <p:nvPr/>
        </p:nvSpPr>
        <p:spPr>
          <a:xfrm>
            <a:off x="1017605" y="2785217"/>
            <a:ext cx="11418870" cy="2247795"/>
          </a:xfrm>
          <a:prstGeom prst="rect">
            <a:avLst/>
          </a:prstGeom>
        </p:spPr>
        <p:txBody>
          <a:bodyPr wrap="square">
            <a:spAutoFit/>
          </a:bodyPr>
          <a:lstStyle/>
          <a:p>
            <a:pPr defTabSz="914126">
              <a:lnSpc>
                <a:spcPct val="90000"/>
              </a:lnSpc>
              <a:spcBef>
                <a:spcPts val="800"/>
              </a:spcBef>
              <a:defRPr/>
            </a:pPr>
            <a:r>
              <a:rPr lang="en-US" sz="2800" kern="0" spc="-30" dirty="0">
                <a:solidFill>
                  <a:srgbClr val="FFFFFF"/>
                </a:solidFill>
              </a:rPr>
              <a:t>Policy-based access control to corporate applications and </a:t>
            </a:r>
            <a:r>
              <a:rPr lang="en-US" sz="2800" kern="0" spc="-30" dirty="0" smtClean="0">
                <a:solidFill>
                  <a:srgbClr val="FFFFFF"/>
                </a:solidFill>
              </a:rPr>
              <a:t>data</a:t>
            </a:r>
          </a:p>
          <a:p>
            <a:pPr defTabSz="914126">
              <a:lnSpc>
                <a:spcPct val="90000"/>
              </a:lnSpc>
              <a:spcBef>
                <a:spcPts val="800"/>
              </a:spcBef>
              <a:defRPr/>
            </a:pPr>
            <a:endParaRPr lang="en-US" sz="2400" kern="0" spc="-30" dirty="0">
              <a:solidFill>
                <a:srgbClr val="FFFFFF"/>
              </a:solidFill>
            </a:endParaRPr>
          </a:p>
          <a:p>
            <a:pPr lvl="0" defTabSz="914126">
              <a:lnSpc>
                <a:spcPct val="90000"/>
              </a:lnSpc>
              <a:spcBef>
                <a:spcPts val="800"/>
              </a:spcBef>
              <a:defRPr/>
            </a:pPr>
            <a:r>
              <a:rPr lang="en-US" sz="2800" kern="0" spc="-30" dirty="0">
                <a:solidFill>
                  <a:srgbClr val="FFFFFF"/>
                </a:solidFill>
              </a:rPr>
              <a:t>Increased security through multi-factor </a:t>
            </a:r>
            <a:r>
              <a:rPr lang="en-US" sz="2800" kern="0" spc="-30" dirty="0" smtClean="0">
                <a:solidFill>
                  <a:srgbClr val="FFFFFF"/>
                </a:solidFill>
              </a:rPr>
              <a:t>authentication</a:t>
            </a:r>
          </a:p>
          <a:p>
            <a:pPr lvl="0" defTabSz="914126">
              <a:lnSpc>
                <a:spcPct val="90000"/>
              </a:lnSpc>
              <a:spcBef>
                <a:spcPts val="800"/>
              </a:spcBef>
              <a:defRPr/>
            </a:pPr>
            <a:endParaRPr lang="en-US" kern="0" spc="-30" dirty="0">
              <a:solidFill>
                <a:srgbClr val="FFFFFF"/>
              </a:solidFill>
            </a:endParaRPr>
          </a:p>
          <a:p>
            <a:pPr lvl="0" defTabSz="914126">
              <a:lnSpc>
                <a:spcPct val="90000"/>
              </a:lnSpc>
              <a:spcBef>
                <a:spcPts val="800"/>
              </a:spcBef>
              <a:defRPr/>
            </a:pPr>
            <a:r>
              <a:rPr lang="en-US" sz="2800" kern="0" spc="-30" dirty="0">
                <a:solidFill>
                  <a:srgbClr val="FFFFFF"/>
                </a:solidFill>
              </a:rPr>
              <a:t>Selective wipe of corporate apps and data to protect </a:t>
            </a:r>
            <a:r>
              <a:rPr lang="en-US" sz="2800" kern="0" spc="-30" dirty="0" smtClean="0">
                <a:solidFill>
                  <a:srgbClr val="FFFFFF"/>
                </a:solidFill>
              </a:rPr>
              <a:t>information</a:t>
            </a:r>
            <a:endParaRPr lang="en-US" sz="2800" kern="0" spc="-30" dirty="0">
              <a:solidFill>
                <a:srgbClr val="FFFFFF"/>
              </a:solidFill>
            </a:endParaRPr>
          </a:p>
        </p:txBody>
      </p:sp>
      <p:grpSp>
        <p:nvGrpSpPr>
          <p:cNvPr id="17" name="Group 16"/>
          <p:cNvGrpSpPr/>
          <p:nvPr/>
        </p:nvGrpSpPr>
        <p:grpSpPr>
          <a:xfrm>
            <a:off x="300404" y="1214472"/>
            <a:ext cx="11919593" cy="941001"/>
            <a:chOff x="269302" y="1187962"/>
            <a:chExt cx="11922698" cy="941246"/>
          </a:xfrm>
        </p:grpSpPr>
        <p:sp>
          <p:nvSpPr>
            <p:cNvPr id="19" name="Rectangle 18"/>
            <p:cNvSpPr/>
            <p:nvPr/>
          </p:nvSpPr>
          <p:spPr bwMode="auto">
            <a:xfrm>
              <a:off x="986690" y="1241748"/>
              <a:ext cx="11205310" cy="833675"/>
            </a:xfrm>
            <a:prstGeom prst="rect">
              <a:avLst/>
            </a:prstGeom>
            <a:solidFill>
              <a:srgbClr val="FFFFFF"/>
            </a:solidFill>
            <a:ln w="25400" cap="flat" cmpd="sng" algn="ctr">
              <a:noFill/>
              <a:prstDash val="solid"/>
              <a:headEnd type="none" w="med" len="med"/>
              <a:tailEnd type="none" w="med" len="med"/>
            </a:ln>
            <a:effectLst/>
          </p:spPr>
          <p:txBody>
            <a:bodyPr vert="horz" wrap="square" lIns="448095" tIns="143391" rIns="179238" bIns="143391" numCol="1" rtlCol="0" anchor="ctr" anchorCtr="0" compatLnSpc="1">
              <a:prstTxWarp prst="textNoShape">
                <a:avLst/>
              </a:prstTxWarp>
              <a:noAutofit/>
            </a:bodyPr>
            <a:lstStyle/>
            <a:p>
              <a:pPr marL="0" marR="0" lvl="0" indent="0" defTabSz="895822" eaLnBrk="1" fontAlgn="base" latinLnBrk="0" hangingPunct="1">
                <a:lnSpc>
                  <a:spcPct val="90000"/>
                </a:lnSpc>
                <a:spcBef>
                  <a:spcPts val="1176"/>
                </a:spcBef>
                <a:spcAft>
                  <a:spcPts val="0"/>
                </a:spcAft>
                <a:buClrTx/>
                <a:buSzTx/>
                <a:buFontTx/>
                <a:buNone/>
                <a:tabLst/>
                <a:defRPr/>
              </a:pPr>
              <a:r>
                <a:rPr kumimoji="0" lang="en-US" sz="2199" b="0" i="0" u="none" strike="noStrike" kern="0" cap="none" spc="0" normalizeH="0" baseline="0" noProof="0" dirty="0" smtClean="0">
                  <a:ln>
                    <a:noFill/>
                  </a:ln>
                  <a:solidFill>
                    <a:srgbClr val="002060"/>
                  </a:solidFill>
                  <a:effectLst/>
                  <a:uLnTx/>
                  <a:uFillTx/>
                  <a:ea typeface="Segoe UI" pitchFamily="34" charset="0"/>
                  <a:cs typeface="Segoe UI" pitchFamily="34" charset="0"/>
                </a:rPr>
                <a:t>Enable </a:t>
              </a:r>
              <a:r>
                <a:rPr kumimoji="0" lang="en-US" sz="2199" b="0" i="0" u="none" strike="noStrike" kern="0" cap="none" spc="0" normalizeH="0" baseline="0" noProof="0" dirty="0" err="1" smtClean="0">
                  <a:ln>
                    <a:noFill/>
                  </a:ln>
                  <a:solidFill>
                    <a:srgbClr val="002060"/>
                  </a:solidFill>
                  <a:effectLst/>
                  <a:uLnTx/>
                  <a:uFillTx/>
                  <a:latin typeface="Segoe UI Semibold" panose="020B0702040204020203" pitchFamily="34" charset="0"/>
                  <a:ea typeface="Segoe UI" pitchFamily="34" charset="0"/>
                  <a:cs typeface="Segoe UI" pitchFamily="34" charset="0"/>
                </a:rPr>
                <a:t>consumerization</a:t>
              </a:r>
              <a:r>
                <a:rPr kumimoji="0" lang="en-US" sz="2199" b="0" i="0" u="none" strike="noStrike" kern="0" cap="none" spc="0" normalizeH="0" baseline="0" noProof="0" dirty="0" smtClean="0">
                  <a:ln>
                    <a:noFill/>
                  </a:ln>
                  <a:solidFill>
                    <a:srgbClr val="002060"/>
                  </a:solidFill>
                  <a:effectLst/>
                  <a:uLnTx/>
                  <a:uFillTx/>
                  <a:latin typeface="Segoe UI Semibold" panose="020B0702040204020203" pitchFamily="34" charset="0"/>
                  <a:ea typeface="Segoe UI" pitchFamily="34" charset="0"/>
                  <a:cs typeface="Segoe UI" pitchFamily="34" charset="0"/>
                </a:rPr>
                <a:t> of IT </a:t>
              </a:r>
              <a:r>
                <a:rPr kumimoji="0" lang="en-US" sz="2199" b="0" i="0" u="none" strike="noStrike" kern="0" cap="none" spc="0" normalizeH="0" baseline="0" noProof="0" dirty="0" smtClean="0">
                  <a:ln>
                    <a:noFill/>
                  </a:ln>
                  <a:solidFill>
                    <a:srgbClr val="002060"/>
                  </a:solidFill>
                  <a:effectLst/>
                  <a:uLnTx/>
                  <a:uFillTx/>
                  <a:ea typeface="Segoe UI" pitchFamily="34" charset="0"/>
                  <a:cs typeface="Segoe UI" pitchFamily="34" charset="0"/>
                </a:rPr>
                <a:t>without compromising compliance</a:t>
              </a:r>
            </a:p>
          </p:txBody>
        </p:sp>
        <p:sp>
          <p:nvSpPr>
            <p:cNvPr id="20" name="Oval 19"/>
            <p:cNvSpPr>
              <a:spLocks noChangeAspect="1"/>
            </p:cNvSpPr>
            <p:nvPr/>
          </p:nvSpPr>
          <p:spPr bwMode="auto">
            <a:xfrm>
              <a:off x="269302" y="1187962"/>
              <a:ext cx="941246" cy="941246"/>
            </a:xfrm>
            <a:prstGeom prst="ellipse">
              <a:avLst/>
            </a:prstGeom>
            <a:solidFill>
              <a:schemeClr val="bg2"/>
            </a:solidFill>
            <a:ln w="76200"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895822"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dirty="0" err="1" smtClean="0">
                <a:ln>
                  <a:noFill/>
                </a:ln>
                <a:gradFill>
                  <a:gsLst>
                    <a:gs pos="1250">
                      <a:srgbClr val="EFEFEF"/>
                    </a:gs>
                    <a:gs pos="10417">
                      <a:srgbClr val="EFEFEF"/>
                    </a:gs>
                  </a:gsLst>
                  <a:lin ang="5400000" scaled="0"/>
                </a:gradFill>
                <a:effectLst/>
                <a:uLnTx/>
                <a:uFillTx/>
                <a:latin typeface="Segoe UI"/>
              </a:endParaRPr>
            </a:p>
          </p:txBody>
        </p:sp>
      </p:grpSp>
      <p:sp>
        <p:nvSpPr>
          <p:cNvPr id="12" name="Freeform 14"/>
          <p:cNvSpPr>
            <a:spLocks noEditPoints="1"/>
          </p:cNvSpPr>
          <p:nvPr/>
        </p:nvSpPr>
        <p:spPr bwMode="auto">
          <a:xfrm>
            <a:off x="592357" y="1441354"/>
            <a:ext cx="357094" cy="487236"/>
          </a:xfrm>
          <a:custGeom>
            <a:avLst/>
            <a:gdLst>
              <a:gd name="T0" fmla="*/ 86 w 95"/>
              <a:gd name="T1" fmla="*/ 55 h 130"/>
              <a:gd name="T2" fmla="*/ 83 w 95"/>
              <a:gd name="T3" fmla="*/ 55 h 130"/>
              <a:gd name="T4" fmla="*/ 83 w 95"/>
              <a:gd name="T5" fmla="*/ 30 h 130"/>
              <a:gd name="T6" fmla="*/ 71 w 95"/>
              <a:gd name="T7" fmla="*/ 7 h 130"/>
              <a:gd name="T8" fmla="*/ 48 w 95"/>
              <a:gd name="T9" fmla="*/ 0 h 130"/>
              <a:gd name="T10" fmla="*/ 24 w 95"/>
              <a:gd name="T11" fmla="*/ 7 h 130"/>
              <a:gd name="T12" fmla="*/ 12 w 95"/>
              <a:gd name="T13" fmla="*/ 29 h 130"/>
              <a:gd name="T14" fmla="*/ 12 w 95"/>
              <a:gd name="T15" fmla="*/ 55 h 130"/>
              <a:gd name="T16" fmla="*/ 9 w 95"/>
              <a:gd name="T17" fmla="*/ 55 h 130"/>
              <a:gd name="T18" fmla="*/ 0 w 95"/>
              <a:gd name="T19" fmla="*/ 63 h 130"/>
              <a:gd name="T20" fmla="*/ 0 w 95"/>
              <a:gd name="T21" fmla="*/ 122 h 130"/>
              <a:gd name="T22" fmla="*/ 9 w 95"/>
              <a:gd name="T23" fmla="*/ 130 h 130"/>
              <a:gd name="T24" fmla="*/ 86 w 95"/>
              <a:gd name="T25" fmla="*/ 130 h 130"/>
              <a:gd name="T26" fmla="*/ 95 w 95"/>
              <a:gd name="T27" fmla="*/ 122 h 130"/>
              <a:gd name="T28" fmla="*/ 95 w 95"/>
              <a:gd name="T29" fmla="*/ 63 h 130"/>
              <a:gd name="T30" fmla="*/ 86 w 95"/>
              <a:gd name="T31" fmla="*/ 55 h 130"/>
              <a:gd name="T32" fmla="*/ 26 w 95"/>
              <a:gd name="T33" fmla="*/ 29 h 130"/>
              <a:gd name="T34" fmla="*/ 48 w 95"/>
              <a:gd name="T35" fmla="*/ 15 h 130"/>
              <a:gd name="T36" fmla="*/ 62 w 95"/>
              <a:gd name="T37" fmla="*/ 19 h 130"/>
              <a:gd name="T38" fmla="*/ 68 w 95"/>
              <a:gd name="T39" fmla="*/ 30 h 130"/>
              <a:gd name="T40" fmla="*/ 68 w 95"/>
              <a:gd name="T41" fmla="*/ 55 h 130"/>
              <a:gd name="T42" fmla="*/ 26 w 95"/>
              <a:gd name="T43" fmla="*/ 55 h 130"/>
              <a:gd name="T44" fmla="*/ 26 w 95"/>
              <a:gd name="T45" fmla="*/ 2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130">
                <a:moveTo>
                  <a:pt x="86" y="55"/>
                </a:moveTo>
                <a:cubicBezTo>
                  <a:pt x="86" y="55"/>
                  <a:pt x="86" y="55"/>
                  <a:pt x="83" y="55"/>
                </a:cubicBezTo>
                <a:cubicBezTo>
                  <a:pt x="83" y="48"/>
                  <a:pt x="83" y="41"/>
                  <a:pt x="83" y="30"/>
                </a:cubicBezTo>
                <a:cubicBezTo>
                  <a:pt x="83" y="21"/>
                  <a:pt x="79" y="12"/>
                  <a:pt x="71" y="7"/>
                </a:cubicBezTo>
                <a:cubicBezTo>
                  <a:pt x="65" y="2"/>
                  <a:pt x="56" y="0"/>
                  <a:pt x="48" y="0"/>
                </a:cubicBezTo>
                <a:cubicBezTo>
                  <a:pt x="39" y="0"/>
                  <a:pt x="30" y="2"/>
                  <a:pt x="24" y="7"/>
                </a:cubicBezTo>
                <a:cubicBezTo>
                  <a:pt x="16" y="12"/>
                  <a:pt x="12" y="20"/>
                  <a:pt x="12" y="29"/>
                </a:cubicBezTo>
                <a:cubicBezTo>
                  <a:pt x="12" y="29"/>
                  <a:pt x="12" y="29"/>
                  <a:pt x="12" y="55"/>
                </a:cubicBezTo>
                <a:cubicBezTo>
                  <a:pt x="11" y="55"/>
                  <a:pt x="10" y="55"/>
                  <a:pt x="9" y="55"/>
                </a:cubicBezTo>
                <a:cubicBezTo>
                  <a:pt x="4" y="55"/>
                  <a:pt x="0" y="58"/>
                  <a:pt x="0" y="63"/>
                </a:cubicBezTo>
                <a:cubicBezTo>
                  <a:pt x="0" y="63"/>
                  <a:pt x="0" y="63"/>
                  <a:pt x="0" y="122"/>
                </a:cubicBezTo>
                <a:cubicBezTo>
                  <a:pt x="0" y="127"/>
                  <a:pt x="4" y="130"/>
                  <a:pt x="9" y="130"/>
                </a:cubicBezTo>
                <a:cubicBezTo>
                  <a:pt x="9" y="130"/>
                  <a:pt x="9" y="130"/>
                  <a:pt x="86" y="130"/>
                </a:cubicBezTo>
                <a:cubicBezTo>
                  <a:pt x="91" y="130"/>
                  <a:pt x="95" y="127"/>
                  <a:pt x="95" y="122"/>
                </a:cubicBezTo>
                <a:cubicBezTo>
                  <a:pt x="95" y="122"/>
                  <a:pt x="95" y="122"/>
                  <a:pt x="95" y="63"/>
                </a:cubicBezTo>
                <a:cubicBezTo>
                  <a:pt x="95" y="58"/>
                  <a:pt x="91" y="55"/>
                  <a:pt x="86" y="55"/>
                </a:cubicBezTo>
                <a:close/>
                <a:moveTo>
                  <a:pt x="26" y="29"/>
                </a:moveTo>
                <a:cubicBezTo>
                  <a:pt x="26" y="19"/>
                  <a:pt x="39" y="15"/>
                  <a:pt x="48" y="15"/>
                </a:cubicBezTo>
                <a:cubicBezTo>
                  <a:pt x="53" y="15"/>
                  <a:pt x="59" y="16"/>
                  <a:pt x="62" y="19"/>
                </a:cubicBezTo>
                <a:cubicBezTo>
                  <a:pt x="66" y="22"/>
                  <a:pt x="68" y="25"/>
                  <a:pt x="68" y="30"/>
                </a:cubicBezTo>
                <a:cubicBezTo>
                  <a:pt x="68" y="30"/>
                  <a:pt x="68" y="30"/>
                  <a:pt x="68" y="55"/>
                </a:cubicBezTo>
                <a:cubicBezTo>
                  <a:pt x="59" y="55"/>
                  <a:pt x="46" y="55"/>
                  <a:pt x="26" y="55"/>
                </a:cubicBezTo>
                <a:cubicBezTo>
                  <a:pt x="26" y="51"/>
                  <a:pt x="26" y="43"/>
                  <a:pt x="26" y="29"/>
                </a:cubicBezTo>
                <a:close/>
              </a:path>
            </a:pathLst>
          </a:custGeom>
          <a:solidFill>
            <a:srgbClr val="FFFFFF"/>
          </a:solidFill>
          <a:ln>
            <a:noFill/>
          </a:ln>
        </p:spPr>
        <p:txBody>
          <a:bodyPr vert="horz" wrap="square" lIns="91416" tIns="45708" rIns="91416" bIns="45708" numCol="1" anchor="t" anchorCtr="0" compatLnSpc="1">
            <a:prstTxWarp prst="textNoShape">
              <a:avLst/>
            </a:prstTxWarp>
          </a:bodyPr>
          <a:lstStyle/>
          <a:p>
            <a:pPr marL="0" marR="0" lvl="0" indent="0" defTabSz="1218534"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dirty="0" smtClean="0">
              <a:ln>
                <a:noFill/>
              </a:ln>
              <a:gradFill>
                <a:gsLst>
                  <a:gs pos="1250">
                    <a:srgbClr val="7FBA00"/>
                  </a:gs>
                  <a:gs pos="100000">
                    <a:srgbClr val="7FBA00"/>
                  </a:gs>
                </a:gsLst>
                <a:lin ang="5400000" scaled="0"/>
              </a:gradFill>
              <a:effectLst/>
              <a:uLnTx/>
              <a:uFillTx/>
            </a:endParaRPr>
          </a:p>
        </p:txBody>
      </p:sp>
    </p:spTree>
    <p:extLst>
      <p:ext uri="{BB962C8B-B14F-4D97-AF65-F5344CB8AC3E}">
        <p14:creationId xmlns:p14="http://schemas.microsoft.com/office/powerpoint/2010/main" val="5054849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5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750"/>
                                        <p:tgtEl>
                                          <p:spTgt spid="13"/>
                                        </p:tgtEl>
                                      </p:cBhvr>
                                    </p:animEffect>
                                  </p:childTnLst>
                                </p:cTn>
                              </p:par>
                              <p:par>
                                <p:cTn id="8" presetID="63" presetClass="path" presetSubtype="0" decel="100000" fill="hold" grpId="1" nodeType="withEffect">
                                  <p:stCondLst>
                                    <p:cond delay="500"/>
                                  </p:stCondLst>
                                  <p:childTnLst>
                                    <p:animMotion origin="layout" path="M -0.02409 2.22222E-6 L 2.5E-6 2.22222E-6 " pathEditMode="relative" rAng="0" ptsTypes="AA">
                                      <p:cBhvr>
                                        <p:cTn id="9" dur="500" fill="hold"/>
                                        <p:tgtEl>
                                          <p:spTgt spid="13"/>
                                        </p:tgtEl>
                                        <p:attrNameLst>
                                          <p:attrName>ppt_x</p:attrName>
                                          <p:attrName>ppt_y</p:attrName>
                                        </p:attrNameLst>
                                      </p:cBhvr>
                                      <p:rCtr x="1198" y="0"/>
                                    </p:animMotion>
                                  </p:childTnLst>
                                </p:cTn>
                              </p:par>
                              <p:par>
                                <p:cTn id="10" presetID="6" presetClass="emph" presetSubtype="0" accel="100000" autoRev="1" fill="hold" grpId="2" nodeType="withEffect">
                                  <p:stCondLst>
                                    <p:cond delay="0"/>
                                  </p:stCondLst>
                                  <p:childTnLst>
                                    <p:animScale>
                                      <p:cBhvr>
                                        <p:cTn id="11" dur="500" fill="hold"/>
                                        <p:tgtEl>
                                          <p:spTgt spid="1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3" grpId="2"/>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tect Your Data</a:t>
            </a:r>
            <a:br>
              <a:rPr lang="en-US" dirty="0" smtClean="0"/>
            </a:br>
            <a:r>
              <a:rPr lang="en-US" sz="2000" spc="0" dirty="0" smtClean="0">
                <a:solidFill>
                  <a:schemeClr val="tx1"/>
                </a:solidFill>
              </a:rPr>
              <a:t>Help protect corporate information and manage risk</a:t>
            </a:r>
            <a:endParaRPr lang="en-US" sz="2000" dirty="0">
              <a:solidFill>
                <a:schemeClr val="tx1"/>
              </a:solidFill>
            </a:endParaRPr>
          </a:p>
        </p:txBody>
      </p:sp>
      <p:sp>
        <p:nvSpPr>
          <p:cNvPr id="4" name="Rectangle 3"/>
          <p:cNvSpPr/>
          <p:nvPr/>
        </p:nvSpPr>
        <p:spPr bwMode="auto">
          <a:xfrm>
            <a:off x="192432" y="1453415"/>
            <a:ext cx="12022313" cy="540939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cxnSp>
        <p:nvCxnSpPr>
          <p:cNvPr id="302" name="Straight Connector 301"/>
          <p:cNvCxnSpPr/>
          <p:nvPr/>
        </p:nvCxnSpPr>
        <p:spPr>
          <a:xfrm>
            <a:off x="5320943" y="3070999"/>
            <a:ext cx="1032238" cy="7509"/>
          </a:xfrm>
          <a:prstGeom prst="line">
            <a:avLst/>
          </a:prstGeom>
          <a:noFill/>
          <a:ln w="28575" cap="rnd" cmpd="sng" algn="ctr">
            <a:solidFill>
              <a:srgbClr val="505050"/>
            </a:solidFill>
            <a:prstDash val="sysDot"/>
            <a:headEnd type="triangle" w="med" len="med"/>
            <a:tailEnd type="triangle" w="med" len="med"/>
          </a:ln>
          <a:effectLst/>
        </p:spPr>
      </p:cxnSp>
      <p:cxnSp>
        <p:nvCxnSpPr>
          <p:cNvPr id="303" name="Straight Connector 302"/>
          <p:cNvCxnSpPr/>
          <p:nvPr/>
        </p:nvCxnSpPr>
        <p:spPr>
          <a:xfrm>
            <a:off x="1755604" y="3775393"/>
            <a:ext cx="966403" cy="0"/>
          </a:xfrm>
          <a:prstGeom prst="line">
            <a:avLst/>
          </a:prstGeom>
          <a:noFill/>
          <a:ln w="28575" cap="rnd" cmpd="sng" algn="ctr">
            <a:solidFill>
              <a:srgbClr val="505050"/>
            </a:solidFill>
            <a:prstDash val="sysDot"/>
            <a:headEnd type="triangle" w="med" len="med"/>
            <a:tailEnd type="triangle" w="med" len="med"/>
          </a:ln>
          <a:effectLst/>
        </p:spPr>
      </p:cxnSp>
      <p:sp>
        <p:nvSpPr>
          <p:cNvPr id="304" name="Rectangle 303"/>
          <p:cNvSpPr/>
          <p:nvPr>
            <p:custDataLst>
              <p:tags r:id="rId1"/>
            </p:custDataLst>
          </p:nvPr>
        </p:nvSpPr>
        <p:spPr bwMode="auto">
          <a:xfrm>
            <a:off x="5671155" y="5662950"/>
            <a:ext cx="3181993" cy="1107996"/>
          </a:xfrm>
          <a:prstGeom prst="rect">
            <a:avLst/>
          </a:prstGeom>
          <a:ln>
            <a:noFill/>
          </a:ln>
        </p:spPr>
        <p:txBody>
          <a:bodyPr vert="horz" wrap="square" lIns="0" tIns="0" rIns="0" bIns="0" rtlCol="0">
            <a:spAutoFit/>
          </a:bodyPr>
          <a:lstStyle/>
          <a:p>
            <a:pPr marL="0" marR="0" lvl="0" indent="0" defTabSz="914400" eaLnBrk="1" fontAlgn="auto" latinLnBrk="0" hangingPunct="1">
              <a:lnSpc>
                <a:spcPct val="90000"/>
              </a:lnSpc>
              <a:spcBef>
                <a:spcPts val="1200"/>
              </a:spcBef>
              <a:spcAft>
                <a:spcPts val="0"/>
              </a:spcAft>
              <a:buClrTx/>
              <a:buSzTx/>
              <a:buFontTx/>
              <a:buNone/>
              <a:tabLst/>
              <a:defRPr/>
            </a:pPr>
            <a:r>
              <a:rPr kumimoji="0" lang="en-US" sz="1600" b="0" i="0" u="none" strike="noStrike" kern="0" cap="none" spc="-30" normalizeH="0" baseline="0" noProof="0" dirty="0" smtClean="0">
                <a:ln>
                  <a:noFill/>
                </a:ln>
                <a:solidFill>
                  <a:srgbClr val="969696">
                    <a:lumMod val="50000"/>
                  </a:srgbClr>
                </a:solidFill>
                <a:effectLst/>
                <a:uLnTx/>
                <a:uFillTx/>
              </a:rPr>
              <a:t>IT can publish resources using the </a:t>
            </a:r>
            <a:r>
              <a:rPr kumimoji="0" lang="en-US" sz="1600" b="1" i="0" u="none" strike="noStrike" kern="0" cap="none" spc="-30" normalizeH="0" baseline="0" noProof="0" dirty="0" smtClean="0">
                <a:ln>
                  <a:noFill/>
                </a:ln>
                <a:solidFill>
                  <a:srgbClr val="969696">
                    <a:lumMod val="50000"/>
                  </a:srgbClr>
                </a:solidFill>
                <a:effectLst/>
                <a:uLnTx/>
                <a:uFillTx/>
              </a:rPr>
              <a:t>web application proxy</a:t>
            </a:r>
            <a:r>
              <a:rPr kumimoji="0" lang="en-US" sz="1600" b="0" i="0" u="none" strike="noStrike" kern="0" cap="none" spc="-30" normalizeH="0" baseline="0" noProof="0" dirty="0" smtClean="0">
                <a:ln>
                  <a:noFill/>
                </a:ln>
                <a:solidFill>
                  <a:srgbClr val="969696">
                    <a:lumMod val="50000"/>
                  </a:srgbClr>
                </a:solidFill>
                <a:effectLst/>
                <a:uLnTx/>
                <a:uFillTx/>
              </a:rPr>
              <a:t> and create business-driven access policies with </a:t>
            </a:r>
            <a:r>
              <a:rPr kumimoji="0" lang="en-US" sz="1600" b="1" i="0" u="none" strike="noStrike" kern="0" cap="none" spc="-30" normalizeH="0" baseline="0" noProof="0" dirty="0" smtClean="0">
                <a:ln>
                  <a:noFill/>
                </a:ln>
                <a:solidFill>
                  <a:srgbClr val="969696">
                    <a:lumMod val="50000"/>
                  </a:srgbClr>
                </a:solidFill>
                <a:effectLst/>
                <a:uLnTx/>
                <a:uFillTx/>
              </a:rPr>
              <a:t>multi-factor authentication</a:t>
            </a:r>
            <a:r>
              <a:rPr kumimoji="0" lang="en-US" sz="1600" b="0" i="0" u="none" strike="noStrike" kern="0" cap="none" spc="-30" normalizeH="0" baseline="0" noProof="0" dirty="0" smtClean="0">
                <a:ln>
                  <a:noFill/>
                </a:ln>
                <a:solidFill>
                  <a:srgbClr val="969696">
                    <a:lumMod val="50000"/>
                  </a:srgbClr>
                </a:solidFill>
                <a:effectLst/>
                <a:uLnTx/>
                <a:uFillTx/>
              </a:rPr>
              <a:t> based on the content being accessed.</a:t>
            </a:r>
          </a:p>
        </p:txBody>
      </p:sp>
      <p:sp>
        <p:nvSpPr>
          <p:cNvPr id="305" name="Rectangle 304"/>
          <p:cNvSpPr/>
          <p:nvPr>
            <p:custDataLst>
              <p:tags r:id="rId2"/>
            </p:custDataLst>
          </p:nvPr>
        </p:nvSpPr>
        <p:spPr bwMode="auto">
          <a:xfrm>
            <a:off x="9594780" y="6178014"/>
            <a:ext cx="2240434" cy="664797"/>
          </a:xfrm>
          <a:prstGeom prst="rect">
            <a:avLst/>
          </a:prstGeom>
          <a:ln>
            <a:noFill/>
          </a:ln>
        </p:spPr>
        <p:txBody>
          <a:bodyPr vert="horz" wrap="square" lIns="0" tIns="0" rIns="0" bIns="0" rtlCol="0">
            <a:spAutoFit/>
          </a:bodyPr>
          <a:lstStyle/>
          <a:p>
            <a:pPr marL="0" marR="0" lvl="0" indent="0" defTabSz="914400" eaLnBrk="1" fontAlgn="auto" latinLnBrk="0" hangingPunct="1">
              <a:lnSpc>
                <a:spcPct val="90000"/>
              </a:lnSpc>
              <a:spcBef>
                <a:spcPts val="1200"/>
              </a:spcBef>
              <a:spcAft>
                <a:spcPts val="0"/>
              </a:spcAft>
              <a:buClrTx/>
              <a:buSzTx/>
              <a:buFontTx/>
              <a:buNone/>
              <a:tabLst/>
              <a:defRPr/>
            </a:pPr>
            <a:r>
              <a:rPr kumimoji="0" lang="en-US" sz="1600" b="0" i="0" u="none" strike="noStrike" kern="0" cap="none" spc="-30" normalizeH="0" baseline="0" noProof="0" dirty="0" smtClean="0">
                <a:ln>
                  <a:noFill/>
                </a:ln>
                <a:solidFill>
                  <a:srgbClr val="969696">
                    <a:lumMod val="50000"/>
                  </a:srgbClr>
                </a:solidFill>
                <a:effectLst/>
                <a:uLnTx/>
                <a:uFillTx/>
              </a:rPr>
              <a:t>IT can audit user access to information based on </a:t>
            </a:r>
            <a:r>
              <a:rPr kumimoji="0" lang="en-US" sz="1600" b="1" i="0" u="none" strike="noStrike" kern="0" cap="none" spc="-30" normalizeH="0" baseline="0" noProof="0" dirty="0" smtClean="0">
                <a:ln>
                  <a:noFill/>
                </a:ln>
                <a:solidFill>
                  <a:srgbClr val="969696">
                    <a:lumMod val="50000"/>
                  </a:srgbClr>
                </a:solidFill>
                <a:effectLst/>
                <a:uLnTx/>
                <a:uFillTx/>
              </a:rPr>
              <a:t>central audit policies</a:t>
            </a:r>
            <a:r>
              <a:rPr kumimoji="0" lang="en-US" sz="1600" b="0" i="0" u="none" strike="noStrike" kern="0" cap="none" spc="-30" normalizeH="0" baseline="0" noProof="0" dirty="0" smtClean="0">
                <a:ln>
                  <a:noFill/>
                </a:ln>
                <a:solidFill>
                  <a:srgbClr val="969696">
                    <a:lumMod val="50000"/>
                  </a:srgbClr>
                </a:solidFill>
                <a:effectLst/>
                <a:uLnTx/>
                <a:uFillTx/>
              </a:rPr>
              <a:t>.</a:t>
            </a:r>
          </a:p>
        </p:txBody>
      </p:sp>
      <p:cxnSp>
        <p:nvCxnSpPr>
          <p:cNvPr id="307" name="Straight Connector 306"/>
          <p:cNvCxnSpPr/>
          <p:nvPr/>
        </p:nvCxnSpPr>
        <p:spPr>
          <a:xfrm>
            <a:off x="5389523" y="4918979"/>
            <a:ext cx="1038851" cy="0"/>
          </a:xfrm>
          <a:prstGeom prst="line">
            <a:avLst/>
          </a:prstGeom>
          <a:noFill/>
          <a:ln w="28575" cap="rnd" cmpd="sng" algn="ctr">
            <a:solidFill>
              <a:srgbClr val="505050"/>
            </a:solidFill>
            <a:prstDash val="sysDot"/>
            <a:headEnd type="triangle" w="med" len="med"/>
            <a:tailEnd type="triangle" w="med" len="med"/>
          </a:ln>
          <a:effectLst/>
        </p:spPr>
      </p:cxnSp>
      <p:sp>
        <p:nvSpPr>
          <p:cNvPr id="308" name="Rectangle 307"/>
          <p:cNvSpPr/>
          <p:nvPr>
            <p:custDataLst>
              <p:tags r:id="rId3"/>
            </p:custDataLst>
          </p:nvPr>
        </p:nvSpPr>
        <p:spPr bwMode="auto">
          <a:xfrm>
            <a:off x="5650001" y="1592047"/>
            <a:ext cx="3246266" cy="886397"/>
          </a:xfrm>
          <a:prstGeom prst="rect">
            <a:avLst/>
          </a:prstGeom>
          <a:ln>
            <a:noFill/>
          </a:ln>
        </p:spPr>
        <p:txBody>
          <a:bodyPr vert="horz" wrap="square" lIns="0" tIns="0" rIns="0" bIns="0" rtlCol="0">
            <a:spAutoFit/>
          </a:bodyPr>
          <a:lstStyle/>
          <a:p>
            <a:pPr marL="0" marR="0" lvl="0" indent="0" defTabSz="914400" eaLnBrk="1" fontAlgn="auto" latinLnBrk="0" hangingPunct="1">
              <a:lnSpc>
                <a:spcPct val="90000"/>
              </a:lnSpc>
              <a:spcBef>
                <a:spcPts val="1200"/>
              </a:spcBef>
              <a:spcAft>
                <a:spcPts val="0"/>
              </a:spcAft>
              <a:buClrTx/>
              <a:buSzTx/>
              <a:buFontTx/>
              <a:buNone/>
              <a:tabLst/>
              <a:defRPr/>
            </a:pPr>
            <a:r>
              <a:rPr kumimoji="0" lang="en-US" sz="1600" b="0" i="0" u="none" strike="noStrike" kern="0" cap="none" spc="-30" normalizeH="0" baseline="0" noProof="0" dirty="0" smtClean="0">
                <a:ln>
                  <a:noFill/>
                </a:ln>
                <a:solidFill>
                  <a:srgbClr val="969696">
                    <a:lumMod val="50000"/>
                  </a:srgbClr>
                </a:solidFill>
                <a:effectLst/>
                <a:uLnTx/>
                <a:uFillTx/>
              </a:rPr>
              <a:t>IT can provide a secure and familiar solution for users to access sensitive corporate data from anywhere with </a:t>
            </a:r>
            <a:r>
              <a:rPr kumimoji="0" lang="en-US" sz="1600" b="1" i="0" u="none" strike="noStrike" kern="0" cap="none" spc="-30" normalizeH="0" baseline="0" noProof="0" dirty="0" smtClean="0">
                <a:ln>
                  <a:noFill/>
                </a:ln>
                <a:solidFill>
                  <a:srgbClr val="969696">
                    <a:lumMod val="50000"/>
                  </a:srgbClr>
                </a:solidFill>
                <a:effectLst/>
                <a:uLnTx/>
                <a:uFillTx/>
              </a:rPr>
              <a:t>VDI </a:t>
            </a:r>
            <a:r>
              <a:rPr kumimoji="0" lang="en-US" sz="1600" b="0" i="0" u="none" strike="noStrike" kern="0" cap="none" spc="-30" normalizeH="0" baseline="0" noProof="0" dirty="0" smtClean="0">
                <a:ln>
                  <a:noFill/>
                </a:ln>
                <a:solidFill>
                  <a:srgbClr val="969696">
                    <a:lumMod val="50000"/>
                  </a:srgbClr>
                </a:solidFill>
                <a:effectLst/>
                <a:uLnTx/>
                <a:uFillTx/>
              </a:rPr>
              <a:t>and </a:t>
            </a:r>
            <a:r>
              <a:rPr kumimoji="0" lang="en-US" sz="1600" b="1" i="0" u="none" strike="noStrike" kern="0" cap="none" spc="-30" normalizeH="0" baseline="0" noProof="0" dirty="0" smtClean="0">
                <a:ln>
                  <a:noFill/>
                </a:ln>
                <a:solidFill>
                  <a:srgbClr val="969696">
                    <a:lumMod val="50000"/>
                  </a:srgbClr>
                </a:solidFill>
                <a:effectLst/>
                <a:uLnTx/>
                <a:uFillTx/>
              </a:rPr>
              <a:t>RemoteApp</a:t>
            </a:r>
            <a:r>
              <a:rPr kumimoji="0" lang="en-US" sz="1600" b="0" i="0" u="none" strike="noStrike" kern="0" cap="none" spc="-30" normalizeH="0" baseline="0" noProof="0" dirty="0" smtClean="0">
                <a:ln>
                  <a:noFill/>
                </a:ln>
                <a:solidFill>
                  <a:srgbClr val="969696">
                    <a:lumMod val="50000"/>
                  </a:srgbClr>
                </a:solidFill>
                <a:effectLst/>
                <a:uLnTx/>
                <a:uFillTx/>
              </a:rPr>
              <a:t> technologies.</a:t>
            </a:r>
            <a:endParaRPr kumimoji="0" lang="en-US" sz="1600" b="1" i="0" u="none" strike="noStrike" kern="0" cap="none" spc="-30" normalizeH="0" baseline="0" noProof="0" dirty="0" smtClean="0">
              <a:ln>
                <a:noFill/>
              </a:ln>
              <a:solidFill>
                <a:srgbClr val="969696">
                  <a:lumMod val="50000"/>
                </a:srgbClr>
              </a:solidFill>
              <a:effectLst/>
              <a:uLnTx/>
              <a:uFillTx/>
            </a:endParaRPr>
          </a:p>
        </p:txBody>
      </p:sp>
      <p:cxnSp>
        <p:nvCxnSpPr>
          <p:cNvPr id="309" name="Straight Connector 308"/>
          <p:cNvCxnSpPr/>
          <p:nvPr/>
        </p:nvCxnSpPr>
        <p:spPr>
          <a:xfrm flipV="1">
            <a:off x="8075293" y="2912622"/>
            <a:ext cx="969713" cy="95538"/>
          </a:xfrm>
          <a:prstGeom prst="line">
            <a:avLst/>
          </a:prstGeom>
          <a:noFill/>
          <a:ln w="28575" cap="rnd" cmpd="sng" algn="ctr">
            <a:solidFill>
              <a:srgbClr val="505050"/>
            </a:solidFill>
            <a:prstDash val="sysDot"/>
            <a:headEnd type="triangle" w="med" len="med"/>
            <a:tailEnd type="triangle" w="med" len="med"/>
          </a:ln>
          <a:effectLst/>
        </p:spPr>
      </p:cxnSp>
      <p:cxnSp>
        <p:nvCxnSpPr>
          <p:cNvPr id="310" name="Straight Connector 309"/>
          <p:cNvCxnSpPr/>
          <p:nvPr/>
        </p:nvCxnSpPr>
        <p:spPr>
          <a:xfrm>
            <a:off x="8075293" y="3318892"/>
            <a:ext cx="1229557" cy="648273"/>
          </a:xfrm>
          <a:prstGeom prst="line">
            <a:avLst/>
          </a:prstGeom>
          <a:noFill/>
          <a:ln w="28575" cap="rnd" cmpd="sng" algn="ctr">
            <a:solidFill>
              <a:srgbClr val="505050"/>
            </a:solidFill>
            <a:prstDash val="sysDot"/>
            <a:headEnd type="triangle" w="med" len="med"/>
            <a:tailEnd type="triangle" w="med" len="med"/>
          </a:ln>
          <a:effectLst/>
        </p:spPr>
      </p:cxnSp>
      <p:cxnSp>
        <p:nvCxnSpPr>
          <p:cNvPr id="311" name="Straight Connector 310"/>
          <p:cNvCxnSpPr/>
          <p:nvPr/>
        </p:nvCxnSpPr>
        <p:spPr>
          <a:xfrm>
            <a:off x="8025518" y="4894836"/>
            <a:ext cx="1143313" cy="21094"/>
          </a:xfrm>
          <a:prstGeom prst="line">
            <a:avLst/>
          </a:prstGeom>
          <a:noFill/>
          <a:ln w="28575" cap="rnd" cmpd="sng" algn="ctr">
            <a:solidFill>
              <a:srgbClr val="505050"/>
            </a:solidFill>
            <a:prstDash val="sysDot"/>
            <a:headEnd type="triangle" w="med" len="med"/>
            <a:tailEnd type="triangle" w="med" len="med"/>
          </a:ln>
          <a:effectLst/>
        </p:spPr>
      </p:cxnSp>
      <p:grpSp>
        <p:nvGrpSpPr>
          <p:cNvPr id="312" name="Group 311"/>
          <p:cNvGrpSpPr/>
          <p:nvPr/>
        </p:nvGrpSpPr>
        <p:grpSpPr>
          <a:xfrm>
            <a:off x="9364108" y="1592047"/>
            <a:ext cx="2471106" cy="2365883"/>
            <a:chOff x="9463102" y="1029982"/>
            <a:chExt cx="2471106" cy="2365883"/>
          </a:xfrm>
        </p:grpSpPr>
        <p:sp>
          <p:nvSpPr>
            <p:cNvPr id="313" name="Oval 312"/>
            <p:cNvSpPr/>
            <p:nvPr/>
          </p:nvSpPr>
          <p:spPr bwMode="auto">
            <a:xfrm>
              <a:off x="9463102" y="1029982"/>
              <a:ext cx="2471106" cy="2365883"/>
            </a:xfrm>
            <a:prstGeom prst="ellipse">
              <a:avLst/>
            </a:prstGeom>
            <a:noFill/>
            <a:ln w="57150" cap="flat" cmpd="sng" algn="ctr">
              <a:solidFill>
                <a:srgbClr val="3D5800"/>
              </a:solidFill>
              <a:prstDash val="sysDot"/>
              <a:headEnd type="none" w="med" len="med"/>
              <a:tailEnd type="none" w="med" len="med"/>
            </a:ln>
            <a:effectLst/>
          </p:spPr>
          <p:txBody>
            <a:bodyPr vert="horz" wrap="square" lIns="77695" tIns="38848" rIns="77695" bIns="38848" numCol="1" rtlCol="0" anchor="ctr" anchorCtr="0" compatLnSpc="1">
              <a:prstTxWarp prst="textNoShape">
                <a:avLst/>
              </a:prstTxWarp>
            </a:bodyPr>
            <a:lstStyle/>
            <a:p>
              <a:pPr marL="0" marR="0" lvl="0" indent="0" algn="ctr" defTabSz="776774" eaLnBrk="1" fontAlgn="base" latinLnBrk="0" hangingPunct="1">
                <a:lnSpc>
                  <a:spcPct val="90000"/>
                </a:lnSpc>
                <a:spcBef>
                  <a:spcPct val="0"/>
                </a:spcBef>
                <a:spcAft>
                  <a:spcPct val="0"/>
                </a:spcAft>
                <a:buClrTx/>
                <a:buSzTx/>
                <a:buFontTx/>
                <a:buNone/>
                <a:tabLst/>
                <a:defRPr/>
              </a:pPr>
              <a:endParaRPr kumimoji="0" lang="en-US" sz="1700" b="0" i="0" u="none" strike="noStrike" kern="0" cap="none" spc="-43" normalizeH="0" baseline="0" noProof="0" dirty="0">
                <a:ln>
                  <a:noFill/>
                </a:ln>
                <a:gradFill>
                  <a:gsLst>
                    <a:gs pos="0">
                      <a:srgbClr val="FFFFFF"/>
                    </a:gs>
                    <a:gs pos="100000">
                      <a:srgbClr val="FFFFFF"/>
                    </a:gs>
                  </a:gsLst>
                  <a:lin ang="5400000" scaled="0"/>
                </a:gradFill>
                <a:effectLst/>
                <a:uLnTx/>
                <a:uFillTx/>
              </a:endParaRPr>
            </a:p>
          </p:txBody>
        </p:sp>
        <p:sp>
          <p:nvSpPr>
            <p:cNvPr id="314" name="Rectangle 313"/>
            <p:cNvSpPr/>
            <p:nvPr/>
          </p:nvSpPr>
          <p:spPr>
            <a:xfrm>
              <a:off x="9897367" y="2756827"/>
              <a:ext cx="1646177" cy="300056"/>
            </a:xfrm>
            <a:prstGeom prst="rect">
              <a:avLst/>
            </a:prstGeom>
          </p:spPr>
          <p:txBody>
            <a:bodyPr wrap="square" lIns="77699" tIns="38849" rIns="77699" bIns="38849">
              <a:spAutoFit/>
            </a:bodyPr>
            <a:lstStyle/>
            <a:p>
              <a:pPr marL="0" marR="0" lvl="0" indent="0" algn="ctr" defTabSz="776774" eaLnBrk="1" fontAlgn="auto" latinLnBrk="0" hangingPunct="1">
                <a:lnSpc>
                  <a:spcPct val="90000"/>
                </a:lnSpc>
                <a:spcBef>
                  <a:spcPts val="510"/>
                </a:spcBef>
                <a:spcAft>
                  <a:spcPts val="0"/>
                </a:spcAft>
                <a:buClrTx/>
                <a:buSzTx/>
                <a:buFontTx/>
                <a:buNone/>
                <a:tabLst/>
                <a:defRPr/>
              </a:pPr>
              <a:r>
                <a:rPr kumimoji="0" lang="en-US" sz="1600" b="0" i="0" u="none" strike="noStrike" kern="0" cap="none" spc="-43" normalizeH="0" baseline="0" noProof="0" dirty="0" smtClean="0">
                  <a:ln>
                    <a:noFill/>
                  </a:ln>
                  <a:solidFill>
                    <a:srgbClr val="442359"/>
                  </a:solidFill>
                  <a:effectLst/>
                  <a:uLnTx/>
                  <a:uFillTx/>
                </a:rPr>
                <a:t>Centralized Data</a:t>
              </a:r>
              <a:endParaRPr kumimoji="0" lang="en-US" sz="1600" b="0" i="0" u="none" strike="noStrike" kern="0" cap="none" spc="-43" normalizeH="0" baseline="0" noProof="0" dirty="0">
                <a:ln>
                  <a:noFill/>
                </a:ln>
                <a:solidFill>
                  <a:srgbClr val="442359"/>
                </a:solidFill>
                <a:effectLst/>
                <a:uLnTx/>
                <a:uFillTx/>
              </a:endParaRPr>
            </a:p>
          </p:txBody>
        </p:sp>
        <p:grpSp>
          <p:nvGrpSpPr>
            <p:cNvPr id="315" name="Group 314"/>
            <p:cNvGrpSpPr/>
            <p:nvPr/>
          </p:nvGrpSpPr>
          <p:grpSpPr>
            <a:xfrm>
              <a:off x="9982861" y="1452283"/>
              <a:ext cx="1402313" cy="1245511"/>
              <a:chOff x="9962648" y="2264337"/>
              <a:chExt cx="1880481" cy="1670212"/>
            </a:xfrm>
          </p:grpSpPr>
          <p:sp>
            <p:nvSpPr>
              <p:cNvPr id="316" name="Freeform 331"/>
              <p:cNvSpPr>
                <a:spLocks noChangeAspect="1" noEditPoints="1"/>
              </p:cNvSpPr>
              <p:nvPr/>
            </p:nvSpPr>
            <p:spPr bwMode="auto">
              <a:xfrm>
                <a:off x="9962648" y="2264337"/>
                <a:ext cx="887171" cy="870112"/>
              </a:xfrm>
              <a:custGeom>
                <a:avLst/>
                <a:gdLst>
                  <a:gd name="T0" fmla="*/ 39 w 88"/>
                  <a:gd name="T1" fmla="*/ 46 h 86"/>
                  <a:gd name="T2" fmla="*/ 79 w 88"/>
                  <a:gd name="T3" fmla="*/ 46 h 86"/>
                  <a:gd name="T4" fmla="*/ 39 w 88"/>
                  <a:gd name="T5" fmla="*/ 86 h 86"/>
                  <a:gd name="T6" fmla="*/ 0 w 88"/>
                  <a:gd name="T7" fmla="*/ 46 h 86"/>
                  <a:gd name="T8" fmla="*/ 39 w 88"/>
                  <a:gd name="T9" fmla="*/ 7 h 86"/>
                  <a:gd name="T10" fmla="*/ 39 w 88"/>
                  <a:gd name="T11" fmla="*/ 46 h 86"/>
                  <a:gd name="T12" fmla="*/ 48 w 88"/>
                  <a:gd name="T13" fmla="*/ 40 h 86"/>
                  <a:gd name="T14" fmla="*/ 88 w 88"/>
                  <a:gd name="T15" fmla="*/ 40 h 86"/>
                  <a:gd name="T16" fmla="*/ 48 w 88"/>
                  <a:gd name="T17" fmla="*/ 0 h 86"/>
                  <a:gd name="T18" fmla="*/ 48 w 88"/>
                  <a:gd name="T19" fmla="*/ 4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6">
                    <a:moveTo>
                      <a:pt x="39" y="46"/>
                    </a:moveTo>
                    <a:cubicBezTo>
                      <a:pt x="79" y="46"/>
                      <a:pt x="79" y="46"/>
                      <a:pt x="79" y="46"/>
                    </a:cubicBezTo>
                    <a:cubicBezTo>
                      <a:pt x="79" y="68"/>
                      <a:pt x="61" y="86"/>
                      <a:pt x="39" y="86"/>
                    </a:cubicBezTo>
                    <a:cubicBezTo>
                      <a:pt x="18" y="86"/>
                      <a:pt x="0" y="68"/>
                      <a:pt x="0" y="46"/>
                    </a:cubicBezTo>
                    <a:cubicBezTo>
                      <a:pt x="0" y="25"/>
                      <a:pt x="18" y="7"/>
                      <a:pt x="39" y="7"/>
                    </a:cubicBezTo>
                    <a:lnTo>
                      <a:pt x="39" y="46"/>
                    </a:lnTo>
                    <a:close/>
                    <a:moveTo>
                      <a:pt x="48" y="40"/>
                    </a:moveTo>
                    <a:cubicBezTo>
                      <a:pt x="88" y="40"/>
                      <a:pt x="88" y="40"/>
                      <a:pt x="88" y="40"/>
                    </a:cubicBezTo>
                    <a:cubicBezTo>
                      <a:pt x="88" y="18"/>
                      <a:pt x="70" y="0"/>
                      <a:pt x="48" y="0"/>
                    </a:cubicBezTo>
                    <a:lnTo>
                      <a:pt x="48" y="40"/>
                    </a:lnTo>
                    <a:close/>
                  </a:path>
                </a:pathLst>
              </a:custGeom>
              <a:solidFill>
                <a:srgbClr val="442359"/>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317" name="Freeform 346"/>
              <p:cNvSpPr>
                <a:spLocks noChangeAspect="1" noEditPoints="1"/>
              </p:cNvSpPr>
              <p:nvPr/>
            </p:nvSpPr>
            <p:spPr bwMode="auto">
              <a:xfrm>
                <a:off x="10935954" y="2386132"/>
                <a:ext cx="907175" cy="518067"/>
              </a:xfrm>
              <a:custGeom>
                <a:avLst/>
                <a:gdLst>
                  <a:gd name="T0" fmla="*/ 0 w 319"/>
                  <a:gd name="T1" fmla="*/ 122 h 198"/>
                  <a:gd name="T2" fmla="*/ 50 w 319"/>
                  <a:gd name="T3" fmla="*/ 122 h 198"/>
                  <a:gd name="T4" fmla="*/ 50 w 319"/>
                  <a:gd name="T5" fmla="*/ 198 h 198"/>
                  <a:gd name="T6" fmla="*/ 0 w 319"/>
                  <a:gd name="T7" fmla="*/ 198 h 198"/>
                  <a:gd name="T8" fmla="*/ 0 w 319"/>
                  <a:gd name="T9" fmla="*/ 122 h 198"/>
                  <a:gd name="T10" fmla="*/ 69 w 319"/>
                  <a:gd name="T11" fmla="*/ 198 h 198"/>
                  <a:gd name="T12" fmla="*/ 119 w 319"/>
                  <a:gd name="T13" fmla="*/ 198 h 198"/>
                  <a:gd name="T14" fmla="*/ 119 w 319"/>
                  <a:gd name="T15" fmla="*/ 28 h 198"/>
                  <a:gd name="T16" fmla="*/ 69 w 319"/>
                  <a:gd name="T17" fmla="*/ 28 h 198"/>
                  <a:gd name="T18" fmla="*/ 69 w 319"/>
                  <a:gd name="T19" fmla="*/ 198 h 198"/>
                  <a:gd name="T20" fmla="*/ 135 w 319"/>
                  <a:gd name="T21" fmla="*/ 198 h 198"/>
                  <a:gd name="T22" fmla="*/ 185 w 319"/>
                  <a:gd name="T23" fmla="*/ 198 h 198"/>
                  <a:gd name="T24" fmla="*/ 185 w 319"/>
                  <a:gd name="T25" fmla="*/ 59 h 198"/>
                  <a:gd name="T26" fmla="*/ 135 w 319"/>
                  <a:gd name="T27" fmla="*/ 59 h 198"/>
                  <a:gd name="T28" fmla="*/ 135 w 319"/>
                  <a:gd name="T29" fmla="*/ 198 h 198"/>
                  <a:gd name="T30" fmla="*/ 201 w 319"/>
                  <a:gd name="T31" fmla="*/ 198 h 198"/>
                  <a:gd name="T32" fmla="*/ 251 w 319"/>
                  <a:gd name="T33" fmla="*/ 198 h 198"/>
                  <a:gd name="T34" fmla="*/ 251 w 319"/>
                  <a:gd name="T35" fmla="*/ 151 h 198"/>
                  <a:gd name="T36" fmla="*/ 201 w 319"/>
                  <a:gd name="T37" fmla="*/ 151 h 198"/>
                  <a:gd name="T38" fmla="*/ 201 w 319"/>
                  <a:gd name="T39" fmla="*/ 198 h 198"/>
                  <a:gd name="T40" fmla="*/ 270 w 319"/>
                  <a:gd name="T41" fmla="*/ 198 h 198"/>
                  <a:gd name="T42" fmla="*/ 319 w 319"/>
                  <a:gd name="T43" fmla="*/ 198 h 198"/>
                  <a:gd name="T44" fmla="*/ 319 w 319"/>
                  <a:gd name="T45" fmla="*/ 0 h 198"/>
                  <a:gd name="T46" fmla="*/ 270 w 319"/>
                  <a:gd name="T47" fmla="*/ 0 h 198"/>
                  <a:gd name="T48" fmla="*/ 270 w 319"/>
                  <a:gd name="T4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198">
                    <a:moveTo>
                      <a:pt x="0" y="122"/>
                    </a:moveTo>
                    <a:lnTo>
                      <a:pt x="50" y="122"/>
                    </a:lnTo>
                    <a:lnTo>
                      <a:pt x="50" y="198"/>
                    </a:lnTo>
                    <a:lnTo>
                      <a:pt x="0" y="198"/>
                    </a:lnTo>
                    <a:lnTo>
                      <a:pt x="0" y="122"/>
                    </a:lnTo>
                    <a:close/>
                    <a:moveTo>
                      <a:pt x="69" y="198"/>
                    </a:moveTo>
                    <a:lnTo>
                      <a:pt x="119" y="198"/>
                    </a:lnTo>
                    <a:lnTo>
                      <a:pt x="119" y="28"/>
                    </a:lnTo>
                    <a:lnTo>
                      <a:pt x="69" y="28"/>
                    </a:lnTo>
                    <a:lnTo>
                      <a:pt x="69" y="198"/>
                    </a:lnTo>
                    <a:close/>
                    <a:moveTo>
                      <a:pt x="135" y="198"/>
                    </a:moveTo>
                    <a:lnTo>
                      <a:pt x="185" y="198"/>
                    </a:lnTo>
                    <a:lnTo>
                      <a:pt x="185" y="59"/>
                    </a:lnTo>
                    <a:lnTo>
                      <a:pt x="135" y="59"/>
                    </a:lnTo>
                    <a:lnTo>
                      <a:pt x="135" y="198"/>
                    </a:lnTo>
                    <a:close/>
                    <a:moveTo>
                      <a:pt x="201" y="198"/>
                    </a:moveTo>
                    <a:lnTo>
                      <a:pt x="251" y="198"/>
                    </a:lnTo>
                    <a:lnTo>
                      <a:pt x="251" y="151"/>
                    </a:lnTo>
                    <a:lnTo>
                      <a:pt x="201" y="151"/>
                    </a:lnTo>
                    <a:lnTo>
                      <a:pt x="201" y="198"/>
                    </a:lnTo>
                    <a:close/>
                    <a:moveTo>
                      <a:pt x="270" y="198"/>
                    </a:moveTo>
                    <a:lnTo>
                      <a:pt x="319" y="198"/>
                    </a:lnTo>
                    <a:lnTo>
                      <a:pt x="319" y="0"/>
                    </a:lnTo>
                    <a:lnTo>
                      <a:pt x="270" y="0"/>
                    </a:lnTo>
                    <a:lnTo>
                      <a:pt x="270" y="198"/>
                    </a:lnTo>
                    <a:close/>
                  </a:path>
                </a:pathLst>
              </a:custGeom>
              <a:solidFill>
                <a:srgbClr val="442359"/>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pic>
            <p:nvPicPr>
              <p:cNvPr id="318" name="Picture 31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03449" y="3134449"/>
                <a:ext cx="1200150" cy="800100"/>
              </a:xfrm>
              <a:prstGeom prst="rect">
                <a:avLst/>
              </a:prstGeom>
            </p:spPr>
          </p:pic>
        </p:grpSp>
      </p:grpSp>
      <p:grpSp>
        <p:nvGrpSpPr>
          <p:cNvPr id="319" name="Group 318"/>
          <p:cNvGrpSpPr/>
          <p:nvPr/>
        </p:nvGrpSpPr>
        <p:grpSpPr>
          <a:xfrm>
            <a:off x="6566935" y="2628156"/>
            <a:ext cx="1485441" cy="1220065"/>
            <a:chOff x="6256176" y="2306639"/>
            <a:chExt cx="1485441" cy="1220065"/>
          </a:xfrm>
        </p:grpSpPr>
        <p:grpSp>
          <p:nvGrpSpPr>
            <p:cNvPr id="320" name="Group 319"/>
            <p:cNvGrpSpPr/>
            <p:nvPr/>
          </p:nvGrpSpPr>
          <p:grpSpPr>
            <a:xfrm>
              <a:off x="6548441" y="2306639"/>
              <a:ext cx="687881" cy="1031680"/>
              <a:chOff x="6548441" y="2306639"/>
              <a:chExt cx="687881" cy="1031680"/>
            </a:xfrm>
          </p:grpSpPr>
          <p:pic>
            <p:nvPicPr>
              <p:cNvPr id="322" name="Picture 32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11993" y="2306639"/>
                <a:ext cx="524329" cy="1031680"/>
              </a:xfrm>
              <a:prstGeom prst="rect">
                <a:avLst/>
              </a:prstGeom>
            </p:spPr>
          </p:pic>
          <p:sp>
            <p:nvSpPr>
              <p:cNvPr id="323" name="Freeform 322"/>
              <p:cNvSpPr>
                <a:spLocks noEditPoints="1"/>
              </p:cNvSpPr>
              <p:nvPr/>
            </p:nvSpPr>
            <p:spPr bwMode="auto">
              <a:xfrm rot="935770">
                <a:off x="6548441" y="2559006"/>
                <a:ext cx="323139" cy="367911"/>
              </a:xfrm>
              <a:custGeom>
                <a:avLst/>
                <a:gdLst>
                  <a:gd name="T0" fmla="*/ 306 w 334"/>
                  <a:gd name="T1" fmla="*/ 195 h 466"/>
                  <a:gd name="T2" fmla="*/ 306 w 334"/>
                  <a:gd name="T3" fmla="*/ 174 h 466"/>
                  <a:gd name="T4" fmla="*/ 306 w 334"/>
                  <a:gd name="T5" fmla="*/ 160 h 466"/>
                  <a:gd name="T6" fmla="*/ 278 w 334"/>
                  <a:gd name="T7" fmla="*/ 35 h 466"/>
                  <a:gd name="T8" fmla="*/ 174 w 334"/>
                  <a:gd name="T9" fmla="*/ 0 h 466"/>
                  <a:gd name="T10" fmla="*/ 62 w 334"/>
                  <a:gd name="T11" fmla="*/ 35 h 466"/>
                  <a:gd name="T12" fmla="*/ 34 w 334"/>
                  <a:gd name="T13" fmla="*/ 160 h 466"/>
                  <a:gd name="T14" fmla="*/ 34 w 334"/>
                  <a:gd name="T15" fmla="*/ 174 h 466"/>
                  <a:gd name="T16" fmla="*/ 34 w 334"/>
                  <a:gd name="T17" fmla="*/ 188 h 466"/>
                  <a:gd name="T18" fmla="*/ 0 w 334"/>
                  <a:gd name="T19" fmla="*/ 223 h 466"/>
                  <a:gd name="T20" fmla="*/ 0 w 334"/>
                  <a:gd name="T21" fmla="*/ 431 h 466"/>
                  <a:gd name="T22" fmla="*/ 41 w 334"/>
                  <a:gd name="T23" fmla="*/ 466 h 466"/>
                  <a:gd name="T24" fmla="*/ 299 w 334"/>
                  <a:gd name="T25" fmla="*/ 466 h 466"/>
                  <a:gd name="T26" fmla="*/ 334 w 334"/>
                  <a:gd name="T27" fmla="*/ 431 h 466"/>
                  <a:gd name="T28" fmla="*/ 334 w 334"/>
                  <a:gd name="T29" fmla="*/ 223 h 466"/>
                  <a:gd name="T30" fmla="*/ 306 w 334"/>
                  <a:gd name="T31" fmla="*/ 195 h 466"/>
                  <a:gd name="T32" fmla="*/ 243 w 334"/>
                  <a:gd name="T33" fmla="*/ 174 h 466"/>
                  <a:gd name="T34" fmla="*/ 243 w 334"/>
                  <a:gd name="T35" fmla="*/ 188 h 466"/>
                  <a:gd name="T36" fmla="*/ 97 w 334"/>
                  <a:gd name="T37" fmla="*/ 188 h 466"/>
                  <a:gd name="T38" fmla="*/ 97 w 334"/>
                  <a:gd name="T39" fmla="*/ 174 h 466"/>
                  <a:gd name="T40" fmla="*/ 97 w 334"/>
                  <a:gd name="T41" fmla="*/ 153 h 466"/>
                  <a:gd name="T42" fmla="*/ 111 w 334"/>
                  <a:gd name="T43" fmla="*/ 84 h 466"/>
                  <a:gd name="T44" fmla="*/ 174 w 334"/>
                  <a:gd name="T45" fmla="*/ 70 h 466"/>
                  <a:gd name="T46" fmla="*/ 229 w 334"/>
                  <a:gd name="T47" fmla="*/ 84 h 466"/>
                  <a:gd name="T48" fmla="*/ 243 w 334"/>
                  <a:gd name="T49" fmla="*/ 160 h 466"/>
                  <a:gd name="T50" fmla="*/ 243 w 334"/>
                  <a:gd name="T51" fmla="*/ 174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4" h="466">
                    <a:moveTo>
                      <a:pt x="306" y="195"/>
                    </a:moveTo>
                    <a:cubicBezTo>
                      <a:pt x="306" y="188"/>
                      <a:pt x="306" y="181"/>
                      <a:pt x="306" y="174"/>
                    </a:cubicBezTo>
                    <a:cubicBezTo>
                      <a:pt x="306" y="160"/>
                      <a:pt x="306" y="160"/>
                      <a:pt x="306" y="160"/>
                    </a:cubicBezTo>
                    <a:cubicBezTo>
                      <a:pt x="306" y="112"/>
                      <a:pt x="306" y="70"/>
                      <a:pt x="278" y="35"/>
                    </a:cubicBezTo>
                    <a:cubicBezTo>
                      <a:pt x="257" y="14"/>
                      <a:pt x="222" y="0"/>
                      <a:pt x="174" y="0"/>
                    </a:cubicBezTo>
                    <a:cubicBezTo>
                      <a:pt x="118" y="0"/>
                      <a:pt x="83" y="14"/>
                      <a:pt x="62" y="35"/>
                    </a:cubicBezTo>
                    <a:cubicBezTo>
                      <a:pt x="34" y="70"/>
                      <a:pt x="34" y="112"/>
                      <a:pt x="34" y="160"/>
                    </a:cubicBezTo>
                    <a:cubicBezTo>
                      <a:pt x="34" y="174"/>
                      <a:pt x="34" y="174"/>
                      <a:pt x="34" y="174"/>
                    </a:cubicBezTo>
                    <a:cubicBezTo>
                      <a:pt x="34" y="181"/>
                      <a:pt x="34" y="188"/>
                      <a:pt x="34" y="188"/>
                    </a:cubicBezTo>
                    <a:cubicBezTo>
                      <a:pt x="13" y="195"/>
                      <a:pt x="0" y="209"/>
                      <a:pt x="0" y="223"/>
                    </a:cubicBezTo>
                    <a:cubicBezTo>
                      <a:pt x="0" y="431"/>
                      <a:pt x="0" y="431"/>
                      <a:pt x="0" y="431"/>
                    </a:cubicBezTo>
                    <a:cubicBezTo>
                      <a:pt x="0" y="452"/>
                      <a:pt x="20" y="466"/>
                      <a:pt x="41" y="466"/>
                    </a:cubicBezTo>
                    <a:cubicBezTo>
                      <a:pt x="299" y="466"/>
                      <a:pt x="299" y="466"/>
                      <a:pt x="299" y="466"/>
                    </a:cubicBezTo>
                    <a:cubicBezTo>
                      <a:pt x="320" y="466"/>
                      <a:pt x="334" y="452"/>
                      <a:pt x="334" y="431"/>
                    </a:cubicBezTo>
                    <a:cubicBezTo>
                      <a:pt x="334" y="223"/>
                      <a:pt x="334" y="223"/>
                      <a:pt x="334" y="223"/>
                    </a:cubicBezTo>
                    <a:cubicBezTo>
                      <a:pt x="334" y="209"/>
                      <a:pt x="320" y="195"/>
                      <a:pt x="306" y="195"/>
                    </a:cubicBezTo>
                    <a:close/>
                    <a:moveTo>
                      <a:pt x="243" y="174"/>
                    </a:moveTo>
                    <a:cubicBezTo>
                      <a:pt x="243" y="181"/>
                      <a:pt x="243" y="188"/>
                      <a:pt x="243" y="188"/>
                    </a:cubicBezTo>
                    <a:cubicBezTo>
                      <a:pt x="97" y="188"/>
                      <a:pt x="97" y="188"/>
                      <a:pt x="97" y="188"/>
                    </a:cubicBezTo>
                    <a:cubicBezTo>
                      <a:pt x="97" y="188"/>
                      <a:pt x="97" y="181"/>
                      <a:pt x="97" y="174"/>
                    </a:cubicBezTo>
                    <a:cubicBezTo>
                      <a:pt x="97" y="153"/>
                      <a:pt x="97" y="153"/>
                      <a:pt x="97" y="153"/>
                    </a:cubicBezTo>
                    <a:cubicBezTo>
                      <a:pt x="97" y="118"/>
                      <a:pt x="97" y="91"/>
                      <a:pt x="111" y="84"/>
                    </a:cubicBezTo>
                    <a:cubicBezTo>
                      <a:pt x="118" y="70"/>
                      <a:pt x="139" y="70"/>
                      <a:pt x="174" y="70"/>
                    </a:cubicBezTo>
                    <a:cubicBezTo>
                      <a:pt x="201" y="70"/>
                      <a:pt x="222" y="70"/>
                      <a:pt x="229" y="84"/>
                    </a:cubicBezTo>
                    <a:cubicBezTo>
                      <a:pt x="243" y="91"/>
                      <a:pt x="243" y="125"/>
                      <a:pt x="243" y="160"/>
                    </a:cubicBezTo>
                    <a:cubicBezTo>
                      <a:pt x="243" y="174"/>
                      <a:pt x="243" y="174"/>
                      <a:pt x="243" y="174"/>
                    </a:cubicBezTo>
                    <a:close/>
                  </a:path>
                </a:pathLst>
              </a:custGeom>
              <a:solidFill>
                <a:srgbClr val="FF8C00"/>
              </a:solidFill>
              <a:ln>
                <a:noFill/>
              </a:ln>
            </p:spPr>
            <p:txBody>
              <a:bodyPr vert="horz" wrap="square" lIns="89619" tIns="44810" rIns="89619" bIns="44810"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smtClean="0">
                  <a:ln>
                    <a:noFill/>
                  </a:ln>
                  <a:solidFill>
                    <a:srgbClr val="505050"/>
                  </a:solidFill>
                  <a:effectLst/>
                  <a:uLnTx/>
                  <a:uFillTx/>
                </a:endParaRPr>
              </a:p>
            </p:txBody>
          </p:sp>
        </p:grpSp>
        <p:sp>
          <p:nvSpPr>
            <p:cNvPr id="321" name="Rectangle 320"/>
            <p:cNvSpPr/>
            <p:nvPr/>
          </p:nvSpPr>
          <p:spPr>
            <a:xfrm>
              <a:off x="6256176" y="3338319"/>
              <a:ext cx="1485441" cy="188385"/>
            </a:xfrm>
            <a:prstGeom prst="rect">
              <a:avLst/>
            </a:prstGeom>
            <a:noFill/>
            <a:ln>
              <a:noFill/>
            </a:ln>
          </p:spPr>
          <p:txBody>
            <a:bodyPr wrap="square" lIns="0" tIns="0" rIns="0" bIns="0" anchor="ctr">
              <a:spAutoFit/>
            </a:bodyPr>
            <a:lstStyle/>
            <a:p>
              <a:pPr marL="0" marR="0" lvl="0" indent="0" algn="ctr" defTabSz="1118323" eaLnBrk="1" fontAlgn="base" latinLnBrk="0" hangingPunct="1">
                <a:lnSpc>
                  <a:spcPct val="100000"/>
                </a:lnSpc>
                <a:spcBef>
                  <a:spcPts val="0"/>
                </a:spcBef>
                <a:spcAft>
                  <a:spcPct val="0"/>
                </a:spcAft>
                <a:buClrTx/>
                <a:buSzTx/>
                <a:buFontTx/>
                <a:buNone/>
                <a:tabLst/>
                <a:defRPr/>
              </a:pPr>
              <a:r>
                <a:rPr kumimoji="0" lang="en-US" sz="1224" b="0" i="0" u="none" strike="noStrike" kern="0" cap="none" spc="0" normalizeH="0" baseline="0" noProof="0" dirty="0" smtClean="0">
                  <a:ln>
                    <a:solidFill>
                      <a:srgbClr val="FFFFFF">
                        <a:alpha val="0"/>
                      </a:srgbClr>
                    </a:solidFill>
                  </a:ln>
                  <a:solidFill>
                    <a:srgbClr val="FF8C00"/>
                  </a:solidFill>
                  <a:effectLst/>
                  <a:uLnTx/>
                  <a:uFillTx/>
                  <a:latin typeface="Segoe"/>
                </a:rPr>
                <a:t>RD Gateway</a:t>
              </a:r>
            </a:p>
          </p:txBody>
        </p:sp>
      </p:grpSp>
      <p:grpSp>
        <p:nvGrpSpPr>
          <p:cNvPr id="324" name="Group 323"/>
          <p:cNvGrpSpPr/>
          <p:nvPr/>
        </p:nvGrpSpPr>
        <p:grpSpPr>
          <a:xfrm>
            <a:off x="6561843" y="4293173"/>
            <a:ext cx="1314450" cy="1254125"/>
            <a:chOff x="6660837" y="3731108"/>
            <a:chExt cx="1314450" cy="1254125"/>
          </a:xfrm>
        </p:grpSpPr>
        <p:sp>
          <p:nvSpPr>
            <p:cNvPr id="325" name="Rectangle 324"/>
            <p:cNvSpPr/>
            <p:nvPr/>
          </p:nvSpPr>
          <p:spPr>
            <a:xfrm>
              <a:off x="6956450" y="4158115"/>
              <a:ext cx="708675" cy="400110"/>
            </a:xfrm>
            <a:prstGeom prst="rect">
              <a:avLst/>
            </a:prstGeom>
            <a:noFill/>
            <a:ln>
              <a:noFill/>
            </a:ln>
          </p:spPr>
          <p:txBody>
            <a:bodyPr wrap="square" lIns="0" tIns="0" rIns="0" bIns="0" anchor="ctr">
              <a:spAutoFit/>
            </a:bodyPr>
            <a:lstStyle/>
            <a:p>
              <a:pPr marL="0" marR="0" lvl="0" indent="0" algn="ctr" defTabSz="1118538" eaLnBrk="1" fontAlgn="base" latinLnBrk="0" hangingPunct="1">
                <a:lnSpc>
                  <a:spcPct val="100000"/>
                </a:lnSpc>
                <a:spcBef>
                  <a:spcPts val="0"/>
                </a:spcBef>
                <a:spcAft>
                  <a:spcPct val="0"/>
                </a:spcAft>
                <a:buClrTx/>
                <a:buSzTx/>
                <a:buFontTx/>
                <a:buNone/>
                <a:tabLst/>
                <a:defRPr/>
              </a:pPr>
              <a:r>
                <a:rPr kumimoji="0" lang="en-US" sz="1300" b="0" i="0" u="none" strike="noStrike" kern="0" cap="none" spc="0" normalizeH="0" baseline="0" noProof="0" dirty="0" smtClean="0">
                  <a:ln>
                    <a:solidFill>
                      <a:srgbClr val="FFFFFF">
                        <a:alpha val="0"/>
                      </a:srgbClr>
                    </a:solidFill>
                  </a:ln>
                  <a:solidFill>
                    <a:srgbClr val="FF8C00"/>
                  </a:solidFill>
                  <a:effectLst/>
                  <a:uLnTx/>
                  <a:uFillTx/>
                  <a:latin typeface="Segoe"/>
                </a:rPr>
                <a:t>Access</a:t>
              </a:r>
            </a:p>
            <a:p>
              <a:pPr marL="0" marR="0" lvl="0" indent="0" algn="ctr" defTabSz="1118538" eaLnBrk="1" fontAlgn="base" latinLnBrk="0" hangingPunct="1">
                <a:lnSpc>
                  <a:spcPct val="100000"/>
                </a:lnSpc>
                <a:spcBef>
                  <a:spcPts val="0"/>
                </a:spcBef>
                <a:spcAft>
                  <a:spcPct val="0"/>
                </a:spcAft>
                <a:buClrTx/>
                <a:buSzTx/>
                <a:buFontTx/>
                <a:buNone/>
                <a:tabLst/>
                <a:defRPr/>
              </a:pPr>
              <a:r>
                <a:rPr kumimoji="0" lang="en-US" sz="1300" b="0" i="0" u="none" strike="noStrike" kern="0" cap="none" spc="0" normalizeH="0" baseline="0" noProof="0" dirty="0" smtClean="0">
                  <a:ln>
                    <a:solidFill>
                      <a:srgbClr val="FFFFFF">
                        <a:alpha val="0"/>
                      </a:srgbClr>
                    </a:solidFill>
                  </a:ln>
                  <a:solidFill>
                    <a:srgbClr val="FF8C00"/>
                  </a:solidFill>
                  <a:effectLst/>
                  <a:uLnTx/>
                  <a:uFillTx/>
                  <a:latin typeface="Segoe"/>
                </a:rPr>
                <a:t>Policy</a:t>
              </a:r>
            </a:p>
          </p:txBody>
        </p:sp>
        <p:sp>
          <p:nvSpPr>
            <p:cNvPr id="326" name="Freeform 33"/>
            <p:cNvSpPr>
              <a:spLocks noEditPoints="1"/>
            </p:cNvSpPr>
            <p:nvPr/>
          </p:nvSpPr>
          <p:spPr bwMode="auto">
            <a:xfrm>
              <a:off x="6660837" y="3731108"/>
              <a:ext cx="1314450" cy="1254125"/>
            </a:xfrm>
            <a:custGeom>
              <a:avLst/>
              <a:gdLst>
                <a:gd name="T0" fmla="*/ 437 w 785"/>
                <a:gd name="T1" fmla="*/ 749 h 749"/>
                <a:gd name="T2" fmla="*/ 123 w 785"/>
                <a:gd name="T3" fmla="*/ 392 h 749"/>
                <a:gd name="T4" fmla="*/ 34 w 785"/>
                <a:gd name="T5" fmla="*/ 392 h 749"/>
                <a:gd name="T6" fmla="*/ 348 w 785"/>
                <a:gd name="T7" fmla="*/ 749 h 749"/>
                <a:gd name="T8" fmla="*/ 437 w 785"/>
                <a:gd name="T9" fmla="*/ 749 h 749"/>
                <a:gd name="T10" fmla="*/ 741 w 785"/>
                <a:gd name="T11" fmla="*/ 481 h 749"/>
                <a:gd name="T12" fmla="*/ 785 w 785"/>
                <a:gd name="T13" fmla="*/ 481 h 749"/>
                <a:gd name="T14" fmla="*/ 706 w 785"/>
                <a:gd name="T15" fmla="*/ 392 h 749"/>
                <a:gd name="T16" fmla="*/ 607 w 785"/>
                <a:gd name="T17" fmla="*/ 481 h 749"/>
                <a:gd name="T18" fmla="*/ 652 w 785"/>
                <a:gd name="T19" fmla="*/ 481 h 749"/>
                <a:gd name="T20" fmla="*/ 392 w 785"/>
                <a:gd name="T21" fmla="*/ 745 h 749"/>
                <a:gd name="T22" fmla="*/ 348 w 785"/>
                <a:gd name="T23" fmla="*/ 0 h 749"/>
                <a:gd name="T24" fmla="*/ 661 w 785"/>
                <a:gd name="T25" fmla="*/ 355 h 749"/>
                <a:gd name="T26" fmla="*/ 750 w 785"/>
                <a:gd name="T27" fmla="*/ 355 h 749"/>
                <a:gd name="T28" fmla="*/ 437 w 785"/>
                <a:gd name="T29" fmla="*/ 0 h 749"/>
                <a:gd name="T30" fmla="*/ 348 w 785"/>
                <a:gd name="T31" fmla="*/ 0 h 749"/>
                <a:gd name="T32" fmla="*/ 44 w 785"/>
                <a:gd name="T33" fmla="*/ 266 h 749"/>
                <a:gd name="T34" fmla="*/ 0 w 785"/>
                <a:gd name="T35" fmla="*/ 266 h 749"/>
                <a:gd name="T36" fmla="*/ 79 w 785"/>
                <a:gd name="T37" fmla="*/ 355 h 749"/>
                <a:gd name="T38" fmla="*/ 177 w 785"/>
                <a:gd name="T39" fmla="*/ 266 h 749"/>
                <a:gd name="T40" fmla="*/ 133 w 785"/>
                <a:gd name="T41" fmla="*/ 266 h 749"/>
                <a:gd name="T42" fmla="*/ 392 w 785"/>
                <a:gd name="T43" fmla="*/ 3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5" h="749">
                  <a:moveTo>
                    <a:pt x="437" y="749"/>
                  </a:moveTo>
                  <a:cubicBezTo>
                    <a:pt x="263" y="749"/>
                    <a:pt x="123" y="589"/>
                    <a:pt x="123" y="392"/>
                  </a:cubicBezTo>
                  <a:cubicBezTo>
                    <a:pt x="34" y="392"/>
                    <a:pt x="34" y="392"/>
                    <a:pt x="34" y="392"/>
                  </a:cubicBezTo>
                  <a:cubicBezTo>
                    <a:pt x="34" y="589"/>
                    <a:pt x="174" y="749"/>
                    <a:pt x="348" y="749"/>
                  </a:cubicBezTo>
                  <a:cubicBezTo>
                    <a:pt x="437" y="749"/>
                    <a:pt x="437" y="749"/>
                    <a:pt x="437" y="749"/>
                  </a:cubicBezTo>
                  <a:cubicBezTo>
                    <a:pt x="580" y="749"/>
                    <a:pt x="705" y="639"/>
                    <a:pt x="741" y="481"/>
                  </a:cubicBezTo>
                  <a:cubicBezTo>
                    <a:pt x="785" y="481"/>
                    <a:pt x="785" y="481"/>
                    <a:pt x="785" y="481"/>
                  </a:cubicBezTo>
                  <a:cubicBezTo>
                    <a:pt x="706" y="392"/>
                    <a:pt x="706" y="392"/>
                    <a:pt x="706" y="392"/>
                  </a:cubicBezTo>
                  <a:cubicBezTo>
                    <a:pt x="607" y="481"/>
                    <a:pt x="607" y="481"/>
                    <a:pt x="607" y="481"/>
                  </a:cubicBezTo>
                  <a:cubicBezTo>
                    <a:pt x="652" y="481"/>
                    <a:pt x="652" y="481"/>
                    <a:pt x="652" y="481"/>
                  </a:cubicBezTo>
                  <a:cubicBezTo>
                    <a:pt x="620" y="621"/>
                    <a:pt x="518" y="725"/>
                    <a:pt x="392" y="745"/>
                  </a:cubicBezTo>
                  <a:moveTo>
                    <a:pt x="348" y="0"/>
                  </a:moveTo>
                  <a:cubicBezTo>
                    <a:pt x="521" y="0"/>
                    <a:pt x="661" y="159"/>
                    <a:pt x="661" y="355"/>
                  </a:cubicBezTo>
                  <a:cubicBezTo>
                    <a:pt x="750" y="355"/>
                    <a:pt x="750" y="355"/>
                    <a:pt x="750" y="355"/>
                  </a:cubicBezTo>
                  <a:cubicBezTo>
                    <a:pt x="750" y="159"/>
                    <a:pt x="610" y="0"/>
                    <a:pt x="437" y="0"/>
                  </a:cubicBezTo>
                  <a:cubicBezTo>
                    <a:pt x="348" y="0"/>
                    <a:pt x="348" y="0"/>
                    <a:pt x="348" y="0"/>
                  </a:cubicBezTo>
                  <a:cubicBezTo>
                    <a:pt x="205" y="0"/>
                    <a:pt x="80" y="109"/>
                    <a:pt x="44" y="266"/>
                  </a:cubicBezTo>
                  <a:cubicBezTo>
                    <a:pt x="0" y="266"/>
                    <a:pt x="0" y="266"/>
                    <a:pt x="0" y="266"/>
                  </a:cubicBezTo>
                  <a:cubicBezTo>
                    <a:pt x="79" y="355"/>
                    <a:pt x="79" y="355"/>
                    <a:pt x="79" y="355"/>
                  </a:cubicBezTo>
                  <a:cubicBezTo>
                    <a:pt x="177" y="266"/>
                    <a:pt x="177" y="266"/>
                    <a:pt x="177" y="266"/>
                  </a:cubicBezTo>
                  <a:cubicBezTo>
                    <a:pt x="133" y="266"/>
                    <a:pt x="133" y="266"/>
                    <a:pt x="133" y="266"/>
                  </a:cubicBezTo>
                  <a:cubicBezTo>
                    <a:pt x="165" y="127"/>
                    <a:pt x="267" y="24"/>
                    <a:pt x="392" y="3"/>
                  </a:cubicBezTo>
                </a:path>
              </a:pathLst>
            </a:custGeom>
            <a:noFill/>
            <a:ln w="19050" cap="flat">
              <a:solidFill>
                <a:srgbClr val="FF8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grpSp>
        <p:nvGrpSpPr>
          <p:cNvPr id="3" name="Group 2"/>
          <p:cNvGrpSpPr/>
          <p:nvPr/>
        </p:nvGrpSpPr>
        <p:grpSpPr>
          <a:xfrm>
            <a:off x="303494" y="2961533"/>
            <a:ext cx="2279167" cy="3283095"/>
            <a:chOff x="303494" y="2961533"/>
            <a:chExt cx="2279167" cy="3283095"/>
          </a:xfrm>
        </p:grpSpPr>
        <p:sp>
          <p:nvSpPr>
            <p:cNvPr id="306" name="Rectangle 305"/>
            <p:cNvSpPr/>
            <p:nvPr>
              <p:custDataLst>
                <p:tags r:id="rId4"/>
              </p:custDataLst>
            </p:nvPr>
          </p:nvSpPr>
          <p:spPr bwMode="auto">
            <a:xfrm>
              <a:off x="303494" y="4693434"/>
              <a:ext cx="2279167" cy="1551194"/>
            </a:xfrm>
            <a:prstGeom prst="rect">
              <a:avLst/>
            </a:prstGeom>
            <a:ln>
              <a:noFill/>
            </a:ln>
          </p:spPr>
          <p:txBody>
            <a:bodyPr vert="horz" wrap="square" lIns="0" tIns="0" rIns="0" bIns="0" rtlCol="0">
              <a:spAutoFit/>
            </a:bodyPr>
            <a:lstStyle/>
            <a:p>
              <a:pPr marL="0" marR="0" lvl="0" indent="0" defTabSz="914400" eaLnBrk="1" fontAlgn="auto" latinLnBrk="0" hangingPunct="1">
                <a:lnSpc>
                  <a:spcPct val="90000"/>
                </a:lnSpc>
                <a:spcBef>
                  <a:spcPts val="1200"/>
                </a:spcBef>
                <a:spcAft>
                  <a:spcPts val="0"/>
                </a:spcAft>
                <a:buClrTx/>
                <a:buSzTx/>
                <a:buFontTx/>
                <a:buNone/>
                <a:tabLst/>
                <a:defRPr/>
              </a:pPr>
              <a:r>
                <a:rPr kumimoji="0" lang="en-US" sz="1600" b="1" i="0" u="none" strike="noStrike" kern="0" cap="none" spc="-30" normalizeH="0" baseline="0" noProof="0" dirty="0" smtClean="0">
                  <a:ln>
                    <a:noFill/>
                  </a:ln>
                  <a:solidFill>
                    <a:srgbClr val="969696">
                      <a:lumMod val="50000"/>
                    </a:srgbClr>
                  </a:solidFill>
                  <a:effectLst/>
                  <a:uLnTx/>
                  <a:uFillTx/>
                </a:rPr>
                <a:t>Users</a:t>
              </a:r>
              <a:r>
                <a:rPr kumimoji="0" lang="en-US" sz="1600" b="0" i="0" u="none" strike="noStrike" kern="0" cap="none" spc="-30" normalizeH="0" baseline="0" noProof="0" dirty="0" smtClean="0">
                  <a:ln>
                    <a:noFill/>
                  </a:ln>
                  <a:solidFill>
                    <a:srgbClr val="969696">
                      <a:lumMod val="50000"/>
                    </a:srgbClr>
                  </a:solidFill>
                  <a:effectLst/>
                  <a:uLnTx/>
                  <a:uFillTx/>
                </a:rPr>
                <a:t> can access corporate data regardless of device or location with </a:t>
              </a:r>
              <a:r>
                <a:rPr kumimoji="0" lang="en-US" sz="1600" b="1" i="0" u="none" strike="noStrike" kern="0" cap="none" spc="-30" normalizeH="0" baseline="0" noProof="0" dirty="0" smtClean="0">
                  <a:ln>
                    <a:noFill/>
                  </a:ln>
                  <a:solidFill>
                    <a:srgbClr val="969696">
                      <a:lumMod val="50000"/>
                    </a:srgbClr>
                  </a:solidFill>
                  <a:effectLst/>
                  <a:uLnTx/>
                  <a:uFillTx/>
                </a:rPr>
                <a:t>Work Folders </a:t>
              </a:r>
              <a:r>
                <a:rPr kumimoji="0" lang="en-US" sz="1600" b="0" i="0" u="none" strike="noStrike" kern="0" cap="none" spc="-30" normalizeH="0" baseline="0" noProof="0" dirty="0" smtClean="0">
                  <a:ln>
                    <a:noFill/>
                  </a:ln>
                  <a:solidFill>
                    <a:srgbClr val="969696">
                      <a:lumMod val="50000"/>
                    </a:srgbClr>
                  </a:solidFill>
                  <a:effectLst/>
                  <a:uLnTx/>
                  <a:uFillTx/>
                </a:rPr>
                <a:t>for data sync and </a:t>
              </a:r>
              <a:r>
                <a:rPr kumimoji="0" lang="en-US" sz="1600" b="1" i="0" u="none" strike="noStrike" kern="0" cap="none" spc="-30" normalizeH="0" baseline="0" noProof="0" dirty="0" smtClean="0">
                  <a:ln>
                    <a:noFill/>
                  </a:ln>
                  <a:solidFill>
                    <a:srgbClr val="969696">
                      <a:lumMod val="50000"/>
                    </a:srgbClr>
                  </a:solidFill>
                  <a:effectLst/>
                  <a:uLnTx/>
                  <a:uFillTx/>
                </a:rPr>
                <a:t>desktop virtualization </a:t>
              </a:r>
              <a:r>
                <a:rPr kumimoji="0" lang="en-US" sz="1600" b="0" i="0" u="none" strike="noStrike" kern="0" cap="none" spc="-30" normalizeH="0" baseline="0" noProof="0" dirty="0" smtClean="0">
                  <a:ln>
                    <a:noFill/>
                  </a:ln>
                  <a:solidFill>
                    <a:srgbClr val="969696">
                      <a:lumMod val="50000"/>
                    </a:srgbClr>
                  </a:solidFill>
                  <a:effectLst/>
                  <a:uLnTx/>
                  <a:uFillTx/>
                </a:rPr>
                <a:t>for centralized applications.</a:t>
              </a:r>
            </a:p>
          </p:txBody>
        </p:sp>
        <p:sp>
          <p:nvSpPr>
            <p:cNvPr id="327" name="Freeform 5"/>
            <p:cNvSpPr>
              <a:spLocks noEditPoints="1"/>
            </p:cNvSpPr>
            <p:nvPr/>
          </p:nvSpPr>
          <p:spPr bwMode="auto">
            <a:xfrm>
              <a:off x="586806" y="2961533"/>
              <a:ext cx="1006476" cy="1514475"/>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rgbClr val="00188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grpSp>
        <p:nvGrpSpPr>
          <p:cNvPr id="342" name="Group 341"/>
          <p:cNvGrpSpPr/>
          <p:nvPr/>
        </p:nvGrpSpPr>
        <p:grpSpPr>
          <a:xfrm>
            <a:off x="9367918" y="3705291"/>
            <a:ext cx="2474025" cy="2402229"/>
            <a:chOff x="9466912" y="3143226"/>
            <a:chExt cx="2474025" cy="2402229"/>
          </a:xfrm>
        </p:grpSpPr>
        <p:sp>
          <p:nvSpPr>
            <p:cNvPr id="343" name="Oval 342"/>
            <p:cNvSpPr/>
            <p:nvPr/>
          </p:nvSpPr>
          <p:spPr bwMode="auto">
            <a:xfrm>
              <a:off x="9466912" y="3143226"/>
              <a:ext cx="2474025" cy="2402229"/>
            </a:xfrm>
            <a:prstGeom prst="ellipse">
              <a:avLst/>
            </a:prstGeom>
            <a:solidFill>
              <a:srgbClr val="FFFFFF"/>
            </a:solidFill>
            <a:ln w="57150" cap="flat" cmpd="sng" algn="ctr">
              <a:solidFill>
                <a:srgbClr val="3D5800"/>
              </a:solidFill>
              <a:prstDash val="solid"/>
              <a:headEnd type="none" w="med" len="med"/>
              <a:tailEnd type="none" w="med" len="med"/>
            </a:ln>
            <a:effectLst/>
          </p:spPr>
          <p:txBody>
            <a:bodyPr vert="horz" wrap="square" lIns="77695" tIns="38848" rIns="77695" bIns="38848" numCol="1" rtlCol="0" anchor="ctr" anchorCtr="0" compatLnSpc="1">
              <a:prstTxWarp prst="textNoShape">
                <a:avLst/>
              </a:prstTxWarp>
            </a:bodyPr>
            <a:lstStyle/>
            <a:p>
              <a:pPr marL="0" marR="0" lvl="0" indent="0" algn="ctr" defTabSz="776774" eaLnBrk="1" fontAlgn="base" latinLnBrk="0" hangingPunct="1">
                <a:lnSpc>
                  <a:spcPct val="90000"/>
                </a:lnSpc>
                <a:spcBef>
                  <a:spcPct val="0"/>
                </a:spcBef>
                <a:spcAft>
                  <a:spcPct val="0"/>
                </a:spcAft>
                <a:buClrTx/>
                <a:buSzTx/>
                <a:buFontTx/>
                <a:buNone/>
                <a:tabLst/>
                <a:defRPr/>
              </a:pPr>
              <a:endParaRPr kumimoji="0" lang="en-US" sz="1700" b="0" i="0" u="none" strike="noStrike" kern="0" cap="none" spc="-43" normalizeH="0" baseline="0" noProof="0" dirty="0">
                <a:ln>
                  <a:noFill/>
                </a:ln>
                <a:gradFill>
                  <a:gsLst>
                    <a:gs pos="0">
                      <a:srgbClr val="FFFFFF"/>
                    </a:gs>
                    <a:gs pos="100000">
                      <a:srgbClr val="FFFFFF"/>
                    </a:gs>
                  </a:gsLst>
                  <a:lin ang="5400000" scaled="0"/>
                </a:gradFill>
                <a:effectLst/>
                <a:uLnTx/>
                <a:uFillTx/>
              </a:endParaRPr>
            </a:p>
          </p:txBody>
        </p:sp>
        <p:sp>
          <p:nvSpPr>
            <p:cNvPr id="344" name="Rectangle 343"/>
            <p:cNvSpPr/>
            <p:nvPr/>
          </p:nvSpPr>
          <p:spPr>
            <a:xfrm>
              <a:off x="10737061" y="5082203"/>
              <a:ext cx="739685" cy="184666"/>
            </a:xfrm>
            <a:prstGeom prst="rect">
              <a:avLst/>
            </a:prstGeom>
            <a:noFill/>
            <a:ln>
              <a:noFill/>
            </a:ln>
          </p:spPr>
          <p:txBody>
            <a:bodyPr wrap="square" lIns="0" tIns="0" rIns="0" bIns="0" anchor="ctr">
              <a:spAutoFit/>
            </a:bodyPr>
            <a:lstStyle/>
            <a:p>
              <a:pPr marL="0" marR="0" lvl="0" indent="0" algn="ctr" defTabSz="1096503" eaLnBrk="1" fontAlgn="base" latinLnBrk="0" hangingPunct="1">
                <a:lnSpc>
                  <a:spcPct val="100000"/>
                </a:lnSpc>
                <a:spcBef>
                  <a:spcPts val="0"/>
                </a:spcBef>
                <a:spcAft>
                  <a:spcPct val="0"/>
                </a:spcAft>
                <a:buClrTx/>
                <a:buSzTx/>
                <a:buFontTx/>
                <a:buNone/>
                <a:tabLst/>
                <a:defRPr/>
              </a:pPr>
              <a:r>
                <a:rPr kumimoji="0" lang="en-US" sz="1200" b="0" i="0" u="none" strike="noStrike" kern="0" cap="none" spc="0" normalizeH="0" baseline="0" noProof="0" dirty="0" smtClean="0">
                  <a:ln>
                    <a:solidFill>
                      <a:srgbClr val="FFFFFF">
                        <a:alpha val="0"/>
                      </a:srgbClr>
                    </a:solidFill>
                  </a:ln>
                  <a:solidFill>
                    <a:srgbClr val="FF8C00"/>
                  </a:solidFill>
                  <a:effectLst/>
                  <a:uLnTx/>
                  <a:uFillTx/>
                  <a:latin typeface="Segoe"/>
                </a:rPr>
                <a:t>LOB Apps</a:t>
              </a:r>
            </a:p>
          </p:txBody>
        </p:sp>
        <p:sp>
          <p:nvSpPr>
            <p:cNvPr id="345" name="Rectangle 344"/>
            <p:cNvSpPr>
              <a:spLocks noChangeAspect="1"/>
            </p:cNvSpPr>
            <p:nvPr/>
          </p:nvSpPr>
          <p:spPr>
            <a:xfrm>
              <a:off x="9870408" y="5115557"/>
              <a:ext cx="913083" cy="184666"/>
            </a:xfrm>
            <a:prstGeom prst="rect">
              <a:avLst/>
            </a:prstGeom>
            <a:noFill/>
            <a:ln>
              <a:noFill/>
            </a:ln>
          </p:spPr>
          <p:txBody>
            <a:bodyPr wrap="square" lIns="0" tIns="0" rIns="0" bIns="0" anchor="ctr">
              <a:spAutoFit/>
            </a:bodyPr>
            <a:lstStyle/>
            <a:p>
              <a:pPr marL="0" marR="0" lvl="0" indent="0" algn="ctr" defTabSz="1096503" eaLnBrk="1" fontAlgn="base" latinLnBrk="0" hangingPunct="1">
                <a:lnSpc>
                  <a:spcPct val="100000"/>
                </a:lnSpc>
                <a:spcBef>
                  <a:spcPts val="0"/>
                </a:spcBef>
                <a:spcAft>
                  <a:spcPct val="0"/>
                </a:spcAft>
                <a:buClrTx/>
                <a:buSzTx/>
                <a:buFontTx/>
                <a:buNone/>
                <a:tabLst/>
                <a:defRPr/>
              </a:pPr>
              <a:r>
                <a:rPr kumimoji="0" lang="en-US" sz="1200" b="0" i="0" u="none" strike="noStrike" kern="0" cap="none" spc="0" normalizeH="0" baseline="0" noProof="0" dirty="0" smtClean="0">
                  <a:ln>
                    <a:solidFill>
                      <a:srgbClr val="FFFFFF">
                        <a:alpha val="0"/>
                      </a:srgbClr>
                    </a:solidFill>
                  </a:ln>
                  <a:solidFill>
                    <a:srgbClr val="FF8C00"/>
                  </a:solidFill>
                  <a:effectLst/>
                  <a:uLnTx/>
                  <a:uFillTx/>
                  <a:latin typeface="Segoe"/>
                </a:rPr>
                <a:t>Web Apps</a:t>
              </a:r>
            </a:p>
          </p:txBody>
        </p:sp>
        <p:sp>
          <p:nvSpPr>
            <p:cNvPr id="346" name="Freeform 31"/>
            <p:cNvSpPr>
              <a:spLocks noEditPoints="1"/>
            </p:cNvSpPr>
            <p:nvPr/>
          </p:nvSpPr>
          <p:spPr bwMode="auto">
            <a:xfrm>
              <a:off x="10018213" y="4526977"/>
              <a:ext cx="585344" cy="585345"/>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nvGrpSpPr>
            <p:cNvPr id="347" name="Group 346"/>
            <p:cNvGrpSpPr/>
            <p:nvPr/>
          </p:nvGrpSpPr>
          <p:grpSpPr>
            <a:xfrm>
              <a:off x="10737109" y="4566206"/>
              <a:ext cx="693681" cy="512594"/>
              <a:chOff x="8994204" y="5562326"/>
              <a:chExt cx="906017" cy="669499"/>
            </a:xfrm>
          </p:grpSpPr>
          <p:sp>
            <p:nvSpPr>
              <p:cNvPr id="366" name="Rectangle 36"/>
              <p:cNvSpPr>
                <a:spLocks noChangeArrowheads="1"/>
              </p:cNvSpPr>
              <p:nvPr/>
            </p:nvSpPr>
            <p:spPr bwMode="auto">
              <a:xfrm>
                <a:off x="8994204" y="5562326"/>
                <a:ext cx="906017" cy="669499"/>
              </a:xfrm>
              <a:prstGeom prst="rect">
                <a:avLst/>
              </a:prstGeom>
              <a:noFill/>
              <a:ln w="31750"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367" name="Freeform 37"/>
              <p:cNvSpPr>
                <a:spLocks noEditPoints="1"/>
              </p:cNvSpPr>
              <p:nvPr/>
            </p:nvSpPr>
            <p:spPr bwMode="auto">
              <a:xfrm>
                <a:off x="8994204" y="5669141"/>
                <a:ext cx="906017" cy="454916"/>
              </a:xfrm>
              <a:custGeom>
                <a:avLst/>
                <a:gdLst>
                  <a:gd name="T0" fmla="*/ 0 w 950"/>
                  <a:gd name="T1" fmla="*/ 102 h 477"/>
                  <a:gd name="T2" fmla="*/ 950 w 950"/>
                  <a:gd name="T3" fmla="*/ 102 h 477"/>
                  <a:gd name="T4" fmla="*/ 950 w 950"/>
                  <a:gd name="T5" fmla="*/ 225 h 477"/>
                  <a:gd name="T6" fmla="*/ 0 w 950"/>
                  <a:gd name="T7" fmla="*/ 225 h 477"/>
                  <a:gd name="T8" fmla="*/ 0 w 950"/>
                  <a:gd name="T9" fmla="*/ 354 h 477"/>
                  <a:gd name="T10" fmla="*/ 950 w 950"/>
                  <a:gd name="T11" fmla="*/ 354 h 477"/>
                  <a:gd name="T12" fmla="*/ 0 w 950"/>
                  <a:gd name="T13" fmla="*/ 477 h 477"/>
                  <a:gd name="T14" fmla="*/ 950 w 950"/>
                  <a:gd name="T15" fmla="*/ 477 h 477"/>
                  <a:gd name="T16" fmla="*/ 0 w 950"/>
                  <a:gd name="T17" fmla="*/ 0 h 477"/>
                  <a:gd name="T18" fmla="*/ 950 w 950"/>
                  <a:gd name="T19"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0" h="477">
                    <a:moveTo>
                      <a:pt x="0" y="102"/>
                    </a:moveTo>
                    <a:lnTo>
                      <a:pt x="950" y="102"/>
                    </a:lnTo>
                    <a:moveTo>
                      <a:pt x="950" y="225"/>
                    </a:moveTo>
                    <a:lnTo>
                      <a:pt x="0" y="225"/>
                    </a:lnTo>
                    <a:moveTo>
                      <a:pt x="0" y="354"/>
                    </a:moveTo>
                    <a:lnTo>
                      <a:pt x="950" y="354"/>
                    </a:lnTo>
                    <a:moveTo>
                      <a:pt x="0" y="477"/>
                    </a:moveTo>
                    <a:lnTo>
                      <a:pt x="950" y="477"/>
                    </a:lnTo>
                    <a:moveTo>
                      <a:pt x="0" y="0"/>
                    </a:moveTo>
                    <a:lnTo>
                      <a:pt x="950" y="0"/>
                    </a:lnTo>
                  </a:path>
                </a:pathLst>
              </a:custGeom>
              <a:noFill/>
              <a:ln w="22225" cap="flat">
                <a:solidFill>
                  <a:srgbClr val="FF8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368" name="Freeform 38"/>
              <p:cNvSpPr>
                <a:spLocks/>
              </p:cNvSpPr>
              <p:nvPr/>
            </p:nvSpPr>
            <p:spPr bwMode="auto">
              <a:xfrm>
                <a:off x="9002787" y="5608104"/>
                <a:ext cx="848795" cy="577944"/>
              </a:xfrm>
              <a:custGeom>
                <a:avLst/>
                <a:gdLst>
                  <a:gd name="T0" fmla="*/ 0 w 1777"/>
                  <a:gd name="T1" fmla="*/ 1150 h 1150"/>
                  <a:gd name="T2" fmla="*/ 195 w 1777"/>
                  <a:gd name="T3" fmla="*/ 1111 h 1150"/>
                  <a:gd name="T4" fmla="*/ 306 w 1777"/>
                  <a:gd name="T5" fmla="*/ 1088 h 1150"/>
                  <a:gd name="T6" fmla="*/ 367 w 1777"/>
                  <a:gd name="T7" fmla="*/ 1075 h 1150"/>
                  <a:gd name="T8" fmla="*/ 398 w 1777"/>
                  <a:gd name="T9" fmla="*/ 1068 h 1150"/>
                  <a:gd name="T10" fmla="*/ 405 w 1777"/>
                  <a:gd name="T11" fmla="*/ 1067 h 1150"/>
                  <a:gd name="T12" fmla="*/ 409 w 1777"/>
                  <a:gd name="T13" fmla="*/ 1066 h 1150"/>
                  <a:gd name="T14" fmla="*/ 411 w 1777"/>
                  <a:gd name="T15" fmla="*/ 1065 h 1150"/>
                  <a:gd name="T16" fmla="*/ 412 w 1777"/>
                  <a:gd name="T17" fmla="*/ 1063 h 1150"/>
                  <a:gd name="T18" fmla="*/ 420 w 1777"/>
                  <a:gd name="T19" fmla="*/ 1050 h 1150"/>
                  <a:gd name="T20" fmla="*/ 548 w 1777"/>
                  <a:gd name="T21" fmla="*/ 854 h 1150"/>
                  <a:gd name="T22" fmla="*/ 608 w 1777"/>
                  <a:gd name="T23" fmla="*/ 761 h 1150"/>
                  <a:gd name="T24" fmla="*/ 635 w 1777"/>
                  <a:gd name="T25" fmla="*/ 720 h 1150"/>
                  <a:gd name="T26" fmla="*/ 677 w 1777"/>
                  <a:gd name="T27" fmla="*/ 696 h 1150"/>
                  <a:gd name="T28" fmla="*/ 1021 w 1777"/>
                  <a:gd name="T29" fmla="*/ 653 h 1150"/>
                  <a:gd name="T30" fmla="*/ 1385 w 1777"/>
                  <a:gd name="T31" fmla="*/ 282 h 1150"/>
                  <a:gd name="T32" fmla="*/ 1394 w 1777"/>
                  <a:gd name="T33" fmla="*/ 277 h 1150"/>
                  <a:gd name="T34" fmla="*/ 1518 w 1777"/>
                  <a:gd name="T35" fmla="*/ 481 h 1150"/>
                  <a:gd name="T36" fmla="*/ 1777 w 1777"/>
                  <a:gd name="T37" fmla="*/ 0 h 1150"/>
                  <a:gd name="T38" fmla="*/ 1237 w 1777"/>
                  <a:gd name="T39" fmla="*/ 16 h 1150"/>
                  <a:gd name="T40" fmla="*/ 1360 w 1777"/>
                  <a:gd name="T41" fmla="*/ 220 h 1150"/>
                  <a:gd name="T42" fmla="*/ 1351 w 1777"/>
                  <a:gd name="T43" fmla="*/ 226 h 1150"/>
                  <a:gd name="T44" fmla="*/ 974 w 1777"/>
                  <a:gd name="T45" fmla="*/ 604 h 1150"/>
                  <a:gd name="T46" fmla="*/ 642 w 1777"/>
                  <a:gd name="T47" fmla="*/ 640 h 1150"/>
                  <a:gd name="T48" fmla="*/ 588 w 1777"/>
                  <a:gd name="T49" fmla="*/ 672 h 1150"/>
                  <a:gd name="T50" fmla="*/ 554 w 1777"/>
                  <a:gd name="T51" fmla="*/ 724 h 1150"/>
                  <a:gd name="T52" fmla="*/ 493 w 1777"/>
                  <a:gd name="T53" fmla="*/ 818 h 1150"/>
                  <a:gd name="T54" fmla="*/ 378 w 1777"/>
                  <a:gd name="T55" fmla="*/ 995 h 1150"/>
                  <a:gd name="T56" fmla="*/ 371 w 1777"/>
                  <a:gd name="T57" fmla="*/ 1005 h 1150"/>
                  <a:gd name="T58" fmla="*/ 369 w 1777"/>
                  <a:gd name="T59" fmla="*/ 1007 h 1150"/>
                  <a:gd name="T60" fmla="*/ 366 w 1777"/>
                  <a:gd name="T61" fmla="*/ 1008 h 1150"/>
                  <a:gd name="T62" fmla="*/ 360 w 1777"/>
                  <a:gd name="T63" fmla="*/ 1009 h 1150"/>
                  <a:gd name="T64" fmla="*/ 336 w 1777"/>
                  <a:gd name="T65" fmla="*/ 1014 h 1150"/>
                  <a:gd name="T66" fmla="*/ 288 w 1777"/>
                  <a:gd name="T67" fmla="*/ 1024 h 1150"/>
                  <a:gd name="T68" fmla="*/ 182 w 1777"/>
                  <a:gd name="T69" fmla="*/ 1046 h 1150"/>
                  <a:gd name="T70" fmla="*/ 1 w 1777"/>
                  <a:gd name="T71" fmla="*/ 1085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77" h="1150">
                    <a:moveTo>
                      <a:pt x="0" y="1150"/>
                    </a:moveTo>
                    <a:cubicBezTo>
                      <a:pt x="195" y="1111"/>
                      <a:pt x="195" y="1111"/>
                      <a:pt x="195" y="1111"/>
                    </a:cubicBezTo>
                    <a:cubicBezTo>
                      <a:pt x="306" y="1088"/>
                      <a:pt x="306" y="1088"/>
                      <a:pt x="306" y="1088"/>
                    </a:cubicBezTo>
                    <a:cubicBezTo>
                      <a:pt x="367" y="1075"/>
                      <a:pt x="367" y="1075"/>
                      <a:pt x="367" y="1075"/>
                    </a:cubicBezTo>
                    <a:cubicBezTo>
                      <a:pt x="398" y="1068"/>
                      <a:pt x="398" y="1068"/>
                      <a:pt x="398" y="1068"/>
                    </a:cubicBezTo>
                    <a:cubicBezTo>
                      <a:pt x="405" y="1067"/>
                      <a:pt x="405" y="1067"/>
                      <a:pt x="405" y="1067"/>
                    </a:cubicBezTo>
                    <a:cubicBezTo>
                      <a:pt x="409" y="1066"/>
                      <a:pt x="409" y="1066"/>
                      <a:pt x="409" y="1066"/>
                    </a:cubicBezTo>
                    <a:cubicBezTo>
                      <a:pt x="410" y="1066"/>
                      <a:pt x="410" y="1066"/>
                      <a:pt x="411" y="1065"/>
                    </a:cubicBezTo>
                    <a:cubicBezTo>
                      <a:pt x="412" y="1063"/>
                      <a:pt x="412" y="1063"/>
                      <a:pt x="412" y="1063"/>
                    </a:cubicBezTo>
                    <a:cubicBezTo>
                      <a:pt x="420" y="1050"/>
                      <a:pt x="420" y="1050"/>
                      <a:pt x="420" y="1050"/>
                    </a:cubicBezTo>
                    <a:cubicBezTo>
                      <a:pt x="548" y="854"/>
                      <a:pt x="548" y="854"/>
                      <a:pt x="548" y="854"/>
                    </a:cubicBezTo>
                    <a:cubicBezTo>
                      <a:pt x="608" y="761"/>
                      <a:pt x="608" y="761"/>
                      <a:pt x="608" y="761"/>
                    </a:cubicBezTo>
                    <a:cubicBezTo>
                      <a:pt x="617" y="748"/>
                      <a:pt x="625" y="734"/>
                      <a:pt x="635" y="720"/>
                    </a:cubicBezTo>
                    <a:cubicBezTo>
                      <a:pt x="677" y="696"/>
                      <a:pt x="677" y="696"/>
                      <a:pt x="677" y="696"/>
                    </a:cubicBezTo>
                    <a:cubicBezTo>
                      <a:pt x="1021" y="653"/>
                      <a:pt x="1021" y="653"/>
                      <a:pt x="1021" y="653"/>
                    </a:cubicBezTo>
                    <a:cubicBezTo>
                      <a:pt x="1385" y="282"/>
                      <a:pt x="1385" y="282"/>
                      <a:pt x="1385" y="282"/>
                    </a:cubicBezTo>
                    <a:cubicBezTo>
                      <a:pt x="1394" y="277"/>
                      <a:pt x="1394" y="277"/>
                      <a:pt x="1394" y="277"/>
                    </a:cubicBezTo>
                    <a:cubicBezTo>
                      <a:pt x="1518" y="481"/>
                      <a:pt x="1518" y="481"/>
                      <a:pt x="1518" y="481"/>
                    </a:cubicBezTo>
                    <a:cubicBezTo>
                      <a:pt x="1605" y="320"/>
                      <a:pt x="1692" y="160"/>
                      <a:pt x="1777" y="0"/>
                    </a:cubicBezTo>
                    <a:cubicBezTo>
                      <a:pt x="1596" y="6"/>
                      <a:pt x="1416" y="11"/>
                      <a:pt x="1237" y="16"/>
                    </a:cubicBezTo>
                    <a:cubicBezTo>
                      <a:pt x="1360" y="220"/>
                      <a:pt x="1360" y="220"/>
                      <a:pt x="1360" y="220"/>
                    </a:cubicBezTo>
                    <a:cubicBezTo>
                      <a:pt x="1351" y="226"/>
                      <a:pt x="1351" y="226"/>
                      <a:pt x="1351" y="226"/>
                    </a:cubicBezTo>
                    <a:cubicBezTo>
                      <a:pt x="974" y="604"/>
                      <a:pt x="974" y="604"/>
                      <a:pt x="974" y="604"/>
                    </a:cubicBezTo>
                    <a:cubicBezTo>
                      <a:pt x="642" y="640"/>
                      <a:pt x="642" y="640"/>
                      <a:pt x="642" y="640"/>
                    </a:cubicBezTo>
                    <a:cubicBezTo>
                      <a:pt x="588" y="672"/>
                      <a:pt x="588" y="672"/>
                      <a:pt x="588" y="672"/>
                    </a:cubicBezTo>
                    <a:cubicBezTo>
                      <a:pt x="576" y="689"/>
                      <a:pt x="565" y="706"/>
                      <a:pt x="554" y="724"/>
                    </a:cubicBezTo>
                    <a:cubicBezTo>
                      <a:pt x="493" y="818"/>
                      <a:pt x="493" y="818"/>
                      <a:pt x="493" y="818"/>
                    </a:cubicBezTo>
                    <a:cubicBezTo>
                      <a:pt x="378" y="995"/>
                      <a:pt x="378" y="995"/>
                      <a:pt x="378" y="995"/>
                    </a:cubicBezTo>
                    <a:cubicBezTo>
                      <a:pt x="371" y="1005"/>
                      <a:pt x="371" y="1005"/>
                      <a:pt x="371" y="1005"/>
                    </a:cubicBezTo>
                    <a:cubicBezTo>
                      <a:pt x="371" y="1006"/>
                      <a:pt x="370" y="1007"/>
                      <a:pt x="369" y="1007"/>
                    </a:cubicBezTo>
                    <a:cubicBezTo>
                      <a:pt x="366" y="1008"/>
                      <a:pt x="366" y="1008"/>
                      <a:pt x="366" y="1008"/>
                    </a:cubicBezTo>
                    <a:cubicBezTo>
                      <a:pt x="360" y="1009"/>
                      <a:pt x="360" y="1009"/>
                      <a:pt x="360" y="1009"/>
                    </a:cubicBezTo>
                    <a:cubicBezTo>
                      <a:pt x="336" y="1014"/>
                      <a:pt x="336" y="1014"/>
                      <a:pt x="336" y="1014"/>
                    </a:cubicBezTo>
                    <a:cubicBezTo>
                      <a:pt x="288" y="1024"/>
                      <a:pt x="288" y="1024"/>
                      <a:pt x="288" y="1024"/>
                    </a:cubicBezTo>
                    <a:cubicBezTo>
                      <a:pt x="182" y="1046"/>
                      <a:pt x="182" y="1046"/>
                      <a:pt x="182" y="1046"/>
                    </a:cubicBezTo>
                    <a:cubicBezTo>
                      <a:pt x="1" y="1085"/>
                      <a:pt x="1" y="1085"/>
                      <a:pt x="1" y="1085"/>
                    </a:cubicBezTo>
                  </a:path>
                </a:pathLst>
              </a:custGeom>
              <a:solidFill>
                <a:srgbClr val="FF8C00"/>
              </a:solidFill>
              <a:ln w="19050"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sp>
          <p:nvSpPr>
            <p:cNvPr id="348" name="Rectangle 347"/>
            <p:cNvSpPr/>
            <p:nvPr/>
          </p:nvSpPr>
          <p:spPr>
            <a:xfrm>
              <a:off x="10410192" y="4158528"/>
              <a:ext cx="1485441" cy="376770"/>
            </a:xfrm>
            <a:prstGeom prst="rect">
              <a:avLst/>
            </a:prstGeom>
            <a:noFill/>
            <a:ln>
              <a:noFill/>
            </a:ln>
          </p:spPr>
          <p:txBody>
            <a:bodyPr wrap="square" lIns="0" tIns="0" rIns="0" bIns="0" anchor="ctr">
              <a:spAutoFit/>
            </a:bodyPr>
            <a:lstStyle/>
            <a:p>
              <a:pPr marL="0" marR="0" lvl="0" indent="0" algn="ctr" defTabSz="1118323" eaLnBrk="1" fontAlgn="base" latinLnBrk="0" hangingPunct="1">
                <a:lnSpc>
                  <a:spcPct val="100000"/>
                </a:lnSpc>
                <a:spcBef>
                  <a:spcPts val="0"/>
                </a:spcBef>
                <a:spcAft>
                  <a:spcPct val="0"/>
                </a:spcAft>
                <a:buClrTx/>
                <a:buSzTx/>
                <a:buFontTx/>
                <a:buNone/>
                <a:tabLst/>
                <a:defRPr/>
              </a:pPr>
              <a:r>
                <a:rPr kumimoji="0" lang="en-US" sz="1224" b="0" i="0" u="none" strike="noStrike" kern="0" cap="none" spc="0" normalizeH="0" baseline="0" noProof="0" dirty="0" smtClean="0">
                  <a:ln>
                    <a:solidFill>
                      <a:srgbClr val="FFFFFF">
                        <a:alpha val="0"/>
                      </a:srgbClr>
                    </a:solidFill>
                  </a:ln>
                  <a:solidFill>
                    <a:srgbClr val="FF8C00"/>
                  </a:solidFill>
                  <a:effectLst/>
                  <a:uLnTx/>
                  <a:uFillTx/>
                  <a:latin typeface="Segoe"/>
                </a:rPr>
                <a:t>Session</a:t>
              </a:r>
            </a:p>
            <a:p>
              <a:pPr marL="0" marR="0" lvl="0" indent="0" algn="ctr" defTabSz="1118323" eaLnBrk="1" fontAlgn="base" latinLnBrk="0" hangingPunct="1">
                <a:lnSpc>
                  <a:spcPct val="100000"/>
                </a:lnSpc>
                <a:spcBef>
                  <a:spcPts val="0"/>
                </a:spcBef>
                <a:spcAft>
                  <a:spcPct val="0"/>
                </a:spcAft>
                <a:buClrTx/>
                <a:buSzTx/>
                <a:buFontTx/>
                <a:buNone/>
                <a:tabLst/>
                <a:defRPr/>
              </a:pPr>
              <a:r>
                <a:rPr kumimoji="0" lang="en-US" sz="1224" b="0" i="0" u="none" strike="noStrike" kern="0" cap="none" spc="0" normalizeH="0" baseline="0" noProof="0" dirty="0" smtClean="0">
                  <a:ln>
                    <a:solidFill>
                      <a:srgbClr val="FFFFFF">
                        <a:alpha val="0"/>
                      </a:srgbClr>
                    </a:solidFill>
                  </a:ln>
                  <a:solidFill>
                    <a:srgbClr val="FF8C00"/>
                  </a:solidFill>
                  <a:effectLst/>
                  <a:uLnTx/>
                  <a:uFillTx/>
                  <a:latin typeface="Segoe"/>
                </a:rPr>
                <a:t> host</a:t>
              </a:r>
            </a:p>
          </p:txBody>
        </p:sp>
        <p:grpSp>
          <p:nvGrpSpPr>
            <p:cNvPr id="349" name="Group 348"/>
            <p:cNvGrpSpPr/>
            <p:nvPr/>
          </p:nvGrpSpPr>
          <p:grpSpPr>
            <a:xfrm>
              <a:off x="9518852" y="3326199"/>
              <a:ext cx="1844113" cy="1324951"/>
              <a:chOff x="11683524" y="1458579"/>
              <a:chExt cx="2672133" cy="1919871"/>
            </a:xfrm>
          </p:grpSpPr>
          <p:grpSp>
            <p:nvGrpSpPr>
              <p:cNvPr id="350" name="Group 349"/>
              <p:cNvGrpSpPr/>
              <p:nvPr/>
            </p:nvGrpSpPr>
            <p:grpSpPr>
              <a:xfrm>
                <a:off x="11683524" y="2151933"/>
                <a:ext cx="1001557" cy="1226517"/>
                <a:chOff x="12247517" y="3168598"/>
                <a:chExt cx="1001557" cy="1226517"/>
              </a:xfrm>
            </p:grpSpPr>
            <p:grpSp>
              <p:nvGrpSpPr>
                <p:cNvPr id="362" name="Group 1549"/>
                <p:cNvGrpSpPr>
                  <a:grpSpLocks noChangeAspect="1"/>
                </p:cNvGrpSpPr>
                <p:nvPr/>
              </p:nvGrpSpPr>
              <p:grpSpPr bwMode="auto">
                <a:xfrm>
                  <a:off x="12332081" y="3168598"/>
                  <a:ext cx="715648" cy="1003158"/>
                  <a:chOff x="5909" y="2498"/>
                  <a:chExt cx="687" cy="963"/>
                </a:xfrm>
              </p:grpSpPr>
              <p:sp>
                <p:nvSpPr>
                  <p:cNvPr id="364" name="Freeform 1550"/>
                  <p:cNvSpPr>
                    <a:spLocks noEditPoints="1"/>
                  </p:cNvSpPr>
                  <p:nvPr/>
                </p:nvSpPr>
                <p:spPr bwMode="auto">
                  <a:xfrm>
                    <a:off x="6109" y="2498"/>
                    <a:ext cx="487" cy="963"/>
                  </a:xfrm>
                  <a:custGeom>
                    <a:avLst/>
                    <a:gdLst>
                      <a:gd name="T0" fmla="*/ 27 w 244"/>
                      <a:gd name="T1" fmla="*/ 417 h 483"/>
                      <a:gd name="T2" fmla="*/ 27 w 244"/>
                      <a:gd name="T3" fmla="*/ 434 h 483"/>
                      <a:gd name="T4" fmla="*/ 217 w 244"/>
                      <a:gd name="T5" fmla="*/ 434 h 483"/>
                      <a:gd name="T6" fmla="*/ 217 w 244"/>
                      <a:gd name="T7" fmla="*/ 417 h 483"/>
                      <a:gd name="T8" fmla="*/ 27 w 244"/>
                      <a:gd name="T9" fmla="*/ 417 h 483"/>
                      <a:gd name="T10" fmla="*/ 27 w 244"/>
                      <a:gd name="T11" fmla="*/ 380 h 483"/>
                      <a:gd name="T12" fmla="*/ 27 w 244"/>
                      <a:gd name="T13" fmla="*/ 397 h 483"/>
                      <a:gd name="T14" fmla="*/ 65 w 244"/>
                      <a:gd name="T15" fmla="*/ 397 h 483"/>
                      <a:gd name="T16" fmla="*/ 65 w 244"/>
                      <a:gd name="T17" fmla="*/ 380 h 483"/>
                      <a:gd name="T18" fmla="*/ 27 w 244"/>
                      <a:gd name="T19" fmla="*/ 380 h 483"/>
                      <a:gd name="T20" fmla="*/ 27 w 244"/>
                      <a:gd name="T21" fmla="*/ 343 h 483"/>
                      <a:gd name="T22" fmla="*/ 27 w 244"/>
                      <a:gd name="T23" fmla="*/ 359 h 483"/>
                      <a:gd name="T24" fmla="*/ 65 w 244"/>
                      <a:gd name="T25" fmla="*/ 359 h 483"/>
                      <a:gd name="T26" fmla="*/ 65 w 244"/>
                      <a:gd name="T27" fmla="*/ 343 h 483"/>
                      <a:gd name="T28" fmla="*/ 27 w 244"/>
                      <a:gd name="T29" fmla="*/ 343 h 483"/>
                      <a:gd name="T30" fmla="*/ 27 w 244"/>
                      <a:gd name="T31" fmla="*/ 90 h 483"/>
                      <a:gd name="T32" fmla="*/ 27 w 244"/>
                      <a:gd name="T33" fmla="*/ 115 h 483"/>
                      <a:gd name="T34" fmla="*/ 217 w 244"/>
                      <a:gd name="T35" fmla="*/ 115 h 483"/>
                      <a:gd name="T36" fmla="*/ 217 w 244"/>
                      <a:gd name="T37" fmla="*/ 90 h 483"/>
                      <a:gd name="T38" fmla="*/ 27 w 244"/>
                      <a:gd name="T39" fmla="*/ 90 h 483"/>
                      <a:gd name="T40" fmla="*/ 27 w 244"/>
                      <a:gd name="T41" fmla="*/ 50 h 483"/>
                      <a:gd name="T42" fmla="*/ 27 w 244"/>
                      <a:gd name="T43" fmla="*/ 67 h 483"/>
                      <a:gd name="T44" fmla="*/ 217 w 244"/>
                      <a:gd name="T45" fmla="*/ 67 h 483"/>
                      <a:gd name="T46" fmla="*/ 217 w 244"/>
                      <a:gd name="T47" fmla="*/ 50 h 483"/>
                      <a:gd name="T48" fmla="*/ 27 w 244"/>
                      <a:gd name="T49" fmla="*/ 50 h 483"/>
                      <a:gd name="T50" fmla="*/ 32 w 244"/>
                      <a:gd name="T51" fmla="*/ 0 h 483"/>
                      <a:gd name="T52" fmla="*/ 212 w 244"/>
                      <a:gd name="T53" fmla="*/ 0 h 483"/>
                      <a:gd name="T54" fmla="*/ 244 w 244"/>
                      <a:gd name="T55" fmla="*/ 29 h 483"/>
                      <a:gd name="T56" fmla="*/ 244 w 244"/>
                      <a:gd name="T57" fmla="*/ 454 h 483"/>
                      <a:gd name="T58" fmla="*/ 212 w 244"/>
                      <a:gd name="T59" fmla="*/ 483 h 483"/>
                      <a:gd name="T60" fmla="*/ 32 w 244"/>
                      <a:gd name="T61" fmla="*/ 483 h 483"/>
                      <a:gd name="T62" fmla="*/ 0 w 244"/>
                      <a:gd name="T63" fmla="*/ 454 h 483"/>
                      <a:gd name="T64" fmla="*/ 0 w 244"/>
                      <a:gd name="T65" fmla="*/ 29 h 483"/>
                      <a:gd name="T66" fmla="*/ 32 w 244"/>
                      <a:gd name="T67"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4" h="483">
                        <a:moveTo>
                          <a:pt x="27" y="417"/>
                        </a:moveTo>
                        <a:cubicBezTo>
                          <a:pt x="27" y="434"/>
                          <a:pt x="27" y="434"/>
                          <a:pt x="27" y="434"/>
                        </a:cubicBezTo>
                        <a:cubicBezTo>
                          <a:pt x="217" y="434"/>
                          <a:pt x="217" y="434"/>
                          <a:pt x="217" y="434"/>
                        </a:cubicBezTo>
                        <a:cubicBezTo>
                          <a:pt x="217" y="417"/>
                          <a:pt x="217" y="417"/>
                          <a:pt x="217" y="417"/>
                        </a:cubicBezTo>
                        <a:cubicBezTo>
                          <a:pt x="27" y="417"/>
                          <a:pt x="27" y="417"/>
                          <a:pt x="27" y="417"/>
                        </a:cubicBezTo>
                        <a:close/>
                        <a:moveTo>
                          <a:pt x="27" y="380"/>
                        </a:moveTo>
                        <a:cubicBezTo>
                          <a:pt x="27" y="397"/>
                          <a:pt x="27" y="397"/>
                          <a:pt x="27" y="397"/>
                        </a:cubicBezTo>
                        <a:cubicBezTo>
                          <a:pt x="65" y="397"/>
                          <a:pt x="65" y="397"/>
                          <a:pt x="65" y="397"/>
                        </a:cubicBezTo>
                        <a:cubicBezTo>
                          <a:pt x="65" y="380"/>
                          <a:pt x="65" y="380"/>
                          <a:pt x="65" y="380"/>
                        </a:cubicBezTo>
                        <a:cubicBezTo>
                          <a:pt x="27" y="380"/>
                          <a:pt x="27" y="380"/>
                          <a:pt x="27" y="380"/>
                        </a:cubicBezTo>
                        <a:close/>
                        <a:moveTo>
                          <a:pt x="27" y="343"/>
                        </a:moveTo>
                        <a:cubicBezTo>
                          <a:pt x="27" y="359"/>
                          <a:pt x="27" y="359"/>
                          <a:pt x="27" y="359"/>
                        </a:cubicBezTo>
                        <a:cubicBezTo>
                          <a:pt x="65" y="359"/>
                          <a:pt x="65" y="359"/>
                          <a:pt x="65" y="359"/>
                        </a:cubicBezTo>
                        <a:cubicBezTo>
                          <a:pt x="65" y="343"/>
                          <a:pt x="65" y="343"/>
                          <a:pt x="65" y="343"/>
                        </a:cubicBezTo>
                        <a:cubicBezTo>
                          <a:pt x="27" y="343"/>
                          <a:pt x="27" y="343"/>
                          <a:pt x="27" y="343"/>
                        </a:cubicBezTo>
                        <a:close/>
                        <a:moveTo>
                          <a:pt x="27" y="90"/>
                        </a:moveTo>
                        <a:cubicBezTo>
                          <a:pt x="27" y="115"/>
                          <a:pt x="27" y="115"/>
                          <a:pt x="27" y="115"/>
                        </a:cubicBezTo>
                        <a:cubicBezTo>
                          <a:pt x="217" y="115"/>
                          <a:pt x="217" y="115"/>
                          <a:pt x="217" y="115"/>
                        </a:cubicBezTo>
                        <a:cubicBezTo>
                          <a:pt x="217" y="90"/>
                          <a:pt x="217" y="90"/>
                          <a:pt x="217" y="90"/>
                        </a:cubicBezTo>
                        <a:cubicBezTo>
                          <a:pt x="27" y="90"/>
                          <a:pt x="27" y="90"/>
                          <a:pt x="27" y="90"/>
                        </a:cubicBezTo>
                        <a:close/>
                        <a:moveTo>
                          <a:pt x="27" y="50"/>
                        </a:moveTo>
                        <a:cubicBezTo>
                          <a:pt x="27" y="67"/>
                          <a:pt x="27" y="67"/>
                          <a:pt x="27" y="67"/>
                        </a:cubicBezTo>
                        <a:cubicBezTo>
                          <a:pt x="217" y="67"/>
                          <a:pt x="217" y="67"/>
                          <a:pt x="217" y="67"/>
                        </a:cubicBezTo>
                        <a:cubicBezTo>
                          <a:pt x="217" y="50"/>
                          <a:pt x="217" y="50"/>
                          <a:pt x="217" y="50"/>
                        </a:cubicBezTo>
                        <a:cubicBezTo>
                          <a:pt x="27" y="50"/>
                          <a:pt x="27" y="50"/>
                          <a:pt x="27" y="50"/>
                        </a:cubicBezTo>
                        <a:close/>
                        <a:moveTo>
                          <a:pt x="32" y="0"/>
                        </a:moveTo>
                        <a:cubicBezTo>
                          <a:pt x="212" y="0"/>
                          <a:pt x="212" y="0"/>
                          <a:pt x="212" y="0"/>
                        </a:cubicBezTo>
                        <a:cubicBezTo>
                          <a:pt x="230" y="0"/>
                          <a:pt x="244" y="13"/>
                          <a:pt x="244" y="29"/>
                        </a:cubicBezTo>
                        <a:cubicBezTo>
                          <a:pt x="244" y="454"/>
                          <a:pt x="244" y="454"/>
                          <a:pt x="244" y="454"/>
                        </a:cubicBezTo>
                        <a:cubicBezTo>
                          <a:pt x="244" y="470"/>
                          <a:pt x="230" y="483"/>
                          <a:pt x="212" y="483"/>
                        </a:cubicBezTo>
                        <a:cubicBezTo>
                          <a:pt x="32" y="483"/>
                          <a:pt x="32" y="483"/>
                          <a:pt x="32" y="483"/>
                        </a:cubicBezTo>
                        <a:cubicBezTo>
                          <a:pt x="14" y="483"/>
                          <a:pt x="0" y="470"/>
                          <a:pt x="0" y="454"/>
                        </a:cubicBezTo>
                        <a:cubicBezTo>
                          <a:pt x="0" y="29"/>
                          <a:pt x="0" y="29"/>
                          <a:pt x="0" y="29"/>
                        </a:cubicBezTo>
                        <a:cubicBezTo>
                          <a:pt x="0" y="13"/>
                          <a:pt x="14" y="0"/>
                          <a:pt x="32" y="0"/>
                        </a:cubicBezTo>
                        <a:close/>
                      </a:path>
                    </a:pathLst>
                  </a:custGeom>
                  <a:solidFill>
                    <a:srgbClr val="FFFFFF"/>
                  </a:solidFill>
                  <a:ln w="22225"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365" name="Freeform 1551"/>
                  <p:cNvSpPr>
                    <a:spLocks noEditPoints="1"/>
                  </p:cNvSpPr>
                  <p:nvPr/>
                </p:nvSpPr>
                <p:spPr bwMode="auto">
                  <a:xfrm>
                    <a:off x="5909" y="2699"/>
                    <a:ext cx="565" cy="481"/>
                  </a:xfrm>
                  <a:custGeom>
                    <a:avLst/>
                    <a:gdLst>
                      <a:gd name="T0" fmla="*/ 11 w 283"/>
                      <a:gd name="T1" fmla="*/ 238 h 241"/>
                      <a:gd name="T2" fmla="*/ 11 w 283"/>
                      <a:gd name="T3" fmla="*/ 241 h 241"/>
                      <a:gd name="T4" fmla="*/ 0 w 283"/>
                      <a:gd name="T5" fmla="*/ 226 h 241"/>
                      <a:gd name="T6" fmla="*/ 0 w 283"/>
                      <a:gd name="T7" fmla="*/ 47 h 241"/>
                      <a:gd name="T8" fmla="*/ 13 w 283"/>
                      <a:gd name="T9" fmla="*/ 32 h 241"/>
                      <a:gd name="T10" fmla="*/ 127 w 283"/>
                      <a:gd name="T11" fmla="*/ 32 h 241"/>
                      <a:gd name="T12" fmla="*/ 140 w 283"/>
                      <a:gd name="T13" fmla="*/ 18 h 241"/>
                      <a:gd name="T14" fmla="*/ 140 w 283"/>
                      <a:gd name="T15" fmla="*/ 15 h 241"/>
                      <a:gd name="T16" fmla="*/ 152 w 283"/>
                      <a:gd name="T17" fmla="*/ 0 h 241"/>
                      <a:gd name="T18" fmla="*/ 256 w 283"/>
                      <a:gd name="T19" fmla="*/ 0 h 241"/>
                      <a:gd name="T20" fmla="*/ 268 w 283"/>
                      <a:gd name="T21" fmla="*/ 15 h 241"/>
                      <a:gd name="T22" fmla="*/ 268 w 283"/>
                      <a:gd name="T23" fmla="*/ 18 h 241"/>
                      <a:gd name="T24" fmla="*/ 275 w 283"/>
                      <a:gd name="T25" fmla="*/ 32 h 241"/>
                      <a:gd name="T26" fmla="*/ 282 w 283"/>
                      <a:gd name="T27" fmla="*/ 47 h 241"/>
                      <a:gd name="T28" fmla="*/ 282 w 283"/>
                      <a:gd name="T29" fmla="*/ 69 h 241"/>
                      <a:gd name="T30" fmla="*/ 34 w 283"/>
                      <a:gd name="T31" fmla="*/ 49 h 241"/>
                      <a:gd name="T32" fmla="*/ 21 w 283"/>
                      <a:gd name="T33" fmla="*/ 59 h 241"/>
                      <a:gd name="T34" fmla="*/ 11 w 283"/>
                      <a:gd name="T35" fmla="*/ 238 h 241"/>
                      <a:gd name="T36" fmla="*/ 265 w 283"/>
                      <a:gd name="T37" fmla="*/ 241 h 241"/>
                      <a:gd name="T38" fmla="*/ 274 w 283"/>
                      <a:gd name="T39" fmla="*/ 230 h 241"/>
                      <a:gd name="T40" fmla="*/ 274 w 283"/>
                      <a:gd name="T41" fmla="*/ 230 h 241"/>
                      <a:gd name="T42" fmla="*/ 274 w 283"/>
                      <a:gd name="T43" fmla="*/ 230 h 241"/>
                      <a:gd name="T44" fmla="*/ 282 w 283"/>
                      <a:gd name="T45" fmla="*/ 79 h 241"/>
                      <a:gd name="T46" fmla="*/ 277 w 283"/>
                      <a:gd name="T47" fmla="*/ 68 h 241"/>
                      <a:gd name="T48" fmla="*/ 29 w 283"/>
                      <a:gd name="T49" fmla="*/ 47 h 241"/>
                      <a:gd name="T50" fmla="*/ 28 w 283"/>
                      <a:gd name="T51" fmla="*/ 47 h 241"/>
                      <a:gd name="T52" fmla="*/ 19 w 283"/>
                      <a:gd name="T53" fmla="*/ 58 h 241"/>
                      <a:gd name="T54" fmla="*/ 9 w 283"/>
                      <a:gd name="T55" fmla="*/ 241 h 241"/>
                      <a:gd name="T56" fmla="*/ 265 w 283"/>
                      <a:gd name="T57"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3" h="241">
                        <a:moveTo>
                          <a:pt x="11" y="238"/>
                        </a:moveTo>
                        <a:cubicBezTo>
                          <a:pt x="11" y="239"/>
                          <a:pt x="11" y="240"/>
                          <a:pt x="11" y="241"/>
                        </a:cubicBezTo>
                        <a:cubicBezTo>
                          <a:pt x="5" y="240"/>
                          <a:pt x="0" y="234"/>
                          <a:pt x="0" y="226"/>
                        </a:cubicBezTo>
                        <a:cubicBezTo>
                          <a:pt x="0" y="47"/>
                          <a:pt x="0" y="227"/>
                          <a:pt x="0" y="47"/>
                        </a:cubicBezTo>
                        <a:cubicBezTo>
                          <a:pt x="0" y="39"/>
                          <a:pt x="6" y="32"/>
                          <a:pt x="13" y="32"/>
                        </a:cubicBezTo>
                        <a:cubicBezTo>
                          <a:pt x="13" y="32"/>
                          <a:pt x="13" y="32"/>
                          <a:pt x="127" y="32"/>
                        </a:cubicBezTo>
                        <a:cubicBezTo>
                          <a:pt x="134" y="32"/>
                          <a:pt x="140" y="26"/>
                          <a:pt x="140" y="18"/>
                        </a:cubicBezTo>
                        <a:cubicBezTo>
                          <a:pt x="140" y="18"/>
                          <a:pt x="140" y="18"/>
                          <a:pt x="140" y="15"/>
                        </a:cubicBezTo>
                        <a:cubicBezTo>
                          <a:pt x="140" y="7"/>
                          <a:pt x="145" y="0"/>
                          <a:pt x="152" y="0"/>
                        </a:cubicBezTo>
                        <a:cubicBezTo>
                          <a:pt x="152" y="0"/>
                          <a:pt x="152" y="0"/>
                          <a:pt x="256" y="0"/>
                        </a:cubicBezTo>
                        <a:cubicBezTo>
                          <a:pt x="263" y="0"/>
                          <a:pt x="268" y="7"/>
                          <a:pt x="268" y="15"/>
                        </a:cubicBezTo>
                        <a:cubicBezTo>
                          <a:pt x="268" y="15"/>
                          <a:pt x="268" y="15"/>
                          <a:pt x="268" y="18"/>
                        </a:cubicBezTo>
                        <a:cubicBezTo>
                          <a:pt x="268" y="26"/>
                          <a:pt x="271" y="32"/>
                          <a:pt x="275" y="32"/>
                        </a:cubicBezTo>
                        <a:cubicBezTo>
                          <a:pt x="279" y="32"/>
                          <a:pt x="282" y="39"/>
                          <a:pt x="282" y="47"/>
                        </a:cubicBezTo>
                        <a:cubicBezTo>
                          <a:pt x="282" y="47"/>
                          <a:pt x="282" y="51"/>
                          <a:pt x="282" y="69"/>
                        </a:cubicBezTo>
                        <a:cubicBezTo>
                          <a:pt x="282" y="69"/>
                          <a:pt x="282" y="69"/>
                          <a:pt x="34" y="49"/>
                        </a:cubicBezTo>
                        <a:cubicBezTo>
                          <a:pt x="28" y="48"/>
                          <a:pt x="22" y="51"/>
                          <a:pt x="21" y="59"/>
                        </a:cubicBezTo>
                        <a:cubicBezTo>
                          <a:pt x="21" y="59"/>
                          <a:pt x="21" y="59"/>
                          <a:pt x="11" y="238"/>
                        </a:cubicBezTo>
                        <a:close/>
                        <a:moveTo>
                          <a:pt x="265" y="241"/>
                        </a:moveTo>
                        <a:cubicBezTo>
                          <a:pt x="270" y="241"/>
                          <a:pt x="274" y="236"/>
                          <a:pt x="274" y="230"/>
                        </a:cubicBezTo>
                        <a:cubicBezTo>
                          <a:pt x="274" y="230"/>
                          <a:pt x="274" y="230"/>
                          <a:pt x="274" y="230"/>
                        </a:cubicBezTo>
                        <a:cubicBezTo>
                          <a:pt x="274" y="230"/>
                          <a:pt x="274" y="230"/>
                          <a:pt x="274" y="230"/>
                        </a:cubicBezTo>
                        <a:cubicBezTo>
                          <a:pt x="274" y="230"/>
                          <a:pt x="274" y="230"/>
                          <a:pt x="282" y="79"/>
                        </a:cubicBezTo>
                        <a:cubicBezTo>
                          <a:pt x="283" y="74"/>
                          <a:pt x="280" y="70"/>
                          <a:pt x="277" y="68"/>
                        </a:cubicBezTo>
                        <a:cubicBezTo>
                          <a:pt x="277" y="68"/>
                          <a:pt x="277" y="68"/>
                          <a:pt x="29" y="47"/>
                        </a:cubicBezTo>
                        <a:cubicBezTo>
                          <a:pt x="29" y="47"/>
                          <a:pt x="28" y="47"/>
                          <a:pt x="28" y="47"/>
                        </a:cubicBezTo>
                        <a:cubicBezTo>
                          <a:pt x="24" y="47"/>
                          <a:pt x="19" y="52"/>
                          <a:pt x="19" y="58"/>
                        </a:cubicBezTo>
                        <a:cubicBezTo>
                          <a:pt x="19" y="58"/>
                          <a:pt x="19" y="58"/>
                          <a:pt x="9" y="241"/>
                        </a:cubicBezTo>
                        <a:cubicBezTo>
                          <a:pt x="9" y="241"/>
                          <a:pt x="9" y="241"/>
                          <a:pt x="265" y="241"/>
                        </a:cubicBezTo>
                        <a:close/>
                      </a:path>
                    </a:pathLst>
                  </a:custGeom>
                  <a:solidFill>
                    <a:srgbClr val="FF8C00"/>
                  </a:solidFill>
                  <a:ln w="127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sp>
              <p:nvSpPr>
                <p:cNvPr id="363" name="Rectangle 362"/>
                <p:cNvSpPr/>
                <p:nvPr/>
              </p:nvSpPr>
              <p:spPr>
                <a:xfrm>
                  <a:off x="12247517" y="4206730"/>
                  <a:ext cx="1001557" cy="188385"/>
                </a:xfrm>
                <a:prstGeom prst="rect">
                  <a:avLst/>
                </a:prstGeom>
                <a:noFill/>
                <a:ln>
                  <a:noFill/>
                </a:ln>
              </p:spPr>
              <p:txBody>
                <a:bodyPr wrap="square" lIns="0" tIns="0" rIns="0" bIns="0" anchor="ctr">
                  <a:spAutoFit/>
                </a:bodyPr>
                <a:lstStyle/>
                <a:p>
                  <a:pPr marL="0" marR="0" lvl="0" indent="0" algn="ctr" defTabSz="1118323" eaLnBrk="1" fontAlgn="base" latinLnBrk="0" hangingPunct="1">
                    <a:lnSpc>
                      <a:spcPct val="100000"/>
                    </a:lnSpc>
                    <a:spcBef>
                      <a:spcPts val="0"/>
                    </a:spcBef>
                    <a:spcAft>
                      <a:spcPct val="0"/>
                    </a:spcAft>
                    <a:buClrTx/>
                    <a:buSzTx/>
                    <a:buFontTx/>
                    <a:buNone/>
                    <a:tabLst/>
                    <a:defRPr/>
                  </a:pPr>
                  <a:r>
                    <a:rPr kumimoji="0" lang="en-US" sz="1224" b="0" i="0" u="none" strike="noStrike" kern="0" cap="none" spc="0" normalizeH="0" baseline="0" noProof="0" dirty="0" smtClean="0">
                      <a:ln>
                        <a:solidFill>
                          <a:srgbClr val="FFFFFF">
                            <a:alpha val="0"/>
                          </a:srgbClr>
                        </a:solidFill>
                      </a:ln>
                      <a:solidFill>
                        <a:srgbClr val="FF8C00"/>
                      </a:solidFill>
                      <a:effectLst/>
                      <a:uLnTx/>
                      <a:uFillTx/>
                      <a:latin typeface="Segoe"/>
                    </a:rPr>
                    <a:t>Files</a:t>
                  </a:r>
                </a:p>
              </p:txBody>
            </p:sp>
          </p:grpSp>
          <p:grpSp>
            <p:nvGrpSpPr>
              <p:cNvPr id="351" name="Group 350"/>
              <p:cNvGrpSpPr/>
              <p:nvPr/>
            </p:nvGrpSpPr>
            <p:grpSpPr>
              <a:xfrm>
                <a:off x="12543865" y="1458579"/>
                <a:ext cx="972636" cy="1503173"/>
                <a:chOff x="10030880" y="2450085"/>
                <a:chExt cx="892331" cy="1379064"/>
              </a:xfrm>
            </p:grpSpPr>
            <p:sp>
              <p:nvSpPr>
                <p:cNvPr id="356" name="Rectangle 355"/>
                <p:cNvSpPr/>
                <p:nvPr/>
              </p:nvSpPr>
              <p:spPr>
                <a:xfrm>
                  <a:off x="10222858" y="3602526"/>
                  <a:ext cx="657527" cy="226623"/>
                </a:xfrm>
                <a:prstGeom prst="rect">
                  <a:avLst/>
                </a:prstGeom>
                <a:noFill/>
                <a:ln>
                  <a:noFill/>
                </a:ln>
              </p:spPr>
              <p:txBody>
                <a:bodyPr wrap="square" lIns="0" tIns="0" rIns="0" bIns="0" anchor="ctr">
                  <a:spAutoFit/>
                </a:bodyPr>
                <a:lstStyle/>
                <a:p>
                  <a:pPr marL="0" marR="0" lvl="0" indent="0" algn="ctr" defTabSz="1118323" eaLnBrk="1" fontAlgn="base" latinLnBrk="0" hangingPunct="1">
                    <a:lnSpc>
                      <a:spcPct val="100000"/>
                    </a:lnSpc>
                    <a:spcBef>
                      <a:spcPts val="0"/>
                    </a:spcBef>
                    <a:spcAft>
                      <a:spcPct val="0"/>
                    </a:spcAft>
                    <a:buClrTx/>
                    <a:buSzTx/>
                    <a:buFontTx/>
                    <a:buNone/>
                    <a:tabLst/>
                    <a:defRPr/>
                  </a:pPr>
                  <a:r>
                    <a:rPr kumimoji="0" lang="en-US" sz="1224" b="0" i="0" u="none" strike="noStrike" kern="0" cap="none" spc="0" normalizeH="0" baseline="0" noProof="0" dirty="0" smtClean="0">
                      <a:ln>
                        <a:solidFill>
                          <a:srgbClr val="FFFFFF">
                            <a:alpha val="0"/>
                          </a:srgbClr>
                        </a:solidFill>
                      </a:ln>
                      <a:solidFill>
                        <a:srgbClr val="FF8C00"/>
                      </a:solidFill>
                      <a:effectLst/>
                      <a:uLnTx/>
                      <a:uFillTx/>
                      <a:latin typeface="Segoe"/>
                    </a:rPr>
                    <a:t>VDI</a:t>
                  </a:r>
                </a:p>
              </p:txBody>
            </p:sp>
            <p:grpSp>
              <p:nvGrpSpPr>
                <p:cNvPr id="357" name="Group 29"/>
                <p:cNvGrpSpPr>
                  <a:grpSpLocks noChangeAspect="1"/>
                </p:cNvGrpSpPr>
                <p:nvPr/>
              </p:nvGrpSpPr>
              <p:grpSpPr bwMode="auto">
                <a:xfrm>
                  <a:off x="10030880" y="2450085"/>
                  <a:ext cx="892331" cy="1243444"/>
                  <a:chOff x="5083" y="2356"/>
                  <a:chExt cx="920" cy="1282"/>
                </a:xfrm>
              </p:grpSpPr>
              <p:sp>
                <p:nvSpPr>
                  <p:cNvPr id="358" name="AutoShape 28"/>
                  <p:cNvSpPr>
                    <a:spLocks noChangeAspect="1" noChangeArrowheads="1" noTextEdit="1"/>
                  </p:cNvSpPr>
                  <p:nvPr/>
                </p:nvSpPr>
                <p:spPr bwMode="auto">
                  <a:xfrm>
                    <a:off x="5121" y="2489"/>
                    <a:ext cx="882" cy="1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359" name="Freeform 30"/>
                  <p:cNvSpPr>
                    <a:spLocks noEditPoints="1"/>
                  </p:cNvSpPr>
                  <p:nvPr/>
                </p:nvSpPr>
                <p:spPr bwMode="auto">
                  <a:xfrm>
                    <a:off x="5351" y="2356"/>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2225"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360" name="Freeform 31"/>
                  <p:cNvSpPr>
                    <a:spLocks/>
                  </p:cNvSpPr>
                  <p:nvPr/>
                </p:nvSpPr>
                <p:spPr bwMode="auto">
                  <a:xfrm>
                    <a:off x="5102" y="2641"/>
                    <a:ext cx="645" cy="47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361" name="Freeform 32"/>
                  <p:cNvSpPr>
                    <a:spLocks noEditPoints="1"/>
                  </p:cNvSpPr>
                  <p:nvPr/>
                </p:nvSpPr>
                <p:spPr bwMode="auto">
                  <a:xfrm>
                    <a:off x="5083" y="2618"/>
                    <a:ext cx="697" cy="595"/>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grpSp>
          <p:grpSp>
            <p:nvGrpSpPr>
              <p:cNvPr id="352" name="Group 23"/>
              <p:cNvGrpSpPr>
                <a:grpSpLocks noChangeAspect="1"/>
              </p:cNvGrpSpPr>
              <p:nvPr/>
            </p:nvGrpSpPr>
            <p:grpSpPr bwMode="auto">
              <a:xfrm>
                <a:off x="13566966" y="1544835"/>
                <a:ext cx="788691" cy="1132828"/>
                <a:chOff x="3258" y="2421"/>
                <a:chExt cx="754" cy="1083"/>
              </a:xfrm>
            </p:grpSpPr>
            <p:sp>
              <p:nvSpPr>
                <p:cNvPr id="353" name="Freeform 24"/>
                <p:cNvSpPr>
                  <a:spLocks noEditPoints="1"/>
                </p:cNvSpPr>
                <p:nvPr/>
              </p:nvSpPr>
              <p:spPr bwMode="auto">
                <a:xfrm>
                  <a:off x="3462" y="2421"/>
                  <a:ext cx="550" cy="1083"/>
                </a:xfrm>
                <a:custGeom>
                  <a:avLst/>
                  <a:gdLst>
                    <a:gd name="T0" fmla="*/ 112 w 991"/>
                    <a:gd name="T1" fmla="*/ 1688 h 1955"/>
                    <a:gd name="T2" fmla="*/ 112 w 991"/>
                    <a:gd name="T3" fmla="*/ 1756 h 1955"/>
                    <a:gd name="T4" fmla="*/ 880 w 991"/>
                    <a:gd name="T5" fmla="*/ 1756 h 1955"/>
                    <a:gd name="T6" fmla="*/ 880 w 991"/>
                    <a:gd name="T7" fmla="*/ 1688 h 1955"/>
                    <a:gd name="T8" fmla="*/ 112 w 991"/>
                    <a:gd name="T9" fmla="*/ 1688 h 1955"/>
                    <a:gd name="T10" fmla="*/ 112 w 991"/>
                    <a:gd name="T11" fmla="*/ 1537 h 1955"/>
                    <a:gd name="T12" fmla="*/ 112 w 991"/>
                    <a:gd name="T13" fmla="*/ 1606 h 1955"/>
                    <a:gd name="T14" fmla="*/ 265 w 991"/>
                    <a:gd name="T15" fmla="*/ 1606 h 1955"/>
                    <a:gd name="T16" fmla="*/ 265 w 991"/>
                    <a:gd name="T17" fmla="*/ 1537 h 1955"/>
                    <a:gd name="T18" fmla="*/ 112 w 991"/>
                    <a:gd name="T19" fmla="*/ 1537 h 1955"/>
                    <a:gd name="T20" fmla="*/ 112 w 991"/>
                    <a:gd name="T21" fmla="*/ 1387 h 1955"/>
                    <a:gd name="T22" fmla="*/ 112 w 991"/>
                    <a:gd name="T23" fmla="*/ 1455 h 1955"/>
                    <a:gd name="T24" fmla="*/ 265 w 991"/>
                    <a:gd name="T25" fmla="*/ 1455 h 1955"/>
                    <a:gd name="T26" fmla="*/ 265 w 991"/>
                    <a:gd name="T27" fmla="*/ 1387 h 1955"/>
                    <a:gd name="T28" fmla="*/ 112 w 991"/>
                    <a:gd name="T29" fmla="*/ 1387 h 1955"/>
                    <a:gd name="T30" fmla="*/ 112 w 991"/>
                    <a:gd name="T31" fmla="*/ 364 h 1955"/>
                    <a:gd name="T32" fmla="*/ 112 w 991"/>
                    <a:gd name="T33" fmla="*/ 466 h 1955"/>
                    <a:gd name="T34" fmla="*/ 880 w 991"/>
                    <a:gd name="T35" fmla="*/ 466 h 1955"/>
                    <a:gd name="T36" fmla="*/ 880 w 991"/>
                    <a:gd name="T37" fmla="*/ 364 h 1955"/>
                    <a:gd name="T38" fmla="*/ 112 w 991"/>
                    <a:gd name="T39" fmla="*/ 364 h 1955"/>
                    <a:gd name="T40" fmla="*/ 112 w 991"/>
                    <a:gd name="T41" fmla="*/ 201 h 1955"/>
                    <a:gd name="T42" fmla="*/ 112 w 991"/>
                    <a:gd name="T43" fmla="*/ 269 h 1955"/>
                    <a:gd name="T44" fmla="*/ 880 w 991"/>
                    <a:gd name="T45" fmla="*/ 269 h 1955"/>
                    <a:gd name="T46" fmla="*/ 880 w 991"/>
                    <a:gd name="T47" fmla="*/ 201 h 1955"/>
                    <a:gd name="T48" fmla="*/ 112 w 991"/>
                    <a:gd name="T49" fmla="*/ 201 h 1955"/>
                    <a:gd name="T50" fmla="*/ 132 w 991"/>
                    <a:gd name="T51" fmla="*/ 0 h 1955"/>
                    <a:gd name="T52" fmla="*/ 859 w 991"/>
                    <a:gd name="T53" fmla="*/ 0 h 1955"/>
                    <a:gd name="T54" fmla="*/ 991 w 991"/>
                    <a:gd name="T55" fmla="*/ 117 h 1955"/>
                    <a:gd name="T56" fmla="*/ 991 w 991"/>
                    <a:gd name="T57" fmla="*/ 1838 h 1955"/>
                    <a:gd name="T58" fmla="*/ 859 w 991"/>
                    <a:gd name="T59" fmla="*/ 1955 h 1955"/>
                    <a:gd name="T60" fmla="*/ 132 w 991"/>
                    <a:gd name="T61" fmla="*/ 1955 h 1955"/>
                    <a:gd name="T62" fmla="*/ 0 w 991"/>
                    <a:gd name="T63" fmla="*/ 1838 h 1955"/>
                    <a:gd name="T64" fmla="*/ 0 w 991"/>
                    <a:gd name="T65" fmla="*/ 117 h 1955"/>
                    <a:gd name="T66" fmla="*/ 132 w 991"/>
                    <a:gd name="T67" fmla="*/ 0 h 1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1" h="1955">
                      <a:moveTo>
                        <a:pt x="112" y="1688"/>
                      </a:moveTo>
                      <a:cubicBezTo>
                        <a:pt x="112" y="1756"/>
                        <a:pt x="112" y="1756"/>
                        <a:pt x="112" y="1756"/>
                      </a:cubicBezTo>
                      <a:cubicBezTo>
                        <a:pt x="880" y="1756"/>
                        <a:pt x="880" y="1756"/>
                        <a:pt x="880" y="1756"/>
                      </a:cubicBezTo>
                      <a:cubicBezTo>
                        <a:pt x="880" y="1688"/>
                        <a:pt x="880" y="1688"/>
                        <a:pt x="880" y="1688"/>
                      </a:cubicBezTo>
                      <a:cubicBezTo>
                        <a:pt x="112" y="1688"/>
                        <a:pt x="112" y="1688"/>
                        <a:pt x="112" y="1688"/>
                      </a:cubicBezTo>
                      <a:close/>
                      <a:moveTo>
                        <a:pt x="112" y="1537"/>
                      </a:moveTo>
                      <a:cubicBezTo>
                        <a:pt x="112" y="1606"/>
                        <a:pt x="112" y="1606"/>
                        <a:pt x="112" y="1606"/>
                      </a:cubicBezTo>
                      <a:cubicBezTo>
                        <a:pt x="265" y="1606"/>
                        <a:pt x="265" y="1606"/>
                        <a:pt x="265" y="1606"/>
                      </a:cubicBezTo>
                      <a:cubicBezTo>
                        <a:pt x="265" y="1537"/>
                        <a:pt x="265" y="1537"/>
                        <a:pt x="265" y="1537"/>
                      </a:cubicBezTo>
                      <a:cubicBezTo>
                        <a:pt x="112" y="1537"/>
                        <a:pt x="112" y="1537"/>
                        <a:pt x="112" y="1537"/>
                      </a:cubicBezTo>
                      <a:close/>
                      <a:moveTo>
                        <a:pt x="112" y="1387"/>
                      </a:moveTo>
                      <a:cubicBezTo>
                        <a:pt x="112" y="1455"/>
                        <a:pt x="112" y="1455"/>
                        <a:pt x="112" y="1455"/>
                      </a:cubicBezTo>
                      <a:cubicBezTo>
                        <a:pt x="265" y="1455"/>
                        <a:pt x="265" y="1455"/>
                        <a:pt x="265" y="1455"/>
                      </a:cubicBezTo>
                      <a:cubicBezTo>
                        <a:pt x="265" y="1387"/>
                        <a:pt x="265" y="1387"/>
                        <a:pt x="265" y="1387"/>
                      </a:cubicBezTo>
                      <a:cubicBezTo>
                        <a:pt x="112" y="1387"/>
                        <a:pt x="112" y="1387"/>
                        <a:pt x="112" y="1387"/>
                      </a:cubicBezTo>
                      <a:close/>
                      <a:moveTo>
                        <a:pt x="112" y="364"/>
                      </a:moveTo>
                      <a:cubicBezTo>
                        <a:pt x="112" y="466"/>
                        <a:pt x="112" y="466"/>
                        <a:pt x="112" y="466"/>
                      </a:cubicBezTo>
                      <a:cubicBezTo>
                        <a:pt x="880" y="466"/>
                        <a:pt x="880" y="466"/>
                        <a:pt x="880" y="466"/>
                      </a:cubicBezTo>
                      <a:cubicBezTo>
                        <a:pt x="880" y="364"/>
                        <a:pt x="880" y="364"/>
                        <a:pt x="880" y="364"/>
                      </a:cubicBezTo>
                      <a:cubicBezTo>
                        <a:pt x="112" y="364"/>
                        <a:pt x="112" y="364"/>
                        <a:pt x="112" y="364"/>
                      </a:cubicBezTo>
                      <a:close/>
                      <a:moveTo>
                        <a:pt x="112" y="201"/>
                      </a:moveTo>
                      <a:cubicBezTo>
                        <a:pt x="112" y="269"/>
                        <a:pt x="112" y="269"/>
                        <a:pt x="112" y="269"/>
                      </a:cubicBezTo>
                      <a:cubicBezTo>
                        <a:pt x="880" y="269"/>
                        <a:pt x="880" y="269"/>
                        <a:pt x="880" y="269"/>
                      </a:cubicBezTo>
                      <a:cubicBezTo>
                        <a:pt x="880" y="201"/>
                        <a:pt x="880" y="201"/>
                        <a:pt x="880" y="201"/>
                      </a:cubicBezTo>
                      <a:cubicBezTo>
                        <a:pt x="112" y="201"/>
                        <a:pt x="112" y="201"/>
                        <a:pt x="112" y="201"/>
                      </a:cubicBezTo>
                      <a:close/>
                      <a:moveTo>
                        <a:pt x="132" y="0"/>
                      </a:moveTo>
                      <a:cubicBezTo>
                        <a:pt x="859" y="0"/>
                        <a:pt x="859" y="0"/>
                        <a:pt x="859" y="0"/>
                      </a:cubicBezTo>
                      <a:cubicBezTo>
                        <a:pt x="932" y="0"/>
                        <a:pt x="991" y="53"/>
                        <a:pt x="991" y="117"/>
                      </a:cubicBezTo>
                      <a:cubicBezTo>
                        <a:pt x="991" y="1838"/>
                        <a:pt x="991" y="1838"/>
                        <a:pt x="991" y="1838"/>
                      </a:cubicBezTo>
                      <a:cubicBezTo>
                        <a:pt x="991" y="1903"/>
                        <a:pt x="932" y="1955"/>
                        <a:pt x="859" y="1955"/>
                      </a:cubicBezTo>
                      <a:cubicBezTo>
                        <a:pt x="132" y="1955"/>
                        <a:pt x="132" y="1955"/>
                        <a:pt x="132" y="1955"/>
                      </a:cubicBezTo>
                      <a:cubicBezTo>
                        <a:pt x="59" y="1955"/>
                        <a:pt x="0" y="1903"/>
                        <a:pt x="0" y="1838"/>
                      </a:cubicBezTo>
                      <a:cubicBezTo>
                        <a:pt x="0" y="117"/>
                        <a:pt x="0" y="117"/>
                        <a:pt x="0" y="117"/>
                      </a:cubicBezTo>
                      <a:cubicBezTo>
                        <a:pt x="0" y="53"/>
                        <a:pt x="59" y="0"/>
                        <a:pt x="132" y="0"/>
                      </a:cubicBezTo>
                      <a:close/>
                    </a:path>
                  </a:pathLst>
                </a:custGeom>
                <a:solidFill>
                  <a:srgbClr val="FFFFFF"/>
                </a:solidFill>
                <a:ln w="22225"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354" name="Freeform 25"/>
                <p:cNvSpPr>
                  <a:spLocks noEditPoints="1"/>
                </p:cNvSpPr>
                <p:nvPr/>
              </p:nvSpPr>
              <p:spPr bwMode="auto">
                <a:xfrm>
                  <a:off x="3258" y="2617"/>
                  <a:ext cx="624" cy="581"/>
                </a:xfrm>
                <a:custGeom>
                  <a:avLst/>
                  <a:gdLst>
                    <a:gd name="T0" fmla="*/ 1227 w 1227"/>
                    <a:gd name="T1" fmla="*/ 402 h 1049"/>
                    <a:gd name="T2" fmla="*/ 1179 w 1227"/>
                    <a:gd name="T3" fmla="*/ 450 h 1049"/>
                    <a:gd name="T4" fmla="*/ 423 w 1227"/>
                    <a:gd name="T5" fmla="*/ 438 h 1049"/>
                    <a:gd name="T6" fmla="*/ 375 w 1227"/>
                    <a:gd name="T7" fmla="*/ 390 h 1049"/>
                    <a:gd name="T8" fmla="*/ 375 w 1227"/>
                    <a:gd name="T9" fmla="*/ 48 h 1049"/>
                    <a:gd name="T10" fmla="*/ 423 w 1227"/>
                    <a:gd name="T11" fmla="*/ 0 h 1049"/>
                    <a:gd name="T12" fmla="*/ 1179 w 1227"/>
                    <a:gd name="T13" fmla="*/ 0 h 1049"/>
                    <a:gd name="T14" fmla="*/ 1227 w 1227"/>
                    <a:gd name="T15" fmla="*/ 48 h 1049"/>
                    <a:gd name="T16" fmla="*/ 1227 w 1227"/>
                    <a:gd name="T17" fmla="*/ 402 h 1049"/>
                    <a:gd name="T18" fmla="*/ 922 w 1227"/>
                    <a:gd name="T19" fmla="*/ 472 h 1049"/>
                    <a:gd name="T20" fmla="*/ 874 w 1227"/>
                    <a:gd name="T21" fmla="*/ 424 h 1049"/>
                    <a:gd name="T22" fmla="*/ 68 w 1227"/>
                    <a:gd name="T23" fmla="*/ 404 h 1049"/>
                    <a:gd name="T24" fmla="*/ 20 w 1227"/>
                    <a:gd name="T25" fmla="*/ 452 h 1049"/>
                    <a:gd name="T26" fmla="*/ 0 w 1227"/>
                    <a:gd name="T27" fmla="*/ 961 h 1049"/>
                    <a:gd name="T28" fmla="*/ 48 w 1227"/>
                    <a:gd name="T29" fmla="*/ 1009 h 1049"/>
                    <a:gd name="T30" fmla="*/ 856 w 1227"/>
                    <a:gd name="T31" fmla="*/ 1049 h 1049"/>
                    <a:gd name="T32" fmla="*/ 904 w 1227"/>
                    <a:gd name="T33" fmla="*/ 1001 h 1049"/>
                    <a:gd name="T34" fmla="*/ 922 w 1227"/>
                    <a:gd name="T35" fmla="*/ 472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7" h="1049">
                      <a:moveTo>
                        <a:pt x="1227" y="402"/>
                      </a:moveTo>
                      <a:cubicBezTo>
                        <a:pt x="1227" y="428"/>
                        <a:pt x="1205" y="450"/>
                        <a:pt x="1179" y="450"/>
                      </a:cubicBezTo>
                      <a:cubicBezTo>
                        <a:pt x="423" y="438"/>
                        <a:pt x="423" y="438"/>
                        <a:pt x="423" y="438"/>
                      </a:cubicBezTo>
                      <a:cubicBezTo>
                        <a:pt x="397" y="438"/>
                        <a:pt x="375" y="416"/>
                        <a:pt x="375" y="390"/>
                      </a:cubicBezTo>
                      <a:cubicBezTo>
                        <a:pt x="375" y="48"/>
                        <a:pt x="375" y="48"/>
                        <a:pt x="375" y="48"/>
                      </a:cubicBezTo>
                      <a:cubicBezTo>
                        <a:pt x="375" y="22"/>
                        <a:pt x="397" y="0"/>
                        <a:pt x="423" y="0"/>
                      </a:cubicBezTo>
                      <a:cubicBezTo>
                        <a:pt x="1179" y="0"/>
                        <a:pt x="1179" y="0"/>
                        <a:pt x="1179" y="0"/>
                      </a:cubicBezTo>
                      <a:cubicBezTo>
                        <a:pt x="1205" y="0"/>
                        <a:pt x="1227" y="22"/>
                        <a:pt x="1227" y="48"/>
                      </a:cubicBezTo>
                      <a:lnTo>
                        <a:pt x="1227" y="402"/>
                      </a:lnTo>
                      <a:close/>
                      <a:moveTo>
                        <a:pt x="922" y="472"/>
                      </a:moveTo>
                      <a:cubicBezTo>
                        <a:pt x="922" y="445"/>
                        <a:pt x="900" y="424"/>
                        <a:pt x="874" y="424"/>
                      </a:cubicBezTo>
                      <a:cubicBezTo>
                        <a:pt x="68" y="404"/>
                        <a:pt x="68" y="404"/>
                        <a:pt x="68" y="404"/>
                      </a:cubicBezTo>
                      <a:cubicBezTo>
                        <a:pt x="41" y="404"/>
                        <a:pt x="20" y="425"/>
                        <a:pt x="20" y="452"/>
                      </a:cubicBezTo>
                      <a:cubicBezTo>
                        <a:pt x="0" y="961"/>
                        <a:pt x="0" y="961"/>
                        <a:pt x="0" y="961"/>
                      </a:cubicBezTo>
                      <a:cubicBezTo>
                        <a:pt x="0" y="987"/>
                        <a:pt x="21" y="1009"/>
                        <a:pt x="48" y="1009"/>
                      </a:cubicBezTo>
                      <a:cubicBezTo>
                        <a:pt x="856" y="1049"/>
                        <a:pt x="856" y="1049"/>
                        <a:pt x="856" y="1049"/>
                      </a:cubicBezTo>
                      <a:cubicBezTo>
                        <a:pt x="883" y="1049"/>
                        <a:pt x="904" y="1027"/>
                        <a:pt x="904" y="1001"/>
                      </a:cubicBezTo>
                      <a:lnTo>
                        <a:pt x="922" y="4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355" name="Freeform 26"/>
                <p:cNvSpPr>
                  <a:spLocks noEditPoints="1"/>
                </p:cNvSpPr>
                <p:nvPr/>
              </p:nvSpPr>
              <p:spPr bwMode="auto">
                <a:xfrm>
                  <a:off x="3258" y="2608"/>
                  <a:ext cx="695" cy="603"/>
                </a:xfrm>
                <a:custGeom>
                  <a:avLst/>
                  <a:gdLst>
                    <a:gd name="T0" fmla="*/ 968 w 1251"/>
                    <a:gd name="T1" fmla="*/ 471 h 1089"/>
                    <a:gd name="T2" fmla="*/ 900 w 1251"/>
                    <a:gd name="T3" fmla="*/ 1089 h 1089"/>
                    <a:gd name="T4" fmla="*/ 0 w 1251"/>
                    <a:gd name="T5" fmla="*/ 997 h 1089"/>
                    <a:gd name="T6" fmla="*/ 65 w 1251"/>
                    <a:gd name="T7" fmla="*/ 403 h 1089"/>
                    <a:gd name="T8" fmla="*/ 65 w 1251"/>
                    <a:gd name="T9" fmla="*/ 451 h 1089"/>
                    <a:gd name="T10" fmla="*/ 939 w 1251"/>
                    <a:gd name="T11" fmla="*/ 1076 h 1089"/>
                    <a:gd name="T12" fmla="*/ 949 w 1251"/>
                    <a:gd name="T13" fmla="*/ 1060 h 1089"/>
                    <a:gd name="T14" fmla="*/ 56 w 1251"/>
                    <a:gd name="T15" fmla="*/ 265 h 1089"/>
                    <a:gd name="T16" fmla="*/ 21 w 1251"/>
                    <a:gd name="T17" fmla="*/ 312 h 1089"/>
                    <a:gd name="T18" fmla="*/ 284 w 1251"/>
                    <a:gd name="T19" fmla="*/ 728 h 1089"/>
                    <a:gd name="T20" fmla="*/ 408 w 1251"/>
                    <a:gd name="T21" fmla="*/ 542 h 1089"/>
                    <a:gd name="T22" fmla="*/ 335 w 1251"/>
                    <a:gd name="T23" fmla="*/ 878 h 1089"/>
                    <a:gd name="T24" fmla="*/ 426 w 1251"/>
                    <a:gd name="T25" fmla="*/ 839 h 1089"/>
                    <a:gd name="T26" fmla="*/ 625 w 1251"/>
                    <a:gd name="T27" fmla="*/ 593 h 1089"/>
                    <a:gd name="T28" fmla="*/ 549 w 1251"/>
                    <a:gd name="T29" fmla="*/ 932 h 1089"/>
                    <a:gd name="T30" fmla="*/ 284 w 1251"/>
                    <a:gd name="T31" fmla="*/ 729 h 1089"/>
                    <a:gd name="T32" fmla="*/ 473 w 1251"/>
                    <a:gd name="T33" fmla="*/ 911 h 1089"/>
                    <a:gd name="T34" fmla="*/ 635 w 1251"/>
                    <a:gd name="T35" fmla="*/ 673 h 1089"/>
                    <a:gd name="T36" fmla="*/ 369 w 1251"/>
                    <a:gd name="T37" fmla="*/ 610 h 1089"/>
                    <a:gd name="T38" fmla="*/ 411 w 1251"/>
                    <a:gd name="T39" fmla="*/ 894 h 1089"/>
                    <a:gd name="T40" fmla="*/ 970 w 1251"/>
                    <a:gd name="T41" fmla="*/ 308 h 1089"/>
                    <a:gd name="T42" fmla="*/ 946 w 1251"/>
                    <a:gd name="T43" fmla="*/ 378 h 1089"/>
                    <a:gd name="T44" fmla="*/ 29 w 1251"/>
                    <a:gd name="T45" fmla="*/ 367 h 1089"/>
                    <a:gd name="T46" fmla="*/ 56 w 1251"/>
                    <a:gd name="T47" fmla="*/ 265 h 1089"/>
                    <a:gd name="T48" fmla="*/ 897 w 1251"/>
                    <a:gd name="T49" fmla="*/ 326 h 1089"/>
                    <a:gd name="T50" fmla="*/ 868 w 1251"/>
                    <a:gd name="T51" fmla="*/ 305 h 1089"/>
                    <a:gd name="T52" fmla="*/ 892 w 1251"/>
                    <a:gd name="T53" fmla="*/ 333 h 1089"/>
                    <a:gd name="T54" fmla="*/ 837 w 1251"/>
                    <a:gd name="T55" fmla="*/ 306 h 1089"/>
                    <a:gd name="T56" fmla="*/ 778 w 1251"/>
                    <a:gd name="T57" fmla="*/ 335 h 1089"/>
                    <a:gd name="T58" fmla="*/ 946 w 1251"/>
                    <a:gd name="T59" fmla="*/ 279 h 1089"/>
                    <a:gd name="T60" fmla="*/ 963 w 1251"/>
                    <a:gd name="T61" fmla="*/ 292 h 1089"/>
                    <a:gd name="T62" fmla="*/ 956 w 1251"/>
                    <a:gd name="T63" fmla="*/ 383 h 1089"/>
                    <a:gd name="T64" fmla="*/ 966 w 1251"/>
                    <a:gd name="T65" fmla="*/ 388 h 1089"/>
                    <a:gd name="T66" fmla="*/ 1248 w 1251"/>
                    <a:gd name="T67" fmla="*/ 34 h 1089"/>
                    <a:gd name="T68" fmla="*/ 1221 w 1251"/>
                    <a:gd name="T69" fmla="*/ 106 h 1089"/>
                    <a:gd name="T70" fmla="*/ 303 w 1251"/>
                    <a:gd name="T71" fmla="*/ 100 h 1089"/>
                    <a:gd name="T72" fmla="*/ 295 w 1251"/>
                    <a:gd name="T73" fmla="*/ 17 h 1089"/>
                    <a:gd name="T74" fmla="*/ 1190 w 1251"/>
                    <a:gd name="T75" fmla="*/ 74 h 1089"/>
                    <a:gd name="T76" fmla="*/ 1155 w 1251"/>
                    <a:gd name="T77" fmla="*/ 36 h 1089"/>
                    <a:gd name="T78" fmla="*/ 1153 w 1251"/>
                    <a:gd name="T79" fmla="*/ 73 h 1089"/>
                    <a:gd name="T80" fmla="*/ 1111 w 1251"/>
                    <a:gd name="T81" fmla="*/ 72 h 1089"/>
                    <a:gd name="T82" fmla="*/ 1051 w 1251"/>
                    <a:gd name="T83" fmla="*/ 73 h 1089"/>
                    <a:gd name="T84" fmla="*/ 1062 w 1251"/>
                    <a:gd name="T85" fmla="*/ 138 h 1089"/>
                    <a:gd name="T86" fmla="*/ 1108 w 1251"/>
                    <a:gd name="T87" fmla="*/ 263 h 1089"/>
                    <a:gd name="T88" fmla="*/ 183 w 1251"/>
                    <a:gd name="T89" fmla="*/ 232 h 1089"/>
                    <a:gd name="T90" fmla="*/ 153 w 1251"/>
                    <a:gd name="T91" fmla="*/ 233 h 1089"/>
                    <a:gd name="T92" fmla="*/ 201 w 1251"/>
                    <a:gd name="T93" fmla="*/ 133 h 1089"/>
                    <a:gd name="T94" fmla="*/ 1051 w 1251"/>
                    <a:gd name="T95" fmla="*/ 173 h 1089"/>
                    <a:gd name="T96" fmla="*/ 1021 w 1251"/>
                    <a:gd name="T97" fmla="*/ 192 h 1089"/>
                    <a:gd name="T98" fmla="*/ 1031 w 1251"/>
                    <a:gd name="T99" fmla="*/ 203 h 1089"/>
                    <a:gd name="T100" fmla="*/ 937 w 1251"/>
                    <a:gd name="T101" fmla="*/ 172 h 1089"/>
                    <a:gd name="T102" fmla="*/ 869 w 1251"/>
                    <a:gd name="T103" fmla="*/ 202 h 1089"/>
                    <a:gd name="T104" fmla="*/ 999 w 1251"/>
                    <a:gd name="T105" fmla="*/ 287 h 1089"/>
                    <a:gd name="T106" fmla="*/ 1008 w 1251"/>
                    <a:gd name="T107" fmla="*/ 337 h 1089"/>
                    <a:gd name="T108" fmla="*/ 1037 w 1251"/>
                    <a:gd name="T109" fmla="*/ 961 h 1089"/>
                    <a:gd name="T110" fmla="*/ 1109 w 1251"/>
                    <a:gd name="T111" fmla="*/ 339 h 1089"/>
                    <a:gd name="T112" fmla="*/ 1196 w 1251"/>
                    <a:gd name="T113" fmla="*/ 150 h 1089"/>
                    <a:gd name="T114" fmla="*/ 1145 w 1251"/>
                    <a:gd name="T115" fmla="*/ 180 h 1089"/>
                    <a:gd name="T116" fmla="*/ 1130 w 1251"/>
                    <a:gd name="T117" fmla="*/ 768 h 1089"/>
                    <a:gd name="T118" fmla="*/ 1221 w 1251"/>
                    <a:gd name="T119" fmla="*/ 793 h 1089"/>
                    <a:gd name="T120" fmla="*/ 1214 w 1251"/>
                    <a:gd name="T121" fmla="*/ 15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1" h="1089">
                      <a:moveTo>
                        <a:pt x="920" y="420"/>
                      </a:moveTo>
                      <a:cubicBezTo>
                        <a:pt x="929" y="419"/>
                        <a:pt x="935" y="421"/>
                        <a:pt x="941" y="423"/>
                      </a:cubicBezTo>
                      <a:cubicBezTo>
                        <a:pt x="944" y="426"/>
                        <a:pt x="951" y="431"/>
                        <a:pt x="954" y="434"/>
                      </a:cubicBezTo>
                      <a:cubicBezTo>
                        <a:pt x="958" y="439"/>
                        <a:pt x="962" y="445"/>
                        <a:pt x="966" y="450"/>
                      </a:cubicBezTo>
                      <a:cubicBezTo>
                        <a:pt x="966" y="456"/>
                        <a:pt x="967" y="465"/>
                        <a:pt x="968" y="471"/>
                      </a:cubicBezTo>
                      <a:cubicBezTo>
                        <a:pt x="949" y="1041"/>
                        <a:pt x="949" y="1041"/>
                        <a:pt x="949" y="1041"/>
                      </a:cubicBezTo>
                      <a:cubicBezTo>
                        <a:pt x="949" y="1047"/>
                        <a:pt x="947" y="1053"/>
                        <a:pt x="945" y="1060"/>
                      </a:cubicBezTo>
                      <a:cubicBezTo>
                        <a:pt x="943" y="1066"/>
                        <a:pt x="938" y="1073"/>
                        <a:pt x="935" y="1076"/>
                      </a:cubicBezTo>
                      <a:cubicBezTo>
                        <a:pt x="929" y="1080"/>
                        <a:pt x="924" y="1083"/>
                        <a:pt x="918" y="1087"/>
                      </a:cubicBezTo>
                      <a:cubicBezTo>
                        <a:pt x="912" y="1088"/>
                        <a:pt x="906" y="1089"/>
                        <a:pt x="900" y="1089"/>
                      </a:cubicBezTo>
                      <a:cubicBezTo>
                        <a:pt x="43" y="1049"/>
                        <a:pt x="43" y="1049"/>
                        <a:pt x="43" y="1049"/>
                      </a:cubicBezTo>
                      <a:cubicBezTo>
                        <a:pt x="37" y="1049"/>
                        <a:pt x="30" y="1047"/>
                        <a:pt x="27" y="1045"/>
                      </a:cubicBezTo>
                      <a:cubicBezTo>
                        <a:pt x="21" y="1042"/>
                        <a:pt x="17" y="1037"/>
                        <a:pt x="10" y="1032"/>
                      </a:cubicBezTo>
                      <a:cubicBezTo>
                        <a:pt x="7" y="1029"/>
                        <a:pt x="6" y="1023"/>
                        <a:pt x="3" y="1018"/>
                      </a:cubicBezTo>
                      <a:cubicBezTo>
                        <a:pt x="2" y="1012"/>
                        <a:pt x="1" y="1003"/>
                        <a:pt x="0" y="997"/>
                      </a:cubicBezTo>
                      <a:cubicBezTo>
                        <a:pt x="20" y="451"/>
                        <a:pt x="20" y="451"/>
                        <a:pt x="20" y="451"/>
                      </a:cubicBezTo>
                      <a:cubicBezTo>
                        <a:pt x="19" y="445"/>
                        <a:pt x="21" y="438"/>
                        <a:pt x="23" y="432"/>
                      </a:cubicBezTo>
                      <a:cubicBezTo>
                        <a:pt x="26" y="426"/>
                        <a:pt x="28" y="423"/>
                        <a:pt x="33" y="416"/>
                      </a:cubicBezTo>
                      <a:cubicBezTo>
                        <a:pt x="39" y="412"/>
                        <a:pt x="41" y="409"/>
                        <a:pt x="47" y="408"/>
                      </a:cubicBezTo>
                      <a:cubicBezTo>
                        <a:pt x="53" y="404"/>
                        <a:pt x="59" y="404"/>
                        <a:pt x="65" y="403"/>
                      </a:cubicBezTo>
                      <a:cubicBezTo>
                        <a:pt x="920" y="420"/>
                        <a:pt x="920" y="420"/>
                        <a:pt x="920" y="420"/>
                      </a:cubicBezTo>
                      <a:cubicBezTo>
                        <a:pt x="920" y="420"/>
                        <a:pt x="920" y="420"/>
                        <a:pt x="920" y="420"/>
                      </a:cubicBezTo>
                      <a:close/>
                      <a:moveTo>
                        <a:pt x="900" y="1038"/>
                      </a:moveTo>
                      <a:cubicBezTo>
                        <a:pt x="920" y="471"/>
                        <a:pt x="920" y="471"/>
                        <a:pt x="920" y="471"/>
                      </a:cubicBezTo>
                      <a:cubicBezTo>
                        <a:pt x="65" y="451"/>
                        <a:pt x="65" y="451"/>
                        <a:pt x="65" y="451"/>
                      </a:cubicBezTo>
                      <a:cubicBezTo>
                        <a:pt x="46" y="1000"/>
                        <a:pt x="46" y="1000"/>
                        <a:pt x="46" y="1000"/>
                      </a:cubicBezTo>
                      <a:cubicBezTo>
                        <a:pt x="900" y="1038"/>
                        <a:pt x="900" y="1038"/>
                        <a:pt x="900" y="1038"/>
                      </a:cubicBezTo>
                      <a:moveTo>
                        <a:pt x="953" y="1042"/>
                      </a:moveTo>
                      <a:cubicBezTo>
                        <a:pt x="954" y="1048"/>
                        <a:pt x="951" y="1054"/>
                        <a:pt x="949" y="1060"/>
                      </a:cubicBezTo>
                      <a:cubicBezTo>
                        <a:pt x="947" y="1066"/>
                        <a:pt x="941" y="1073"/>
                        <a:pt x="939" y="1076"/>
                      </a:cubicBezTo>
                      <a:cubicBezTo>
                        <a:pt x="933" y="1079"/>
                        <a:pt x="927" y="1083"/>
                        <a:pt x="921" y="1087"/>
                      </a:cubicBezTo>
                      <a:cubicBezTo>
                        <a:pt x="915" y="1087"/>
                        <a:pt x="909" y="1088"/>
                        <a:pt x="903" y="1089"/>
                      </a:cubicBezTo>
                      <a:cubicBezTo>
                        <a:pt x="909" y="1088"/>
                        <a:pt x="915" y="1087"/>
                        <a:pt x="921" y="1087"/>
                      </a:cubicBezTo>
                      <a:cubicBezTo>
                        <a:pt x="927" y="1083"/>
                        <a:pt x="933" y="1079"/>
                        <a:pt x="939" y="1076"/>
                      </a:cubicBezTo>
                      <a:cubicBezTo>
                        <a:pt x="941" y="1073"/>
                        <a:pt x="947" y="1066"/>
                        <a:pt x="949" y="1060"/>
                      </a:cubicBezTo>
                      <a:cubicBezTo>
                        <a:pt x="951" y="1054"/>
                        <a:pt x="954" y="1048"/>
                        <a:pt x="953" y="1042"/>
                      </a:cubicBezTo>
                      <a:close/>
                      <a:moveTo>
                        <a:pt x="21" y="312"/>
                      </a:moveTo>
                      <a:cubicBezTo>
                        <a:pt x="24" y="305"/>
                        <a:pt x="23" y="299"/>
                        <a:pt x="26" y="292"/>
                      </a:cubicBezTo>
                      <a:cubicBezTo>
                        <a:pt x="28" y="285"/>
                        <a:pt x="34" y="281"/>
                        <a:pt x="37" y="277"/>
                      </a:cubicBezTo>
                      <a:cubicBezTo>
                        <a:pt x="43" y="270"/>
                        <a:pt x="49" y="266"/>
                        <a:pt x="56" y="265"/>
                      </a:cubicBezTo>
                      <a:cubicBezTo>
                        <a:pt x="62" y="261"/>
                        <a:pt x="69" y="261"/>
                        <a:pt x="76" y="260"/>
                      </a:cubicBezTo>
                      <a:cubicBezTo>
                        <a:pt x="69" y="261"/>
                        <a:pt x="62" y="261"/>
                        <a:pt x="56" y="265"/>
                      </a:cubicBezTo>
                      <a:cubicBezTo>
                        <a:pt x="49" y="266"/>
                        <a:pt x="43" y="270"/>
                        <a:pt x="37" y="277"/>
                      </a:cubicBezTo>
                      <a:cubicBezTo>
                        <a:pt x="34" y="281"/>
                        <a:pt x="28" y="285"/>
                        <a:pt x="26" y="292"/>
                      </a:cubicBezTo>
                      <a:cubicBezTo>
                        <a:pt x="23" y="299"/>
                        <a:pt x="24" y="305"/>
                        <a:pt x="21" y="312"/>
                      </a:cubicBezTo>
                      <a:close/>
                      <a:moveTo>
                        <a:pt x="470" y="945"/>
                      </a:moveTo>
                      <a:cubicBezTo>
                        <a:pt x="442" y="943"/>
                        <a:pt x="418" y="937"/>
                        <a:pt x="395" y="925"/>
                      </a:cubicBezTo>
                      <a:cubicBezTo>
                        <a:pt x="373" y="912"/>
                        <a:pt x="353" y="897"/>
                        <a:pt x="335" y="878"/>
                      </a:cubicBezTo>
                      <a:cubicBezTo>
                        <a:pt x="321" y="859"/>
                        <a:pt x="306" y="837"/>
                        <a:pt x="297" y="811"/>
                      </a:cubicBezTo>
                      <a:cubicBezTo>
                        <a:pt x="288" y="785"/>
                        <a:pt x="285" y="758"/>
                        <a:pt x="284" y="728"/>
                      </a:cubicBezTo>
                      <a:cubicBezTo>
                        <a:pt x="286" y="701"/>
                        <a:pt x="292" y="673"/>
                        <a:pt x="304" y="651"/>
                      </a:cubicBezTo>
                      <a:cubicBezTo>
                        <a:pt x="313" y="625"/>
                        <a:pt x="328" y="602"/>
                        <a:pt x="347" y="585"/>
                      </a:cubicBezTo>
                      <a:cubicBezTo>
                        <a:pt x="362" y="565"/>
                        <a:pt x="385" y="553"/>
                        <a:pt x="408" y="542"/>
                      </a:cubicBezTo>
                      <a:cubicBezTo>
                        <a:pt x="433" y="532"/>
                        <a:pt x="457" y="526"/>
                        <a:pt x="484" y="529"/>
                      </a:cubicBezTo>
                      <a:cubicBezTo>
                        <a:pt x="457" y="526"/>
                        <a:pt x="433" y="532"/>
                        <a:pt x="408" y="542"/>
                      </a:cubicBezTo>
                      <a:cubicBezTo>
                        <a:pt x="385" y="553"/>
                        <a:pt x="362" y="565"/>
                        <a:pt x="347" y="585"/>
                      </a:cubicBezTo>
                      <a:cubicBezTo>
                        <a:pt x="328" y="602"/>
                        <a:pt x="313" y="625"/>
                        <a:pt x="304" y="651"/>
                      </a:cubicBezTo>
                      <a:cubicBezTo>
                        <a:pt x="292" y="673"/>
                        <a:pt x="286" y="701"/>
                        <a:pt x="284" y="728"/>
                      </a:cubicBezTo>
                      <a:cubicBezTo>
                        <a:pt x="285" y="758"/>
                        <a:pt x="288" y="785"/>
                        <a:pt x="297" y="811"/>
                      </a:cubicBezTo>
                      <a:cubicBezTo>
                        <a:pt x="306" y="837"/>
                        <a:pt x="321" y="859"/>
                        <a:pt x="335" y="878"/>
                      </a:cubicBezTo>
                      <a:cubicBezTo>
                        <a:pt x="353" y="897"/>
                        <a:pt x="373" y="912"/>
                        <a:pt x="395" y="925"/>
                      </a:cubicBezTo>
                      <a:cubicBezTo>
                        <a:pt x="418" y="937"/>
                        <a:pt x="442" y="943"/>
                        <a:pt x="470" y="945"/>
                      </a:cubicBezTo>
                      <a:close/>
                      <a:moveTo>
                        <a:pt x="431" y="631"/>
                      </a:moveTo>
                      <a:cubicBezTo>
                        <a:pt x="431" y="631"/>
                        <a:pt x="431" y="631"/>
                        <a:pt x="431" y="631"/>
                      </a:cubicBezTo>
                      <a:cubicBezTo>
                        <a:pt x="426" y="839"/>
                        <a:pt x="426" y="839"/>
                        <a:pt x="426" y="839"/>
                      </a:cubicBezTo>
                      <a:cubicBezTo>
                        <a:pt x="581" y="739"/>
                        <a:pt x="581" y="739"/>
                        <a:pt x="581" y="739"/>
                      </a:cubicBezTo>
                      <a:cubicBezTo>
                        <a:pt x="431" y="631"/>
                        <a:pt x="431" y="631"/>
                        <a:pt x="431" y="631"/>
                      </a:cubicBezTo>
                      <a:close/>
                      <a:moveTo>
                        <a:pt x="486" y="529"/>
                      </a:moveTo>
                      <a:cubicBezTo>
                        <a:pt x="514" y="528"/>
                        <a:pt x="539" y="534"/>
                        <a:pt x="564" y="546"/>
                      </a:cubicBezTo>
                      <a:cubicBezTo>
                        <a:pt x="587" y="556"/>
                        <a:pt x="607" y="571"/>
                        <a:pt x="625" y="593"/>
                      </a:cubicBezTo>
                      <a:cubicBezTo>
                        <a:pt x="642" y="612"/>
                        <a:pt x="657" y="634"/>
                        <a:pt x="667" y="660"/>
                      </a:cubicBezTo>
                      <a:cubicBezTo>
                        <a:pt x="676" y="686"/>
                        <a:pt x="679" y="713"/>
                        <a:pt x="677" y="744"/>
                      </a:cubicBezTo>
                      <a:cubicBezTo>
                        <a:pt x="677" y="771"/>
                        <a:pt x="672" y="799"/>
                        <a:pt x="660" y="824"/>
                      </a:cubicBezTo>
                      <a:cubicBezTo>
                        <a:pt x="648" y="850"/>
                        <a:pt x="632" y="873"/>
                        <a:pt x="613" y="890"/>
                      </a:cubicBezTo>
                      <a:cubicBezTo>
                        <a:pt x="597" y="907"/>
                        <a:pt x="575" y="922"/>
                        <a:pt x="549" y="932"/>
                      </a:cubicBezTo>
                      <a:cubicBezTo>
                        <a:pt x="526" y="943"/>
                        <a:pt x="499" y="947"/>
                        <a:pt x="472" y="947"/>
                      </a:cubicBezTo>
                      <a:cubicBezTo>
                        <a:pt x="447" y="944"/>
                        <a:pt x="419" y="939"/>
                        <a:pt x="396" y="926"/>
                      </a:cubicBezTo>
                      <a:cubicBezTo>
                        <a:pt x="374" y="914"/>
                        <a:pt x="353" y="898"/>
                        <a:pt x="336" y="879"/>
                      </a:cubicBezTo>
                      <a:cubicBezTo>
                        <a:pt x="321" y="860"/>
                        <a:pt x="307" y="838"/>
                        <a:pt x="297" y="812"/>
                      </a:cubicBezTo>
                      <a:cubicBezTo>
                        <a:pt x="288" y="786"/>
                        <a:pt x="285" y="759"/>
                        <a:pt x="284" y="729"/>
                      </a:cubicBezTo>
                      <a:cubicBezTo>
                        <a:pt x="287" y="702"/>
                        <a:pt x="292" y="674"/>
                        <a:pt x="305" y="651"/>
                      </a:cubicBezTo>
                      <a:cubicBezTo>
                        <a:pt x="313" y="626"/>
                        <a:pt x="329" y="603"/>
                        <a:pt x="348" y="585"/>
                      </a:cubicBezTo>
                      <a:cubicBezTo>
                        <a:pt x="364" y="565"/>
                        <a:pt x="386" y="553"/>
                        <a:pt x="409" y="541"/>
                      </a:cubicBezTo>
                      <a:cubicBezTo>
                        <a:pt x="435" y="532"/>
                        <a:pt x="459" y="526"/>
                        <a:pt x="486" y="529"/>
                      </a:cubicBezTo>
                      <a:close/>
                      <a:moveTo>
                        <a:pt x="473" y="911"/>
                      </a:moveTo>
                      <a:cubicBezTo>
                        <a:pt x="498" y="911"/>
                        <a:pt x="518" y="908"/>
                        <a:pt x="539" y="900"/>
                      </a:cubicBezTo>
                      <a:cubicBezTo>
                        <a:pt x="559" y="891"/>
                        <a:pt x="576" y="880"/>
                        <a:pt x="592" y="863"/>
                      </a:cubicBezTo>
                      <a:cubicBezTo>
                        <a:pt x="608" y="849"/>
                        <a:pt x="621" y="829"/>
                        <a:pt x="627" y="810"/>
                      </a:cubicBezTo>
                      <a:cubicBezTo>
                        <a:pt x="637" y="788"/>
                        <a:pt x="643" y="766"/>
                        <a:pt x="643" y="742"/>
                      </a:cubicBezTo>
                      <a:cubicBezTo>
                        <a:pt x="646" y="717"/>
                        <a:pt x="640" y="694"/>
                        <a:pt x="635" y="673"/>
                      </a:cubicBezTo>
                      <a:cubicBezTo>
                        <a:pt x="626" y="653"/>
                        <a:pt x="615" y="634"/>
                        <a:pt x="600" y="617"/>
                      </a:cubicBezTo>
                      <a:cubicBezTo>
                        <a:pt x="586" y="601"/>
                        <a:pt x="570" y="588"/>
                        <a:pt x="550" y="578"/>
                      </a:cubicBezTo>
                      <a:cubicBezTo>
                        <a:pt x="531" y="569"/>
                        <a:pt x="509" y="562"/>
                        <a:pt x="485" y="562"/>
                      </a:cubicBezTo>
                      <a:cubicBezTo>
                        <a:pt x="463" y="562"/>
                        <a:pt x="443" y="567"/>
                        <a:pt x="423" y="576"/>
                      </a:cubicBezTo>
                      <a:cubicBezTo>
                        <a:pt x="402" y="582"/>
                        <a:pt x="386" y="596"/>
                        <a:pt x="369" y="610"/>
                      </a:cubicBezTo>
                      <a:cubicBezTo>
                        <a:pt x="353" y="627"/>
                        <a:pt x="343" y="643"/>
                        <a:pt x="334" y="666"/>
                      </a:cubicBezTo>
                      <a:cubicBezTo>
                        <a:pt x="324" y="685"/>
                        <a:pt x="318" y="707"/>
                        <a:pt x="317" y="731"/>
                      </a:cubicBezTo>
                      <a:cubicBezTo>
                        <a:pt x="317" y="755"/>
                        <a:pt x="320" y="779"/>
                        <a:pt x="329" y="799"/>
                      </a:cubicBezTo>
                      <a:cubicBezTo>
                        <a:pt x="335" y="819"/>
                        <a:pt x="346" y="839"/>
                        <a:pt x="360" y="855"/>
                      </a:cubicBezTo>
                      <a:cubicBezTo>
                        <a:pt x="374" y="872"/>
                        <a:pt x="391" y="885"/>
                        <a:pt x="411" y="894"/>
                      </a:cubicBezTo>
                      <a:cubicBezTo>
                        <a:pt x="430" y="904"/>
                        <a:pt x="452" y="910"/>
                        <a:pt x="473" y="911"/>
                      </a:cubicBezTo>
                      <a:moveTo>
                        <a:pt x="927" y="273"/>
                      </a:moveTo>
                      <a:cubicBezTo>
                        <a:pt x="933" y="273"/>
                        <a:pt x="939" y="275"/>
                        <a:pt x="945" y="277"/>
                      </a:cubicBezTo>
                      <a:cubicBezTo>
                        <a:pt x="952" y="279"/>
                        <a:pt x="955" y="285"/>
                        <a:pt x="962" y="290"/>
                      </a:cubicBezTo>
                      <a:cubicBezTo>
                        <a:pt x="965" y="293"/>
                        <a:pt x="969" y="299"/>
                        <a:pt x="970" y="308"/>
                      </a:cubicBezTo>
                      <a:cubicBezTo>
                        <a:pt x="974" y="313"/>
                        <a:pt x="975" y="320"/>
                        <a:pt x="972" y="326"/>
                      </a:cubicBezTo>
                      <a:cubicBezTo>
                        <a:pt x="972" y="397"/>
                        <a:pt x="972" y="397"/>
                        <a:pt x="972" y="397"/>
                      </a:cubicBezTo>
                      <a:cubicBezTo>
                        <a:pt x="969" y="394"/>
                        <a:pt x="968" y="391"/>
                        <a:pt x="965" y="388"/>
                      </a:cubicBezTo>
                      <a:cubicBezTo>
                        <a:pt x="962" y="385"/>
                        <a:pt x="959" y="386"/>
                        <a:pt x="956" y="383"/>
                      </a:cubicBezTo>
                      <a:cubicBezTo>
                        <a:pt x="952" y="381"/>
                        <a:pt x="949" y="381"/>
                        <a:pt x="946" y="378"/>
                      </a:cubicBezTo>
                      <a:cubicBezTo>
                        <a:pt x="943" y="379"/>
                        <a:pt x="937" y="379"/>
                        <a:pt x="934" y="377"/>
                      </a:cubicBezTo>
                      <a:cubicBezTo>
                        <a:pt x="55" y="360"/>
                        <a:pt x="55" y="360"/>
                        <a:pt x="55" y="360"/>
                      </a:cubicBezTo>
                      <a:cubicBezTo>
                        <a:pt x="52" y="361"/>
                        <a:pt x="49" y="361"/>
                        <a:pt x="47" y="361"/>
                      </a:cubicBezTo>
                      <a:cubicBezTo>
                        <a:pt x="44" y="362"/>
                        <a:pt x="41" y="362"/>
                        <a:pt x="38" y="363"/>
                      </a:cubicBezTo>
                      <a:cubicBezTo>
                        <a:pt x="35" y="366"/>
                        <a:pt x="32" y="366"/>
                        <a:pt x="29" y="367"/>
                      </a:cubicBezTo>
                      <a:cubicBezTo>
                        <a:pt x="29" y="370"/>
                        <a:pt x="27" y="370"/>
                        <a:pt x="24" y="373"/>
                      </a:cubicBezTo>
                      <a:cubicBezTo>
                        <a:pt x="25" y="309"/>
                        <a:pt x="25" y="309"/>
                        <a:pt x="25" y="309"/>
                      </a:cubicBezTo>
                      <a:cubicBezTo>
                        <a:pt x="27" y="303"/>
                        <a:pt x="26" y="297"/>
                        <a:pt x="29" y="290"/>
                      </a:cubicBezTo>
                      <a:cubicBezTo>
                        <a:pt x="31" y="284"/>
                        <a:pt x="36" y="280"/>
                        <a:pt x="39" y="277"/>
                      </a:cubicBezTo>
                      <a:cubicBezTo>
                        <a:pt x="44" y="270"/>
                        <a:pt x="50" y="266"/>
                        <a:pt x="56" y="265"/>
                      </a:cubicBezTo>
                      <a:cubicBezTo>
                        <a:pt x="61" y="261"/>
                        <a:pt x="67" y="261"/>
                        <a:pt x="73" y="260"/>
                      </a:cubicBezTo>
                      <a:cubicBezTo>
                        <a:pt x="927" y="273"/>
                        <a:pt x="927" y="273"/>
                        <a:pt x="927" y="273"/>
                      </a:cubicBezTo>
                      <a:cubicBezTo>
                        <a:pt x="927" y="273"/>
                        <a:pt x="927" y="273"/>
                        <a:pt x="927" y="273"/>
                      </a:cubicBezTo>
                      <a:close/>
                      <a:moveTo>
                        <a:pt x="915" y="345"/>
                      </a:moveTo>
                      <a:cubicBezTo>
                        <a:pt x="897" y="326"/>
                        <a:pt x="897" y="326"/>
                        <a:pt x="897" y="326"/>
                      </a:cubicBezTo>
                      <a:cubicBezTo>
                        <a:pt x="916" y="308"/>
                        <a:pt x="916" y="308"/>
                        <a:pt x="916" y="308"/>
                      </a:cubicBezTo>
                      <a:cubicBezTo>
                        <a:pt x="904" y="307"/>
                        <a:pt x="904" y="307"/>
                        <a:pt x="904" y="307"/>
                      </a:cubicBezTo>
                      <a:cubicBezTo>
                        <a:pt x="891" y="321"/>
                        <a:pt x="891" y="321"/>
                        <a:pt x="891" y="321"/>
                      </a:cubicBezTo>
                      <a:cubicBezTo>
                        <a:pt x="880" y="307"/>
                        <a:pt x="880" y="307"/>
                        <a:pt x="880" y="307"/>
                      </a:cubicBezTo>
                      <a:cubicBezTo>
                        <a:pt x="868" y="305"/>
                        <a:pt x="868" y="305"/>
                        <a:pt x="868" y="305"/>
                      </a:cubicBezTo>
                      <a:cubicBezTo>
                        <a:pt x="885" y="328"/>
                        <a:pt x="885" y="328"/>
                        <a:pt x="885" y="328"/>
                      </a:cubicBezTo>
                      <a:cubicBezTo>
                        <a:pt x="866" y="345"/>
                        <a:pt x="866" y="345"/>
                        <a:pt x="866" y="345"/>
                      </a:cubicBezTo>
                      <a:cubicBezTo>
                        <a:pt x="878" y="344"/>
                        <a:pt x="878" y="344"/>
                        <a:pt x="878" y="344"/>
                      </a:cubicBezTo>
                      <a:cubicBezTo>
                        <a:pt x="878" y="344"/>
                        <a:pt x="878" y="344"/>
                        <a:pt x="878" y="344"/>
                      </a:cubicBezTo>
                      <a:cubicBezTo>
                        <a:pt x="892" y="333"/>
                        <a:pt x="892" y="333"/>
                        <a:pt x="892" y="333"/>
                      </a:cubicBezTo>
                      <a:cubicBezTo>
                        <a:pt x="896" y="339"/>
                        <a:pt x="896" y="339"/>
                        <a:pt x="896" y="339"/>
                      </a:cubicBezTo>
                      <a:cubicBezTo>
                        <a:pt x="903" y="347"/>
                        <a:pt x="903" y="347"/>
                        <a:pt x="903" y="347"/>
                      </a:cubicBezTo>
                      <a:cubicBezTo>
                        <a:pt x="915" y="345"/>
                        <a:pt x="915" y="345"/>
                        <a:pt x="915" y="345"/>
                      </a:cubicBezTo>
                      <a:moveTo>
                        <a:pt x="836" y="346"/>
                      </a:moveTo>
                      <a:cubicBezTo>
                        <a:pt x="837" y="306"/>
                        <a:pt x="837" y="306"/>
                        <a:pt x="837" y="306"/>
                      </a:cubicBezTo>
                      <a:cubicBezTo>
                        <a:pt x="805" y="307"/>
                        <a:pt x="805" y="307"/>
                        <a:pt x="805" y="307"/>
                      </a:cubicBezTo>
                      <a:cubicBezTo>
                        <a:pt x="803" y="344"/>
                        <a:pt x="803" y="344"/>
                        <a:pt x="803" y="344"/>
                      </a:cubicBezTo>
                      <a:cubicBezTo>
                        <a:pt x="836" y="346"/>
                        <a:pt x="836" y="346"/>
                        <a:pt x="836" y="346"/>
                      </a:cubicBezTo>
                      <a:moveTo>
                        <a:pt x="779" y="344"/>
                      </a:moveTo>
                      <a:cubicBezTo>
                        <a:pt x="778" y="335"/>
                        <a:pt x="778" y="335"/>
                        <a:pt x="778" y="335"/>
                      </a:cubicBezTo>
                      <a:cubicBezTo>
                        <a:pt x="736" y="334"/>
                        <a:pt x="736" y="334"/>
                        <a:pt x="736" y="334"/>
                      </a:cubicBezTo>
                      <a:cubicBezTo>
                        <a:pt x="734" y="343"/>
                        <a:pt x="734" y="343"/>
                        <a:pt x="734" y="343"/>
                      </a:cubicBezTo>
                      <a:cubicBezTo>
                        <a:pt x="779" y="344"/>
                        <a:pt x="779" y="344"/>
                        <a:pt x="779" y="344"/>
                      </a:cubicBezTo>
                      <a:moveTo>
                        <a:pt x="929" y="275"/>
                      </a:moveTo>
                      <a:cubicBezTo>
                        <a:pt x="934" y="275"/>
                        <a:pt x="940" y="277"/>
                        <a:pt x="946" y="279"/>
                      </a:cubicBezTo>
                      <a:cubicBezTo>
                        <a:pt x="953" y="281"/>
                        <a:pt x="956" y="287"/>
                        <a:pt x="963" y="292"/>
                      </a:cubicBezTo>
                      <a:cubicBezTo>
                        <a:pt x="966" y="294"/>
                        <a:pt x="969" y="299"/>
                        <a:pt x="970" y="308"/>
                      </a:cubicBezTo>
                      <a:cubicBezTo>
                        <a:pt x="974" y="314"/>
                        <a:pt x="975" y="319"/>
                        <a:pt x="973" y="326"/>
                      </a:cubicBezTo>
                      <a:cubicBezTo>
                        <a:pt x="975" y="319"/>
                        <a:pt x="974" y="314"/>
                        <a:pt x="970" y="308"/>
                      </a:cubicBezTo>
                      <a:cubicBezTo>
                        <a:pt x="969" y="299"/>
                        <a:pt x="966" y="294"/>
                        <a:pt x="963" y="292"/>
                      </a:cubicBezTo>
                      <a:cubicBezTo>
                        <a:pt x="956" y="287"/>
                        <a:pt x="953" y="281"/>
                        <a:pt x="946" y="279"/>
                      </a:cubicBezTo>
                      <a:cubicBezTo>
                        <a:pt x="940" y="277"/>
                        <a:pt x="934" y="275"/>
                        <a:pt x="929" y="275"/>
                      </a:cubicBezTo>
                      <a:close/>
                      <a:moveTo>
                        <a:pt x="974" y="396"/>
                      </a:moveTo>
                      <a:cubicBezTo>
                        <a:pt x="970" y="394"/>
                        <a:pt x="970" y="390"/>
                        <a:pt x="966" y="388"/>
                      </a:cubicBezTo>
                      <a:cubicBezTo>
                        <a:pt x="963" y="385"/>
                        <a:pt x="959" y="385"/>
                        <a:pt x="956" y="383"/>
                      </a:cubicBezTo>
                      <a:cubicBezTo>
                        <a:pt x="952" y="380"/>
                        <a:pt x="949" y="380"/>
                        <a:pt x="945" y="378"/>
                      </a:cubicBezTo>
                      <a:cubicBezTo>
                        <a:pt x="941" y="378"/>
                        <a:pt x="935" y="379"/>
                        <a:pt x="931" y="376"/>
                      </a:cubicBezTo>
                      <a:cubicBezTo>
                        <a:pt x="935" y="379"/>
                        <a:pt x="941" y="378"/>
                        <a:pt x="945" y="378"/>
                      </a:cubicBezTo>
                      <a:cubicBezTo>
                        <a:pt x="949" y="380"/>
                        <a:pt x="952" y="380"/>
                        <a:pt x="956" y="383"/>
                      </a:cubicBezTo>
                      <a:cubicBezTo>
                        <a:pt x="959" y="385"/>
                        <a:pt x="963" y="385"/>
                        <a:pt x="966" y="388"/>
                      </a:cubicBezTo>
                      <a:cubicBezTo>
                        <a:pt x="970" y="390"/>
                        <a:pt x="970" y="394"/>
                        <a:pt x="974" y="396"/>
                      </a:cubicBezTo>
                      <a:close/>
                      <a:moveTo>
                        <a:pt x="1202" y="0"/>
                      </a:moveTo>
                      <a:cubicBezTo>
                        <a:pt x="1208" y="2"/>
                        <a:pt x="1217" y="1"/>
                        <a:pt x="1220" y="4"/>
                      </a:cubicBezTo>
                      <a:cubicBezTo>
                        <a:pt x="1227" y="9"/>
                        <a:pt x="1233" y="11"/>
                        <a:pt x="1237" y="17"/>
                      </a:cubicBezTo>
                      <a:cubicBezTo>
                        <a:pt x="1241" y="23"/>
                        <a:pt x="1244" y="28"/>
                        <a:pt x="1248" y="34"/>
                      </a:cubicBezTo>
                      <a:cubicBezTo>
                        <a:pt x="1249" y="40"/>
                        <a:pt x="1250" y="46"/>
                        <a:pt x="1251" y="54"/>
                      </a:cubicBezTo>
                      <a:cubicBezTo>
                        <a:pt x="1247" y="124"/>
                        <a:pt x="1247" y="124"/>
                        <a:pt x="1247" y="124"/>
                      </a:cubicBezTo>
                      <a:cubicBezTo>
                        <a:pt x="1247" y="121"/>
                        <a:pt x="1244" y="119"/>
                        <a:pt x="1240" y="116"/>
                      </a:cubicBezTo>
                      <a:cubicBezTo>
                        <a:pt x="1237" y="113"/>
                        <a:pt x="1234" y="111"/>
                        <a:pt x="1230" y="108"/>
                      </a:cubicBezTo>
                      <a:cubicBezTo>
                        <a:pt x="1227" y="109"/>
                        <a:pt x="1224" y="106"/>
                        <a:pt x="1221" y="106"/>
                      </a:cubicBezTo>
                      <a:cubicBezTo>
                        <a:pt x="1218" y="104"/>
                        <a:pt x="1215" y="104"/>
                        <a:pt x="1209" y="105"/>
                      </a:cubicBezTo>
                      <a:cubicBezTo>
                        <a:pt x="309" y="99"/>
                        <a:pt x="309" y="99"/>
                        <a:pt x="309" y="99"/>
                      </a:cubicBezTo>
                      <a:cubicBezTo>
                        <a:pt x="309" y="99"/>
                        <a:pt x="309" y="99"/>
                        <a:pt x="309" y="99"/>
                      </a:cubicBezTo>
                      <a:cubicBezTo>
                        <a:pt x="306" y="100"/>
                        <a:pt x="306" y="100"/>
                        <a:pt x="306" y="100"/>
                      </a:cubicBezTo>
                      <a:cubicBezTo>
                        <a:pt x="303" y="100"/>
                        <a:pt x="303" y="100"/>
                        <a:pt x="303" y="100"/>
                      </a:cubicBezTo>
                      <a:cubicBezTo>
                        <a:pt x="300" y="100"/>
                        <a:pt x="300" y="100"/>
                        <a:pt x="300" y="100"/>
                      </a:cubicBezTo>
                      <a:cubicBezTo>
                        <a:pt x="279" y="100"/>
                        <a:pt x="279" y="100"/>
                        <a:pt x="279" y="100"/>
                      </a:cubicBezTo>
                      <a:cubicBezTo>
                        <a:pt x="279" y="52"/>
                        <a:pt x="279" y="52"/>
                        <a:pt x="279" y="52"/>
                      </a:cubicBezTo>
                      <a:cubicBezTo>
                        <a:pt x="281" y="42"/>
                        <a:pt x="280" y="37"/>
                        <a:pt x="285" y="30"/>
                      </a:cubicBezTo>
                      <a:cubicBezTo>
                        <a:pt x="287" y="24"/>
                        <a:pt x="290" y="20"/>
                        <a:pt x="295" y="17"/>
                      </a:cubicBezTo>
                      <a:cubicBezTo>
                        <a:pt x="298" y="10"/>
                        <a:pt x="303" y="6"/>
                        <a:pt x="309" y="6"/>
                      </a:cubicBezTo>
                      <a:cubicBezTo>
                        <a:pt x="315" y="2"/>
                        <a:pt x="321" y="1"/>
                        <a:pt x="327" y="1"/>
                      </a:cubicBezTo>
                      <a:cubicBezTo>
                        <a:pt x="1202" y="0"/>
                        <a:pt x="1202" y="0"/>
                        <a:pt x="1202" y="0"/>
                      </a:cubicBezTo>
                      <a:cubicBezTo>
                        <a:pt x="1202" y="0"/>
                        <a:pt x="1202" y="0"/>
                        <a:pt x="1202" y="0"/>
                      </a:cubicBezTo>
                      <a:close/>
                      <a:moveTo>
                        <a:pt x="1190" y="74"/>
                      </a:moveTo>
                      <a:cubicBezTo>
                        <a:pt x="1172" y="55"/>
                        <a:pt x="1172" y="55"/>
                        <a:pt x="1172" y="55"/>
                      </a:cubicBezTo>
                      <a:cubicBezTo>
                        <a:pt x="1191" y="35"/>
                        <a:pt x="1191" y="35"/>
                        <a:pt x="1191" y="35"/>
                      </a:cubicBezTo>
                      <a:cubicBezTo>
                        <a:pt x="1179" y="36"/>
                        <a:pt x="1179" y="36"/>
                        <a:pt x="1179" y="36"/>
                      </a:cubicBezTo>
                      <a:cubicBezTo>
                        <a:pt x="1165" y="47"/>
                        <a:pt x="1165" y="47"/>
                        <a:pt x="1165" y="47"/>
                      </a:cubicBezTo>
                      <a:cubicBezTo>
                        <a:pt x="1155" y="36"/>
                        <a:pt x="1155" y="36"/>
                        <a:pt x="1155" y="36"/>
                      </a:cubicBezTo>
                      <a:cubicBezTo>
                        <a:pt x="1143" y="35"/>
                        <a:pt x="1143" y="35"/>
                        <a:pt x="1143" y="35"/>
                      </a:cubicBezTo>
                      <a:cubicBezTo>
                        <a:pt x="1160" y="54"/>
                        <a:pt x="1160" y="54"/>
                        <a:pt x="1160" y="54"/>
                      </a:cubicBezTo>
                      <a:cubicBezTo>
                        <a:pt x="1142" y="74"/>
                        <a:pt x="1142" y="74"/>
                        <a:pt x="1142" y="74"/>
                      </a:cubicBezTo>
                      <a:cubicBezTo>
                        <a:pt x="1153" y="73"/>
                        <a:pt x="1153" y="73"/>
                        <a:pt x="1153" y="73"/>
                      </a:cubicBezTo>
                      <a:cubicBezTo>
                        <a:pt x="1153" y="73"/>
                        <a:pt x="1153" y="73"/>
                        <a:pt x="1153" y="73"/>
                      </a:cubicBezTo>
                      <a:cubicBezTo>
                        <a:pt x="1167" y="59"/>
                        <a:pt x="1167" y="59"/>
                        <a:pt x="1167" y="59"/>
                      </a:cubicBezTo>
                      <a:cubicBezTo>
                        <a:pt x="1170" y="64"/>
                        <a:pt x="1170" y="64"/>
                        <a:pt x="1170" y="64"/>
                      </a:cubicBezTo>
                      <a:cubicBezTo>
                        <a:pt x="1178" y="73"/>
                        <a:pt x="1178" y="73"/>
                        <a:pt x="1178" y="73"/>
                      </a:cubicBezTo>
                      <a:cubicBezTo>
                        <a:pt x="1190" y="74"/>
                        <a:pt x="1190" y="74"/>
                        <a:pt x="1190" y="74"/>
                      </a:cubicBezTo>
                      <a:moveTo>
                        <a:pt x="1111" y="72"/>
                      </a:moveTo>
                      <a:cubicBezTo>
                        <a:pt x="1113" y="35"/>
                        <a:pt x="1113" y="35"/>
                        <a:pt x="1113" y="35"/>
                      </a:cubicBezTo>
                      <a:cubicBezTo>
                        <a:pt x="1076" y="34"/>
                        <a:pt x="1076" y="34"/>
                        <a:pt x="1076" y="34"/>
                      </a:cubicBezTo>
                      <a:cubicBezTo>
                        <a:pt x="1075" y="73"/>
                        <a:pt x="1075" y="73"/>
                        <a:pt x="1075" y="73"/>
                      </a:cubicBezTo>
                      <a:cubicBezTo>
                        <a:pt x="1111" y="72"/>
                        <a:pt x="1111" y="72"/>
                        <a:pt x="1111" y="72"/>
                      </a:cubicBezTo>
                      <a:moveTo>
                        <a:pt x="1051" y="73"/>
                      </a:moveTo>
                      <a:cubicBezTo>
                        <a:pt x="1050" y="64"/>
                        <a:pt x="1050" y="64"/>
                        <a:pt x="1050" y="64"/>
                      </a:cubicBezTo>
                      <a:cubicBezTo>
                        <a:pt x="1004" y="64"/>
                        <a:pt x="1004" y="64"/>
                        <a:pt x="1004" y="64"/>
                      </a:cubicBezTo>
                      <a:cubicBezTo>
                        <a:pt x="1006" y="73"/>
                        <a:pt x="1006" y="73"/>
                        <a:pt x="1006" y="73"/>
                      </a:cubicBezTo>
                      <a:cubicBezTo>
                        <a:pt x="1051" y="73"/>
                        <a:pt x="1051" y="73"/>
                        <a:pt x="1051" y="73"/>
                      </a:cubicBezTo>
                      <a:moveTo>
                        <a:pt x="1062" y="138"/>
                      </a:moveTo>
                      <a:cubicBezTo>
                        <a:pt x="1068" y="140"/>
                        <a:pt x="1075" y="143"/>
                        <a:pt x="1081" y="145"/>
                      </a:cubicBezTo>
                      <a:cubicBezTo>
                        <a:pt x="1087" y="147"/>
                        <a:pt x="1091" y="150"/>
                        <a:pt x="1097" y="155"/>
                      </a:cubicBezTo>
                      <a:cubicBezTo>
                        <a:pt x="1101" y="161"/>
                        <a:pt x="1105" y="166"/>
                        <a:pt x="1105" y="172"/>
                      </a:cubicBezTo>
                      <a:cubicBezTo>
                        <a:pt x="1109" y="178"/>
                        <a:pt x="1110" y="184"/>
                        <a:pt x="1108" y="193"/>
                      </a:cubicBezTo>
                      <a:cubicBezTo>
                        <a:pt x="1108" y="263"/>
                        <a:pt x="1108" y="263"/>
                        <a:pt x="1108" y="263"/>
                      </a:cubicBezTo>
                      <a:cubicBezTo>
                        <a:pt x="1104" y="260"/>
                        <a:pt x="1104" y="257"/>
                        <a:pt x="1101" y="255"/>
                      </a:cubicBezTo>
                      <a:cubicBezTo>
                        <a:pt x="1097" y="252"/>
                        <a:pt x="1094" y="250"/>
                        <a:pt x="1091" y="247"/>
                      </a:cubicBezTo>
                      <a:cubicBezTo>
                        <a:pt x="1088" y="247"/>
                        <a:pt x="1084" y="245"/>
                        <a:pt x="1081" y="245"/>
                      </a:cubicBezTo>
                      <a:cubicBezTo>
                        <a:pt x="1078" y="242"/>
                        <a:pt x="1072" y="243"/>
                        <a:pt x="1069" y="244"/>
                      </a:cubicBezTo>
                      <a:cubicBezTo>
                        <a:pt x="183" y="232"/>
                        <a:pt x="183" y="232"/>
                        <a:pt x="183" y="232"/>
                      </a:cubicBezTo>
                      <a:cubicBezTo>
                        <a:pt x="183" y="232"/>
                        <a:pt x="183" y="232"/>
                        <a:pt x="183" y="232"/>
                      </a:cubicBezTo>
                      <a:cubicBezTo>
                        <a:pt x="180" y="233"/>
                        <a:pt x="180" y="233"/>
                        <a:pt x="180" y="233"/>
                      </a:cubicBezTo>
                      <a:cubicBezTo>
                        <a:pt x="177" y="233"/>
                        <a:pt x="177" y="233"/>
                        <a:pt x="177" y="233"/>
                      </a:cubicBezTo>
                      <a:cubicBezTo>
                        <a:pt x="177" y="233"/>
                        <a:pt x="177" y="233"/>
                        <a:pt x="174" y="233"/>
                      </a:cubicBezTo>
                      <a:cubicBezTo>
                        <a:pt x="153" y="233"/>
                        <a:pt x="153" y="233"/>
                        <a:pt x="153" y="233"/>
                      </a:cubicBezTo>
                      <a:cubicBezTo>
                        <a:pt x="156" y="181"/>
                        <a:pt x="156" y="181"/>
                        <a:pt x="156" y="181"/>
                      </a:cubicBezTo>
                      <a:cubicBezTo>
                        <a:pt x="155" y="175"/>
                        <a:pt x="157" y="168"/>
                        <a:pt x="160" y="162"/>
                      </a:cubicBezTo>
                      <a:cubicBezTo>
                        <a:pt x="162" y="156"/>
                        <a:pt x="164" y="152"/>
                        <a:pt x="169" y="146"/>
                      </a:cubicBezTo>
                      <a:cubicBezTo>
                        <a:pt x="172" y="142"/>
                        <a:pt x="178" y="139"/>
                        <a:pt x="183" y="135"/>
                      </a:cubicBezTo>
                      <a:cubicBezTo>
                        <a:pt x="189" y="134"/>
                        <a:pt x="195" y="133"/>
                        <a:pt x="201" y="133"/>
                      </a:cubicBezTo>
                      <a:cubicBezTo>
                        <a:pt x="1062" y="138"/>
                        <a:pt x="1062" y="138"/>
                        <a:pt x="1062" y="138"/>
                      </a:cubicBezTo>
                      <a:cubicBezTo>
                        <a:pt x="1062" y="138"/>
                        <a:pt x="1062" y="138"/>
                        <a:pt x="1062" y="138"/>
                      </a:cubicBezTo>
                      <a:close/>
                      <a:moveTo>
                        <a:pt x="1050" y="212"/>
                      </a:moveTo>
                      <a:cubicBezTo>
                        <a:pt x="1033" y="193"/>
                        <a:pt x="1033" y="193"/>
                        <a:pt x="1033" y="193"/>
                      </a:cubicBezTo>
                      <a:cubicBezTo>
                        <a:pt x="1051" y="173"/>
                        <a:pt x="1051" y="173"/>
                        <a:pt x="1051" y="173"/>
                      </a:cubicBezTo>
                      <a:cubicBezTo>
                        <a:pt x="1040" y="174"/>
                        <a:pt x="1040" y="174"/>
                        <a:pt x="1040" y="174"/>
                      </a:cubicBezTo>
                      <a:cubicBezTo>
                        <a:pt x="1026" y="185"/>
                        <a:pt x="1026" y="185"/>
                        <a:pt x="1026" y="185"/>
                      </a:cubicBezTo>
                      <a:cubicBezTo>
                        <a:pt x="1016" y="174"/>
                        <a:pt x="1016" y="174"/>
                        <a:pt x="1016" y="174"/>
                      </a:cubicBezTo>
                      <a:cubicBezTo>
                        <a:pt x="1003" y="173"/>
                        <a:pt x="1003" y="173"/>
                        <a:pt x="1003" y="173"/>
                      </a:cubicBezTo>
                      <a:cubicBezTo>
                        <a:pt x="1021" y="192"/>
                        <a:pt x="1021" y="192"/>
                        <a:pt x="1021" y="192"/>
                      </a:cubicBezTo>
                      <a:cubicBezTo>
                        <a:pt x="1002" y="209"/>
                        <a:pt x="1002" y="209"/>
                        <a:pt x="1002" y="209"/>
                      </a:cubicBezTo>
                      <a:cubicBezTo>
                        <a:pt x="1014" y="211"/>
                        <a:pt x="1014" y="211"/>
                        <a:pt x="1014" y="211"/>
                      </a:cubicBezTo>
                      <a:cubicBezTo>
                        <a:pt x="1014" y="211"/>
                        <a:pt x="1014" y="211"/>
                        <a:pt x="1014" y="211"/>
                      </a:cubicBezTo>
                      <a:cubicBezTo>
                        <a:pt x="1027" y="197"/>
                        <a:pt x="1027" y="197"/>
                        <a:pt x="1027" y="197"/>
                      </a:cubicBezTo>
                      <a:cubicBezTo>
                        <a:pt x="1031" y="203"/>
                        <a:pt x="1031" y="203"/>
                        <a:pt x="1031" y="203"/>
                      </a:cubicBezTo>
                      <a:cubicBezTo>
                        <a:pt x="1038" y="211"/>
                        <a:pt x="1038" y="211"/>
                        <a:pt x="1038" y="211"/>
                      </a:cubicBezTo>
                      <a:cubicBezTo>
                        <a:pt x="1050" y="212"/>
                        <a:pt x="1050" y="212"/>
                        <a:pt x="1050" y="212"/>
                      </a:cubicBezTo>
                      <a:moveTo>
                        <a:pt x="972" y="210"/>
                      </a:moveTo>
                      <a:cubicBezTo>
                        <a:pt x="974" y="173"/>
                        <a:pt x="974" y="173"/>
                        <a:pt x="974" y="173"/>
                      </a:cubicBezTo>
                      <a:cubicBezTo>
                        <a:pt x="937" y="172"/>
                        <a:pt x="937" y="172"/>
                        <a:pt x="937" y="172"/>
                      </a:cubicBezTo>
                      <a:cubicBezTo>
                        <a:pt x="936" y="208"/>
                        <a:pt x="936" y="208"/>
                        <a:pt x="936" y="208"/>
                      </a:cubicBezTo>
                      <a:cubicBezTo>
                        <a:pt x="972" y="210"/>
                        <a:pt x="972" y="210"/>
                        <a:pt x="972" y="210"/>
                      </a:cubicBezTo>
                      <a:moveTo>
                        <a:pt x="912" y="211"/>
                      </a:moveTo>
                      <a:cubicBezTo>
                        <a:pt x="911" y="202"/>
                        <a:pt x="911" y="202"/>
                        <a:pt x="911" y="202"/>
                      </a:cubicBezTo>
                      <a:cubicBezTo>
                        <a:pt x="869" y="202"/>
                        <a:pt x="869" y="202"/>
                        <a:pt x="869" y="202"/>
                      </a:cubicBezTo>
                      <a:cubicBezTo>
                        <a:pt x="867" y="211"/>
                        <a:pt x="867" y="211"/>
                        <a:pt x="867" y="211"/>
                      </a:cubicBezTo>
                      <a:cubicBezTo>
                        <a:pt x="912" y="211"/>
                        <a:pt x="912" y="211"/>
                        <a:pt x="912" y="211"/>
                      </a:cubicBezTo>
                      <a:moveTo>
                        <a:pt x="1060" y="285"/>
                      </a:moveTo>
                      <a:cubicBezTo>
                        <a:pt x="1060" y="285"/>
                        <a:pt x="1060" y="285"/>
                        <a:pt x="1060" y="285"/>
                      </a:cubicBezTo>
                      <a:cubicBezTo>
                        <a:pt x="999" y="287"/>
                        <a:pt x="999" y="287"/>
                        <a:pt x="999" y="287"/>
                      </a:cubicBezTo>
                      <a:cubicBezTo>
                        <a:pt x="999" y="290"/>
                        <a:pt x="1003" y="292"/>
                        <a:pt x="1003" y="295"/>
                      </a:cubicBezTo>
                      <a:cubicBezTo>
                        <a:pt x="1003" y="298"/>
                        <a:pt x="1004" y="304"/>
                        <a:pt x="1008" y="307"/>
                      </a:cubicBezTo>
                      <a:cubicBezTo>
                        <a:pt x="1008" y="310"/>
                        <a:pt x="1008" y="313"/>
                        <a:pt x="1009" y="319"/>
                      </a:cubicBezTo>
                      <a:cubicBezTo>
                        <a:pt x="1009" y="322"/>
                        <a:pt x="1010" y="324"/>
                        <a:pt x="1007" y="331"/>
                      </a:cubicBezTo>
                      <a:cubicBezTo>
                        <a:pt x="1007" y="331"/>
                        <a:pt x="1007" y="331"/>
                        <a:pt x="1008" y="337"/>
                      </a:cubicBezTo>
                      <a:cubicBezTo>
                        <a:pt x="1008" y="337"/>
                        <a:pt x="1008" y="337"/>
                        <a:pt x="1060" y="336"/>
                      </a:cubicBezTo>
                      <a:cubicBezTo>
                        <a:pt x="1060" y="336"/>
                        <a:pt x="1060" y="336"/>
                        <a:pt x="1040" y="909"/>
                      </a:cubicBezTo>
                      <a:cubicBezTo>
                        <a:pt x="1040" y="909"/>
                        <a:pt x="1040" y="909"/>
                        <a:pt x="988" y="907"/>
                      </a:cubicBezTo>
                      <a:cubicBezTo>
                        <a:pt x="988" y="907"/>
                        <a:pt x="988" y="907"/>
                        <a:pt x="988" y="958"/>
                      </a:cubicBezTo>
                      <a:cubicBezTo>
                        <a:pt x="988" y="958"/>
                        <a:pt x="988" y="958"/>
                        <a:pt x="1037" y="961"/>
                      </a:cubicBezTo>
                      <a:cubicBezTo>
                        <a:pt x="1043" y="960"/>
                        <a:pt x="1052" y="959"/>
                        <a:pt x="1058" y="955"/>
                      </a:cubicBezTo>
                      <a:cubicBezTo>
                        <a:pt x="1064" y="955"/>
                        <a:pt x="1069" y="951"/>
                        <a:pt x="1075" y="944"/>
                      </a:cubicBezTo>
                      <a:cubicBezTo>
                        <a:pt x="1077" y="941"/>
                        <a:pt x="1083" y="937"/>
                        <a:pt x="1085" y="931"/>
                      </a:cubicBezTo>
                      <a:cubicBezTo>
                        <a:pt x="1087" y="925"/>
                        <a:pt x="1090" y="918"/>
                        <a:pt x="1089" y="909"/>
                      </a:cubicBezTo>
                      <a:cubicBezTo>
                        <a:pt x="1089" y="909"/>
                        <a:pt x="1089" y="909"/>
                        <a:pt x="1109" y="339"/>
                      </a:cubicBezTo>
                      <a:cubicBezTo>
                        <a:pt x="1108" y="330"/>
                        <a:pt x="1107" y="324"/>
                        <a:pt x="1106" y="318"/>
                      </a:cubicBezTo>
                      <a:cubicBezTo>
                        <a:pt x="1103" y="313"/>
                        <a:pt x="1099" y="307"/>
                        <a:pt x="1095" y="302"/>
                      </a:cubicBezTo>
                      <a:cubicBezTo>
                        <a:pt x="1091" y="296"/>
                        <a:pt x="1085" y="294"/>
                        <a:pt x="1079" y="292"/>
                      </a:cubicBezTo>
                      <a:cubicBezTo>
                        <a:pt x="1075" y="286"/>
                        <a:pt x="1066" y="287"/>
                        <a:pt x="1060" y="285"/>
                      </a:cubicBezTo>
                      <a:close/>
                      <a:moveTo>
                        <a:pt x="1196" y="150"/>
                      </a:moveTo>
                      <a:cubicBezTo>
                        <a:pt x="1196" y="150"/>
                        <a:pt x="1196" y="150"/>
                        <a:pt x="1196" y="150"/>
                      </a:cubicBezTo>
                      <a:cubicBezTo>
                        <a:pt x="1135" y="148"/>
                        <a:pt x="1135" y="148"/>
                        <a:pt x="1135" y="148"/>
                      </a:cubicBezTo>
                      <a:cubicBezTo>
                        <a:pt x="1135" y="151"/>
                        <a:pt x="1139" y="154"/>
                        <a:pt x="1139" y="157"/>
                      </a:cubicBezTo>
                      <a:cubicBezTo>
                        <a:pt x="1140" y="163"/>
                        <a:pt x="1143" y="165"/>
                        <a:pt x="1143" y="168"/>
                      </a:cubicBezTo>
                      <a:cubicBezTo>
                        <a:pt x="1144" y="171"/>
                        <a:pt x="1144" y="177"/>
                        <a:pt x="1145" y="180"/>
                      </a:cubicBezTo>
                      <a:cubicBezTo>
                        <a:pt x="1145" y="183"/>
                        <a:pt x="1146" y="189"/>
                        <a:pt x="1146" y="192"/>
                      </a:cubicBezTo>
                      <a:cubicBezTo>
                        <a:pt x="1146" y="192"/>
                        <a:pt x="1146" y="192"/>
                        <a:pt x="1144" y="198"/>
                      </a:cubicBezTo>
                      <a:cubicBezTo>
                        <a:pt x="1144" y="198"/>
                        <a:pt x="1144" y="198"/>
                        <a:pt x="1194" y="201"/>
                      </a:cubicBezTo>
                      <a:cubicBezTo>
                        <a:pt x="1194" y="201"/>
                        <a:pt x="1194" y="201"/>
                        <a:pt x="1177" y="771"/>
                      </a:cubicBezTo>
                      <a:cubicBezTo>
                        <a:pt x="1177" y="771"/>
                        <a:pt x="1177" y="771"/>
                        <a:pt x="1130" y="768"/>
                      </a:cubicBezTo>
                      <a:cubicBezTo>
                        <a:pt x="1130" y="768"/>
                        <a:pt x="1130" y="768"/>
                        <a:pt x="1128" y="819"/>
                      </a:cubicBezTo>
                      <a:cubicBezTo>
                        <a:pt x="1128" y="819"/>
                        <a:pt x="1128" y="819"/>
                        <a:pt x="1178" y="822"/>
                      </a:cubicBezTo>
                      <a:cubicBezTo>
                        <a:pt x="1184" y="821"/>
                        <a:pt x="1189" y="820"/>
                        <a:pt x="1195" y="820"/>
                      </a:cubicBezTo>
                      <a:cubicBezTo>
                        <a:pt x="1201" y="816"/>
                        <a:pt x="1206" y="812"/>
                        <a:pt x="1211" y="809"/>
                      </a:cubicBezTo>
                      <a:cubicBezTo>
                        <a:pt x="1216" y="802"/>
                        <a:pt x="1219" y="799"/>
                        <a:pt x="1221" y="793"/>
                      </a:cubicBezTo>
                      <a:cubicBezTo>
                        <a:pt x="1226" y="786"/>
                        <a:pt x="1225" y="780"/>
                        <a:pt x="1227" y="771"/>
                      </a:cubicBezTo>
                      <a:cubicBezTo>
                        <a:pt x="1227" y="771"/>
                        <a:pt x="1227" y="771"/>
                        <a:pt x="1244" y="201"/>
                      </a:cubicBezTo>
                      <a:cubicBezTo>
                        <a:pt x="1242" y="192"/>
                        <a:pt x="1242" y="186"/>
                        <a:pt x="1238" y="180"/>
                      </a:cubicBezTo>
                      <a:cubicBezTo>
                        <a:pt x="1237" y="174"/>
                        <a:pt x="1234" y="169"/>
                        <a:pt x="1230" y="163"/>
                      </a:cubicBezTo>
                      <a:cubicBezTo>
                        <a:pt x="1224" y="158"/>
                        <a:pt x="1220" y="156"/>
                        <a:pt x="1214" y="153"/>
                      </a:cubicBezTo>
                      <a:cubicBezTo>
                        <a:pt x="1208" y="151"/>
                        <a:pt x="1202" y="149"/>
                        <a:pt x="1196" y="15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grpSp>
      </p:grpSp>
      <p:grpSp>
        <p:nvGrpSpPr>
          <p:cNvPr id="5" name="Group 4"/>
          <p:cNvGrpSpPr/>
          <p:nvPr/>
        </p:nvGrpSpPr>
        <p:grpSpPr>
          <a:xfrm>
            <a:off x="2682306" y="1758109"/>
            <a:ext cx="2522219" cy="4398743"/>
            <a:chOff x="2682306" y="1758109"/>
            <a:chExt cx="2522219" cy="4398743"/>
          </a:xfrm>
        </p:grpSpPr>
        <p:grpSp>
          <p:nvGrpSpPr>
            <p:cNvPr id="294" name="Group 293"/>
            <p:cNvGrpSpPr/>
            <p:nvPr/>
          </p:nvGrpSpPr>
          <p:grpSpPr>
            <a:xfrm>
              <a:off x="2682306" y="1758109"/>
              <a:ext cx="2424883" cy="2309027"/>
              <a:chOff x="2781300" y="1196044"/>
              <a:chExt cx="2424883" cy="2309027"/>
            </a:xfrm>
          </p:grpSpPr>
          <p:sp>
            <p:nvSpPr>
              <p:cNvPr id="295" name="Oval 294"/>
              <p:cNvSpPr/>
              <p:nvPr/>
            </p:nvSpPr>
            <p:spPr bwMode="auto">
              <a:xfrm>
                <a:off x="2781300" y="1196044"/>
                <a:ext cx="2424883" cy="2309027"/>
              </a:xfrm>
              <a:prstGeom prst="ellipse">
                <a:avLst/>
              </a:prstGeom>
              <a:noFill/>
              <a:ln w="57150" cap="flat" cmpd="sng" algn="ctr">
                <a:solidFill>
                  <a:srgbClr val="3D5800"/>
                </a:solidFill>
                <a:prstDash val="sysDot"/>
                <a:headEnd type="none" w="med" len="med"/>
                <a:tailEnd type="none" w="med" len="med"/>
              </a:ln>
              <a:effectLst/>
            </p:spPr>
            <p:txBody>
              <a:bodyPr vert="horz" wrap="square" lIns="77695" tIns="38848" rIns="77695" bIns="38848" numCol="1" rtlCol="0" anchor="ctr" anchorCtr="0" compatLnSpc="1">
                <a:prstTxWarp prst="textNoShape">
                  <a:avLst/>
                </a:prstTxWarp>
              </a:bodyPr>
              <a:lstStyle/>
              <a:p>
                <a:pPr marL="0" marR="0" lvl="0" indent="0" algn="ctr" defTabSz="776774" eaLnBrk="1" fontAlgn="base" latinLnBrk="0" hangingPunct="1">
                  <a:lnSpc>
                    <a:spcPct val="90000"/>
                  </a:lnSpc>
                  <a:spcBef>
                    <a:spcPct val="0"/>
                  </a:spcBef>
                  <a:spcAft>
                    <a:spcPct val="0"/>
                  </a:spcAft>
                  <a:buClrTx/>
                  <a:buSzTx/>
                  <a:buFontTx/>
                  <a:buNone/>
                  <a:tabLst/>
                  <a:defRPr/>
                </a:pPr>
                <a:endParaRPr kumimoji="0" lang="en-US" sz="1700" b="0" i="0" u="none" strike="noStrike" kern="0" cap="none" spc="-43" normalizeH="0" baseline="0" noProof="0" dirty="0">
                  <a:ln>
                    <a:noFill/>
                  </a:ln>
                  <a:gradFill>
                    <a:gsLst>
                      <a:gs pos="0">
                        <a:srgbClr val="FFFFFF"/>
                      </a:gs>
                      <a:gs pos="100000">
                        <a:srgbClr val="FFFFFF"/>
                      </a:gs>
                    </a:gsLst>
                    <a:lin ang="5400000" scaled="0"/>
                  </a:gradFill>
                  <a:effectLst/>
                  <a:uLnTx/>
                  <a:uFillTx/>
                </a:endParaRPr>
              </a:p>
            </p:txBody>
          </p:sp>
          <p:sp>
            <p:nvSpPr>
              <p:cNvPr id="296" name="Rectangle 295"/>
              <p:cNvSpPr/>
              <p:nvPr/>
            </p:nvSpPr>
            <p:spPr>
              <a:xfrm>
                <a:off x="3287333" y="1364244"/>
                <a:ext cx="1420748" cy="521655"/>
              </a:xfrm>
              <a:prstGeom prst="rect">
                <a:avLst/>
              </a:prstGeom>
            </p:spPr>
            <p:txBody>
              <a:bodyPr wrap="square" lIns="77699" tIns="38849" rIns="77699" bIns="38849">
                <a:spAutoFit/>
              </a:bodyPr>
              <a:lstStyle/>
              <a:p>
                <a:pPr marL="0" marR="0" lvl="0" indent="0" algn="ctr" defTabSz="776774" eaLnBrk="1" fontAlgn="auto" latinLnBrk="0" hangingPunct="1">
                  <a:lnSpc>
                    <a:spcPct val="90000"/>
                  </a:lnSpc>
                  <a:spcBef>
                    <a:spcPts val="510"/>
                  </a:spcBef>
                  <a:spcAft>
                    <a:spcPts val="0"/>
                  </a:spcAft>
                  <a:buClrTx/>
                  <a:buSzTx/>
                  <a:buFontTx/>
                  <a:buNone/>
                  <a:tabLst/>
                  <a:defRPr/>
                </a:pPr>
                <a:r>
                  <a:rPr kumimoji="0" lang="en-US" sz="1600" b="0" i="0" u="none" strike="noStrike" kern="0" cap="none" spc="-43" normalizeH="0" baseline="0" noProof="0" dirty="0" smtClean="0">
                    <a:ln>
                      <a:noFill/>
                    </a:ln>
                    <a:solidFill>
                      <a:srgbClr val="442359"/>
                    </a:solidFill>
                    <a:effectLst/>
                    <a:uLnTx/>
                    <a:uFillTx/>
                  </a:rPr>
                  <a:t>Desktop Virtualization</a:t>
                </a:r>
                <a:endParaRPr kumimoji="0" lang="en-US" sz="1600" b="0" i="0" u="none" strike="noStrike" kern="0" cap="none" spc="-43" normalizeH="0" baseline="0" noProof="0" dirty="0">
                  <a:ln>
                    <a:noFill/>
                  </a:ln>
                  <a:solidFill>
                    <a:srgbClr val="442359"/>
                  </a:solidFill>
                  <a:effectLst/>
                  <a:uLnTx/>
                  <a:uFillTx/>
                </a:endParaRPr>
              </a:p>
            </p:txBody>
          </p:sp>
          <p:grpSp>
            <p:nvGrpSpPr>
              <p:cNvPr id="297" name="Group 296"/>
              <p:cNvGrpSpPr/>
              <p:nvPr/>
            </p:nvGrpSpPr>
            <p:grpSpPr>
              <a:xfrm>
                <a:off x="3879965" y="1924313"/>
                <a:ext cx="1127672" cy="1001579"/>
                <a:chOff x="9962648" y="2264337"/>
                <a:chExt cx="1880481" cy="1670212"/>
              </a:xfrm>
            </p:grpSpPr>
            <p:sp>
              <p:nvSpPr>
                <p:cNvPr id="299" name="Freeform 331"/>
                <p:cNvSpPr>
                  <a:spLocks noChangeAspect="1" noEditPoints="1"/>
                </p:cNvSpPr>
                <p:nvPr/>
              </p:nvSpPr>
              <p:spPr bwMode="auto">
                <a:xfrm>
                  <a:off x="9962648" y="2264337"/>
                  <a:ext cx="887171" cy="870112"/>
                </a:xfrm>
                <a:custGeom>
                  <a:avLst/>
                  <a:gdLst>
                    <a:gd name="T0" fmla="*/ 39 w 88"/>
                    <a:gd name="T1" fmla="*/ 46 h 86"/>
                    <a:gd name="T2" fmla="*/ 79 w 88"/>
                    <a:gd name="T3" fmla="*/ 46 h 86"/>
                    <a:gd name="T4" fmla="*/ 39 w 88"/>
                    <a:gd name="T5" fmla="*/ 86 h 86"/>
                    <a:gd name="T6" fmla="*/ 0 w 88"/>
                    <a:gd name="T7" fmla="*/ 46 h 86"/>
                    <a:gd name="T8" fmla="*/ 39 w 88"/>
                    <a:gd name="T9" fmla="*/ 7 h 86"/>
                    <a:gd name="T10" fmla="*/ 39 w 88"/>
                    <a:gd name="T11" fmla="*/ 46 h 86"/>
                    <a:gd name="T12" fmla="*/ 48 w 88"/>
                    <a:gd name="T13" fmla="*/ 40 h 86"/>
                    <a:gd name="T14" fmla="*/ 88 w 88"/>
                    <a:gd name="T15" fmla="*/ 40 h 86"/>
                    <a:gd name="T16" fmla="*/ 48 w 88"/>
                    <a:gd name="T17" fmla="*/ 0 h 86"/>
                    <a:gd name="T18" fmla="*/ 48 w 88"/>
                    <a:gd name="T19" fmla="*/ 4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6">
                      <a:moveTo>
                        <a:pt x="39" y="46"/>
                      </a:moveTo>
                      <a:cubicBezTo>
                        <a:pt x="79" y="46"/>
                        <a:pt x="79" y="46"/>
                        <a:pt x="79" y="46"/>
                      </a:cubicBezTo>
                      <a:cubicBezTo>
                        <a:pt x="79" y="68"/>
                        <a:pt x="61" y="86"/>
                        <a:pt x="39" y="86"/>
                      </a:cubicBezTo>
                      <a:cubicBezTo>
                        <a:pt x="18" y="86"/>
                        <a:pt x="0" y="68"/>
                        <a:pt x="0" y="46"/>
                      </a:cubicBezTo>
                      <a:cubicBezTo>
                        <a:pt x="0" y="25"/>
                        <a:pt x="18" y="7"/>
                        <a:pt x="39" y="7"/>
                      </a:cubicBezTo>
                      <a:lnTo>
                        <a:pt x="39" y="46"/>
                      </a:lnTo>
                      <a:close/>
                      <a:moveTo>
                        <a:pt x="48" y="40"/>
                      </a:moveTo>
                      <a:cubicBezTo>
                        <a:pt x="88" y="40"/>
                        <a:pt x="88" y="40"/>
                        <a:pt x="88" y="40"/>
                      </a:cubicBezTo>
                      <a:cubicBezTo>
                        <a:pt x="88" y="18"/>
                        <a:pt x="70" y="0"/>
                        <a:pt x="48" y="0"/>
                      </a:cubicBezTo>
                      <a:lnTo>
                        <a:pt x="48" y="40"/>
                      </a:lnTo>
                      <a:close/>
                    </a:path>
                  </a:pathLst>
                </a:custGeom>
                <a:solidFill>
                  <a:srgbClr val="442359"/>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300" name="Freeform 346"/>
                <p:cNvSpPr>
                  <a:spLocks noChangeAspect="1" noEditPoints="1"/>
                </p:cNvSpPr>
                <p:nvPr/>
              </p:nvSpPr>
              <p:spPr bwMode="auto">
                <a:xfrm>
                  <a:off x="10935954" y="2386132"/>
                  <a:ext cx="907175" cy="518067"/>
                </a:xfrm>
                <a:custGeom>
                  <a:avLst/>
                  <a:gdLst>
                    <a:gd name="T0" fmla="*/ 0 w 319"/>
                    <a:gd name="T1" fmla="*/ 122 h 198"/>
                    <a:gd name="T2" fmla="*/ 50 w 319"/>
                    <a:gd name="T3" fmla="*/ 122 h 198"/>
                    <a:gd name="T4" fmla="*/ 50 w 319"/>
                    <a:gd name="T5" fmla="*/ 198 h 198"/>
                    <a:gd name="T6" fmla="*/ 0 w 319"/>
                    <a:gd name="T7" fmla="*/ 198 h 198"/>
                    <a:gd name="T8" fmla="*/ 0 w 319"/>
                    <a:gd name="T9" fmla="*/ 122 h 198"/>
                    <a:gd name="T10" fmla="*/ 69 w 319"/>
                    <a:gd name="T11" fmla="*/ 198 h 198"/>
                    <a:gd name="T12" fmla="*/ 119 w 319"/>
                    <a:gd name="T13" fmla="*/ 198 h 198"/>
                    <a:gd name="T14" fmla="*/ 119 w 319"/>
                    <a:gd name="T15" fmla="*/ 28 h 198"/>
                    <a:gd name="T16" fmla="*/ 69 w 319"/>
                    <a:gd name="T17" fmla="*/ 28 h 198"/>
                    <a:gd name="T18" fmla="*/ 69 w 319"/>
                    <a:gd name="T19" fmla="*/ 198 h 198"/>
                    <a:gd name="T20" fmla="*/ 135 w 319"/>
                    <a:gd name="T21" fmla="*/ 198 h 198"/>
                    <a:gd name="T22" fmla="*/ 185 w 319"/>
                    <a:gd name="T23" fmla="*/ 198 h 198"/>
                    <a:gd name="T24" fmla="*/ 185 w 319"/>
                    <a:gd name="T25" fmla="*/ 59 h 198"/>
                    <a:gd name="T26" fmla="*/ 135 w 319"/>
                    <a:gd name="T27" fmla="*/ 59 h 198"/>
                    <a:gd name="T28" fmla="*/ 135 w 319"/>
                    <a:gd name="T29" fmla="*/ 198 h 198"/>
                    <a:gd name="T30" fmla="*/ 201 w 319"/>
                    <a:gd name="T31" fmla="*/ 198 h 198"/>
                    <a:gd name="T32" fmla="*/ 251 w 319"/>
                    <a:gd name="T33" fmla="*/ 198 h 198"/>
                    <a:gd name="T34" fmla="*/ 251 w 319"/>
                    <a:gd name="T35" fmla="*/ 151 h 198"/>
                    <a:gd name="T36" fmla="*/ 201 w 319"/>
                    <a:gd name="T37" fmla="*/ 151 h 198"/>
                    <a:gd name="T38" fmla="*/ 201 w 319"/>
                    <a:gd name="T39" fmla="*/ 198 h 198"/>
                    <a:gd name="T40" fmla="*/ 270 w 319"/>
                    <a:gd name="T41" fmla="*/ 198 h 198"/>
                    <a:gd name="T42" fmla="*/ 319 w 319"/>
                    <a:gd name="T43" fmla="*/ 198 h 198"/>
                    <a:gd name="T44" fmla="*/ 319 w 319"/>
                    <a:gd name="T45" fmla="*/ 0 h 198"/>
                    <a:gd name="T46" fmla="*/ 270 w 319"/>
                    <a:gd name="T47" fmla="*/ 0 h 198"/>
                    <a:gd name="T48" fmla="*/ 270 w 319"/>
                    <a:gd name="T4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198">
                      <a:moveTo>
                        <a:pt x="0" y="122"/>
                      </a:moveTo>
                      <a:lnTo>
                        <a:pt x="50" y="122"/>
                      </a:lnTo>
                      <a:lnTo>
                        <a:pt x="50" y="198"/>
                      </a:lnTo>
                      <a:lnTo>
                        <a:pt x="0" y="198"/>
                      </a:lnTo>
                      <a:lnTo>
                        <a:pt x="0" y="122"/>
                      </a:lnTo>
                      <a:close/>
                      <a:moveTo>
                        <a:pt x="69" y="198"/>
                      </a:moveTo>
                      <a:lnTo>
                        <a:pt x="119" y="198"/>
                      </a:lnTo>
                      <a:lnTo>
                        <a:pt x="119" y="28"/>
                      </a:lnTo>
                      <a:lnTo>
                        <a:pt x="69" y="28"/>
                      </a:lnTo>
                      <a:lnTo>
                        <a:pt x="69" y="198"/>
                      </a:lnTo>
                      <a:close/>
                      <a:moveTo>
                        <a:pt x="135" y="198"/>
                      </a:moveTo>
                      <a:lnTo>
                        <a:pt x="185" y="198"/>
                      </a:lnTo>
                      <a:lnTo>
                        <a:pt x="185" y="59"/>
                      </a:lnTo>
                      <a:lnTo>
                        <a:pt x="135" y="59"/>
                      </a:lnTo>
                      <a:lnTo>
                        <a:pt x="135" y="198"/>
                      </a:lnTo>
                      <a:close/>
                      <a:moveTo>
                        <a:pt x="201" y="198"/>
                      </a:moveTo>
                      <a:lnTo>
                        <a:pt x="251" y="198"/>
                      </a:lnTo>
                      <a:lnTo>
                        <a:pt x="251" y="151"/>
                      </a:lnTo>
                      <a:lnTo>
                        <a:pt x="201" y="151"/>
                      </a:lnTo>
                      <a:lnTo>
                        <a:pt x="201" y="198"/>
                      </a:lnTo>
                      <a:close/>
                      <a:moveTo>
                        <a:pt x="270" y="198"/>
                      </a:moveTo>
                      <a:lnTo>
                        <a:pt x="319" y="198"/>
                      </a:lnTo>
                      <a:lnTo>
                        <a:pt x="319" y="0"/>
                      </a:lnTo>
                      <a:lnTo>
                        <a:pt x="270" y="0"/>
                      </a:lnTo>
                      <a:lnTo>
                        <a:pt x="270" y="198"/>
                      </a:lnTo>
                      <a:close/>
                    </a:path>
                  </a:pathLst>
                </a:custGeom>
                <a:solidFill>
                  <a:srgbClr val="442359"/>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pic>
              <p:nvPicPr>
                <p:cNvPr id="301" name="Picture 30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03449" y="3134449"/>
                  <a:ext cx="1200150" cy="800100"/>
                </a:xfrm>
                <a:prstGeom prst="rect">
                  <a:avLst/>
                </a:prstGeom>
              </p:spPr>
            </p:pic>
          </p:grpSp>
          <p:pic>
            <p:nvPicPr>
              <p:cNvPr id="298" name="Picture 29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915209" y="2055774"/>
                <a:ext cx="905999" cy="780641"/>
              </a:xfrm>
              <a:prstGeom prst="rect">
                <a:avLst/>
              </a:prstGeom>
            </p:spPr>
          </p:pic>
        </p:grpSp>
        <p:grpSp>
          <p:nvGrpSpPr>
            <p:cNvPr id="328" name="Group 327"/>
            <p:cNvGrpSpPr/>
            <p:nvPr/>
          </p:nvGrpSpPr>
          <p:grpSpPr>
            <a:xfrm>
              <a:off x="2709806" y="3694431"/>
              <a:ext cx="2494719" cy="2462421"/>
              <a:chOff x="2808800" y="3132366"/>
              <a:chExt cx="2494719" cy="2462421"/>
            </a:xfrm>
          </p:grpSpPr>
          <p:grpSp>
            <p:nvGrpSpPr>
              <p:cNvPr id="329" name="Group 328"/>
              <p:cNvGrpSpPr/>
              <p:nvPr/>
            </p:nvGrpSpPr>
            <p:grpSpPr>
              <a:xfrm>
                <a:off x="2808800" y="3132366"/>
                <a:ext cx="2494719" cy="2462421"/>
                <a:chOff x="2808800" y="3132366"/>
                <a:chExt cx="2494719" cy="2462421"/>
              </a:xfrm>
            </p:grpSpPr>
            <p:grpSp>
              <p:nvGrpSpPr>
                <p:cNvPr id="334" name="Group 333"/>
                <p:cNvGrpSpPr/>
                <p:nvPr/>
              </p:nvGrpSpPr>
              <p:grpSpPr>
                <a:xfrm>
                  <a:off x="2808800" y="3132366"/>
                  <a:ext cx="2494719" cy="2462421"/>
                  <a:chOff x="2808800" y="3132366"/>
                  <a:chExt cx="2494719" cy="2462421"/>
                </a:xfrm>
              </p:grpSpPr>
              <p:sp>
                <p:nvSpPr>
                  <p:cNvPr id="336" name="Oval 335"/>
                  <p:cNvSpPr/>
                  <p:nvPr/>
                </p:nvSpPr>
                <p:spPr bwMode="auto">
                  <a:xfrm>
                    <a:off x="2808800" y="3132366"/>
                    <a:ext cx="2494719" cy="2462421"/>
                  </a:xfrm>
                  <a:prstGeom prst="ellipse">
                    <a:avLst/>
                  </a:prstGeom>
                  <a:solidFill>
                    <a:srgbClr val="FFFFFF"/>
                  </a:solidFill>
                  <a:ln w="57150" cap="flat" cmpd="sng" algn="ctr">
                    <a:solidFill>
                      <a:srgbClr val="3D5800"/>
                    </a:solidFill>
                    <a:prstDash val="solid"/>
                    <a:headEnd type="none" w="med" len="med"/>
                    <a:tailEnd type="none" w="med" len="med"/>
                  </a:ln>
                  <a:effectLst/>
                </p:spPr>
                <p:txBody>
                  <a:bodyPr vert="horz" wrap="square" lIns="77695" tIns="38848" rIns="77695" bIns="38848" numCol="1" rtlCol="0" anchor="ctr" anchorCtr="0" compatLnSpc="1">
                    <a:prstTxWarp prst="textNoShape">
                      <a:avLst/>
                    </a:prstTxWarp>
                  </a:bodyPr>
                  <a:lstStyle/>
                  <a:p>
                    <a:pPr marL="0" marR="0" lvl="0" indent="0" algn="ctr" defTabSz="776774" eaLnBrk="1" fontAlgn="base" latinLnBrk="0" hangingPunct="1">
                      <a:lnSpc>
                        <a:spcPct val="90000"/>
                      </a:lnSpc>
                      <a:spcBef>
                        <a:spcPct val="0"/>
                      </a:spcBef>
                      <a:spcAft>
                        <a:spcPct val="0"/>
                      </a:spcAft>
                      <a:buClrTx/>
                      <a:buSzTx/>
                      <a:buFontTx/>
                      <a:buNone/>
                      <a:tabLst/>
                      <a:defRPr/>
                    </a:pPr>
                    <a:endParaRPr kumimoji="0" lang="en-US" sz="1700" b="0" i="0" u="none" strike="noStrike" kern="0" cap="none" spc="-43" normalizeH="0" baseline="0" noProof="0" dirty="0">
                      <a:ln>
                        <a:noFill/>
                      </a:ln>
                      <a:gradFill>
                        <a:gsLst>
                          <a:gs pos="0">
                            <a:srgbClr val="FFFFFF"/>
                          </a:gs>
                          <a:gs pos="100000">
                            <a:srgbClr val="FFFFFF"/>
                          </a:gs>
                        </a:gsLst>
                        <a:lin ang="5400000" scaled="0"/>
                      </a:gradFill>
                      <a:effectLst/>
                      <a:uLnTx/>
                      <a:uFillTx/>
                    </a:endParaRPr>
                  </a:p>
                </p:txBody>
              </p:sp>
              <p:sp>
                <p:nvSpPr>
                  <p:cNvPr id="337" name="Rectangle 336"/>
                  <p:cNvSpPr/>
                  <p:nvPr/>
                </p:nvSpPr>
                <p:spPr>
                  <a:xfrm>
                    <a:off x="3242146" y="5090024"/>
                    <a:ext cx="1646177" cy="300056"/>
                  </a:xfrm>
                  <a:prstGeom prst="rect">
                    <a:avLst/>
                  </a:prstGeom>
                </p:spPr>
                <p:txBody>
                  <a:bodyPr wrap="square" lIns="77699" tIns="38849" rIns="77699" bIns="38849">
                    <a:spAutoFit/>
                  </a:bodyPr>
                  <a:lstStyle/>
                  <a:p>
                    <a:pPr marL="0" marR="0" lvl="0" indent="0" algn="ctr" defTabSz="776774" eaLnBrk="1" fontAlgn="auto" latinLnBrk="0" hangingPunct="1">
                      <a:lnSpc>
                        <a:spcPct val="90000"/>
                      </a:lnSpc>
                      <a:spcBef>
                        <a:spcPts val="510"/>
                      </a:spcBef>
                      <a:spcAft>
                        <a:spcPts val="0"/>
                      </a:spcAft>
                      <a:buClrTx/>
                      <a:buSzTx/>
                      <a:buFontTx/>
                      <a:buNone/>
                      <a:tabLst/>
                      <a:defRPr/>
                    </a:pPr>
                    <a:r>
                      <a:rPr kumimoji="0" lang="en-US" sz="1600" b="0" i="0" u="none" strike="noStrike" kern="0" cap="none" spc="-43" normalizeH="0" baseline="0" noProof="0" dirty="0" smtClean="0">
                        <a:ln>
                          <a:noFill/>
                        </a:ln>
                        <a:solidFill>
                          <a:srgbClr val="FF8C00"/>
                        </a:solidFill>
                        <a:effectLst/>
                        <a:uLnTx/>
                        <a:uFillTx/>
                      </a:rPr>
                      <a:t>Distributed Data</a:t>
                    </a:r>
                    <a:endParaRPr kumimoji="0" lang="en-US" sz="1600" b="0" i="0" u="none" strike="noStrike" kern="0" cap="none" spc="-43" normalizeH="0" baseline="0" noProof="0" dirty="0">
                      <a:ln>
                        <a:noFill/>
                      </a:ln>
                      <a:solidFill>
                        <a:srgbClr val="FF8C00"/>
                      </a:solidFill>
                      <a:effectLst/>
                      <a:uLnTx/>
                      <a:uFillTx/>
                    </a:endParaRPr>
                  </a:p>
                </p:txBody>
              </p:sp>
              <p:pic>
                <p:nvPicPr>
                  <p:cNvPr id="338" name="Picture 33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687917" y="4312987"/>
                    <a:ext cx="534299" cy="746802"/>
                  </a:xfrm>
                  <a:prstGeom prst="rect">
                    <a:avLst/>
                  </a:prstGeom>
                </p:spPr>
              </p:pic>
              <p:sp>
                <p:nvSpPr>
                  <p:cNvPr id="340" name="Freeform 10"/>
                  <p:cNvSpPr>
                    <a:spLocks noEditPoints="1"/>
                  </p:cNvSpPr>
                  <p:nvPr/>
                </p:nvSpPr>
                <p:spPr bwMode="auto">
                  <a:xfrm>
                    <a:off x="3116378" y="3533775"/>
                    <a:ext cx="1009251" cy="637981"/>
                  </a:xfrm>
                  <a:custGeom>
                    <a:avLst/>
                    <a:gdLst>
                      <a:gd name="T0" fmla="*/ 87 w 782"/>
                      <a:gd name="T1" fmla="*/ 232 h 493"/>
                      <a:gd name="T2" fmla="*/ 195 w 782"/>
                      <a:gd name="T3" fmla="*/ 0 h 493"/>
                      <a:gd name="T4" fmla="*/ 724 w 782"/>
                      <a:gd name="T5" fmla="*/ 467 h 493"/>
                      <a:gd name="T6" fmla="*/ 612 w 782"/>
                      <a:gd name="T7" fmla="*/ 369 h 493"/>
                      <a:gd name="T8" fmla="*/ 565 w 782"/>
                      <a:gd name="T9" fmla="*/ 349 h 493"/>
                      <a:gd name="T10" fmla="*/ 605 w 782"/>
                      <a:gd name="T11" fmla="*/ 354 h 493"/>
                      <a:gd name="T12" fmla="*/ 366 w 782"/>
                      <a:gd name="T13" fmla="*/ 366 h 493"/>
                      <a:gd name="T14" fmla="*/ 372 w 782"/>
                      <a:gd name="T15" fmla="*/ 348 h 493"/>
                      <a:gd name="T16" fmla="*/ 410 w 782"/>
                      <a:gd name="T17" fmla="*/ 351 h 493"/>
                      <a:gd name="T18" fmla="*/ 409 w 782"/>
                      <a:gd name="T19" fmla="*/ 406 h 493"/>
                      <a:gd name="T20" fmla="*/ 362 w 782"/>
                      <a:gd name="T21" fmla="*/ 405 h 493"/>
                      <a:gd name="T22" fmla="*/ 288 w 782"/>
                      <a:gd name="T23" fmla="*/ 400 h 493"/>
                      <a:gd name="T24" fmla="*/ 339 w 782"/>
                      <a:gd name="T25" fmla="*/ 389 h 493"/>
                      <a:gd name="T26" fmla="*/ 322 w 782"/>
                      <a:gd name="T27" fmla="*/ 409 h 493"/>
                      <a:gd name="T28" fmla="*/ 302 w 782"/>
                      <a:gd name="T29" fmla="*/ 353 h 493"/>
                      <a:gd name="T30" fmla="*/ 345 w 782"/>
                      <a:gd name="T31" fmla="*/ 351 h 493"/>
                      <a:gd name="T32" fmla="*/ 213 w 782"/>
                      <a:gd name="T33" fmla="*/ 402 h 493"/>
                      <a:gd name="T34" fmla="*/ 267 w 782"/>
                      <a:gd name="T35" fmla="*/ 387 h 493"/>
                      <a:gd name="T36" fmla="*/ 213 w 782"/>
                      <a:gd name="T37" fmla="*/ 406 h 493"/>
                      <a:gd name="T38" fmla="*/ 199 w 782"/>
                      <a:gd name="T39" fmla="*/ 369 h 493"/>
                      <a:gd name="T40" fmla="*/ 214 w 782"/>
                      <a:gd name="T41" fmla="*/ 348 h 493"/>
                      <a:gd name="T42" fmla="*/ 233 w 782"/>
                      <a:gd name="T43" fmla="*/ 361 h 493"/>
                      <a:gd name="T44" fmla="*/ 280 w 782"/>
                      <a:gd name="T45" fmla="*/ 350 h 493"/>
                      <a:gd name="T46" fmla="*/ 273 w 782"/>
                      <a:gd name="T47" fmla="*/ 367 h 493"/>
                      <a:gd name="T48" fmla="*/ 159 w 782"/>
                      <a:gd name="T49" fmla="*/ 452 h 493"/>
                      <a:gd name="T50" fmla="*/ 107 w 782"/>
                      <a:gd name="T51" fmla="*/ 448 h 493"/>
                      <a:gd name="T52" fmla="*/ 137 w 782"/>
                      <a:gd name="T53" fmla="*/ 424 h 493"/>
                      <a:gd name="T54" fmla="*/ 188 w 782"/>
                      <a:gd name="T55" fmla="*/ 402 h 493"/>
                      <a:gd name="T56" fmla="*/ 142 w 782"/>
                      <a:gd name="T57" fmla="*/ 409 h 493"/>
                      <a:gd name="T58" fmla="*/ 153 w 782"/>
                      <a:gd name="T59" fmla="*/ 385 h 493"/>
                      <a:gd name="T60" fmla="*/ 196 w 782"/>
                      <a:gd name="T61" fmla="*/ 389 h 493"/>
                      <a:gd name="T62" fmla="*/ 407 w 782"/>
                      <a:gd name="T63" fmla="*/ 455 h 493"/>
                      <a:gd name="T64" fmla="*/ 200 w 782"/>
                      <a:gd name="T65" fmla="*/ 458 h 493"/>
                      <a:gd name="T66" fmla="*/ 203 w 782"/>
                      <a:gd name="T67" fmla="*/ 427 h 493"/>
                      <a:gd name="T68" fmla="*/ 402 w 782"/>
                      <a:gd name="T69" fmla="*/ 423 h 493"/>
                      <a:gd name="T70" fmla="*/ 411 w 782"/>
                      <a:gd name="T71" fmla="*/ 448 h 493"/>
                      <a:gd name="T72" fmla="*/ 438 w 782"/>
                      <a:gd name="T73" fmla="*/ 347 h 493"/>
                      <a:gd name="T74" fmla="*/ 471 w 782"/>
                      <a:gd name="T75" fmla="*/ 369 h 493"/>
                      <a:gd name="T76" fmla="*/ 434 w 782"/>
                      <a:gd name="T77" fmla="*/ 366 h 493"/>
                      <a:gd name="T78" fmla="*/ 484 w 782"/>
                      <a:gd name="T79" fmla="*/ 395 h 493"/>
                      <a:gd name="T80" fmla="*/ 473 w 782"/>
                      <a:gd name="T81" fmla="*/ 409 h 493"/>
                      <a:gd name="T82" fmla="*/ 437 w 782"/>
                      <a:gd name="T83" fmla="*/ 404 h 493"/>
                      <a:gd name="T84" fmla="*/ 440 w 782"/>
                      <a:gd name="T85" fmla="*/ 451 h 493"/>
                      <a:gd name="T86" fmla="*/ 438 w 782"/>
                      <a:gd name="T87" fmla="*/ 428 h 493"/>
                      <a:gd name="T88" fmla="*/ 447 w 782"/>
                      <a:gd name="T89" fmla="*/ 423 h 493"/>
                      <a:gd name="T90" fmla="*/ 483 w 782"/>
                      <a:gd name="T91" fmla="*/ 424 h 493"/>
                      <a:gd name="T92" fmla="*/ 502 w 782"/>
                      <a:gd name="T93" fmla="*/ 363 h 493"/>
                      <a:gd name="T94" fmla="*/ 536 w 782"/>
                      <a:gd name="T95" fmla="*/ 350 h 493"/>
                      <a:gd name="T96" fmla="*/ 547 w 782"/>
                      <a:gd name="T97" fmla="*/ 366 h 493"/>
                      <a:gd name="T98" fmla="*/ 519 w 782"/>
                      <a:gd name="T99" fmla="*/ 405 h 493"/>
                      <a:gd name="T100" fmla="*/ 559 w 782"/>
                      <a:gd name="T101" fmla="*/ 389 h 493"/>
                      <a:gd name="T102" fmla="*/ 564 w 782"/>
                      <a:gd name="T103" fmla="*/ 408 h 493"/>
                      <a:gd name="T104" fmla="*/ 588 w 782"/>
                      <a:gd name="T105" fmla="*/ 453 h 493"/>
                      <a:gd name="T106" fmla="*/ 548 w 782"/>
                      <a:gd name="T107" fmla="*/ 457 h 493"/>
                      <a:gd name="T108" fmla="*/ 536 w 782"/>
                      <a:gd name="T109" fmla="*/ 423 h 493"/>
                      <a:gd name="T110" fmla="*/ 588 w 782"/>
                      <a:gd name="T111" fmla="*/ 448 h 493"/>
                      <a:gd name="T112" fmla="*/ 591 w 782"/>
                      <a:gd name="T113" fmla="*/ 382 h 493"/>
                      <a:gd name="T114" fmla="*/ 635 w 782"/>
                      <a:gd name="T115" fmla="*/ 409 h 493"/>
                      <a:gd name="T116" fmla="*/ 616 w 782"/>
                      <a:gd name="T117" fmla="*/ 449 h 493"/>
                      <a:gd name="T118" fmla="*/ 639 w 782"/>
                      <a:gd name="T119" fmla="*/ 423 h 493"/>
                      <a:gd name="T120" fmla="*/ 670 w 782"/>
                      <a:gd name="T121" fmla="*/ 44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2" h="493">
                        <a:moveTo>
                          <a:pt x="111" y="206"/>
                        </a:moveTo>
                        <a:cubicBezTo>
                          <a:pt x="91" y="187"/>
                          <a:pt x="91" y="152"/>
                          <a:pt x="111" y="134"/>
                        </a:cubicBezTo>
                        <a:cubicBezTo>
                          <a:pt x="97" y="136"/>
                          <a:pt x="84" y="151"/>
                          <a:pt x="84" y="170"/>
                        </a:cubicBezTo>
                        <a:cubicBezTo>
                          <a:pt x="84" y="188"/>
                          <a:pt x="97" y="203"/>
                          <a:pt x="111" y="206"/>
                        </a:cubicBezTo>
                        <a:close/>
                        <a:moveTo>
                          <a:pt x="698" y="170"/>
                        </a:moveTo>
                        <a:cubicBezTo>
                          <a:pt x="698" y="151"/>
                          <a:pt x="685" y="136"/>
                          <a:pt x="671" y="134"/>
                        </a:cubicBezTo>
                        <a:cubicBezTo>
                          <a:pt x="691" y="152"/>
                          <a:pt x="691" y="187"/>
                          <a:pt x="671" y="206"/>
                        </a:cubicBezTo>
                        <a:cubicBezTo>
                          <a:pt x="685" y="203"/>
                          <a:pt x="698" y="188"/>
                          <a:pt x="698" y="170"/>
                        </a:cubicBezTo>
                        <a:close/>
                        <a:moveTo>
                          <a:pt x="696" y="232"/>
                        </a:moveTo>
                        <a:cubicBezTo>
                          <a:pt x="716" y="224"/>
                          <a:pt x="737" y="200"/>
                          <a:pt x="737" y="170"/>
                        </a:cubicBezTo>
                        <a:cubicBezTo>
                          <a:pt x="737" y="139"/>
                          <a:pt x="716" y="115"/>
                          <a:pt x="696" y="108"/>
                        </a:cubicBezTo>
                        <a:cubicBezTo>
                          <a:pt x="712" y="124"/>
                          <a:pt x="723" y="147"/>
                          <a:pt x="723" y="170"/>
                        </a:cubicBezTo>
                        <a:cubicBezTo>
                          <a:pt x="723" y="193"/>
                          <a:pt x="712" y="215"/>
                          <a:pt x="696" y="232"/>
                        </a:cubicBezTo>
                        <a:close/>
                        <a:moveTo>
                          <a:pt x="87" y="232"/>
                        </a:moveTo>
                        <a:cubicBezTo>
                          <a:pt x="70" y="215"/>
                          <a:pt x="59" y="193"/>
                          <a:pt x="59" y="170"/>
                        </a:cubicBezTo>
                        <a:cubicBezTo>
                          <a:pt x="59" y="147"/>
                          <a:pt x="70" y="124"/>
                          <a:pt x="87" y="108"/>
                        </a:cubicBezTo>
                        <a:cubicBezTo>
                          <a:pt x="66" y="115"/>
                          <a:pt x="45" y="139"/>
                          <a:pt x="46" y="170"/>
                        </a:cubicBezTo>
                        <a:cubicBezTo>
                          <a:pt x="45" y="200"/>
                          <a:pt x="66" y="224"/>
                          <a:pt x="87" y="232"/>
                        </a:cubicBezTo>
                        <a:close/>
                        <a:moveTo>
                          <a:pt x="714" y="448"/>
                        </a:moveTo>
                        <a:cubicBezTo>
                          <a:pt x="706" y="438"/>
                          <a:pt x="697" y="428"/>
                          <a:pt x="689" y="419"/>
                        </a:cubicBezTo>
                        <a:cubicBezTo>
                          <a:pt x="671" y="397"/>
                          <a:pt x="653" y="376"/>
                          <a:pt x="635" y="355"/>
                        </a:cubicBezTo>
                        <a:cubicBezTo>
                          <a:pt x="634" y="354"/>
                          <a:pt x="633" y="353"/>
                          <a:pt x="632" y="352"/>
                        </a:cubicBezTo>
                        <a:cubicBezTo>
                          <a:pt x="629" y="347"/>
                          <a:pt x="623" y="345"/>
                          <a:pt x="617" y="343"/>
                        </a:cubicBezTo>
                        <a:cubicBezTo>
                          <a:pt x="612" y="341"/>
                          <a:pt x="606" y="339"/>
                          <a:pt x="599" y="339"/>
                        </a:cubicBezTo>
                        <a:cubicBezTo>
                          <a:pt x="621" y="333"/>
                          <a:pt x="637" y="314"/>
                          <a:pt x="637" y="291"/>
                        </a:cubicBezTo>
                        <a:cubicBezTo>
                          <a:pt x="637" y="50"/>
                          <a:pt x="637" y="50"/>
                          <a:pt x="637" y="50"/>
                        </a:cubicBezTo>
                        <a:cubicBezTo>
                          <a:pt x="637" y="22"/>
                          <a:pt x="614" y="0"/>
                          <a:pt x="587" y="0"/>
                        </a:cubicBezTo>
                        <a:cubicBezTo>
                          <a:pt x="195" y="0"/>
                          <a:pt x="195" y="0"/>
                          <a:pt x="195" y="0"/>
                        </a:cubicBezTo>
                        <a:cubicBezTo>
                          <a:pt x="168" y="0"/>
                          <a:pt x="145" y="22"/>
                          <a:pt x="145" y="50"/>
                        </a:cubicBezTo>
                        <a:cubicBezTo>
                          <a:pt x="145" y="291"/>
                          <a:pt x="145" y="291"/>
                          <a:pt x="145" y="291"/>
                        </a:cubicBezTo>
                        <a:cubicBezTo>
                          <a:pt x="145" y="314"/>
                          <a:pt x="161" y="334"/>
                          <a:pt x="183" y="339"/>
                        </a:cubicBezTo>
                        <a:cubicBezTo>
                          <a:pt x="171" y="340"/>
                          <a:pt x="157" y="344"/>
                          <a:pt x="149" y="354"/>
                        </a:cubicBezTo>
                        <a:cubicBezTo>
                          <a:pt x="143" y="361"/>
                          <a:pt x="136" y="369"/>
                          <a:pt x="130" y="377"/>
                        </a:cubicBezTo>
                        <a:cubicBezTo>
                          <a:pt x="111" y="399"/>
                          <a:pt x="91" y="422"/>
                          <a:pt x="72" y="446"/>
                        </a:cubicBezTo>
                        <a:cubicBezTo>
                          <a:pt x="67" y="451"/>
                          <a:pt x="58" y="459"/>
                          <a:pt x="58" y="467"/>
                        </a:cubicBezTo>
                        <a:cubicBezTo>
                          <a:pt x="58" y="489"/>
                          <a:pt x="58" y="478"/>
                          <a:pt x="58" y="478"/>
                        </a:cubicBezTo>
                        <a:cubicBezTo>
                          <a:pt x="58" y="481"/>
                          <a:pt x="59" y="483"/>
                          <a:pt x="60" y="485"/>
                        </a:cubicBezTo>
                        <a:cubicBezTo>
                          <a:pt x="65" y="492"/>
                          <a:pt x="75" y="493"/>
                          <a:pt x="83" y="493"/>
                        </a:cubicBezTo>
                        <a:cubicBezTo>
                          <a:pt x="94" y="493"/>
                          <a:pt x="667" y="493"/>
                          <a:pt x="684" y="493"/>
                        </a:cubicBezTo>
                        <a:cubicBezTo>
                          <a:pt x="693" y="493"/>
                          <a:pt x="702" y="492"/>
                          <a:pt x="711" y="490"/>
                        </a:cubicBezTo>
                        <a:cubicBezTo>
                          <a:pt x="716" y="489"/>
                          <a:pt x="723" y="486"/>
                          <a:pt x="724" y="479"/>
                        </a:cubicBezTo>
                        <a:cubicBezTo>
                          <a:pt x="724" y="456"/>
                          <a:pt x="724" y="467"/>
                          <a:pt x="724" y="467"/>
                        </a:cubicBezTo>
                        <a:cubicBezTo>
                          <a:pt x="725" y="462"/>
                          <a:pt x="722" y="457"/>
                          <a:pt x="718" y="453"/>
                        </a:cubicBezTo>
                        <a:cubicBezTo>
                          <a:pt x="717" y="451"/>
                          <a:pt x="715" y="449"/>
                          <a:pt x="714" y="448"/>
                        </a:cubicBezTo>
                        <a:close/>
                        <a:moveTo>
                          <a:pt x="164" y="299"/>
                        </a:moveTo>
                        <a:cubicBezTo>
                          <a:pt x="164" y="64"/>
                          <a:pt x="164" y="53"/>
                          <a:pt x="164" y="53"/>
                        </a:cubicBezTo>
                        <a:cubicBezTo>
                          <a:pt x="164" y="39"/>
                          <a:pt x="175" y="16"/>
                          <a:pt x="189" y="16"/>
                        </a:cubicBezTo>
                        <a:cubicBezTo>
                          <a:pt x="570" y="16"/>
                          <a:pt x="593" y="16"/>
                          <a:pt x="593" y="16"/>
                        </a:cubicBezTo>
                        <a:cubicBezTo>
                          <a:pt x="607" y="16"/>
                          <a:pt x="618" y="39"/>
                          <a:pt x="618" y="53"/>
                        </a:cubicBezTo>
                        <a:cubicBezTo>
                          <a:pt x="618" y="268"/>
                          <a:pt x="618" y="299"/>
                          <a:pt x="618" y="299"/>
                        </a:cubicBezTo>
                        <a:cubicBezTo>
                          <a:pt x="618" y="313"/>
                          <a:pt x="607" y="325"/>
                          <a:pt x="593" y="325"/>
                        </a:cubicBezTo>
                        <a:cubicBezTo>
                          <a:pt x="212" y="325"/>
                          <a:pt x="189" y="325"/>
                          <a:pt x="189" y="325"/>
                        </a:cubicBezTo>
                        <a:cubicBezTo>
                          <a:pt x="175" y="325"/>
                          <a:pt x="164" y="302"/>
                          <a:pt x="164" y="287"/>
                        </a:cubicBezTo>
                        <a:lnTo>
                          <a:pt x="164" y="299"/>
                        </a:lnTo>
                        <a:close/>
                        <a:moveTo>
                          <a:pt x="613" y="367"/>
                        </a:moveTo>
                        <a:cubicBezTo>
                          <a:pt x="613" y="367"/>
                          <a:pt x="613" y="368"/>
                          <a:pt x="612" y="369"/>
                        </a:cubicBezTo>
                        <a:cubicBezTo>
                          <a:pt x="612" y="369"/>
                          <a:pt x="612" y="369"/>
                          <a:pt x="612" y="369"/>
                        </a:cubicBezTo>
                        <a:cubicBezTo>
                          <a:pt x="612" y="369"/>
                          <a:pt x="612" y="369"/>
                          <a:pt x="612" y="369"/>
                        </a:cubicBezTo>
                        <a:cubicBezTo>
                          <a:pt x="612" y="369"/>
                          <a:pt x="612" y="369"/>
                          <a:pt x="612" y="369"/>
                        </a:cubicBezTo>
                        <a:cubicBezTo>
                          <a:pt x="612" y="369"/>
                          <a:pt x="612" y="369"/>
                          <a:pt x="611" y="369"/>
                        </a:cubicBezTo>
                        <a:cubicBezTo>
                          <a:pt x="611" y="369"/>
                          <a:pt x="611" y="369"/>
                          <a:pt x="611" y="369"/>
                        </a:cubicBezTo>
                        <a:cubicBezTo>
                          <a:pt x="611" y="369"/>
                          <a:pt x="611" y="369"/>
                          <a:pt x="610" y="369"/>
                        </a:cubicBezTo>
                        <a:cubicBezTo>
                          <a:pt x="608" y="371"/>
                          <a:pt x="604" y="371"/>
                          <a:pt x="600" y="371"/>
                        </a:cubicBezTo>
                        <a:cubicBezTo>
                          <a:pt x="584" y="371"/>
                          <a:pt x="584" y="371"/>
                          <a:pt x="584" y="371"/>
                        </a:cubicBezTo>
                        <a:cubicBezTo>
                          <a:pt x="580" y="371"/>
                          <a:pt x="577" y="370"/>
                          <a:pt x="574" y="369"/>
                        </a:cubicBezTo>
                        <a:cubicBezTo>
                          <a:pt x="573" y="368"/>
                          <a:pt x="572" y="367"/>
                          <a:pt x="571" y="367"/>
                        </a:cubicBezTo>
                        <a:cubicBezTo>
                          <a:pt x="570" y="366"/>
                          <a:pt x="569" y="365"/>
                          <a:pt x="569" y="365"/>
                        </a:cubicBezTo>
                        <a:cubicBezTo>
                          <a:pt x="568" y="363"/>
                          <a:pt x="568" y="363"/>
                          <a:pt x="568" y="363"/>
                        </a:cubicBezTo>
                        <a:cubicBezTo>
                          <a:pt x="566" y="360"/>
                          <a:pt x="564" y="357"/>
                          <a:pt x="563" y="354"/>
                        </a:cubicBezTo>
                        <a:cubicBezTo>
                          <a:pt x="561" y="351"/>
                          <a:pt x="563" y="350"/>
                          <a:pt x="565" y="349"/>
                        </a:cubicBezTo>
                        <a:cubicBezTo>
                          <a:pt x="565" y="349"/>
                          <a:pt x="566" y="349"/>
                          <a:pt x="566" y="349"/>
                        </a:cubicBezTo>
                        <a:cubicBezTo>
                          <a:pt x="567" y="348"/>
                          <a:pt x="569" y="348"/>
                          <a:pt x="570" y="348"/>
                        </a:cubicBezTo>
                        <a:cubicBezTo>
                          <a:pt x="573" y="348"/>
                          <a:pt x="573" y="348"/>
                          <a:pt x="573" y="348"/>
                        </a:cubicBezTo>
                        <a:cubicBezTo>
                          <a:pt x="573" y="348"/>
                          <a:pt x="573" y="348"/>
                          <a:pt x="573" y="348"/>
                        </a:cubicBezTo>
                        <a:cubicBezTo>
                          <a:pt x="577" y="348"/>
                          <a:pt x="581" y="348"/>
                          <a:pt x="586" y="348"/>
                        </a:cubicBezTo>
                        <a:cubicBezTo>
                          <a:pt x="586" y="348"/>
                          <a:pt x="586" y="348"/>
                          <a:pt x="586" y="348"/>
                        </a:cubicBezTo>
                        <a:cubicBezTo>
                          <a:pt x="590" y="348"/>
                          <a:pt x="590" y="348"/>
                          <a:pt x="590" y="348"/>
                        </a:cubicBezTo>
                        <a:cubicBezTo>
                          <a:pt x="592" y="348"/>
                          <a:pt x="594" y="348"/>
                          <a:pt x="595" y="348"/>
                        </a:cubicBezTo>
                        <a:cubicBezTo>
                          <a:pt x="596" y="349"/>
                          <a:pt x="597" y="349"/>
                          <a:pt x="598" y="349"/>
                        </a:cubicBezTo>
                        <a:cubicBezTo>
                          <a:pt x="598" y="349"/>
                          <a:pt x="598" y="349"/>
                          <a:pt x="598" y="349"/>
                        </a:cubicBezTo>
                        <a:cubicBezTo>
                          <a:pt x="598" y="350"/>
                          <a:pt x="598" y="350"/>
                          <a:pt x="599" y="350"/>
                        </a:cubicBezTo>
                        <a:cubicBezTo>
                          <a:pt x="599" y="350"/>
                          <a:pt x="599" y="350"/>
                          <a:pt x="599" y="350"/>
                        </a:cubicBezTo>
                        <a:cubicBezTo>
                          <a:pt x="600" y="350"/>
                          <a:pt x="602" y="351"/>
                          <a:pt x="603" y="351"/>
                        </a:cubicBezTo>
                        <a:cubicBezTo>
                          <a:pt x="604" y="352"/>
                          <a:pt x="604" y="353"/>
                          <a:pt x="605" y="354"/>
                        </a:cubicBezTo>
                        <a:cubicBezTo>
                          <a:pt x="608" y="359"/>
                          <a:pt x="608" y="359"/>
                          <a:pt x="608" y="359"/>
                        </a:cubicBezTo>
                        <a:cubicBezTo>
                          <a:pt x="609" y="360"/>
                          <a:pt x="611" y="362"/>
                          <a:pt x="612" y="364"/>
                        </a:cubicBezTo>
                        <a:cubicBezTo>
                          <a:pt x="612" y="364"/>
                          <a:pt x="612" y="364"/>
                          <a:pt x="612" y="364"/>
                        </a:cubicBezTo>
                        <a:cubicBezTo>
                          <a:pt x="613" y="365"/>
                          <a:pt x="613" y="366"/>
                          <a:pt x="613" y="367"/>
                        </a:cubicBezTo>
                        <a:close/>
                        <a:moveTo>
                          <a:pt x="410" y="363"/>
                        </a:moveTo>
                        <a:cubicBezTo>
                          <a:pt x="410" y="364"/>
                          <a:pt x="410" y="364"/>
                          <a:pt x="410" y="365"/>
                        </a:cubicBezTo>
                        <a:cubicBezTo>
                          <a:pt x="406" y="371"/>
                          <a:pt x="392" y="369"/>
                          <a:pt x="386" y="369"/>
                        </a:cubicBezTo>
                        <a:cubicBezTo>
                          <a:pt x="383" y="369"/>
                          <a:pt x="380" y="369"/>
                          <a:pt x="377" y="369"/>
                        </a:cubicBezTo>
                        <a:cubicBezTo>
                          <a:pt x="374" y="369"/>
                          <a:pt x="370" y="369"/>
                          <a:pt x="367" y="367"/>
                        </a:cubicBezTo>
                        <a:cubicBezTo>
                          <a:pt x="367" y="367"/>
                          <a:pt x="367" y="367"/>
                          <a:pt x="367" y="367"/>
                        </a:cubicBezTo>
                        <a:cubicBezTo>
                          <a:pt x="367" y="366"/>
                          <a:pt x="367" y="366"/>
                          <a:pt x="367" y="366"/>
                        </a:cubicBezTo>
                        <a:cubicBezTo>
                          <a:pt x="366" y="366"/>
                          <a:pt x="366" y="366"/>
                          <a:pt x="366" y="366"/>
                        </a:cubicBezTo>
                        <a:cubicBezTo>
                          <a:pt x="366" y="366"/>
                          <a:pt x="366" y="366"/>
                          <a:pt x="366" y="366"/>
                        </a:cubicBezTo>
                        <a:cubicBezTo>
                          <a:pt x="366" y="366"/>
                          <a:pt x="366" y="366"/>
                          <a:pt x="366" y="366"/>
                        </a:cubicBezTo>
                        <a:cubicBezTo>
                          <a:pt x="366" y="365"/>
                          <a:pt x="366" y="365"/>
                          <a:pt x="366" y="365"/>
                        </a:cubicBezTo>
                        <a:cubicBezTo>
                          <a:pt x="366" y="364"/>
                          <a:pt x="366" y="364"/>
                          <a:pt x="366" y="363"/>
                        </a:cubicBezTo>
                        <a:cubicBezTo>
                          <a:pt x="366" y="363"/>
                          <a:pt x="366" y="363"/>
                          <a:pt x="366" y="363"/>
                        </a:cubicBezTo>
                        <a:cubicBezTo>
                          <a:pt x="366" y="362"/>
                          <a:pt x="366" y="361"/>
                          <a:pt x="366" y="361"/>
                        </a:cubicBezTo>
                        <a:cubicBezTo>
                          <a:pt x="366" y="360"/>
                          <a:pt x="366" y="360"/>
                          <a:pt x="366" y="360"/>
                        </a:cubicBezTo>
                        <a:cubicBezTo>
                          <a:pt x="366" y="358"/>
                          <a:pt x="366" y="355"/>
                          <a:pt x="367" y="353"/>
                        </a:cubicBezTo>
                        <a:cubicBezTo>
                          <a:pt x="367" y="352"/>
                          <a:pt x="367" y="352"/>
                          <a:pt x="367" y="352"/>
                        </a:cubicBezTo>
                        <a:cubicBezTo>
                          <a:pt x="367" y="352"/>
                          <a:pt x="367" y="351"/>
                          <a:pt x="368" y="350"/>
                        </a:cubicBezTo>
                        <a:cubicBezTo>
                          <a:pt x="369" y="350"/>
                          <a:pt x="369" y="349"/>
                          <a:pt x="370" y="349"/>
                        </a:cubicBezTo>
                        <a:cubicBezTo>
                          <a:pt x="370" y="349"/>
                          <a:pt x="370" y="349"/>
                          <a:pt x="370" y="349"/>
                        </a:cubicBezTo>
                        <a:cubicBezTo>
                          <a:pt x="370" y="349"/>
                          <a:pt x="370" y="348"/>
                          <a:pt x="370" y="348"/>
                        </a:cubicBezTo>
                        <a:cubicBezTo>
                          <a:pt x="370" y="348"/>
                          <a:pt x="371" y="348"/>
                          <a:pt x="371" y="348"/>
                        </a:cubicBezTo>
                        <a:cubicBezTo>
                          <a:pt x="371" y="348"/>
                          <a:pt x="371" y="348"/>
                          <a:pt x="371" y="348"/>
                        </a:cubicBezTo>
                        <a:cubicBezTo>
                          <a:pt x="371" y="348"/>
                          <a:pt x="372" y="348"/>
                          <a:pt x="372" y="348"/>
                        </a:cubicBezTo>
                        <a:cubicBezTo>
                          <a:pt x="372" y="348"/>
                          <a:pt x="372" y="348"/>
                          <a:pt x="373" y="348"/>
                        </a:cubicBezTo>
                        <a:cubicBezTo>
                          <a:pt x="373" y="347"/>
                          <a:pt x="373" y="347"/>
                          <a:pt x="374" y="347"/>
                        </a:cubicBezTo>
                        <a:cubicBezTo>
                          <a:pt x="374" y="347"/>
                          <a:pt x="374" y="347"/>
                          <a:pt x="374" y="347"/>
                        </a:cubicBezTo>
                        <a:cubicBezTo>
                          <a:pt x="374" y="347"/>
                          <a:pt x="374" y="347"/>
                          <a:pt x="374" y="347"/>
                        </a:cubicBezTo>
                        <a:cubicBezTo>
                          <a:pt x="375" y="347"/>
                          <a:pt x="375" y="347"/>
                          <a:pt x="375" y="347"/>
                        </a:cubicBezTo>
                        <a:cubicBezTo>
                          <a:pt x="376" y="347"/>
                          <a:pt x="377" y="347"/>
                          <a:pt x="378" y="347"/>
                        </a:cubicBezTo>
                        <a:cubicBezTo>
                          <a:pt x="379" y="347"/>
                          <a:pt x="379" y="347"/>
                          <a:pt x="379" y="347"/>
                        </a:cubicBezTo>
                        <a:cubicBezTo>
                          <a:pt x="380" y="347"/>
                          <a:pt x="382" y="347"/>
                          <a:pt x="383" y="347"/>
                        </a:cubicBezTo>
                        <a:cubicBezTo>
                          <a:pt x="399" y="347"/>
                          <a:pt x="399" y="347"/>
                          <a:pt x="399" y="347"/>
                        </a:cubicBezTo>
                        <a:cubicBezTo>
                          <a:pt x="399" y="347"/>
                          <a:pt x="399" y="347"/>
                          <a:pt x="400" y="347"/>
                        </a:cubicBezTo>
                        <a:cubicBezTo>
                          <a:pt x="400" y="347"/>
                          <a:pt x="400" y="347"/>
                          <a:pt x="400" y="347"/>
                        </a:cubicBezTo>
                        <a:cubicBezTo>
                          <a:pt x="401" y="347"/>
                          <a:pt x="401" y="347"/>
                          <a:pt x="402" y="347"/>
                        </a:cubicBezTo>
                        <a:cubicBezTo>
                          <a:pt x="405" y="347"/>
                          <a:pt x="408" y="348"/>
                          <a:pt x="409" y="351"/>
                        </a:cubicBezTo>
                        <a:cubicBezTo>
                          <a:pt x="410" y="351"/>
                          <a:pt x="410" y="351"/>
                          <a:pt x="410" y="351"/>
                        </a:cubicBezTo>
                        <a:cubicBezTo>
                          <a:pt x="410" y="351"/>
                          <a:pt x="410" y="351"/>
                          <a:pt x="410" y="351"/>
                        </a:cubicBezTo>
                        <a:cubicBezTo>
                          <a:pt x="411" y="355"/>
                          <a:pt x="410" y="359"/>
                          <a:pt x="410" y="362"/>
                        </a:cubicBezTo>
                        <a:cubicBezTo>
                          <a:pt x="410" y="363"/>
                          <a:pt x="410" y="363"/>
                          <a:pt x="410" y="363"/>
                        </a:cubicBezTo>
                        <a:cubicBezTo>
                          <a:pt x="410" y="363"/>
                          <a:pt x="410" y="363"/>
                          <a:pt x="410" y="363"/>
                        </a:cubicBezTo>
                        <a:close/>
                        <a:moveTo>
                          <a:pt x="387" y="381"/>
                        </a:moveTo>
                        <a:cubicBezTo>
                          <a:pt x="393" y="381"/>
                          <a:pt x="407" y="380"/>
                          <a:pt x="410" y="386"/>
                        </a:cubicBezTo>
                        <a:cubicBezTo>
                          <a:pt x="410" y="387"/>
                          <a:pt x="411" y="387"/>
                          <a:pt x="411" y="388"/>
                        </a:cubicBezTo>
                        <a:cubicBezTo>
                          <a:pt x="411" y="395"/>
                          <a:pt x="411" y="395"/>
                          <a:pt x="411" y="395"/>
                        </a:cubicBezTo>
                        <a:cubicBezTo>
                          <a:pt x="411" y="397"/>
                          <a:pt x="411" y="399"/>
                          <a:pt x="411" y="401"/>
                        </a:cubicBezTo>
                        <a:cubicBezTo>
                          <a:pt x="411" y="401"/>
                          <a:pt x="411" y="401"/>
                          <a:pt x="411" y="401"/>
                        </a:cubicBezTo>
                        <a:cubicBezTo>
                          <a:pt x="411" y="402"/>
                          <a:pt x="411" y="402"/>
                          <a:pt x="411" y="402"/>
                        </a:cubicBezTo>
                        <a:cubicBezTo>
                          <a:pt x="411" y="402"/>
                          <a:pt x="410" y="404"/>
                          <a:pt x="410" y="404"/>
                        </a:cubicBezTo>
                        <a:cubicBezTo>
                          <a:pt x="409" y="405"/>
                          <a:pt x="409" y="405"/>
                          <a:pt x="409" y="405"/>
                        </a:cubicBezTo>
                        <a:cubicBezTo>
                          <a:pt x="409" y="405"/>
                          <a:pt x="409" y="405"/>
                          <a:pt x="409" y="406"/>
                        </a:cubicBezTo>
                        <a:cubicBezTo>
                          <a:pt x="409" y="406"/>
                          <a:pt x="409" y="406"/>
                          <a:pt x="409" y="406"/>
                        </a:cubicBezTo>
                        <a:cubicBezTo>
                          <a:pt x="407" y="407"/>
                          <a:pt x="405" y="408"/>
                          <a:pt x="403" y="409"/>
                        </a:cubicBezTo>
                        <a:cubicBezTo>
                          <a:pt x="403" y="409"/>
                          <a:pt x="403" y="409"/>
                          <a:pt x="403" y="409"/>
                        </a:cubicBezTo>
                        <a:cubicBezTo>
                          <a:pt x="403" y="409"/>
                          <a:pt x="403" y="409"/>
                          <a:pt x="403" y="409"/>
                        </a:cubicBezTo>
                        <a:cubicBezTo>
                          <a:pt x="402" y="409"/>
                          <a:pt x="401" y="409"/>
                          <a:pt x="401" y="409"/>
                        </a:cubicBezTo>
                        <a:cubicBezTo>
                          <a:pt x="400" y="409"/>
                          <a:pt x="400" y="409"/>
                          <a:pt x="400" y="409"/>
                        </a:cubicBezTo>
                        <a:cubicBezTo>
                          <a:pt x="399" y="409"/>
                          <a:pt x="398" y="409"/>
                          <a:pt x="398" y="409"/>
                        </a:cubicBezTo>
                        <a:cubicBezTo>
                          <a:pt x="398" y="409"/>
                          <a:pt x="398" y="409"/>
                          <a:pt x="398" y="409"/>
                        </a:cubicBezTo>
                        <a:cubicBezTo>
                          <a:pt x="373" y="409"/>
                          <a:pt x="373" y="409"/>
                          <a:pt x="373" y="409"/>
                        </a:cubicBezTo>
                        <a:cubicBezTo>
                          <a:pt x="371" y="409"/>
                          <a:pt x="367" y="409"/>
                          <a:pt x="364" y="407"/>
                        </a:cubicBezTo>
                        <a:cubicBezTo>
                          <a:pt x="364" y="407"/>
                          <a:pt x="364" y="407"/>
                          <a:pt x="364" y="407"/>
                        </a:cubicBezTo>
                        <a:cubicBezTo>
                          <a:pt x="364" y="407"/>
                          <a:pt x="364" y="407"/>
                          <a:pt x="364" y="407"/>
                        </a:cubicBezTo>
                        <a:cubicBezTo>
                          <a:pt x="364" y="407"/>
                          <a:pt x="364" y="406"/>
                          <a:pt x="363" y="406"/>
                        </a:cubicBezTo>
                        <a:cubicBezTo>
                          <a:pt x="363" y="406"/>
                          <a:pt x="362" y="405"/>
                          <a:pt x="362" y="405"/>
                        </a:cubicBezTo>
                        <a:cubicBezTo>
                          <a:pt x="362" y="405"/>
                          <a:pt x="362" y="405"/>
                          <a:pt x="362" y="404"/>
                        </a:cubicBezTo>
                        <a:cubicBezTo>
                          <a:pt x="362" y="404"/>
                          <a:pt x="361" y="403"/>
                          <a:pt x="361" y="402"/>
                        </a:cubicBezTo>
                        <a:cubicBezTo>
                          <a:pt x="362" y="400"/>
                          <a:pt x="362" y="400"/>
                          <a:pt x="362" y="400"/>
                        </a:cubicBezTo>
                        <a:cubicBezTo>
                          <a:pt x="362" y="400"/>
                          <a:pt x="362" y="400"/>
                          <a:pt x="362" y="400"/>
                        </a:cubicBezTo>
                        <a:cubicBezTo>
                          <a:pt x="362" y="396"/>
                          <a:pt x="362" y="392"/>
                          <a:pt x="363" y="388"/>
                        </a:cubicBezTo>
                        <a:cubicBezTo>
                          <a:pt x="363" y="388"/>
                          <a:pt x="363" y="388"/>
                          <a:pt x="363" y="388"/>
                        </a:cubicBezTo>
                        <a:cubicBezTo>
                          <a:pt x="363" y="388"/>
                          <a:pt x="363" y="388"/>
                          <a:pt x="363" y="388"/>
                        </a:cubicBezTo>
                        <a:cubicBezTo>
                          <a:pt x="364" y="379"/>
                          <a:pt x="381" y="381"/>
                          <a:pt x="387" y="381"/>
                        </a:cubicBezTo>
                        <a:close/>
                        <a:moveTo>
                          <a:pt x="289" y="407"/>
                        </a:moveTo>
                        <a:cubicBezTo>
                          <a:pt x="289" y="407"/>
                          <a:pt x="289" y="407"/>
                          <a:pt x="288" y="406"/>
                        </a:cubicBezTo>
                        <a:cubicBezTo>
                          <a:pt x="288" y="406"/>
                          <a:pt x="288" y="405"/>
                          <a:pt x="287" y="405"/>
                        </a:cubicBezTo>
                        <a:cubicBezTo>
                          <a:pt x="287" y="405"/>
                          <a:pt x="287" y="405"/>
                          <a:pt x="287" y="405"/>
                        </a:cubicBezTo>
                        <a:cubicBezTo>
                          <a:pt x="287" y="404"/>
                          <a:pt x="287" y="403"/>
                          <a:pt x="287" y="402"/>
                        </a:cubicBezTo>
                        <a:cubicBezTo>
                          <a:pt x="288" y="400"/>
                          <a:pt x="288" y="400"/>
                          <a:pt x="288" y="400"/>
                        </a:cubicBezTo>
                        <a:cubicBezTo>
                          <a:pt x="288" y="400"/>
                          <a:pt x="288" y="400"/>
                          <a:pt x="288" y="400"/>
                        </a:cubicBezTo>
                        <a:cubicBezTo>
                          <a:pt x="288" y="400"/>
                          <a:pt x="288" y="399"/>
                          <a:pt x="288" y="399"/>
                        </a:cubicBezTo>
                        <a:cubicBezTo>
                          <a:pt x="291" y="388"/>
                          <a:pt x="291" y="388"/>
                          <a:pt x="291" y="388"/>
                        </a:cubicBezTo>
                        <a:cubicBezTo>
                          <a:pt x="291" y="388"/>
                          <a:pt x="291" y="388"/>
                          <a:pt x="292" y="388"/>
                        </a:cubicBezTo>
                        <a:cubicBezTo>
                          <a:pt x="295" y="380"/>
                          <a:pt x="310" y="381"/>
                          <a:pt x="317" y="381"/>
                        </a:cubicBezTo>
                        <a:cubicBezTo>
                          <a:pt x="320" y="381"/>
                          <a:pt x="325" y="381"/>
                          <a:pt x="330" y="381"/>
                        </a:cubicBezTo>
                        <a:cubicBezTo>
                          <a:pt x="331" y="382"/>
                          <a:pt x="332" y="382"/>
                          <a:pt x="333" y="382"/>
                        </a:cubicBezTo>
                        <a:cubicBezTo>
                          <a:pt x="333" y="382"/>
                          <a:pt x="333" y="382"/>
                          <a:pt x="333" y="382"/>
                        </a:cubicBezTo>
                        <a:cubicBezTo>
                          <a:pt x="335" y="383"/>
                          <a:pt x="337" y="384"/>
                          <a:pt x="338" y="385"/>
                        </a:cubicBezTo>
                        <a:cubicBezTo>
                          <a:pt x="338" y="385"/>
                          <a:pt x="338" y="385"/>
                          <a:pt x="338" y="385"/>
                        </a:cubicBezTo>
                        <a:cubicBezTo>
                          <a:pt x="338" y="386"/>
                          <a:pt x="338" y="386"/>
                          <a:pt x="338" y="386"/>
                        </a:cubicBezTo>
                        <a:cubicBezTo>
                          <a:pt x="338" y="386"/>
                          <a:pt x="338" y="386"/>
                          <a:pt x="338" y="386"/>
                        </a:cubicBezTo>
                        <a:cubicBezTo>
                          <a:pt x="339" y="387"/>
                          <a:pt x="339" y="388"/>
                          <a:pt x="339" y="388"/>
                        </a:cubicBezTo>
                        <a:cubicBezTo>
                          <a:pt x="339" y="389"/>
                          <a:pt x="339" y="389"/>
                          <a:pt x="339" y="389"/>
                        </a:cubicBezTo>
                        <a:cubicBezTo>
                          <a:pt x="339" y="389"/>
                          <a:pt x="339" y="389"/>
                          <a:pt x="339" y="389"/>
                        </a:cubicBezTo>
                        <a:cubicBezTo>
                          <a:pt x="338" y="391"/>
                          <a:pt x="338" y="393"/>
                          <a:pt x="338" y="395"/>
                        </a:cubicBezTo>
                        <a:cubicBezTo>
                          <a:pt x="336" y="402"/>
                          <a:pt x="336" y="402"/>
                          <a:pt x="336" y="402"/>
                        </a:cubicBezTo>
                        <a:cubicBezTo>
                          <a:pt x="336" y="403"/>
                          <a:pt x="336" y="404"/>
                          <a:pt x="335" y="404"/>
                        </a:cubicBezTo>
                        <a:cubicBezTo>
                          <a:pt x="335" y="405"/>
                          <a:pt x="335" y="405"/>
                          <a:pt x="335" y="405"/>
                        </a:cubicBezTo>
                        <a:cubicBezTo>
                          <a:pt x="335" y="405"/>
                          <a:pt x="334" y="405"/>
                          <a:pt x="334" y="405"/>
                        </a:cubicBezTo>
                        <a:cubicBezTo>
                          <a:pt x="334" y="405"/>
                          <a:pt x="334" y="406"/>
                          <a:pt x="334" y="406"/>
                        </a:cubicBezTo>
                        <a:cubicBezTo>
                          <a:pt x="332" y="407"/>
                          <a:pt x="329" y="408"/>
                          <a:pt x="327" y="409"/>
                        </a:cubicBezTo>
                        <a:cubicBezTo>
                          <a:pt x="327" y="409"/>
                          <a:pt x="327" y="409"/>
                          <a:pt x="327" y="409"/>
                        </a:cubicBezTo>
                        <a:cubicBezTo>
                          <a:pt x="327" y="409"/>
                          <a:pt x="327" y="409"/>
                          <a:pt x="327" y="409"/>
                        </a:cubicBezTo>
                        <a:cubicBezTo>
                          <a:pt x="327" y="409"/>
                          <a:pt x="326" y="409"/>
                          <a:pt x="325" y="409"/>
                        </a:cubicBezTo>
                        <a:cubicBezTo>
                          <a:pt x="325" y="409"/>
                          <a:pt x="325" y="409"/>
                          <a:pt x="324" y="409"/>
                        </a:cubicBezTo>
                        <a:cubicBezTo>
                          <a:pt x="324" y="409"/>
                          <a:pt x="323" y="409"/>
                          <a:pt x="322" y="409"/>
                        </a:cubicBezTo>
                        <a:cubicBezTo>
                          <a:pt x="322" y="409"/>
                          <a:pt x="322" y="409"/>
                          <a:pt x="322" y="409"/>
                        </a:cubicBezTo>
                        <a:cubicBezTo>
                          <a:pt x="298" y="409"/>
                          <a:pt x="298" y="409"/>
                          <a:pt x="298" y="409"/>
                        </a:cubicBezTo>
                        <a:cubicBezTo>
                          <a:pt x="295" y="409"/>
                          <a:pt x="292" y="409"/>
                          <a:pt x="289" y="407"/>
                        </a:cubicBezTo>
                        <a:cubicBezTo>
                          <a:pt x="289" y="407"/>
                          <a:pt x="289" y="407"/>
                          <a:pt x="289" y="407"/>
                        </a:cubicBezTo>
                        <a:close/>
                        <a:moveTo>
                          <a:pt x="320" y="369"/>
                        </a:moveTo>
                        <a:cubicBezTo>
                          <a:pt x="316" y="369"/>
                          <a:pt x="312" y="369"/>
                          <a:pt x="309" y="369"/>
                        </a:cubicBezTo>
                        <a:cubicBezTo>
                          <a:pt x="306" y="369"/>
                          <a:pt x="301" y="369"/>
                          <a:pt x="299" y="366"/>
                        </a:cubicBezTo>
                        <a:cubicBezTo>
                          <a:pt x="299" y="365"/>
                          <a:pt x="299" y="365"/>
                          <a:pt x="299" y="365"/>
                        </a:cubicBezTo>
                        <a:cubicBezTo>
                          <a:pt x="299" y="365"/>
                          <a:pt x="299" y="364"/>
                          <a:pt x="299" y="364"/>
                        </a:cubicBezTo>
                        <a:cubicBezTo>
                          <a:pt x="299" y="364"/>
                          <a:pt x="299" y="364"/>
                          <a:pt x="299" y="363"/>
                        </a:cubicBezTo>
                        <a:cubicBezTo>
                          <a:pt x="299" y="363"/>
                          <a:pt x="299" y="363"/>
                          <a:pt x="299" y="363"/>
                        </a:cubicBezTo>
                        <a:cubicBezTo>
                          <a:pt x="299" y="363"/>
                          <a:pt x="299" y="363"/>
                          <a:pt x="299" y="363"/>
                        </a:cubicBezTo>
                        <a:cubicBezTo>
                          <a:pt x="299" y="362"/>
                          <a:pt x="299" y="361"/>
                          <a:pt x="300" y="361"/>
                        </a:cubicBezTo>
                        <a:cubicBezTo>
                          <a:pt x="300" y="358"/>
                          <a:pt x="301" y="355"/>
                          <a:pt x="302" y="353"/>
                        </a:cubicBezTo>
                        <a:cubicBezTo>
                          <a:pt x="302" y="353"/>
                          <a:pt x="302" y="353"/>
                          <a:pt x="302" y="353"/>
                        </a:cubicBezTo>
                        <a:cubicBezTo>
                          <a:pt x="302" y="352"/>
                          <a:pt x="303" y="351"/>
                          <a:pt x="303" y="350"/>
                        </a:cubicBezTo>
                        <a:cubicBezTo>
                          <a:pt x="304" y="350"/>
                          <a:pt x="304" y="350"/>
                          <a:pt x="305" y="349"/>
                        </a:cubicBezTo>
                        <a:cubicBezTo>
                          <a:pt x="306" y="348"/>
                          <a:pt x="308" y="348"/>
                          <a:pt x="310" y="347"/>
                        </a:cubicBezTo>
                        <a:cubicBezTo>
                          <a:pt x="310" y="347"/>
                          <a:pt x="310" y="347"/>
                          <a:pt x="310" y="347"/>
                        </a:cubicBezTo>
                        <a:cubicBezTo>
                          <a:pt x="312" y="347"/>
                          <a:pt x="313" y="347"/>
                          <a:pt x="315" y="347"/>
                        </a:cubicBezTo>
                        <a:cubicBezTo>
                          <a:pt x="317" y="347"/>
                          <a:pt x="317" y="347"/>
                          <a:pt x="317" y="347"/>
                        </a:cubicBezTo>
                        <a:cubicBezTo>
                          <a:pt x="317" y="347"/>
                          <a:pt x="318" y="347"/>
                          <a:pt x="319" y="347"/>
                        </a:cubicBezTo>
                        <a:cubicBezTo>
                          <a:pt x="323" y="347"/>
                          <a:pt x="328" y="347"/>
                          <a:pt x="332" y="347"/>
                        </a:cubicBezTo>
                        <a:cubicBezTo>
                          <a:pt x="333" y="347"/>
                          <a:pt x="334" y="347"/>
                          <a:pt x="334" y="347"/>
                        </a:cubicBezTo>
                        <a:cubicBezTo>
                          <a:pt x="335" y="347"/>
                          <a:pt x="335" y="347"/>
                          <a:pt x="335" y="347"/>
                        </a:cubicBezTo>
                        <a:cubicBezTo>
                          <a:pt x="335" y="347"/>
                          <a:pt x="335" y="347"/>
                          <a:pt x="336" y="347"/>
                        </a:cubicBezTo>
                        <a:cubicBezTo>
                          <a:pt x="336" y="347"/>
                          <a:pt x="337" y="347"/>
                          <a:pt x="337" y="347"/>
                        </a:cubicBezTo>
                        <a:cubicBezTo>
                          <a:pt x="337" y="347"/>
                          <a:pt x="337" y="347"/>
                          <a:pt x="337" y="347"/>
                        </a:cubicBezTo>
                        <a:cubicBezTo>
                          <a:pt x="341" y="347"/>
                          <a:pt x="345" y="348"/>
                          <a:pt x="345" y="351"/>
                        </a:cubicBezTo>
                        <a:cubicBezTo>
                          <a:pt x="345" y="351"/>
                          <a:pt x="345" y="351"/>
                          <a:pt x="345" y="351"/>
                        </a:cubicBezTo>
                        <a:cubicBezTo>
                          <a:pt x="345" y="351"/>
                          <a:pt x="345" y="351"/>
                          <a:pt x="345" y="352"/>
                        </a:cubicBezTo>
                        <a:cubicBezTo>
                          <a:pt x="345" y="355"/>
                          <a:pt x="344" y="359"/>
                          <a:pt x="343" y="362"/>
                        </a:cubicBezTo>
                        <a:cubicBezTo>
                          <a:pt x="343" y="362"/>
                          <a:pt x="343" y="362"/>
                          <a:pt x="343" y="362"/>
                        </a:cubicBezTo>
                        <a:cubicBezTo>
                          <a:pt x="343" y="363"/>
                          <a:pt x="343" y="363"/>
                          <a:pt x="343" y="363"/>
                        </a:cubicBezTo>
                        <a:cubicBezTo>
                          <a:pt x="343" y="364"/>
                          <a:pt x="343" y="364"/>
                          <a:pt x="342" y="365"/>
                        </a:cubicBezTo>
                        <a:cubicBezTo>
                          <a:pt x="342" y="365"/>
                          <a:pt x="342" y="365"/>
                          <a:pt x="342" y="366"/>
                        </a:cubicBezTo>
                        <a:cubicBezTo>
                          <a:pt x="342" y="366"/>
                          <a:pt x="342" y="366"/>
                          <a:pt x="342" y="366"/>
                        </a:cubicBezTo>
                        <a:cubicBezTo>
                          <a:pt x="342" y="366"/>
                          <a:pt x="342" y="366"/>
                          <a:pt x="342" y="366"/>
                        </a:cubicBezTo>
                        <a:cubicBezTo>
                          <a:pt x="337" y="371"/>
                          <a:pt x="325" y="369"/>
                          <a:pt x="320" y="369"/>
                        </a:cubicBezTo>
                        <a:close/>
                        <a:moveTo>
                          <a:pt x="212" y="404"/>
                        </a:moveTo>
                        <a:cubicBezTo>
                          <a:pt x="212" y="404"/>
                          <a:pt x="212" y="403"/>
                          <a:pt x="212" y="403"/>
                        </a:cubicBezTo>
                        <a:cubicBezTo>
                          <a:pt x="213" y="403"/>
                          <a:pt x="213" y="402"/>
                          <a:pt x="213" y="402"/>
                        </a:cubicBezTo>
                        <a:cubicBezTo>
                          <a:pt x="213" y="402"/>
                          <a:pt x="213" y="402"/>
                          <a:pt x="213" y="402"/>
                        </a:cubicBezTo>
                        <a:cubicBezTo>
                          <a:pt x="213" y="402"/>
                          <a:pt x="213" y="402"/>
                          <a:pt x="213" y="402"/>
                        </a:cubicBezTo>
                        <a:cubicBezTo>
                          <a:pt x="213" y="401"/>
                          <a:pt x="214" y="401"/>
                          <a:pt x="214" y="400"/>
                        </a:cubicBezTo>
                        <a:cubicBezTo>
                          <a:pt x="216" y="396"/>
                          <a:pt x="217" y="393"/>
                          <a:pt x="219" y="389"/>
                        </a:cubicBezTo>
                        <a:cubicBezTo>
                          <a:pt x="219" y="389"/>
                          <a:pt x="219" y="389"/>
                          <a:pt x="219" y="389"/>
                        </a:cubicBezTo>
                        <a:cubicBezTo>
                          <a:pt x="219" y="389"/>
                          <a:pt x="219" y="389"/>
                          <a:pt x="219" y="389"/>
                        </a:cubicBezTo>
                        <a:cubicBezTo>
                          <a:pt x="220" y="388"/>
                          <a:pt x="220" y="388"/>
                          <a:pt x="220" y="388"/>
                        </a:cubicBezTo>
                        <a:cubicBezTo>
                          <a:pt x="220" y="388"/>
                          <a:pt x="220" y="388"/>
                          <a:pt x="220" y="387"/>
                        </a:cubicBezTo>
                        <a:cubicBezTo>
                          <a:pt x="220" y="387"/>
                          <a:pt x="220" y="387"/>
                          <a:pt x="221" y="387"/>
                        </a:cubicBezTo>
                        <a:cubicBezTo>
                          <a:pt x="226" y="380"/>
                          <a:pt x="238" y="382"/>
                          <a:pt x="245" y="382"/>
                        </a:cubicBezTo>
                        <a:cubicBezTo>
                          <a:pt x="245" y="382"/>
                          <a:pt x="245" y="382"/>
                          <a:pt x="245" y="382"/>
                        </a:cubicBezTo>
                        <a:cubicBezTo>
                          <a:pt x="247" y="382"/>
                          <a:pt x="253" y="381"/>
                          <a:pt x="258" y="382"/>
                        </a:cubicBezTo>
                        <a:cubicBezTo>
                          <a:pt x="259" y="382"/>
                          <a:pt x="261" y="382"/>
                          <a:pt x="262" y="382"/>
                        </a:cubicBezTo>
                        <a:cubicBezTo>
                          <a:pt x="263" y="382"/>
                          <a:pt x="264" y="383"/>
                          <a:pt x="264" y="383"/>
                        </a:cubicBezTo>
                        <a:cubicBezTo>
                          <a:pt x="266" y="384"/>
                          <a:pt x="267" y="385"/>
                          <a:pt x="267" y="387"/>
                        </a:cubicBezTo>
                        <a:cubicBezTo>
                          <a:pt x="267" y="387"/>
                          <a:pt x="267" y="387"/>
                          <a:pt x="267" y="387"/>
                        </a:cubicBezTo>
                        <a:cubicBezTo>
                          <a:pt x="267" y="387"/>
                          <a:pt x="267" y="387"/>
                          <a:pt x="267" y="388"/>
                        </a:cubicBezTo>
                        <a:cubicBezTo>
                          <a:pt x="267" y="388"/>
                          <a:pt x="267" y="388"/>
                          <a:pt x="267" y="388"/>
                        </a:cubicBezTo>
                        <a:cubicBezTo>
                          <a:pt x="262" y="402"/>
                          <a:pt x="262" y="402"/>
                          <a:pt x="262" y="402"/>
                        </a:cubicBezTo>
                        <a:cubicBezTo>
                          <a:pt x="262" y="403"/>
                          <a:pt x="261" y="404"/>
                          <a:pt x="260" y="405"/>
                        </a:cubicBezTo>
                        <a:cubicBezTo>
                          <a:pt x="259" y="406"/>
                          <a:pt x="258" y="407"/>
                          <a:pt x="256" y="407"/>
                        </a:cubicBezTo>
                        <a:cubicBezTo>
                          <a:pt x="256" y="407"/>
                          <a:pt x="256" y="407"/>
                          <a:pt x="256" y="407"/>
                        </a:cubicBezTo>
                        <a:cubicBezTo>
                          <a:pt x="254" y="408"/>
                          <a:pt x="252" y="409"/>
                          <a:pt x="250" y="409"/>
                        </a:cubicBezTo>
                        <a:cubicBezTo>
                          <a:pt x="249" y="409"/>
                          <a:pt x="249" y="409"/>
                          <a:pt x="249" y="409"/>
                        </a:cubicBezTo>
                        <a:cubicBezTo>
                          <a:pt x="249" y="409"/>
                          <a:pt x="249" y="409"/>
                          <a:pt x="248" y="409"/>
                        </a:cubicBezTo>
                        <a:cubicBezTo>
                          <a:pt x="244" y="410"/>
                          <a:pt x="240" y="409"/>
                          <a:pt x="235" y="409"/>
                        </a:cubicBezTo>
                        <a:cubicBezTo>
                          <a:pt x="231" y="409"/>
                          <a:pt x="227" y="410"/>
                          <a:pt x="222" y="410"/>
                        </a:cubicBezTo>
                        <a:cubicBezTo>
                          <a:pt x="219" y="410"/>
                          <a:pt x="215" y="409"/>
                          <a:pt x="213" y="406"/>
                        </a:cubicBezTo>
                        <a:cubicBezTo>
                          <a:pt x="213" y="406"/>
                          <a:pt x="213" y="406"/>
                          <a:pt x="213" y="406"/>
                        </a:cubicBezTo>
                        <a:cubicBezTo>
                          <a:pt x="213" y="406"/>
                          <a:pt x="213" y="406"/>
                          <a:pt x="213" y="406"/>
                        </a:cubicBezTo>
                        <a:cubicBezTo>
                          <a:pt x="213" y="405"/>
                          <a:pt x="213" y="405"/>
                          <a:pt x="212" y="405"/>
                        </a:cubicBezTo>
                        <a:cubicBezTo>
                          <a:pt x="212" y="405"/>
                          <a:pt x="212" y="405"/>
                          <a:pt x="212" y="405"/>
                        </a:cubicBezTo>
                        <a:cubicBezTo>
                          <a:pt x="212" y="405"/>
                          <a:pt x="212" y="405"/>
                          <a:pt x="212" y="405"/>
                        </a:cubicBezTo>
                        <a:cubicBezTo>
                          <a:pt x="212" y="404"/>
                          <a:pt x="212" y="404"/>
                          <a:pt x="212" y="404"/>
                        </a:cubicBezTo>
                        <a:close/>
                        <a:moveTo>
                          <a:pt x="212" y="359"/>
                        </a:moveTo>
                        <a:cubicBezTo>
                          <a:pt x="212" y="359"/>
                          <a:pt x="212" y="359"/>
                          <a:pt x="212" y="359"/>
                        </a:cubicBezTo>
                        <a:cubicBezTo>
                          <a:pt x="209" y="364"/>
                          <a:pt x="209" y="364"/>
                          <a:pt x="209" y="364"/>
                        </a:cubicBezTo>
                        <a:cubicBezTo>
                          <a:pt x="209" y="364"/>
                          <a:pt x="208" y="365"/>
                          <a:pt x="207" y="366"/>
                        </a:cubicBezTo>
                        <a:cubicBezTo>
                          <a:pt x="206" y="367"/>
                          <a:pt x="205" y="367"/>
                          <a:pt x="203" y="368"/>
                        </a:cubicBezTo>
                        <a:cubicBezTo>
                          <a:pt x="203" y="368"/>
                          <a:pt x="203" y="368"/>
                          <a:pt x="202" y="368"/>
                        </a:cubicBezTo>
                        <a:cubicBezTo>
                          <a:pt x="202" y="369"/>
                          <a:pt x="202" y="369"/>
                          <a:pt x="202" y="369"/>
                        </a:cubicBezTo>
                        <a:cubicBezTo>
                          <a:pt x="202" y="369"/>
                          <a:pt x="202" y="369"/>
                          <a:pt x="202" y="369"/>
                        </a:cubicBezTo>
                        <a:cubicBezTo>
                          <a:pt x="201" y="369"/>
                          <a:pt x="200" y="369"/>
                          <a:pt x="199" y="369"/>
                        </a:cubicBezTo>
                        <a:cubicBezTo>
                          <a:pt x="197" y="370"/>
                          <a:pt x="196" y="370"/>
                          <a:pt x="194" y="370"/>
                        </a:cubicBezTo>
                        <a:cubicBezTo>
                          <a:pt x="189" y="370"/>
                          <a:pt x="189" y="370"/>
                          <a:pt x="189" y="370"/>
                        </a:cubicBezTo>
                        <a:cubicBezTo>
                          <a:pt x="189" y="370"/>
                          <a:pt x="189" y="370"/>
                          <a:pt x="189" y="370"/>
                        </a:cubicBezTo>
                        <a:cubicBezTo>
                          <a:pt x="184" y="370"/>
                          <a:pt x="178" y="370"/>
                          <a:pt x="172" y="370"/>
                        </a:cubicBezTo>
                        <a:cubicBezTo>
                          <a:pt x="170" y="370"/>
                          <a:pt x="165" y="369"/>
                          <a:pt x="164" y="366"/>
                        </a:cubicBezTo>
                        <a:cubicBezTo>
                          <a:pt x="164" y="366"/>
                          <a:pt x="164" y="365"/>
                          <a:pt x="164" y="365"/>
                        </a:cubicBezTo>
                        <a:cubicBezTo>
                          <a:pt x="165" y="364"/>
                          <a:pt x="166" y="362"/>
                          <a:pt x="166" y="362"/>
                        </a:cubicBezTo>
                        <a:cubicBezTo>
                          <a:pt x="168" y="358"/>
                          <a:pt x="170" y="355"/>
                          <a:pt x="173" y="352"/>
                        </a:cubicBezTo>
                        <a:cubicBezTo>
                          <a:pt x="173" y="352"/>
                          <a:pt x="173" y="352"/>
                          <a:pt x="173" y="352"/>
                        </a:cubicBezTo>
                        <a:cubicBezTo>
                          <a:pt x="173" y="352"/>
                          <a:pt x="173" y="352"/>
                          <a:pt x="173" y="352"/>
                        </a:cubicBezTo>
                        <a:cubicBezTo>
                          <a:pt x="180" y="345"/>
                          <a:pt x="193" y="347"/>
                          <a:pt x="201" y="347"/>
                        </a:cubicBezTo>
                        <a:cubicBezTo>
                          <a:pt x="205" y="347"/>
                          <a:pt x="210" y="346"/>
                          <a:pt x="213" y="348"/>
                        </a:cubicBezTo>
                        <a:cubicBezTo>
                          <a:pt x="213" y="348"/>
                          <a:pt x="213" y="348"/>
                          <a:pt x="213" y="348"/>
                        </a:cubicBezTo>
                        <a:cubicBezTo>
                          <a:pt x="214" y="348"/>
                          <a:pt x="214" y="348"/>
                          <a:pt x="214" y="348"/>
                        </a:cubicBezTo>
                        <a:cubicBezTo>
                          <a:pt x="214" y="348"/>
                          <a:pt x="214" y="349"/>
                          <a:pt x="214" y="349"/>
                        </a:cubicBezTo>
                        <a:cubicBezTo>
                          <a:pt x="215" y="349"/>
                          <a:pt x="216" y="350"/>
                          <a:pt x="216" y="350"/>
                        </a:cubicBezTo>
                        <a:cubicBezTo>
                          <a:pt x="216" y="351"/>
                          <a:pt x="216" y="352"/>
                          <a:pt x="215" y="353"/>
                        </a:cubicBezTo>
                        <a:cubicBezTo>
                          <a:pt x="215" y="353"/>
                          <a:pt x="215" y="353"/>
                          <a:pt x="215" y="353"/>
                        </a:cubicBezTo>
                        <a:cubicBezTo>
                          <a:pt x="214" y="355"/>
                          <a:pt x="213" y="357"/>
                          <a:pt x="212" y="359"/>
                        </a:cubicBezTo>
                        <a:close/>
                        <a:moveTo>
                          <a:pt x="266" y="369"/>
                        </a:moveTo>
                        <a:cubicBezTo>
                          <a:pt x="266" y="369"/>
                          <a:pt x="265" y="369"/>
                          <a:pt x="264" y="369"/>
                        </a:cubicBezTo>
                        <a:cubicBezTo>
                          <a:pt x="264" y="369"/>
                          <a:pt x="264" y="370"/>
                          <a:pt x="264" y="370"/>
                        </a:cubicBezTo>
                        <a:cubicBezTo>
                          <a:pt x="261" y="370"/>
                          <a:pt x="258" y="370"/>
                          <a:pt x="254" y="370"/>
                        </a:cubicBezTo>
                        <a:cubicBezTo>
                          <a:pt x="240" y="370"/>
                          <a:pt x="240" y="370"/>
                          <a:pt x="240" y="370"/>
                        </a:cubicBezTo>
                        <a:cubicBezTo>
                          <a:pt x="238" y="370"/>
                          <a:pt x="233" y="369"/>
                          <a:pt x="231" y="366"/>
                        </a:cubicBezTo>
                        <a:cubicBezTo>
                          <a:pt x="231" y="366"/>
                          <a:pt x="231" y="365"/>
                          <a:pt x="231" y="365"/>
                        </a:cubicBezTo>
                        <a:cubicBezTo>
                          <a:pt x="231" y="365"/>
                          <a:pt x="231" y="365"/>
                          <a:pt x="231" y="364"/>
                        </a:cubicBezTo>
                        <a:cubicBezTo>
                          <a:pt x="232" y="363"/>
                          <a:pt x="233" y="362"/>
                          <a:pt x="233" y="361"/>
                        </a:cubicBezTo>
                        <a:cubicBezTo>
                          <a:pt x="234" y="358"/>
                          <a:pt x="235" y="354"/>
                          <a:pt x="238" y="352"/>
                        </a:cubicBezTo>
                        <a:cubicBezTo>
                          <a:pt x="238" y="351"/>
                          <a:pt x="238" y="351"/>
                          <a:pt x="238" y="351"/>
                        </a:cubicBezTo>
                        <a:cubicBezTo>
                          <a:pt x="238" y="351"/>
                          <a:pt x="238" y="351"/>
                          <a:pt x="238" y="351"/>
                        </a:cubicBezTo>
                        <a:cubicBezTo>
                          <a:pt x="239" y="351"/>
                          <a:pt x="239" y="351"/>
                          <a:pt x="239" y="351"/>
                        </a:cubicBezTo>
                        <a:cubicBezTo>
                          <a:pt x="239" y="350"/>
                          <a:pt x="239" y="350"/>
                          <a:pt x="239" y="350"/>
                        </a:cubicBezTo>
                        <a:cubicBezTo>
                          <a:pt x="239" y="350"/>
                          <a:pt x="239" y="350"/>
                          <a:pt x="239" y="350"/>
                        </a:cubicBezTo>
                        <a:cubicBezTo>
                          <a:pt x="241" y="349"/>
                          <a:pt x="244" y="348"/>
                          <a:pt x="246" y="348"/>
                        </a:cubicBezTo>
                        <a:cubicBezTo>
                          <a:pt x="246" y="348"/>
                          <a:pt x="246" y="347"/>
                          <a:pt x="247" y="347"/>
                        </a:cubicBezTo>
                        <a:cubicBezTo>
                          <a:pt x="248" y="347"/>
                          <a:pt x="249" y="347"/>
                          <a:pt x="251" y="347"/>
                        </a:cubicBezTo>
                        <a:cubicBezTo>
                          <a:pt x="259" y="347"/>
                          <a:pt x="259" y="347"/>
                          <a:pt x="259" y="347"/>
                        </a:cubicBezTo>
                        <a:cubicBezTo>
                          <a:pt x="262" y="347"/>
                          <a:pt x="265" y="347"/>
                          <a:pt x="267" y="347"/>
                        </a:cubicBezTo>
                        <a:cubicBezTo>
                          <a:pt x="271" y="347"/>
                          <a:pt x="276" y="346"/>
                          <a:pt x="279" y="349"/>
                        </a:cubicBezTo>
                        <a:cubicBezTo>
                          <a:pt x="279" y="349"/>
                          <a:pt x="280" y="349"/>
                          <a:pt x="280" y="350"/>
                        </a:cubicBezTo>
                        <a:cubicBezTo>
                          <a:pt x="280" y="350"/>
                          <a:pt x="280" y="350"/>
                          <a:pt x="280" y="350"/>
                        </a:cubicBezTo>
                        <a:cubicBezTo>
                          <a:pt x="280" y="350"/>
                          <a:pt x="280" y="350"/>
                          <a:pt x="280" y="350"/>
                        </a:cubicBezTo>
                        <a:cubicBezTo>
                          <a:pt x="280" y="350"/>
                          <a:pt x="280" y="350"/>
                          <a:pt x="280" y="350"/>
                        </a:cubicBezTo>
                        <a:cubicBezTo>
                          <a:pt x="280" y="351"/>
                          <a:pt x="280" y="351"/>
                          <a:pt x="280" y="352"/>
                        </a:cubicBezTo>
                        <a:cubicBezTo>
                          <a:pt x="280" y="355"/>
                          <a:pt x="278" y="359"/>
                          <a:pt x="277" y="361"/>
                        </a:cubicBezTo>
                        <a:cubicBezTo>
                          <a:pt x="277" y="361"/>
                          <a:pt x="277" y="361"/>
                          <a:pt x="277" y="361"/>
                        </a:cubicBezTo>
                        <a:cubicBezTo>
                          <a:pt x="277" y="362"/>
                          <a:pt x="277" y="362"/>
                          <a:pt x="276" y="363"/>
                        </a:cubicBezTo>
                        <a:cubicBezTo>
                          <a:pt x="276" y="363"/>
                          <a:pt x="276" y="363"/>
                          <a:pt x="276" y="363"/>
                        </a:cubicBezTo>
                        <a:cubicBezTo>
                          <a:pt x="276" y="364"/>
                          <a:pt x="276" y="364"/>
                          <a:pt x="276" y="364"/>
                        </a:cubicBezTo>
                        <a:cubicBezTo>
                          <a:pt x="276" y="364"/>
                          <a:pt x="276" y="364"/>
                          <a:pt x="276" y="364"/>
                        </a:cubicBezTo>
                        <a:cubicBezTo>
                          <a:pt x="276" y="364"/>
                          <a:pt x="275" y="365"/>
                          <a:pt x="275" y="365"/>
                        </a:cubicBezTo>
                        <a:cubicBezTo>
                          <a:pt x="275" y="365"/>
                          <a:pt x="275" y="365"/>
                          <a:pt x="275" y="365"/>
                        </a:cubicBezTo>
                        <a:cubicBezTo>
                          <a:pt x="275" y="365"/>
                          <a:pt x="275" y="365"/>
                          <a:pt x="275" y="365"/>
                        </a:cubicBezTo>
                        <a:cubicBezTo>
                          <a:pt x="275" y="366"/>
                          <a:pt x="275" y="366"/>
                          <a:pt x="275" y="366"/>
                        </a:cubicBezTo>
                        <a:cubicBezTo>
                          <a:pt x="274" y="366"/>
                          <a:pt x="274" y="367"/>
                          <a:pt x="273" y="367"/>
                        </a:cubicBezTo>
                        <a:cubicBezTo>
                          <a:pt x="273" y="367"/>
                          <a:pt x="272" y="367"/>
                          <a:pt x="272" y="368"/>
                        </a:cubicBezTo>
                        <a:cubicBezTo>
                          <a:pt x="271" y="368"/>
                          <a:pt x="271" y="368"/>
                          <a:pt x="271" y="368"/>
                        </a:cubicBezTo>
                        <a:cubicBezTo>
                          <a:pt x="271" y="368"/>
                          <a:pt x="271" y="368"/>
                          <a:pt x="271" y="368"/>
                        </a:cubicBezTo>
                        <a:cubicBezTo>
                          <a:pt x="269" y="369"/>
                          <a:pt x="268" y="369"/>
                          <a:pt x="266" y="369"/>
                        </a:cubicBezTo>
                        <a:close/>
                        <a:moveTo>
                          <a:pt x="172" y="430"/>
                        </a:moveTo>
                        <a:cubicBezTo>
                          <a:pt x="172" y="430"/>
                          <a:pt x="172" y="430"/>
                          <a:pt x="172" y="430"/>
                        </a:cubicBezTo>
                        <a:cubicBezTo>
                          <a:pt x="172" y="433"/>
                          <a:pt x="169" y="437"/>
                          <a:pt x="167" y="439"/>
                        </a:cubicBezTo>
                        <a:cubicBezTo>
                          <a:pt x="167" y="439"/>
                          <a:pt x="167" y="439"/>
                          <a:pt x="167" y="439"/>
                        </a:cubicBezTo>
                        <a:cubicBezTo>
                          <a:pt x="165" y="443"/>
                          <a:pt x="164" y="447"/>
                          <a:pt x="161" y="450"/>
                        </a:cubicBezTo>
                        <a:cubicBezTo>
                          <a:pt x="161" y="450"/>
                          <a:pt x="161" y="450"/>
                          <a:pt x="161" y="451"/>
                        </a:cubicBezTo>
                        <a:cubicBezTo>
                          <a:pt x="160" y="451"/>
                          <a:pt x="160" y="451"/>
                          <a:pt x="160" y="451"/>
                        </a:cubicBezTo>
                        <a:cubicBezTo>
                          <a:pt x="160" y="451"/>
                          <a:pt x="160" y="451"/>
                          <a:pt x="160" y="452"/>
                        </a:cubicBezTo>
                        <a:cubicBezTo>
                          <a:pt x="159" y="452"/>
                          <a:pt x="159" y="452"/>
                          <a:pt x="159" y="452"/>
                        </a:cubicBezTo>
                        <a:cubicBezTo>
                          <a:pt x="159" y="452"/>
                          <a:pt x="159" y="452"/>
                          <a:pt x="159" y="452"/>
                        </a:cubicBezTo>
                        <a:cubicBezTo>
                          <a:pt x="156" y="455"/>
                          <a:pt x="153" y="456"/>
                          <a:pt x="150" y="457"/>
                        </a:cubicBezTo>
                        <a:cubicBezTo>
                          <a:pt x="149" y="457"/>
                          <a:pt x="149" y="457"/>
                          <a:pt x="149" y="458"/>
                        </a:cubicBezTo>
                        <a:cubicBezTo>
                          <a:pt x="146" y="458"/>
                          <a:pt x="144" y="458"/>
                          <a:pt x="142" y="458"/>
                        </a:cubicBezTo>
                        <a:cubicBezTo>
                          <a:pt x="141" y="458"/>
                          <a:pt x="141" y="458"/>
                          <a:pt x="141" y="458"/>
                        </a:cubicBezTo>
                        <a:cubicBezTo>
                          <a:pt x="141" y="458"/>
                          <a:pt x="141" y="458"/>
                          <a:pt x="141" y="458"/>
                        </a:cubicBezTo>
                        <a:cubicBezTo>
                          <a:pt x="132" y="458"/>
                          <a:pt x="124" y="458"/>
                          <a:pt x="115" y="458"/>
                        </a:cubicBezTo>
                        <a:cubicBezTo>
                          <a:pt x="114" y="458"/>
                          <a:pt x="114" y="458"/>
                          <a:pt x="113" y="458"/>
                        </a:cubicBezTo>
                        <a:cubicBezTo>
                          <a:pt x="112" y="458"/>
                          <a:pt x="111" y="458"/>
                          <a:pt x="110" y="458"/>
                        </a:cubicBezTo>
                        <a:cubicBezTo>
                          <a:pt x="109" y="457"/>
                          <a:pt x="107" y="456"/>
                          <a:pt x="107" y="456"/>
                        </a:cubicBezTo>
                        <a:cubicBezTo>
                          <a:pt x="106" y="455"/>
                          <a:pt x="106" y="453"/>
                          <a:pt x="106" y="452"/>
                        </a:cubicBezTo>
                        <a:cubicBezTo>
                          <a:pt x="106" y="451"/>
                          <a:pt x="106" y="451"/>
                          <a:pt x="107" y="450"/>
                        </a:cubicBezTo>
                        <a:cubicBezTo>
                          <a:pt x="107" y="449"/>
                          <a:pt x="107" y="449"/>
                          <a:pt x="107" y="449"/>
                        </a:cubicBezTo>
                        <a:cubicBezTo>
                          <a:pt x="107" y="449"/>
                          <a:pt x="107" y="449"/>
                          <a:pt x="107" y="449"/>
                        </a:cubicBezTo>
                        <a:cubicBezTo>
                          <a:pt x="107" y="448"/>
                          <a:pt x="107" y="448"/>
                          <a:pt x="107" y="448"/>
                        </a:cubicBezTo>
                        <a:cubicBezTo>
                          <a:pt x="107" y="448"/>
                          <a:pt x="107" y="448"/>
                          <a:pt x="107" y="448"/>
                        </a:cubicBezTo>
                        <a:cubicBezTo>
                          <a:pt x="109" y="445"/>
                          <a:pt x="112" y="442"/>
                          <a:pt x="114" y="439"/>
                        </a:cubicBezTo>
                        <a:cubicBezTo>
                          <a:pt x="116" y="436"/>
                          <a:pt x="117" y="433"/>
                          <a:pt x="119" y="431"/>
                        </a:cubicBezTo>
                        <a:cubicBezTo>
                          <a:pt x="120" y="431"/>
                          <a:pt x="120" y="430"/>
                          <a:pt x="120" y="430"/>
                        </a:cubicBezTo>
                        <a:cubicBezTo>
                          <a:pt x="120" y="430"/>
                          <a:pt x="120" y="430"/>
                          <a:pt x="120" y="430"/>
                        </a:cubicBezTo>
                        <a:cubicBezTo>
                          <a:pt x="121" y="430"/>
                          <a:pt x="121" y="429"/>
                          <a:pt x="122" y="429"/>
                        </a:cubicBezTo>
                        <a:cubicBezTo>
                          <a:pt x="122" y="429"/>
                          <a:pt x="122" y="429"/>
                          <a:pt x="122" y="429"/>
                        </a:cubicBezTo>
                        <a:cubicBezTo>
                          <a:pt x="122" y="429"/>
                          <a:pt x="122" y="429"/>
                          <a:pt x="122" y="429"/>
                        </a:cubicBezTo>
                        <a:cubicBezTo>
                          <a:pt x="125" y="426"/>
                          <a:pt x="128" y="425"/>
                          <a:pt x="132" y="424"/>
                        </a:cubicBezTo>
                        <a:cubicBezTo>
                          <a:pt x="132" y="424"/>
                          <a:pt x="132" y="424"/>
                          <a:pt x="132" y="424"/>
                        </a:cubicBezTo>
                        <a:cubicBezTo>
                          <a:pt x="132" y="424"/>
                          <a:pt x="132" y="424"/>
                          <a:pt x="132" y="424"/>
                        </a:cubicBezTo>
                        <a:cubicBezTo>
                          <a:pt x="133" y="424"/>
                          <a:pt x="133" y="424"/>
                          <a:pt x="134" y="424"/>
                        </a:cubicBezTo>
                        <a:cubicBezTo>
                          <a:pt x="135" y="424"/>
                          <a:pt x="135" y="424"/>
                          <a:pt x="135" y="424"/>
                        </a:cubicBezTo>
                        <a:cubicBezTo>
                          <a:pt x="136" y="424"/>
                          <a:pt x="136" y="424"/>
                          <a:pt x="137" y="424"/>
                        </a:cubicBezTo>
                        <a:cubicBezTo>
                          <a:pt x="137" y="423"/>
                          <a:pt x="137" y="423"/>
                          <a:pt x="138" y="423"/>
                        </a:cubicBezTo>
                        <a:cubicBezTo>
                          <a:pt x="138" y="423"/>
                          <a:pt x="138" y="423"/>
                          <a:pt x="138" y="423"/>
                        </a:cubicBezTo>
                        <a:cubicBezTo>
                          <a:pt x="138" y="423"/>
                          <a:pt x="138" y="423"/>
                          <a:pt x="138" y="423"/>
                        </a:cubicBezTo>
                        <a:cubicBezTo>
                          <a:pt x="146" y="423"/>
                          <a:pt x="153" y="423"/>
                          <a:pt x="161" y="423"/>
                        </a:cubicBezTo>
                        <a:cubicBezTo>
                          <a:pt x="161" y="423"/>
                          <a:pt x="161" y="423"/>
                          <a:pt x="161" y="423"/>
                        </a:cubicBezTo>
                        <a:cubicBezTo>
                          <a:pt x="163" y="423"/>
                          <a:pt x="163" y="423"/>
                          <a:pt x="163" y="423"/>
                        </a:cubicBezTo>
                        <a:cubicBezTo>
                          <a:pt x="165" y="423"/>
                          <a:pt x="166" y="424"/>
                          <a:pt x="167" y="424"/>
                        </a:cubicBezTo>
                        <a:cubicBezTo>
                          <a:pt x="168" y="424"/>
                          <a:pt x="168" y="424"/>
                          <a:pt x="169" y="425"/>
                        </a:cubicBezTo>
                        <a:cubicBezTo>
                          <a:pt x="169" y="425"/>
                          <a:pt x="169" y="425"/>
                          <a:pt x="169" y="425"/>
                        </a:cubicBezTo>
                        <a:cubicBezTo>
                          <a:pt x="169" y="425"/>
                          <a:pt x="169" y="425"/>
                          <a:pt x="170" y="425"/>
                        </a:cubicBezTo>
                        <a:cubicBezTo>
                          <a:pt x="172" y="426"/>
                          <a:pt x="173" y="428"/>
                          <a:pt x="172" y="430"/>
                        </a:cubicBezTo>
                        <a:close/>
                        <a:moveTo>
                          <a:pt x="188" y="402"/>
                        </a:moveTo>
                        <a:cubicBezTo>
                          <a:pt x="188" y="402"/>
                          <a:pt x="188" y="402"/>
                          <a:pt x="188" y="402"/>
                        </a:cubicBezTo>
                        <a:cubicBezTo>
                          <a:pt x="188" y="402"/>
                          <a:pt x="188" y="402"/>
                          <a:pt x="188" y="402"/>
                        </a:cubicBezTo>
                        <a:cubicBezTo>
                          <a:pt x="188" y="403"/>
                          <a:pt x="187" y="403"/>
                          <a:pt x="187" y="404"/>
                        </a:cubicBezTo>
                        <a:cubicBezTo>
                          <a:pt x="187" y="404"/>
                          <a:pt x="187" y="404"/>
                          <a:pt x="187" y="404"/>
                        </a:cubicBezTo>
                        <a:cubicBezTo>
                          <a:pt x="185" y="406"/>
                          <a:pt x="182" y="407"/>
                          <a:pt x="179" y="408"/>
                        </a:cubicBezTo>
                        <a:cubicBezTo>
                          <a:pt x="179" y="408"/>
                          <a:pt x="179" y="408"/>
                          <a:pt x="179" y="408"/>
                        </a:cubicBezTo>
                        <a:cubicBezTo>
                          <a:pt x="179" y="409"/>
                          <a:pt x="178" y="409"/>
                          <a:pt x="178" y="409"/>
                        </a:cubicBezTo>
                        <a:cubicBezTo>
                          <a:pt x="177" y="409"/>
                          <a:pt x="177" y="409"/>
                          <a:pt x="177" y="409"/>
                        </a:cubicBezTo>
                        <a:cubicBezTo>
                          <a:pt x="177" y="409"/>
                          <a:pt x="177" y="409"/>
                          <a:pt x="176" y="409"/>
                        </a:cubicBezTo>
                        <a:cubicBezTo>
                          <a:pt x="174" y="409"/>
                          <a:pt x="172" y="410"/>
                          <a:pt x="171" y="410"/>
                        </a:cubicBezTo>
                        <a:cubicBezTo>
                          <a:pt x="170" y="410"/>
                          <a:pt x="170" y="410"/>
                          <a:pt x="170" y="410"/>
                        </a:cubicBezTo>
                        <a:cubicBezTo>
                          <a:pt x="167" y="410"/>
                          <a:pt x="164" y="410"/>
                          <a:pt x="161" y="410"/>
                        </a:cubicBezTo>
                        <a:cubicBezTo>
                          <a:pt x="156" y="410"/>
                          <a:pt x="151" y="410"/>
                          <a:pt x="146" y="410"/>
                        </a:cubicBezTo>
                        <a:cubicBezTo>
                          <a:pt x="146" y="410"/>
                          <a:pt x="145" y="410"/>
                          <a:pt x="144" y="410"/>
                        </a:cubicBezTo>
                        <a:cubicBezTo>
                          <a:pt x="144" y="410"/>
                          <a:pt x="144" y="410"/>
                          <a:pt x="144" y="410"/>
                        </a:cubicBezTo>
                        <a:cubicBezTo>
                          <a:pt x="143" y="409"/>
                          <a:pt x="143" y="409"/>
                          <a:pt x="142" y="409"/>
                        </a:cubicBezTo>
                        <a:cubicBezTo>
                          <a:pt x="142" y="409"/>
                          <a:pt x="142" y="409"/>
                          <a:pt x="142" y="409"/>
                        </a:cubicBezTo>
                        <a:cubicBezTo>
                          <a:pt x="142" y="409"/>
                          <a:pt x="142" y="409"/>
                          <a:pt x="142" y="409"/>
                        </a:cubicBezTo>
                        <a:cubicBezTo>
                          <a:pt x="140" y="409"/>
                          <a:pt x="138" y="407"/>
                          <a:pt x="138" y="405"/>
                        </a:cubicBezTo>
                        <a:cubicBezTo>
                          <a:pt x="138" y="405"/>
                          <a:pt x="138" y="404"/>
                          <a:pt x="138" y="404"/>
                        </a:cubicBezTo>
                        <a:cubicBezTo>
                          <a:pt x="138" y="404"/>
                          <a:pt x="138" y="404"/>
                          <a:pt x="138" y="403"/>
                        </a:cubicBezTo>
                        <a:cubicBezTo>
                          <a:pt x="138" y="403"/>
                          <a:pt x="138" y="403"/>
                          <a:pt x="139" y="402"/>
                        </a:cubicBezTo>
                        <a:cubicBezTo>
                          <a:pt x="139" y="402"/>
                          <a:pt x="139" y="402"/>
                          <a:pt x="139" y="402"/>
                        </a:cubicBezTo>
                        <a:cubicBezTo>
                          <a:pt x="139" y="402"/>
                          <a:pt x="139" y="402"/>
                          <a:pt x="139" y="402"/>
                        </a:cubicBezTo>
                        <a:cubicBezTo>
                          <a:pt x="139" y="402"/>
                          <a:pt x="139" y="401"/>
                          <a:pt x="140" y="401"/>
                        </a:cubicBezTo>
                        <a:cubicBezTo>
                          <a:pt x="142" y="397"/>
                          <a:pt x="144" y="394"/>
                          <a:pt x="147" y="390"/>
                        </a:cubicBezTo>
                        <a:cubicBezTo>
                          <a:pt x="147" y="390"/>
                          <a:pt x="147" y="390"/>
                          <a:pt x="147" y="390"/>
                        </a:cubicBezTo>
                        <a:cubicBezTo>
                          <a:pt x="148" y="389"/>
                          <a:pt x="148" y="389"/>
                          <a:pt x="148" y="389"/>
                        </a:cubicBezTo>
                        <a:cubicBezTo>
                          <a:pt x="149" y="388"/>
                          <a:pt x="149" y="387"/>
                          <a:pt x="151" y="386"/>
                        </a:cubicBezTo>
                        <a:cubicBezTo>
                          <a:pt x="151" y="385"/>
                          <a:pt x="152" y="385"/>
                          <a:pt x="153" y="385"/>
                        </a:cubicBezTo>
                        <a:cubicBezTo>
                          <a:pt x="153" y="384"/>
                          <a:pt x="154" y="384"/>
                          <a:pt x="154" y="384"/>
                        </a:cubicBezTo>
                        <a:cubicBezTo>
                          <a:pt x="154" y="384"/>
                          <a:pt x="154" y="384"/>
                          <a:pt x="155" y="384"/>
                        </a:cubicBezTo>
                        <a:cubicBezTo>
                          <a:pt x="155" y="384"/>
                          <a:pt x="155" y="384"/>
                          <a:pt x="155" y="384"/>
                        </a:cubicBezTo>
                        <a:cubicBezTo>
                          <a:pt x="155" y="384"/>
                          <a:pt x="155" y="384"/>
                          <a:pt x="156" y="383"/>
                        </a:cubicBezTo>
                        <a:cubicBezTo>
                          <a:pt x="157" y="383"/>
                          <a:pt x="158" y="383"/>
                          <a:pt x="160" y="382"/>
                        </a:cubicBezTo>
                        <a:cubicBezTo>
                          <a:pt x="161" y="382"/>
                          <a:pt x="163" y="382"/>
                          <a:pt x="165" y="382"/>
                        </a:cubicBezTo>
                        <a:cubicBezTo>
                          <a:pt x="169" y="382"/>
                          <a:pt x="169" y="382"/>
                          <a:pt x="169" y="382"/>
                        </a:cubicBezTo>
                        <a:cubicBezTo>
                          <a:pt x="170" y="382"/>
                          <a:pt x="171" y="382"/>
                          <a:pt x="172" y="382"/>
                        </a:cubicBezTo>
                        <a:cubicBezTo>
                          <a:pt x="177" y="382"/>
                          <a:pt x="181" y="382"/>
                          <a:pt x="185" y="382"/>
                        </a:cubicBezTo>
                        <a:cubicBezTo>
                          <a:pt x="185" y="382"/>
                          <a:pt x="185" y="382"/>
                          <a:pt x="185" y="382"/>
                        </a:cubicBezTo>
                        <a:cubicBezTo>
                          <a:pt x="187" y="382"/>
                          <a:pt x="187" y="382"/>
                          <a:pt x="187" y="382"/>
                        </a:cubicBezTo>
                        <a:cubicBezTo>
                          <a:pt x="189" y="382"/>
                          <a:pt x="190" y="382"/>
                          <a:pt x="191" y="382"/>
                        </a:cubicBezTo>
                        <a:cubicBezTo>
                          <a:pt x="193" y="383"/>
                          <a:pt x="193" y="383"/>
                          <a:pt x="194" y="383"/>
                        </a:cubicBezTo>
                        <a:cubicBezTo>
                          <a:pt x="196" y="384"/>
                          <a:pt x="197" y="386"/>
                          <a:pt x="196" y="389"/>
                        </a:cubicBezTo>
                        <a:cubicBezTo>
                          <a:pt x="194" y="392"/>
                          <a:pt x="192" y="395"/>
                          <a:pt x="190" y="398"/>
                        </a:cubicBezTo>
                        <a:cubicBezTo>
                          <a:pt x="188" y="402"/>
                          <a:pt x="188" y="402"/>
                          <a:pt x="188" y="402"/>
                        </a:cubicBezTo>
                        <a:cubicBezTo>
                          <a:pt x="188" y="402"/>
                          <a:pt x="188" y="402"/>
                          <a:pt x="188" y="402"/>
                        </a:cubicBezTo>
                        <a:close/>
                        <a:moveTo>
                          <a:pt x="411" y="448"/>
                        </a:moveTo>
                        <a:cubicBezTo>
                          <a:pt x="411" y="449"/>
                          <a:pt x="411" y="449"/>
                          <a:pt x="411" y="450"/>
                        </a:cubicBezTo>
                        <a:cubicBezTo>
                          <a:pt x="411" y="450"/>
                          <a:pt x="411" y="450"/>
                          <a:pt x="411" y="450"/>
                        </a:cubicBezTo>
                        <a:cubicBezTo>
                          <a:pt x="411" y="451"/>
                          <a:pt x="411" y="451"/>
                          <a:pt x="410" y="451"/>
                        </a:cubicBezTo>
                        <a:cubicBezTo>
                          <a:pt x="410" y="451"/>
                          <a:pt x="410" y="451"/>
                          <a:pt x="410" y="452"/>
                        </a:cubicBezTo>
                        <a:cubicBezTo>
                          <a:pt x="410" y="452"/>
                          <a:pt x="410" y="452"/>
                          <a:pt x="410" y="452"/>
                        </a:cubicBezTo>
                        <a:cubicBezTo>
                          <a:pt x="410" y="452"/>
                          <a:pt x="409" y="453"/>
                          <a:pt x="409" y="453"/>
                        </a:cubicBezTo>
                        <a:cubicBezTo>
                          <a:pt x="409" y="453"/>
                          <a:pt x="409" y="453"/>
                          <a:pt x="409" y="453"/>
                        </a:cubicBezTo>
                        <a:cubicBezTo>
                          <a:pt x="408" y="454"/>
                          <a:pt x="408" y="454"/>
                          <a:pt x="407" y="455"/>
                        </a:cubicBezTo>
                        <a:cubicBezTo>
                          <a:pt x="407" y="455"/>
                          <a:pt x="407" y="455"/>
                          <a:pt x="407" y="455"/>
                        </a:cubicBezTo>
                        <a:cubicBezTo>
                          <a:pt x="407" y="455"/>
                          <a:pt x="407" y="455"/>
                          <a:pt x="407" y="455"/>
                        </a:cubicBezTo>
                        <a:cubicBezTo>
                          <a:pt x="406" y="455"/>
                          <a:pt x="406" y="456"/>
                          <a:pt x="405" y="456"/>
                        </a:cubicBezTo>
                        <a:cubicBezTo>
                          <a:pt x="405" y="456"/>
                          <a:pt x="405" y="456"/>
                          <a:pt x="405" y="456"/>
                        </a:cubicBezTo>
                        <a:cubicBezTo>
                          <a:pt x="404" y="456"/>
                          <a:pt x="404" y="456"/>
                          <a:pt x="404" y="456"/>
                        </a:cubicBezTo>
                        <a:cubicBezTo>
                          <a:pt x="403" y="456"/>
                          <a:pt x="403" y="457"/>
                          <a:pt x="403" y="457"/>
                        </a:cubicBezTo>
                        <a:cubicBezTo>
                          <a:pt x="403" y="457"/>
                          <a:pt x="403" y="457"/>
                          <a:pt x="402" y="457"/>
                        </a:cubicBezTo>
                        <a:cubicBezTo>
                          <a:pt x="402" y="457"/>
                          <a:pt x="402" y="457"/>
                          <a:pt x="402" y="457"/>
                        </a:cubicBezTo>
                        <a:cubicBezTo>
                          <a:pt x="402" y="457"/>
                          <a:pt x="401" y="457"/>
                          <a:pt x="400" y="457"/>
                        </a:cubicBezTo>
                        <a:cubicBezTo>
                          <a:pt x="400" y="457"/>
                          <a:pt x="399" y="457"/>
                          <a:pt x="399" y="457"/>
                        </a:cubicBezTo>
                        <a:cubicBezTo>
                          <a:pt x="398" y="458"/>
                          <a:pt x="398" y="458"/>
                          <a:pt x="397" y="458"/>
                        </a:cubicBezTo>
                        <a:cubicBezTo>
                          <a:pt x="397" y="458"/>
                          <a:pt x="397" y="458"/>
                          <a:pt x="397" y="458"/>
                        </a:cubicBezTo>
                        <a:cubicBezTo>
                          <a:pt x="396" y="458"/>
                          <a:pt x="396" y="458"/>
                          <a:pt x="396" y="458"/>
                        </a:cubicBezTo>
                        <a:cubicBezTo>
                          <a:pt x="396" y="458"/>
                          <a:pt x="396" y="458"/>
                          <a:pt x="396" y="458"/>
                        </a:cubicBezTo>
                        <a:cubicBezTo>
                          <a:pt x="393" y="458"/>
                          <a:pt x="390" y="458"/>
                          <a:pt x="387" y="458"/>
                        </a:cubicBezTo>
                        <a:cubicBezTo>
                          <a:pt x="373" y="458"/>
                          <a:pt x="212" y="458"/>
                          <a:pt x="200" y="458"/>
                        </a:cubicBezTo>
                        <a:cubicBezTo>
                          <a:pt x="199" y="458"/>
                          <a:pt x="198" y="458"/>
                          <a:pt x="198" y="458"/>
                        </a:cubicBezTo>
                        <a:cubicBezTo>
                          <a:pt x="197" y="458"/>
                          <a:pt x="196" y="458"/>
                          <a:pt x="195" y="457"/>
                        </a:cubicBezTo>
                        <a:cubicBezTo>
                          <a:pt x="193" y="457"/>
                          <a:pt x="192" y="456"/>
                          <a:pt x="191" y="455"/>
                        </a:cubicBezTo>
                        <a:cubicBezTo>
                          <a:pt x="190" y="454"/>
                          <a:pt x="190" y="453"/>
                          <a:pt x="189" y="452"/>
                        </a:cubicBezTo>
                        <a:cubicBezTo>
                          <a:pt x="189" y="451"/>
                          <a:pt x="189" y="450"/>
                          <a:pt x="190" y="449"/>
                        </a:cubicBezTo>
                        <a:cubicBezTo>
                          <a:pt x="191" y="448"/>
                          <a:pt x="191" y="448"/>
                          <a:pt x="191" y="448"/>
                        </a:cubicBezTo>
                        <a:cubicBezTo>
                          <a:pt x="191" y="448"/>
                          <a:pt x="191" y="448"/>
                          <a:pt x="191" y="448"/>
                        </a:cubicBezTo>
                        <a:cubicBezTo>
                          <a:pt x="192" y="444"/>
                          <a:pt x="194" y="440"/>
                          <a:pt x="196" y="437"/>
                        </a:cubicBezTo>
                        <a:cubicBezTo>
                          <a:pt x="196" y="436"/>
                          <a:pt x="197" y="435"/>
                          <a:pt x="197" y="435"/>
                        </a:cubicBezTo>
                        <a:cubicBezTo>
                          <a:pt x="198" y="432"/>
                          <a:pt x="198" y="432"/>
                          <a:pt x="198" y="432"/>
                        </a:cubicBezTo>
                        <a:cubicBezTo>
                          <a:pt x="199" y="431"/>
                          <a:pt x="200" y="430"/>
                          <a:pt x="201" y="428"/>
                        </a:cubicBezTo>
                        <a:cubicBezTo>
                          <a:pt x="201" y="428"/>
                          <a:pt x="202" y="428"/>
                          <a:pt x="202" y="428"/>
                        </a:cubicBezTo>
                        <a:cubicBezTo>
                          <a:pt x="202" y="428"/>
                          <a:pt x="202" y="428"/>
                          <a:pt x="203" y="428"/>
                        </a:cubicBezTo>
                        <a:cubicBezTo>
                          <a:pt x="203" y="427"/>
                          <a:pt x="203" y="427"/>
                          <a:pt x="203" y="427"/>
                        </a:cubicBezTo>
                        <a:cubicBezTo>
                          <a:pt x="203" y="427"/>
                          <a:pt x="203" y="427"/>
                          <a:pt x="203" y="427"/>
                        </a:cubicBezTo>
                        <a:cubicBezTo>
                          <a:pt x="204" y="427"/>
                          <a:pt x="204" y="427"/>
                          <a:pt x="204" y="427"/>
                        </a:cubicBezTo>
                        <a:cubicBezTo>
                          <a:pt x="204" y="426"/>
                          <a:pt x="205" y="426"/>
                          <a:pt x="205" y="426"/>
                        </a:cubicBezTo>
                        <a:cubicBezTo>
                          <a:pt x="205" y="426"/>
                          <a:pt x="206" y="426"/>
                          <a:pt x="206" y="425"/>
                        </a:cubicBezTo>
                        <a:cubicBezTo>
                          <a:pt x="206" y="425"/>
                          <a:pt x="207" y="425"/>
                          <a:pt x="207" y="425"/>
                        </a:cubicBezTo>
                        <a:cubicBezTo>
                          <a:pt x="208" y="425"/>
                          <a:pt x="208" y="425"/>
                          <a:pt x="209" y="424"/>
                        </a:cubicBezTo>
                        <a:cubicBezTo>
                          <a:pt x="209" y="424"/>
                          <a:pt x="210" y="424"/>
                          <a:pt x="210" y="424"/>
                        </a:cubicBezTo>
                        <a:cubicBezTo>
                          <a:pt x="210" y="424"/>
                          <a:pt x="210" y="424"/>
                          <a:pt x="210" y="424"/>
                        </a:cubicBezTo>
                        <a:cubicBezTo>
                          <a:pt x="212" y="423"/>
                          <a:pt x="214" y="423"/>
                          <a:pt x="216" y="423"/>
                        </a:cubicBezTo>
                        <a:cubicBezTo>
                          <a:pt x="216" y="423"/>
                          <a:pt x="385" y="423"/>
                          <a:pt x="392" y="423"/>
                        </a:cubicBezTo>
                        <a:cubicBezTo>
                          <a:pt x="393" y="423"/>
                          <a:pt x="395" y="423"/>
                          <a:pt x="397" y="423"/>
                        </a:cubicBezTo>
                        <a:cubicBezTo>
                          <a:pt x="398" y="423"/>
                          <a:pt x="399" y="423"/>
                          <a:pt x="400" y="423"/>
                        </a:cubicBezTo>
                        <a:cubicBezTo>
                          <a:pt x="400" y="423"/>
                          <a:pt x="400" y="423"/>
                          <a:pt x="400" y="423"/>
                        </a:cubicBezTo>
                        <a:cubicBezTo>
                          <a:pt x="401" y="423"/>
                          <a:pt x="402" y="423"/>
                          <a:pt x="402" y="423"/>
                        </a:cubicBezTo>
                        <a:cubicBezTo>
                          <a:pt x="403" y="423"/>
                          <a:pt x="403" y="423"/>
                          <a:pt x="403" y="423"/>
                        </a:cubicBezTo>
                        <a:cubicBezTo>
                          <a:pt x="403" y="423"/>
                          <a:pt x="403" y="423"/>
                          <a:pt x="403" y="423"/>
                        </a:cubicBezTo>
                        <a:cubicBezTo>
                          <a:pt x="404" y="424"/>
                          <a:pt x="404" y="424"/>
                          <a:pt x="405" y="424"/>
                        </a:cubicBezTo>
                        <a:cubicBezTo>
                          <a:pt x="405" y="424"/>
                          <a:pt x="405" y="424"/>
                          <a:pt x="405" y="424"/>
                        </a:cubicBezTo>
                        <a:cubicBezTo>
                          <a:pt x="406" y="425"/>
                          <a:pt x="406" y="425"/>
                          <a:pt x="407" y="425"/>
                        </a:cubicBezTo>
                        <a:cubicBezTo>
                          <a:pt x="407" y="425"/>
                          <a:pt x="407" y="425"/>
                          <a:pt x="407" y="425"/>
                        </a:cubicBezTo>
                        <a:cubicBezTo>
                          <a:pt x="407" y="425"/>
                          <a:pt x="407" y="425"/>
                          <a:pt x="407" y="425"/>
                        </a:cubicBezTo>
                        <a:cubicBezTo>
                          <a:pt x="408" y="426"/>
                          <a:pt x="408" y="426"/>
                          <a:pt x="408" y="426"/>
                        </a:cubicBezTo>
                        <a:cubicBezTo>
                          <a:pt x="409" y="427"/>
                          <a:pt x="409" y="427"/>
                          <a:pt x="410" y="428"/>
                        </a:cubicBezTo>
                        <a:cubicBezTo>
                          <a:pt x="411" y="429"/>
                          <a:pt x="411" y="430"/>
                          <a:pt x="411" y="431"/>
                        </a:cubicBezTo>
                        <a:cubicBezTo>
                          <a:pt x="411" y="432"/>
                          <a:pt x="411" y="432"/>
                          <a:pt x="411" y="432"/>
                        </a:cubicBezTo>
                        <a:cubicBezTo>
                          <a:pt x="411" y="432"/>
                          <a:pt x="411" y="432"/>
                          <a:pt x="411" y="432"/>
                        </a:cubicBezTo>
                        <a:cubicBezTo>
                          <a:pt x="411" y="436"/>
                          <a:pt x="411" y="441"/>
                          <a:pt x="411" y="445"/>
                        </a:cubicBezTo>
                        <a:cubicBezTo>
                          <a:pt x="411" y="446"/>
                          <a:pt x="411" y="447"/>
                          <a:pt x="411" y="448"/>
                        </a:cubicBezTo>
                        <a:close/>
                        <a:moveTo>
                          <a:pt x="434" y="366"/>
                        </a:moveTo>
                        <a:cubicBezTo>
                          <a:pt x="434" y="366"/>
                          <a:pt x="434" y="366"/>
                          <a:pt x="434" y="366"/>
                        </a:cubicBezTo>
                        <a:cubicBezTo>
                          <a:pt x="434" y="366"/>
                          <a:pt x="434" y="366"/>
                          <a:pt x="434" y="365"/>
                        </a:cubicBezTo>
                        <a:cubicBezTo>
                          <a:pt x="433" y="365"/>
                          <a:pt x="433" y="364"/>
                          <a:pt x="432" y="363"/>
                        </a:cubicBezTo>
                        <a:cubicBezTo>
                          <a:pt x="432" y="362"/>
                          <a:pt x="432" y="362"/>
                          <a:pt x="432" y="362"/>
                        </a:cubicBezTo>
                        <a:cubicBezTo>
                          <a:pt x="432" y="362"/>
                          <a:pt x="432" y="361"/>
                          <a:pt x="432" y="360"/>
                        </a:cubicBezTo>
                        <a:cubicBezTo>
                          <a:pt x="432" y="360"/>
                          <a:pt x="432" y="360"/>
                          <a:pt x="432" y="360"/>
                        </a:cubicBezTo>
                        <a:cubicBezTo>
                          <a:pt x="432" y="358"/>
                          <a:pt x="432" y="355"/>
                          <a:pt x="432" y="353"/>
                        </a:cubicBezTo>
                        <a:cubicBezTo>
                          <a:pt x="432" y="352"/>
                          <a:pt x="432" y="352"/>
                          <a:pt x="432" y="352"/>
                        </a:cubicBezTo>
                        <a:cubicBezTo>
                          <a:pt x="432" y="351"/>
                          <a:pt x="432" y="350"/>
                          <a:pt x="432" y="350"/>
                        </a:cubicBezTo>
                        <a:cubicBezTo>
                          <a:pt x="433" y="349"/>
                          <a:pt x="434" y="349"/>
                          <a:pt x="435" y="348"/>
                        </a:cubicBezTo>
                        <a:cubicBezTo>
                          <a:pt x="436" y="348"/>
                          <a:pt x="437" y="347"/>
                          <a:pt x="438" y="347"/>
                        </a:cubicBezTo>
                        <a:cubicBezTo>
                          <a:pt x="438" y="347"/>
                          <a:pt x="438" y="347"/>
                          <a:pt x="438" y="347"/>
                        </a:cubicBezTo>
                        <a:cubicBezTo>
                          <a:pt x="438" y="347"/>
                          <a:pt x="438" y="347"/>
                          <a:pt x="438" y="347"/>
                        </a:cubicBezTo>
                        <a:cubicBezTo>
                          <a:pt x="439" y="347"/>
                          <a:pt x="439" y="347"/>
                          <a:pt x="440" y="347"/>
                        </a:cubicBezTo>
                        <a:cubicBezTo>
                          <a:pt x="440" y="347"/>
                          <a:pt x="440" y="347"/>
                          <a:pt x="441" y="347"/>
                        </a:cubicBezTo>
                        <a:cubicBezTo>
                          <a:pt x="443" y="346"/>
                          <a:pt x="445" y="346"/>
                          <a:pt x="447" y="346"/>
                        </a:cubicBezTo>
                        <a:cubicBezTo>
                          <a:pt x="463" y="346"/>
                          <a:pt x="463" y="346"/>
                          <a:pt x="463" y="346"/>
                        </a:cubicBezTo>
                        <a:cubicBezTo>
                          <a:pt x="464" y="346"/>
                          <a:pt x="465" y="346"/>
                          <a:pt x="465" y="347"/>
                        </a:cubicBezTo>
                        <a:cubicBezTo>
                          <a:pt x="469" y="347"/>
                          <a:pt x="474" y="348"/>
                          <a:pt x="475" y="352"/>
                        </a:cubicBezTo>
                        <a:cubicBezTo>
                          <a:pt x="476" y="355"/>
                          <a:pt x="476" y="359"/>
                          <a:pt x="477" y="362"/>
                        </a:cubicBezTo>
                        <a:cubicBezTo>
                          <a:pt x="477" y="363"/>
                          <a:pt x="477" y="363"/>
                          <a:pt x="477" y="363"/>
                        </a:cubicBezTo>
                        <a:cubicBezTo>
                          <a:pt x="477" y="364"/>
                          <a:pt x="477" y="364"/>
                          <a:pt x="477" y="365"/>
                        </a:cubicBezTo>
                        <a:cubicBezTo>
                          <a:pt x="477" y="365"/>
                          <a:pt x="477" y="365"/>
                          <a:pt x="477" y="365"/>
                        </a:cubicBezTo>
                        <a:cubicBezTo>
                          <a:pt x="477" y="365"/>
                          <a:pt x="477" y="365"/>
                          <a:pt x="477" y="365"/>
                        </a:cubicBezTo>
                        <a:cubicBezTo>
                          <a:pt x="477" y="365"/>
                          <a:pt x="477" y="365"/>
                          <a:pt x="477" y="365"/>
                        </a:cubicBezTo>
                        <a:cubicBezTo>
                          <a:pt x="476" y="367"/>
                          <a:pt x="474" y="368"/>
                          <a:pt x="472" y="369"/>
                        </a:cubicBezTo>
                        <a:cubicBezTo>
                          <a:pt x="471" y="369"/>
                          <a:pt x="471" y="369"/>
                          <a:pt x="471" y="369"/>
                        </a:cubicBezTo>
                        <a:cubicBezTo>
                          <a:pt x="471" y="369"/>
                          <a:pt x="471" y="369"/>
                          <a:pt x="470" y="369"/>
                        </a:cubicBezTo>
                        <a:cubicBezTo>
                          <a:pt x="470" y="369"/>
                          <a:pt x="470" y="369"/>
                          <a:pt x="470" y="369"/>
                        </a:cubicBezTo>
                        <a:cubicBezTo>
                          <a:pt x="469" y="369"/>
                          <a:pt x="469" y="369"/>
                          <a:pt x="469" y="369"/>
                        </a:cubicBezTo>
                        <a:cubicBezTo>
                          <a:pt x="463" y="370"/>
                          <a:pt x="457" y="369"/>
                          <a:pt x="455" y="369"/>
                        </a:cubicBezTo>
                        <a:cubicBezTo>
                          <a:pt x="445" y="369"/>
                          <a:pt x="445" y="369"/>
                          <a:pt x="445" y="369"/>
                        </a:cubicBezTo>
                        <a:cubicBezTo>
                          <a:pt x="444" y="369"/>
                          <a:pt x="443" y="369"/>
                          <a:pt x="442" y="369"/>
                        </a:cubicBezTo>
                        <a:cubicBezTo>
                          <a:pt x="442" y="369"/>
                          <a:pt x="441" y="369"/>
                          <a:pt x="441" y="369"/>
                        </a:cubicBezTo>
                        <a:cubicBezTo>
                          <a:pt x="440" y="369"/>
                          <a:pt x="440" y="369"/>
                          <a:pt x="440" y="369"/>
                        </a:cubicBezTo>
                        <a:cubicBezTo>
                          <a:pt x="440" y="369"/>
                          <a:pt x="440" y="369"/>
                          <a:pt x="440" y="369"/>
                        </a:cubicBezTo>
                        <a:cubicBezTo>
                          <a:pt x="439" y="369"/>
                          <a:pt x="439" y="369"/>
                          <a:pt x="438" y="368"/>
                        </a:cubicBezTo>
                        <a:cubicBezTo>
                          <a:pt x="438" y="368"/>
                          <a:pt x="438" y="368"/>
                          <a:pt x="438" y="368"/>
                        </a:cubicBezTo>
                        <a:cubicBezTo>
                          <a:pt x="437" y="368"/>
                          <a:pt x="437" y="368"/>
                          <a:pt x="436" y="367"/>
                        </a:cubicBezTo>
                        <a:cubicBezTo>
                          <a:pt x="436" y="367"/>
                          <a:pt x="435" y="367"/>
                          <a:pt x="434" y="366"/>
                        </a:cubicBezTo>
                        <a:cubicBezTo>
                          <a:pt x="434" y="366"/>
                          <a:pt x="434" y="366"/>
                          <a:pt x="434" y="366"/>
                        </a:cubicBezTo>
                        <a:close/>
                        <a:moveTo>
                          <a:pt x="437" y="404"/>
                        </a:moveTo>
                        <a:cubicBezTo>
                          <a:pt x="436" y="403"/>
                          <a:pt x="436" y="402"/>
                          <a:pt x="435" y="402"/>
                        </a:cubicBezTo>
                        <a:cubicBezTo>
                          <a:pt x="435" y="400"/>
                          <a:pt x="435" y="400"/>
                          <a:pt x="435" y="400"/>
                        </a:cubicBezTo>
                        <a:cubicBezTo>
                          <a:pt x="435" y="400"/>
                          <a:pt x="435" y="400"/>
                          <a:pt x="435" y="400"/>
                        </a:cubicBezTo>
                        <a:cubicBezTo>
                          <a:pt x="435" y="396"/>
                          <a:pt x="435" y="392"/>
                          <a:pt x="434" y="388"/>
                        </a:cubicBezTo>
                        <a:cubicBezTo>
                          <a:pt x="434" y="388"/>
                          <a:pt x="434" y="388"/>
                          <a:pt x="434" y="388"/>
                        </a:cubicBezTo>
                        <a:cubicBezTo>
                          <a:pt x="434" y="388"/>
                          <a:pt x="434" y="388"/>
                          <a:pt x="434" y="388"/>
                        </a:cubicBezTo>
                        <a:cubicBezTo>
                          <a:pt x="434" y="388"/>
                          <a:pt x="434" y="388"/>
                          <a:pt x="434" y="387"/>
                        </a:cubicBezTo>
                        <a:cubicBezTo>
                          <a:pt x="435" y="379"/>
                          <a:pt x="453" y="381"/>
                          <a:pt x="458" y="381"/>
                        </a:cubicBezTo>
                        <a:cubicBezTo>
                          <a:pt x="465" y="381"/>
                          <a:pt x="477" y="380"/>
                          <a:pt x="481" y="386"/>
                        </a:cubicBezTo>
                        <a:cubicBezTo>
                          <a:pt x="481" y="387"/>
                          <a:pt x="482" y="387"/>
                          <a:pt x="482" y="388"/>
                        </a:cubicBezTo>
                        <a:cubicBezTo>
                          <a:pt x="482" y="389"/>
                          <a:pt x="482" y="389"/>
                          <a:pt x="482" y="389"/>
                        </a:cubicBezTo>
                        <a:cubicBezTo>
                          <a:pt x="482" y="389"/>
                          <a:pt x="482" y="389"/>
                          <a:pt x="482" y="389"/>
                        </a:cubicBezTo>
                        <a:cubicBezTo>
                          <a:pt x="483" y="391"/>
                          <a:pt x="483" y="392"/>
                          <a:pt x="484" y="395"/>
                        </a:cubicBezTo>
                        <a:cubicBezTo>
                          <a:pt x="485" y="401"/>
                          <a:pt x="485" y="401"/>
                          <a:pt x="485" y="401"/>
                        </a:cubicBezTo>
                        <a:cubicBezTo>
                          <a:pt x="485" y="402"/>
                          <a:pt x="485" y="403"/>
                          <a:pt x="484" y="404"/>
                        </a:cubicBezTo>
                        <a:cubicBezTo>
                          <a:pt x="484" y="405"/>
                          <a:pt x="484" y="405"/>
                          <a:pt x="483" y="406"/>
                        </a:cubicBezTo>
                        <a:cubicBezTo>
                          <a:pt x="483" y="406"/>
                          <a:pt x="483" y="406"/>
                          <a:pt x="482" y="407"/>
                        </a:cubicBezTo>
                        <a:cubicBezTo>
                          <a:pt x="482" y="407"/>
                          <a:pt x="482" y="407"/>
                          <a:pt x="482" y="407"/>
                        </a:cubicBezTo>
                        <a:cubicBezTo>
                          <a:pt x="482" y="407"/>
                          <a:pt x="482" y="407"/>
                          <a:pt x="482" y="407"/>
                        </a:cubicBezTo>
                        <a:cubicBezTo>
                          <a:pt x="481" y="407"/>
                          <a:pt x="481" y="407"/>
                          <a:pt x="481" y="407"/>
                        </a:cubicBezTo>
                        <a:cubicBezTo>
                          <a:pt x="480" y="408"/>
                          <a:pt x="480" y="408"/>
                          <a:pt x="480" y="408"/>
                        </a:cubicBezTo>
                        <a:cubicBezTo>
                          <a:pt x="479" y="408"/>
                          <a:pt x="479" y="408"/>
                          <a:pt x="479" y="408"/>
                        </a:cubicBezTo>
                        <a:cubicBezTo>
                          <a:pt x="479" y="408"/>
                          <a:pt x="479" y="408"/>
                          <a:pt x="478" y="408"/>
                        </a:cubicBezTo>
                        <a:cubicBezTo>
                          <a:pt x="478" y="408"/>
                          <a:pt x="478" y="409"/>
                          <a:pt x="477" y="409"/>
                        </a:cubicBezTo>
                        <a:cubicBezTo>
                          <a:pt x="477" y="409"/>
                          <a:pt x="477" y="409"/>
                          <a:pt x="477" y="409"/>
                        </a:cubicBezTo>
                        <a:cubicBezTo>
                          <a:pt x="477" y="409"/>
                          <a:pt x="476" y="409"/>
                          <a:pt x="475" y="409"/>
                        </a:cubicBezTo>
                        <a:cubicBezTo>
                          <a:pt x="474" y="409"/>
                          <a:pt x="474" y="409"/>
                          <a:pt x="473" y="409"/>
                        </a:cubicBezTo>
                        <a:cubicBezTo>
                          <a:pt x="473" y="409"/>
                          <a:pt x="473" y="409"/>
                          <a:pt x="473" y="409"/>
                        </a:cubicBezTo>
                        <a:cubicBezTo>
                          <a:pt x="473" y="409"/>
                          <a:pt x="473" y="409"/>
                          <a:pt x="473" y="409"/>
                        </a:cubicBezTo>
                        <a:cubicBezTo>
                          <a:pt x="473" y="409"/>
                          <a:pt x="473" y="409"/>
                          <a:pt x="473" y="409"/>
                        </a:cubicBezTo>
                        <a:cubicBezTo>
                          <a:pt x="465" y="409"/>
                          <a:pt x="457" y="409"/>
                          <a:pt x="449" y="409"/>
                        </a:cubicBezTo>
                        <a:cubicBezTo>
                          <a:pt x="448" y="409"/>
                          <a:pt x="447" y="409"/>
                          <a:pt x="447" y="409"/>
                        </a:cubicBezTo>
                        <a:cubicBezTo>
                          <a:pt x="446" y="409"/>
                          <a:pt x="446" y="409"/>
                          <a:pt x="446" y="409"/>
                        </a:cubicBezTo>
                        <a:cubicBezTo>
                          <a:pt x="445" y="409"/>
                          <a:pt x="445" y="409"/>
                          <a:pt x="444" y="409"/>
                        </a:cubicBezTo>
                        <a:cubicBezTo>
                          <a:pt x="444" y="409"/>
                          <a:pt x="444" y="409"/>
                          <a:pt x="444" y="409"/>
                        </a:cubicBezTo>
                        <a:cubicBezTo>
                          <a:pt x="444" y="408"/>
                          <a:pt x="444" y="408"/>
                          <a:pt x="444" y="408"/>
                        </a:cubicBezTo>
                        <a:cubicBezTo>
                          <a:pt x="443" y="408"/>
                          <a:pt x="442" y="408"/>
                          <a:pt x="442" y="408"/>
                        </a:cubicBezTo>
                        <a:cubicBezTo>
                          <a:pt x="441" y="408"/>
                          <a:pt x="441" y="407"/>
                          <a:pt x="441" y="407"/>
                        </a:cubicBezTo>
                        <a:cubicBezTo>
                          <a:pt x="441" y="407"/>
                          <a:pt x="440" y="407"/>
                          <a:pt x="440" y="407"/>
                        </a:cubicBezTo>
                        <a:cubicBezTo>
                          <a:pt x="440" y="407"/>
                          <a:pt x="440" y="407"/>
                          <a:pt x="440" y="407"/>
                        </a:cubicBezTo>
                        <a:cubicBezTo>
                          <a:pt x="439" y="406"/>
                          <a:pt x="437" y="405"/>
                          <a:pt x="437" y="404"/>
                        </a:cubicBezTo>
                        <a:close/>
                        <a:moveTo>
                          <a:pt x="494" y="451"/>
                        </a:moveTo>
                        <a:cubicBezTo>
                          <a:pt x="493" y="453"/>
                          <a:pt x="492" y="453"/>
                          <a:pt x="491" y="454"/>
                        </a:cubicBezTo>
                        <a:cubicBezTo>
                          <a:pt x="490" y="455"/>
                          <a:pt x="489" y="456"/>
                          <a:pt x="487" y="456"/>
                        </a:cubicBezTo>
                        <a:cubicBezTo>
                          <a:pt x="485" y="457"/>
                          <a:pt x="484" y="457"/>
                          <a:pt x="481" y="457"/>
                        </a:cubicBezTo>
                        <a:cubicBezTo>
                          <a:pt x="476" y="457"/>
                          <a:pt x="476" y="457"/>
                          <a:pt x="476" y="457"/>
                        </a:cubicBezTo>
                        <a:cubicBezTo>
                          <a:pt x="476" y="457"/>
                          <a:pt x="476" y="457"/>
                          <a:pt x="476" y="457"/>
                        </a:cubicBezTo>
                        <a:cubicBezTo>
                          <a:pt x="469" y="457"/>
                          <a:pt x="462" y="457"/>
                          <a:pt x="454" y="457"/>
                        </a:cubicBezTo>
                        <a:cubicBezTo>
                          <a:pt x="453" y="457"/>
                          <a:pt x="453" y="457"/>
                          <a:pt x="452" y="457"/>
                        </a:cubicBezTo>
                        <a:cubicBezTo>
                          <a:pt x="451" y="457"/>
                          <a:pt x="451" y="457"/>
                          <a:pt x="451" y="457"/>
                        </a:cubicBezTo>
                        <a:cubicBezTo>
                          <a:pt x="450" y="457"/>
                          <a:pt x="450" y="457"/>
                          <a:pt x="449" y="457"/>
                        </a:cubicBezTo>
                        <a:cubicBezTo>
                          <a:pt x="449" y="457"/>
                          <a:pt x="449" y="457"/>
                          <a:pt x="448" y="457"/>
                        </a:cubicBezTo>
                        <a:cubicBezTo>
                          <a:pt x="448" y="457"/>
                          <a:pt x="448" y="457"/>
                          <a:pt x="448" y="457"/>
                        </a:cubicBezTo>
                        <a:cubicBezTo>
                          <a:pt x="445" y="456"/>
                          <a:pt x="442" y="454"/>
                          <a:pt x="440" y="451"/>
                        </a:cubicBezTo>
                        <a:cubicBezTo>
                          <a:pt x="440" y="451"/>
                          <a:pt x="440" y="451"/>
                          <a:pt x="440" y="451"/>
                        </a:cubicBezTo>
                        <a:cubicBezTo>
                          <a:pt x="440" y="451"/>
                          <a:pt x="440" y="451"/>
                          <a:pt x="440" y="451"/>
                        </a:cubicBezTo>
                        <a:cubicBezTo>
                          <a:pt x="440" y="451"/>
                          <a:pt x="440" y="451"/>
                          <a:pt x="440" y="450"/>
                        </a:cubicBezTo>
                        <a:cubicBezTo>
                          <a:pt x="439" y="450"/>
                          <a:pt x="439" y="449"/>
                          <a:pt x="439" y="449"/>
                        </a:cubicBezTo>
                        <a:cubicBezTo>
                          <a:pt x="439" y="449"/>
                          <a:pt x="439" y="449"/>
                          <a:pt x="439" y="448"/>
                        </a:cubicBezTo>
                        <a:cubicBezTo>
                          <a:pt x="439" y="448"/>
                          <a:pt x="439" y="448"/>
                          <a:pt x="439" y="448"/>
                        </a:cubicBezTo>
                        <a:cubicBezTo>
                          <a:pt x="439" y="447"/>
                          <a:pt x="439" y="447"/>
                          <a:pt x="439" y="447"/>
                        </a:cubicBezTo>
                        <a:cubicBezTo>
                          <a:pt x="439" y="447"/>
                          <a:pt x="439" y="447"/>
                          <a:pt x="439" y="447"/>
                        </a:cubicBezTo>
                        <a:cubicBezTo>
                          <a:pt x="439" y="444"/>
                          <a:pt x="438" y="439"/>
                          <a:pt x="438" y="435"/>
                        </a:cubicBezTo>
                        <a:cubicBezTo>
                          <a:pt x="438" y="435"/>
                          <a:pt x="438" y="434"/>
                          <a:pt x="438" y="433"/>
                        </a:cubicBezTo>
                        <a:cubicBezTo>
                          <a:pt x="438" y="431"/>
                          <a:pt x="438" y="431"/>
                          <a:pt x="438" y="431"/>
                        </a:cubicBezTo>
                        <a:cubicBezTo>
                          <a:pt x="438" y="431"/>
                          <a:pt x="438" y="431"/>
                          <a:pt x="438" y="431"/>
                        </a:cubicBezTo>
                        <a:cubicBezTo>
                          <a:pt x="438" y="430"/>
                          <a:pt x="438" y="430"/>
                          <a:pt x="438" y="430"/>
                        </a:cubicBezTo>
                        <a:cubicBezTo>
                          <a:pt x="438" y="430"/>
                          <a:pt x="438" y="429"/>
                          <a:pt x="438" y="429"/>
                        </a:cubicBezTo>
                        <a:cubicBezTo>
                          <a:pt x="438" y="429"/>
                          <a:pt x="438" y="429"/>
                          <a:pt x="438" y="428"/>
                        </a:cubicBezTo>
                        <a:cubicBezTo>
                          <a:pt x="439" y="428"/>
                          <a:pt x="439" y="428"/>
                          <a:pt x="439" y="428"/>
                        </a:cubicBezTo>
                        <a:cubicBezTo>
                          <a:pt x="439" y="428"/>
                          <a:pt x="439" y="428"/>
                          <a:pt x="439" y="428"/>
                        </a:cubicBezTo>
                        <a:cubicBezTo>
                          <a:pt x="439" y="427"/>
                          <a:pt x="439" y="427"/>
                          <a:pt x="439" y="427"/>
                        </a:cubicBezTo>
                        <a:cubicBezTo>
                          <a:pt x="440" y="426"/>
                          <a:pt x="440" y="426"/>
                          <a:pt x="440" y="426"/>
                        </a:cubicBezTo>
                        <a:cubicBezTo>
                          <a:pt x="440" y="426"/>
                          <a:pt x="441" y="426"/>
                          <a:pt x="441" y="425"/>
                        </a:cubicBezTo>
                        <a:cubicBezTo>
                          <a:pt x="441" y="425"/>
                          <a:pt x="441" y="425"/>
                          <a:pt x="441" y="425"/>
                        </a:cubicBezTo>
                        <a:cubicBezTo>
                          <a:pt x="441" y="425"/>
                          <a:pt x="441" y="425"/>
                          <a:pt x="441" y="425"/>
                        </a:cubicBezTo>
                        <a:cubicBezTo>
                          <a:pt x="442" y="425"/>
                          <a:pt x="442" y="425"/>
                          <a:pt x="443" y="424"/>
                        </a:cubicBezTo>
                        <a:cubicBezTo>
                          <a:pt x="443" y="424"/>
                          <a:pt x="443" y="424"/>
                          <a:pt x="443" y="424"/>
                        </a:cubicBezTo>
                        <a:cubicBezTo>
                          <a:pt x="444" y="424"/>
                          <a:pt x="444" y="424"/>
                          <a:pt x="444" y="424"/>
                        </a:cubicBezTo>
                        <a:cubicBezTo>
                          <a:pt x="444" y="424"/>
                          <a:pt x="444" y="424"/>
                          <a:pt x="444" y="424"/>
                        </a:cubicBezTo>
                        <a:cubicBezTo>
                          <a:pt x="444" y="424"/>
                          <a:pt x="445" y="423"/>
                          <a:pt x="445" y="423"/>
                        </a:cubicBezTo>
                        <a:cubicBezTo>
                          <a:pt x="446" y="423"/>
                          <a:pt x="446" y="423"/>
                          <a:pt x="446" y="423"/>
                        </a:cubicBezTo>
                        <a:cubicBezTo>
                          <a:pt x="446" y="423"/>
                          <a:pt x="447" y="423"/>
                          <a:pt x="447" y="423"/>
                        </a:cubicBezTo>
                        <a:cubicBezTo>
                          <a:pt x="448" y="423"/>
                          <a:pt x="448" y="423"/>
                          <a:pt x="449" y="423"/>
                        </a:cubicBezTo>
                        <a:cubicBezTo>
                          <a:pt x="450" y="423"/>
                          <a:pt x="450" y="423"/>
                          <a:pt x="450" y="423"/>
                        </a:cubicBezTo>
                        <a:cubicBezTo>
                          <a:pt x="450" y="423"/>
                          <a:pt x="450" y="423"/>
                          <a:pt x="451" y="423"/>
                        </a:cubicBezTo>
                        <a:cubicBezTo>
                          <a:pt x="452" y="423"/>
                          <a:pt x="452" y="423"/>
                          <a:pt x="452" y="423"/>
                        </a:cubicBezTo>
                        <a:cubicBezTo>
                          <a:pt x="453" y="423"/>
                          <a:pt x="454" y="423"/>
                          <a:pt x="455" y="423"/>
                        </a:cubicBezTo>
                        <a:cubicBezTo>
                          <a:pt x="457" y="423"/>
                          <a:pt x="458" y="423"/>
                          <a:pt x="459" y="423"/>
                        </a:cubicBezTo>
                        <a:cubicBezTo>
                          <a:pt x="469" y="423"/>
                          <a:pt x="469" y="423"/>
                          <a:pt x="469" y="423"/>
                        </a:cubicBezTo>
                        <a:cubicBezTo>
                          <a:pt x="472" y="423"/>
                          <a:pt x="475" y="423"/>
                          <a:pt x="478" y="423"/>
                        </a:cubicBezTo>
                        <a:cubicBezTo>
                          <a:pt x="478" y="423"/>
                          <a:pt x="479" y="423"/>
                          <a:pt x="479" y="423"/>
                        </a:cubicBezTo>
                        <a:cubicBezTo>
                          <a:pt x="479" y="423"/>
                          <a:pt x="480" y="423"/>
                          <a:pt x="480" y="423"/>
                        </a:cubicBezTo>
                        <a:cubicBezTo>
                          <a:pt x="480" y="423"/>
                          <a:pt x="480" y="423"/>
                          <a:pt x="481" y="423"/>
                        </a:cubicBezTo>
                        <a:cubicBezTo>
                          <a:pt x="481" y="423"/>
                          <a:pt x="481" y="423"/>
                          <a:pt x="481" y="423"/>
                        </a:cubicBezTo>
                        <a:cubicBezTo>
                          <a:pt x="481" y="423"/>
                          <a:pt x="481" y="423"/>
                          <a:pt x="481" y="423"/>
                        </a:cubicBezTo>
                        <a:cubicBezTo>
                          <a:pt x="482" y="423"/>
                          <a:pt x="482" y="424"/>
                          <a:pt x="483" y="424"/>
                        </a:cubicBezTo>
                        <a:cubicBezTo>
                          <a:pt x="483" y="424"/>
                          <a:pt x="484" y="424"/>
                          <a:pt x="484" y="424"/>
                        </a:cubicBezTo>
                        <a:cubicBezTo>
                          <a:pt x="484" y="424"/>
                          <a:pt x="484" y="424"/>
                          <a:pt x="484" y="425"/>
                        </a:cubicBezTo>
                        <a:cubicBezTo>
                          <a:pt x="485" y="425"/>
                          <a:pt x="485" y="425"/>
                          <a:pt x="486" y="425"/>
                        </a:cubicBezTo>
                        <a:cubicBezTo>
                          <a:pt x="487" y="426"/>
                          <a:pt x="488" y="427"/>
                          <a:pt x="489" y="428"/>
                        </a:cubicBezTo>
                        <a:cubicBezTo>
                          <a:pt x="490" y="429"/>
                          <a:pt x="491" y="430"/>
                          <a:pt x="491" y="431"/>
                        </a:cubicBezTo>
                        <a:cubicBezTo>
                          <a:pt x="492" y="438"/>
                          <a:pt x="492" y="438"/>
                          <a:pt x="492" y="438"/>
                        </a:cubicBezTo>
                        <a:cubicBezTo>
                          <a:pt x="493" y="441"/>
                          <a:pt x="493" y="443"/>
                          <a:pt x="494" y="446"/>
                        </a:cubicBezTo>
                        <a:cubicBezTo>
                          <a:pt x="494" y="446"/>
                          <a:pt x="494" y="446"/>
                          <a:pt x="494" y="446"/>
                        </a:cubicBezTo>
                        <a:cubicBezTo>
                          <a:pt x="494" y="448"/>
                          <a:pt x="494" y="448"/>
                          <a:pt x="494" y="448"/>
                        </a:cubicBezTo>
                        <a:cubicBezTo>
                          <a:pt x="494" y="449"/>
                          <a:pt x="494" y="450"/>
                          <a:pt x="494" y="451"/>
                        </a:cubicBezTo>
                        <a:close/>
                        <a:moveTo>
                          <a:pt x="508" y="369"/>
                        </a:moveTo>
                        <a:cubicBezTo>
                          <a:pt x="507" y="368"/>
                          <a:pt x="505" y="368"/>
                          <a:pt x="505" y="367"/>
                        </a:cubicBezTo>
                        <a:cubicBezTo>
                          <a:pt x="504" y="366"/>
                          <a:pt x="503" y="365"/>
                          <a:pt x="503" y="365"/>
                        </a:cubicBezTo>
                        <a:cubicBezTo>
                          <a:pt x="502" y="363"/>
                          <a:pt x="502" y="363"/>
                          <a:pt x="502" y="363"/>
                        </a:cubicBezTo>
                        <a:cubicBezTo>
                          <a:pt x="502" y="361"/>
                          <a:pt x="501" y="359"/>
                          <a:pt x="500" y="357"/>
                        </a:cubicBezTo>
                        <a:cubicBezTo>
                          <a:pt x="500" y="356"/>
                          <a:pt x="499" y="355"/>
                          <a:pt x="499" y="353"/>
                        </a:cubicBezTo>
                        <a:cubicBezTo>
                          <a:pt x="499" y="353"/>
                          <a:pt x="499" y="353"/>
                          <a:pt x="499" y="353"/>
                        </a:cubicBezTo>
                        <a:cubicBezTo>
                          <a:pt x="499" y="353"/>
                          <a:pt x="499" y="353"/>
                          <a:pt x="499" y="353"/>
                        </a:cubicBezTo>
                        <a:cubicBezTo>
                          <a:pt x="499" y="352"/>
                          <a:pt x="499" y="352"/>
                          <a:pt x="499" y="352"/>
                        </a:cubicBezTo>
                        <a:cubicBezTo>
                          <a:pt x="499" y="352"/>
                          <a:pt x="499" y="352"/>
                          <a:pt x="499" y="352"/>
                        </a:cubicBezTo>
                        <a:cubicBezTo>
                          <a:pt x="499" y="352"/>
                          <a:pt x="499" y="352"/>
                          <a:pt x="499" y="352"/>
                        </a:cubicBezTo>
                        <a:cubicBezTo>
                          <a:pt x="501" y="348"/>
                          <a:pt x="508" y="348"/>
                          <a:pt x="511" y="348"/>
                        </a:cubicBezTo>
                        <a:cubicBezTo>
                          <a:pt x="528" y="348"/>
                          <a:pt x="528" y="348"/>
                          <a:pt x="528" y="348"/>
                        </a:cubicBezTo>
                        <a:cubicBezTo>
                          <a:pt x="529" y="348"/>
                          <a:pt x="531" y="348"/>
                          <a:pt x="532" y="349"/>
                        </a:cubicBezTo>
                        <a:cubicBezTo>
                          <a:pt x="532" y="349"/>
                          <a:pt x="533" y="349"/>
                          <a:pt x="533" y="349"/>
                        </a:cubicBezTo>
                        <a:cubicBezTo>
                          <a:pt x="533" y="349"/>
                          <a:pt x="534" y="349"/>
                          <a:pt x="534" y="349"/>
                        </a:cubicBezTo>
                        <a:cubicBezTo>
                          <a:pt x="534" y="349"/>
                          <a:pt x="534" y="349"/>
                          <a:pt x="534" y="349"/>
                        </a:cubicBezTo>
                        <a:cubicBezTo>
                          <a:pt x="535" y="349"/>
                          <a:pt x="536" y="350"/>
                          <a:pt x="536" y="350"/>
                        </a:cubicBezTo>
                        <a:cubicBezTo>
                          <a:pt x="536" y="350"/>
                          <a:pt x="536" y="350"/>
                          <a:pt x="536" y="350"/>
                        </a:cubicBezTo>
                        <a:cubicBezTo>
                          <a:pt x="536" y="350"/>
                          <a:pt x="536" y="350"/>
                          <a:pt x="536" y="350"/>
                        </a:cubicBezTo>
                        <a:cubicBezTo>
                          <a:pt x="537" y="350"/>
                          <a:pt x="537" y="350"/>
                          <a:pt x="538" y="350"/>
                        </a:cubicBezTo>
                        <a:cubicBezTo>
                          <a:pt x="538" y="351"/>
                          <a:pt x="538" y="351"/>
                          <a:pt x="538" y="351"/>
                        </a:cubicBezTo>
                        <a:cubicBezTo>
                          <a:pt x="538" y="351"/>
                          <a:pt x="538" y="351"/>
                          <a:pt x="539" y="351"/>
                        </a:cubicBezTo>
                        <a:cubicBezTo>
                          <a:pt x="539" y="351"/>
                          <a:pt x="539" y="351"/>
                          <a:pt x="539" y="351"/>
                        </a:cubicBezTo>
                        <a:cubicBezTo>
                          <a:pt x="539" y="352"/>
                          <a:pt x="539" y="352"/>
                          <a:pt x="539" y="352"/>
                        </a:cubicBezTo>
                        <a:cubicBezTo>
                          <a:pt x="540" y="352"/>
                          <a:pt x="541" y="353"/>
                          <a:pt x="541" y="354"/>
                        </a:cubicBezTo>
                        <a:cubicBezTo>
                          <a:pt x="541" y="354"/>
                          <a:pt x="541" y="354"/>
                          <a:pt x="541" y="354"/>
                        </a:cubicBezTo>
                        <a:cubicBezTo>
                          <a:pt x="543" y="356"/>
                          <a:pt x="544" y="359"/>
                          <a:pt x="545" y="361"/>
                        </a:cubicBezTo>
                        <a:cubicBezTo>
                          <a:pt x="545" y="361"/>
                          <a:pt x="545" y="361"/>
                          <a:pt x="545" y="361"/>
                        </a:cubicBezTo>
                        <a:cubicBezTo>
                          <a:pt x="546" y="363"/>
                          <a:pt x="547" y="364"/>
                          <a:pt x="547" y="365"/>
                        </a:cubicBezTo>
                        <a:cubicBezTo>
                          <a:pt x="547" y="366"/>
                          <a:pt x="547" y="366"/>
                          <a:pt x="547" y="366"/>
                        </a:cubicBezTo>
                        <a:cubicBezTo>
                          <a:pt x="547" y="366"/>
                          <a:pt x="547" y="366"/>
                          <a:pt x="547" y="366"/>
                        </a:cubicBezTo>
                        <a:cubicBezTo>
                          <a:pt x="547" y="368"/>
                          <a:pt x="545" y="369"/>
                          <a:pt x="543" y="370"/>
                        </a:cubicBezTo>
                        <a:cubicBezTo>
                          <a:pt x="542" y="370"/>
                          <a:pt x="542" y="370"/>
                          <a:pt x="542" y="370"/>
                        </a:cubicBezTo>
                        <a:cubicBezTo>
                          <a:pt x="542" y="370"/>
                          <a:pt x="542" y="370"/>
                          <a:pt x="542" y="370"/>
                        </a:cubicBezTo>
                        <a:cubicBezTo>
                          <a:pt x="542" y="370"/>
                          <a:pt x="541" y="370"/>
                          <a:pt x="541" y="371"/>
                        </a:cubicBezTo>
                        <a:cubicBezTo>
                          <a:pt x="540" y="371"/>
                          <a:pt x="540" y="371"/>
                          <a:pt x="540" y="371"/>
                        </a:cubicBezTo>
                        <a:cubicBezTo>
                          <a:pt x="540" y="371"/>
                          <a:pt x="539" y="371"/>
                          <a:pt x="539" y="371"/>
                        </a:cubicBezTo>
                        <a:cubicBezTo>
                          <a:pt x="539" y="371"/>
                          <a:pt x="538" y="371"/>
                          <a:pt x="538" y="371"/>
                        </a:cubicBezTo>
                        <a:cubicBezTo>
                          <a:pt x="538" y="371"/>
                          <a:pt x="538" y="371"/>
                          <a:pt x="538" y="371"/>
                        </a:cubicBezTo>
                        <a:cubicBezTo>
                          <a:pt x="538" y="371"/>
                          <a:pt x="538" y="371"/>
                          <a:pt x="538" y="371"/>
                        </a:cubicBezTo>
                        <a:cubicBezTo>
                          <a:pt x="535" y="371"/>
                          <a:pt x="532" y="371"/>
                          <a:pt x="530" y="371"/>
                        </a:cubicBezTo>
                        <a:cubicBezTo>
                          <a:pt x="526" y="371"/>
                          <a:pt x="521" y="371"/>
                          <a:pt x="517" y="371"/>
                        </a:cubicBezTo>
                        <a:cubicBezTo>
                          <a:pt x="514" y="371"/>
                          <a:pt x="511" y="370"/>
                          <a:pt x="508" y="369"/>
                        </a:cubicBezTo>
                        <a:cubicBezTo>
                          <a:pt x="508" y="369"/>
                          <a:pt x="508" y="369"/>
                          <a:pt x="508" y="369"/>
                        </a:cubicBezTo>
                        <a:close/>
                        <a:moveTo>
                          <a:pt x="519" y="405"/>
                        </a:moveTo>
                        <a:cubicBezTo>
                          <a:pt x="518" y="404"/>
                          <a:pt x="517" y="403"/>
                          <a:pt x="517" y="402"/>
                        </a:cubicBezTo>
                        <a:cubicBezTo>
                          <a:pt x="515" y="396"/>
                          <a:pt x="515" y="396"/>
                          <a:pt x="515" y="396"/>
                        </a:cubicBezTo>
                        <a:cubicBezTo>
                          <a:pt x="514" y="394"/>
                          <a:pt x="513" y="392"/>
                          <a:pt x="512" y="390"/>
                        </a:cubicBezTo>
                        <a:cubicBezTo>
                          <a:pt x="512" y="390"/>
                          <a:pt x="512" y="390"/>
                          <a:pt x="512" y="390"/>
                        </a:cubicBezTo>
                        <a:cubicBezTo>
                          <a:pt x="512" y="389"/>
                          <a:pt x="512" y="389"/>
                          <a:pt x="512" y="389"/>
                        </a:cubicBezTo>
                        <a:cubicBezTo>
                          <a:pt x="512" y="388"/>
                          <a:pt x="512" y="387"/>
                          <a:pt x="512" y="386"/>
                        </a:cubicBezTo>
                        <a:cubicBezTo>
                          <a:pt x="512" y="386"/>
                          <a:pt x="513" y="385"/>
                          <a:pt x="513" y="385"/>
                        </a:cubicBezTo>
                        <a:cubicBezTo>
                          <a:pt x="513" y="385"/>
                          <a:pt x="513" y="385"/>
                          <a:pt x="514" y="385"/>
                        </a:cubicBezTo>
                        <a:cubicBezTo>
                          <a:pt x="514" y="384"/>
                          <a:pt x="514" y="384"/>
                          <a:pt x="514" y="384"/>
                        </a:cubicBezTo>
                        <a:cubicBezTo>
                          <a:pt x="515" y="384"/>
                          <a:pt x="516" y="383"/>
                          <a:pt x="517" y="383"/>
                        </a:cubicBezTo>
                        <a:cubicBezTo>
                          <a:pt x="518" y="383"/>
                          <a:pt x="519" y="383"/>
                          <a:pt x="520" y="382"/>
                        </a:cubicBezTo>
                        <a:cubicBezTo>
                          <a:pt x="525" y="382"/>
                          <a:pt x="530" y="382"/>
                          <a:pt x="532" y="382"/>
                        </a:cubicBezTo>
                        <a:cubicBezTo>
                          <a:pt x="540" y="382"/>
                          <a:pt x="554" y="381"/>
                          <a:pt x="559" y="389"/>
                        </a:cubicBezTo>
                        <a:cubicBezTo>
                          <a:pt x="559" y="389"/>
                          <a:pt x="559" y="389"/>
                          <a:pt x="559" y="389"/>
                        </a:cubicBezTo>
                        <a:cubicBezTo>
                          <a:pt x="559" y="389"/>
                          <a:pt x="559" y="389"/>
                          <a:pt x="559" y="389"/>
                        </a:cubicBezTo>
                        <a:cubicBezTo>
                          <a:pt x="559" y="389"/>
                          <a:pt x="559" y="389"/>
                          <a:pt x="559" y="389"/>
                        </a:cubicBezTo>
                        <a:cubicBezTo>
                          <a:pt x="561" y="393"/>
                          <a:pt x="562" y="396"/>
                          <a:pt x="564" y="400"/>
                        </a:cubicBezTo>
                        <a:cubicBezTo>
                          <a:pt x="565" y="401"/>
                          <a:pt x="565" y="402"/>
                          <a:pt x="566" y="403"/>
                        </a:cubicBezTo>
                        <a:cubicBezTo>
                          <a:pt x="566" y="403"/>
                          <a:pt x="566" y="403"/>
                          <a:pt x="566" y="403"/>
                        </a:cubicBezTo>
                        <a:cubicBezTo>
                          <a:pt x="566" y="404"/>
                          <a:pt x="566" y="404"/>
                          <a:pt x="566" y="404"/>
                        </a:cubicBezTo>
                        <a:cubicBezTo>
                          <a:pt x="566" y="404"/>
                          <a:pt x="566" y="405"/>
                          <a:pt x="566" y="405"/>
                        </a:cubicBezTo>
                        <a:cubicBezTo>
                          <a:pt x="566" y="405"/>
                          <a:pt x="566" y="405"/>
                          <a:pt x="566" y="405"/>
                        </a:cubicBezTo>
                        <a:cubicBezTo>
                          <a:pt x="566" y="405"/>
                          <a:pt x="566" y="405"/>
                          <a:pt x="566" y="405"/>
                        </a:cubicBezTo>
                        <a:cubicBezTo>
                          <a:pt x="566" y="406"/>
                          <a:pt x="565" y="406"/>
                          <a:pt x="565" y="406"/>
                        </a:cubicBezTo>
                        <a:cubicBezTo>
                          <a:pt x="565" y="406"/>
                          <a:pt x="565" y="406"/>
                          <a:pt x="565" y="406"/>
                        </a:cubicBezTo>
                        <a:cubicBezTo>
                          <a:pt x="565" y="407"/>
                          <a:pt x="565" y="407"/>
                          <a:pt x="564" y="407"/>
                        </a:cubicBezTo>
                        <a:cubicBezTo>
                          <a:pt x="564" y="407"/>
                          <a:pt x="564" y="407"/>
                          <a:pt x="564" y="407"/>
                        </a:cubicBezTo>
                        <a:cubicBezTo>
                          <a:pt x="564" y="408"/>
                          <a:pt x="564" y="408"/>
                          <a:pt x="564" y="408"/>
                        </a:cubicBezTo>
                        <a:cubicBezTo>
                          <a:pt x="564" y="408"/>
                          <a:pt x="563" y="408"/>
                          <a:pt x="563" y="408"/>
                        </a:cubicBezTo>
                        <a:cubicBezTo>
                          <a:pt x="563" y="408"/>
                          <a:pt x="562" y="409"/>
                          <a:pt x="561" y="409"/>
                        </a:cubicBezTo>
                        <a:cubicBezTo>
                          <a:pt x="561" y="409"/>
                          <a:pt x="561" y="409"/>
                          <a:pt x="560" y="409"/>
                        </a:cubicBezTo>
                        <a:cubicBezTo>
                          <a:pt x="560" y="409"/>
                          <a:pt x="559" y="409"/>
                          <a:pt x="559" y="410"/>
                        </a:cubicBezTo>
                        <a:cubicBezTo>
                          <a:pt x="559" y="410"/>
                          <a:pt x="559" y="410"/>
                          <a:pt x="559" y="410"/>
                        </a:cubicBezTo>
                        <a:cubicBezTo>
                          <a:pt x="558" y="410"/>
                          <a:pt x="558" y="410"/>
                          <a:pt x="558" y="410"/>
                        </a:cubicBezTo>
                        <a:cubicBezTo>
                          <a:pt x="550" y="410"/>
                          <a:pt x="541" y="410"/>
                          <a:pt x="532" y="410"/>
                        </a:cubicBezTo>
                        <a:cubicBezTo>
                          <a:pt x="532" y="410"/>
                          <a:pt x="531" y="410"/>
                          <a:pt x="530" y="410"/>
                        </a:cubicBezTo>
                        <a:cubicBezTo>
                          <a:pt x="530" y="410"/>
                          <a:pt x="530" y="410"/>
                          <a:pt x="530" y="410"/>
                        </a:cubicBezTo>
                        <a:cubicBezTo>
                          <a:pt x="527" y="409"/>
                          <a:pt x="524" y="408"/>
                          <a:pt x="521" y="406"/>
                        </a:cubicBezTo>
                        <a:cubicBezTo>
                          <a:pt x="520" y="406"/>
                          <a:pt x="520" y="406"/>
                          <a:pt x="519" y="405"/>
                        </a:cubicBezTo>
                        <a:close/>
                        <a:moveTo>
                          <a:pt x="589" y="451"/>
                        </a:moveTo>
                        <a:cubicBezTo>
                          <a:pt x="589" y="452"/>
                          <a:pt x="588" y="452"/>
                          <a:pt x="588" y="452"/>
                        </a:cubicBezTo>
                        <a:cubicBezTo>
                          <a:pt x="588" y="452"/>
                          <a:pt x="588" y="452"/>
                          <a:pt x="588" y="453"/>
                        </a:cubicBezTo>
                        <a:cubicBezTo>
                          <a:pt x="588" y="453"/>
                          <a:pt x="588" y="453"/>
                          <a:pt x="588" y="453"/>
                        </a:cubicBezTo>
                        <a:cubicBezTo>
                          <a:pt x="588" y="453"/>
                          <a:pt x="588" y="453"/>
                          <a:pt x="588" y="454"/>
                        </a:cubicBezTo>
                        <a:cubicBezTo>
                          <a:pt x="588" y="454"/>
                          <a:pt x="588" y="454"/>
                          <a:pt x="587" y="454"/>
                        </a:cubicBezTo>
                        <a:cubicBezTo>
                          <a:pt x="587" y="454"/>
                          <a:pt x="587" y="454"/>
                          <a:pt x="587" y="454"/>
                        </a:cubicBezTo>
                        <a:cubicBezTo>
                          <a:pt x="587" y="454"/>
                          <a:pt x="587" y="454"/>
                          <a:pt x="587" y="455"/>
                        </a:cubicBezTo>
                        <a:cubicBezTo>
                          <a:pt x="585" y="456"/>
                          <a:pt x="583" y="457"/>
                          <a:pt x="581" y="457"/>
                        </a:cubicBezTo>
                        <a:cubicBezTo>
                          <a:pt x="581" y="457"/>
                          <a:pt x="581" y="457"/>
                          <a:pt x="581" y="457"/>
                        </a:cubicBezTo>
                        <a:cubicBezTo>
                          <a:pt x="580" y="457"/>
                          <a:pt x="579" y="457"/>
                          <a:pt x="578" y="457"/>
                        </a:cubicBezTo>
                        <a:cubicBezTo>
                          <a:pt x="578" y="457"/>
                          <a:pt x="578" y="457"/>
                          <a:pt x="578" y="457"/>
                        </a:cubicBezTo>
                        <a:cubicBezTo>
                          <a:pt x="577" y="457"/>
                          <a:pt x="577" y="457"/>
                          <a:pt x="577" y="457"/>
                        </a:cubicBezTo>
                        <a:cubicBezTo>
                          <a:pt x="577" y="457"/>
                          <a:pt x="576" y="457"/>
                          <a:pt x="575" y="457"/>
                        </a:cubicBezTo>
                        <a:cubicBezTo>
                          <a:pt x="552" y="457"/>
                          <a:pt x="552" y="457"/>
                          <a:pt x="552" y="457"/>
                        </a:cubicBezTo>
                        <a:cubicBezTo>
                          <a:pt x="551" y="457"/>
                          <a:pt x="550" y="457"/>
                          <a:pt x="549" y="457"/>
                        </a:cubicBezTo>
                        <a:cubicBezTo>
                          <a:pt x="549" y="457"/>
                          <a:pt x="549" y="457"/>
                          <a:pt x="548" y="457"/>
                        </a:cubicBezTo>
                        <a:cubicBezTo>
                          <a:pt x="543" y="456"/>
                          <a:pt x="538" y="454"/>
                          <a:pt x="535" y="450"/>
                        </a:cubicBezTo>
                        <a:cubicBezTo>
                          <a:pt x="534" y="449"/>
                          <a:pt x="534" y="449"/>
                          <a:pt x="534" y="448"/>
                        </a:cubicBezTo>
                        <a:cubicBezTo>
                          <a:pt x="534" y="448"/>
                          <a:pt x="534" y="448"/>
                          <a:pt x="534" y="448"/>
                        </a:cubicBezTo>
                        <a:cubicBezTo>
                          <a:pt x="534" y="448"/>
                          <a:pt x="534" y="448"/>
                          <a:pt x="534" y="448"/>
                        </a:cubicBezTo>
                        <a:cubicBezTo>
                          <a:pt x="533" y="444"/>
                          <a:pt x="531" y="441"/>
                          <a:pt x="530" y="438"/>
                        </a:cubicBezTo>
                        <a:cubicBezTo>
                          <a:pt x="530" y="436"/>
                          <a:pt x="528" y="434"/>
                          <a:pt x="528" y="432"/>
                        </a:cubicBezTo>
                        <a:cubicBezTo>
                          <a:pt x="528" y="432"/>
                          <a:pt x="528" y="432"/>
                          <a:pt x="528" y="432"/>
                        </a:cubicBezTo>
                        <a:cubicBezTo>
                          <a:pt x="528" y="431"/>
                          <a:pt x="528" y="431"/>
                          <a:pt x="528" y="431"/>
                        </a:cubicBezTo>
                        <a:cubicBezTo>
                          <a:pt x="528" y="431"/>
                          <a:pt x="528" y="431"/>
                          <a:pt x="528" y="431"/>
                        </a:cubicBezTo>
                        <a:cubicBezTo>
                          <a:pt x="528" y="430"/>
                          <a:pt x="528" y="429"/>
                          <a:pt x="528" y="428"/>
                        </a:cubicBezTo>
                        <a:cubicBezTo>
                          <a:pt x="528" y="428"/>
                          <a:pt x="528" y="427"/>
                          <a:pt x="528" y="427"/>
                        </a:cubicBezTo>
                        <a:cubicBezTo>
                          <a:pt x="528" y="427"/>
                          <a:pt x="528" y="427"/>
                          <a:pt x="528" y="427"/>
                        </a:cubicBezTo>
                        <a:cubicBezTo>
                          <a:pt x="530" y="425"/>
                          <a:pt x="532" y="424"/>
                          <a:pt x="535" y="423"/>
                        </a:cubicBezTo>
                        <a:cubicBezTo>
                          <a:pt x="535" y="423"/>
                          <a:pt x="535" y="423"/>
                          <a:pt x="536" y="423"/>
                        </a:cubicBezTo>
                        <a:cubicBezTo>
                          <a:pt x="536" y="423"/>
                          <a:pt x="537" y="423"/>
                          <a:pt x="538" y="423"/>
                        </a:cubicBezTo>
                        <a:cubicBezTo>
                          <a:pt x="538" y="423"/>
                          <a:pt x="538" y="423"/>
                          <a:pt x="538" y="423"/>
                        </a:cubicBezTo>
                        <a:cubicBezTo>
                          <a:pt x="540" y="423"/>
                          <a:pt x="540" y="423"/>
                          <a:pt x="540" y="423"/>
                        </a:cubicBezTo>
                        <a:cubicBezTo>
                          <a:pt x="540" y="423"/>
                          <a:pt x="540" y="423"/>
                          <a:pt x="541" y="423"/>
                        </a:cubicBezTo>
                        <a:cubicBezTo>
                          <a:pt x="548" y="423"/>
                          <a:pt x="555" y="423"/>
                          <a:pt x="563" y="423"/>
                        </a:cubicBezTo>
                        <a:cubicBezTo>
                          <a:pt x="563" y="423"/>
                          <a:pt x="563" y="423"/>
                          <a:pt x="563" y="423"/>
                        </a:cubicBezTo>
                        <a:cubicBezTo>
                          <a:pt x="563" y="423"/>
                          <a:pt x="563" y="423"/>
                          <a:pt x="563" y="423"/>
                        </a:cubicBezTo>
                        <a:cubicBezTo>
                          <a:pt x="563" y="423"/>
                          <a:pt x="564" y="423"/>
                          <a:pt x="565" y="423"/>
                        </a:cubicBezTo>
                        <a:cubicBezTo>
                          <a:pt x="565" y="423"/>
                          <a:pt x="565" y="423"/>
                          <a:pt x="565" y="423"/>
                        </a:cubicBezTo>
                        <a:cubicBezTo>
                          <a:pt x="570" y="424"/>
                          <a:pt x="576" y="426"/>
                          <a:pt x="579" y="430"/>
                        </a:cubicBezTo>
                        <a:cubicBezTo>
                          <a:pt x="579" y="430"/>
                          <a:pt x="579" y="431"/>
                          <a:pt x="580" y="431"/>
                        </a:cubicBezTo>
                        <a:cubicBezTo>
                          <a:pt x="581" y="433"/>
                          <a:pt x="581" y="433"/>
                          <a:pt x="581" y="433"/>
                        </a:cubicBezTo>
                        <a:cubicBezTo>
                          <a:pt x="582" y="436"/>
                          <a:pt x="584" y="439"/>
                          <a:pt x="585" y="442"/>
                        </a:cubicBezTo>
                        <a:cubicBezTo>
                          <a:pt x="586" y="443"/>
                          <a:pt x="588" y="446"/>
                          <a:pt x="588" y="448"/>
                        </a:cubicBezTo>
                        <a:cubicBezTo>
                          <a:pt x="589" y="449"/>
                          <a:pt x="589" y="450"/>
                          <a:pt x="589" y="451"/>
                        </a:cubicBezTo>
                        <a:close/>
                        <a:moveTo>
                          <a:pt x="594" y="406"/>
                        </a:moveTo>
                        <a:cubicBezTo>
                          <a:pt x="593" y="406"/>
                          <a:pt x="593" y="405"/>
                          <a:pt x="592" y="405"/>
                        </a:cubicBezTo>
                        <a:cubicBezTo>
                          <a:pt x="591" y="404"/>
                          <a:pt x="590" y="403"/>
                          <a:pt x="590" y="402"/>
                        </a:cubicBezTo>
                        <a:cubicBezTo>
                          <a:pt x="589" y="401"/>
                          <a:pt x="589" y="401"/>
                          <a:pt x="589" y="401"/>
                        </a:cubicBezTo>
                        <a:cubicBezTo>
                          <a:pt x="589" y="401"/>
                          <a:pt x="589" y="401"/>
                          <a:pt x="589" y="401"/>
                        </a:cubicBezTo>
                        <a:cubicBezTo>
                          <a:pt x="587" y="398"/>
                          <a:pt x="585" y="394"/>
                          <a:pt x="583" y="390"/>
                        </a:cubicBezTo>
                        <a:cubicBezTo>
                          <a:pt x="583" y="390"/>
                          <a:pt x="583" y="390"/>
                          <a:pt x="583" y="390"/>
                        </a:cubicBezTo>
                        <a:cubicBezTo>
                          <a:pt x="582" y="389"/>
                          <a:pt x="582" y="389"/>
                          <a:pt x="582" y="389"/>
                        </a:cubicBezTo>
                        <a:cubicBezTo>
                          <a:pt x="582" y="388"/>
                          <a:pt x="582" y="387"/>
                          <a:pt x="582" y="386"/>
                        </a:cubicBezTo>
                        <a:cubicBezTo>
                          <a:pt x="582" y="385"/>
                          <a:pt x="582" y="385"/>
                          <a:pt x="583" y="384"/>
                        </a:cubicBezTo>
                        <a:cubicBezTo>
                          <a:pt x="584" y="383"/>
                          <a:pt x="585" y="383"/>
                          <a:pt x="586" y="383"/>
                        </a:cubicBezTo>
                        <a:cubicBezTo>
                          <a:pt x="588" y="382"/>
                          <a:pt x="589" y="382"/>
                          <a:pt x="591" y="382"/>
                        </a:cubicBezTo>
                        <a:cubicBezTo>
                          <a:pt x="591" y="382"/>
                          <a:pt x="591" y="382"/>
                          <a:pt x="591" y="382"/>
                        </a:cubicBezTo>
                        <a:cubicBezTo>
                          <a:pt x="594" y="382"/>
                          <a:pt x="598" y="382"/>
                          <a:pt x="600" y="382"/>
                        </a:cubicBezTo>
                        <a:cubicBezTo>
                          <a:pt x="609" y="382"/>
                          <a:pt x="623" y="380"/>
                          <a:pt x="629" y="389"/>
                        </a:cubicBezTo>
                        <a:cubicBezTo>
                          <a:pt x="631" y="392"/>
                          <a:pt x="633" y="394"/>
                          <a:pt x="635" y="397"/>
                        </a:cubicBezTo>
                        <a:cubicBezTo>
                          <a:pt x="636" y="399"/>
                          <a:pt x="637" y="401"/>
                          <a:pt x="638" y="402"/>
                        </a:cubicBezTo>
                        <a:cubicBezTo>
                          <a:pt x="639" y="403"/>
                          <a:pt x="639" y="404"/>
                          <a:pt x="639" y="405"/>
                        </a:cubicBezTo>
                        <a:cubicBezTo>
                          <a:pt x="639" y="405"/>
                          <a:pt x="639" y="406"/>
                          <a:pt x="639" y="406"/>
                        </a:cubicBezTo>
                        <a:cubicBezTo>
                          <a:pt x="639" y="407"/>
                          <a:pt x="638" y="407"/>
                          <a:pt x="638" y="407"/>
                        </a:cubicBezTo>
                        <a:cubicBezTo>
                          <a:pt x="638" y="407"/>
                          <a:pt x="638" y="407"/>
                          <a:pt x="638" y="407"/>
                        </a:cubicBezTo>
                        <a:cubicBezTo>
                          <a:pt x="638" y="407"/>
                          <a:pt x="638" y="407"/>
                          <a:pt x="638" y="407"/>
                        </a:cubicBezTo>
                        <a:cubicBezTo>
                          <a:pt x="638" y="408"/>
                          <a:pt x="638" y="408"/>
                          <a:pt x="637" y="408"/>
                        </a:cubicBezTo>
                        <a:cubicBezTo>
                          <a:pt x="637" y="408"/>
                          <a:pt x="637" y="408"/>
                          <a:pt x="637" y="408"/>
                        </a:cubicBezTo>
                        <a:cubicBezTo>
                          <a:pt x="637" y="408"/>
                          <a:pt x="637" y="408"/>
                          <a:pt x="636" y="408"/>
                        </a:cubicBezTo>
                        <a:cubicBezTo>
                          <a:pt x="636" y="408"/>
                          <a:pt x="635" y="409"/>
                          <a:pt x="635" y="409"/>
                        </a:cubicBezTo>
                        <a:cubicBezTo>
                          <a:pt x="635" y="409"/>
                          <a:pt x="635" y="409"/>
                          <a:pt x="635" y="409"/>
                        </a:cubicBezTo>
                        <a:cubicBezTo>
                          <a:pt x="635" y="409"/>
                          <a:pt x="635" y="409"/>
                          <a:pt x="635" y="409"/>
                        </a:cubicBezTo>
                        <a:cubicBezTo>
                          <a:pt x="631" y="410"/>
                          <a:pt x="625" y="410"/>
                          <a:pt x="621" y="410"/>
                        </a:cubicBezTo>
                        <a:cubicBezTo>
                          <a:pt x="616" y="410"/>
                          <a:pt x="611" y="410"/>
                          <a:pt x="607" y="410"/>
                        </a:cubicBezTo>
                        <a:cubicBezTo>
                          <a:pt x="602" y="410"/>
                          <a:pt x="598" y="408"/>
                          <a:pt x="594" y="406"/>
                        </a:cubicBezTo>
                        <a:close/>
                        <a:moveTo>
                          <a:pt x="670" y="454"/>
                        </a:moveTo>
                        <a:cubicBezTo>
                          <a:pt x="670" y="454"/>
                          <a:pt x="670" y="454"/>
                          <a:pt x="670" y="454"/>
                        </a:cubicBezTo>
                        <a:cubicBezTo>
                          <a:pt x="669" y="455"/>
                          <a:pt x="668" y="456"/>
                          <a:pt x="666" y="456"/>
                        </a:cubicBezTo>
                        <a:cubicBezTo>
                          <a:pt x="665" y="457"/>
                          <a:pt x="664" y="457"/>
                          <a:pt x="662" y="457"/>
                        </a:cubicBezTo>
                        <a:cubicBezTo>
                          <a:pt x="660" y="457"/>
                          <a:pt x="660" y="457"/>
                          <a:pt x="660" y="457"/>
                        </a:cubicBezTo>
                        <a:cubicBezTo>
                          <a:pt x="660" y="457"/>
                          <a:pt x="660" y="457"/>
                          <a:pt x="660" y="457"/>
                        </a:cubicBezTo>
                        <a:cubicBezTo>
                          <a:pt x="651" y="457"/>
                          <a:pt x="643" y="457"/>
                          <a:pt x="635" y="457"/>
                        </a:cubicBezTo>
                        <a:cubicBezTo>
                          <a:pt x="634" y="457"/>
                          <a:pt x="633" y="457"/>
                          <a:pt x="632" y="457"/>
                        </a:cubicBezTo>
                        <a:cubicBezTo>
                          <a:pt x="632" y="457"/>
                          <a:pt x="632" y="457"/>
                          <a:pt x="632" y="457"/>
                        </a:cubicBezTo>
                        <a:cubicBezTo>
                          <a:pt x="626" y="456"/>
                          <a:pt x="620" y="454"/>
                          <a:pt x="616" y="449"/>
                        </a:cubicBezTo>
                        <a:cubicBezTo>
                          <a:pt x="616" y="449"/>
                          <a:pt x="616" y="448"/>
                          <a:pt x="615" y="448"/>
                        </a:cubicBezTo>
                        <a:cubicBezTo>
                          <a:pt x="615" y="448"/>
                          <a:pt x="615" y="448"/>
                          <a:pt x="615" y="448"/>
                        </a:cubicBezTo>
                        <a:cubicBezTo>
                          <a:pt x="615" y="448"/>
                          <a:pt x="615" y="448"/>
                          <a:pt x="615" y="448"/>
                        </a:cubicBezTo>
                        <a:cubicBezTo>
                          <a:pt x="614" y="445"/>
                          <a:pt x="612" y="441"/>
                          <a:pt x="610" y="438"/>
                        </a:cubicBezTo>
                        <a:cubicBezTo>
                          <a:pt x="609" y="436"/>
                          <a:pt x="606" y="433"/>
                          <a:pt x="606" y="430"/>
                        </a:cubicBezTo>
                        <a:cubicBezTo>
                          <a:pt x="606" y="430"/>
                          <a:pt x="606" y="430"/>
                          <a:pt x="606" y="430"/>
                        </a:cubicBezTo>
                        <a:cubicBezTo>
                          <a:pt x="605" y="429"/>
                          <a:pt x="605" y="429"/>
                          <a:pt x="605" y="429"/>
                        </a:cubicBezTo>
                        <a:cubicBezTo>
                          <a:pt x="605" y="426"/>
                          <a:pt x="607" y="425"/>
                          <a:pt x="610" y="424"/>
                        </a:cubicBezTo>
                        <a:cubicBezTo>
                          <a:pt x="610" y="424"/>
                          <a:pt x="610" y="424"/>
                          <a:pt x="610" y="424"/>
                        </a:cubicBezTo>
                        <a:cubicBezTo>
                          <a:pt x="610" y="424"/>
                          <a:pt x="610" y="424"/>
                          <a:pt x="610" y="424"/>
                        </a:cubicBezTo>
                        <a:cubicBezTo>
                          <a:pt x="610" y="424"/>
                          <a:pt x="610" y="424"/>
                          <a:pt x="611" y="423"/>
                        </a:cubicBezTo>
                        <a:cubicBezTo>
                          <a:pt x="612" y="423"/>
                          <a:pt x="613" y="423"/>
                          <a:pt x="615" y="423"/>
                        </a:cubicBezTo>
                        <a:cubicBezTo>
                          <a:pt x="631" y="423"/>
                          <a:pt x="631" y="423"/>
                          <a:pt x="631" y="423"/>
                        </a:cubicBezTo>
                        <a:cubicBezTo>
                          <a:pt x="634" y="423"/>
                          <a:pt x="637" y="423"/>
                          <a:pt x="639" y="423"/>
                        </a:cubicBezTo>
                        <a:cubicBezTo>
                          <a:pt x="639" y="423"/>
                          <a:pt x="639" y="423"/>
                          <a:pt x="639" y="423"/>
                        </a:cubicBezTo>
                        <a:cubicBezTo>
                          <a:pt x="639" y="423"/>
                          <a:pt x="639" y="423"/>
                          <a:pt x="640" y="423"/>
                        </a:cubicBezTo>
                        <a:cubicBezTo>
                          <a:pt x="640" y="423"/>
                          <a:pt x="641" y="423"/>
                          <a:pt x="642" y="423"/>
                        </a:cubicBezTo>
                        <a:cubicBezTo>
                          <a:pt x="642" y="423"/>
                          <a:pt x="642" y="423"/>
                          <a:pt x="642" y="423"/>
                        </a:cubicBezTo>
                        <a:cubicBezTo>
                          <a:pt x="647" y="424"/>
                          <a:pt x="653" y="426"/>
                          <a:pt x="656" y="429"/>
                        </a:cubicBezTo>
                        <a:cubicBezTo>
                          <a:pt x="657" y="429"/>
                          <a:pt x="657" y="430"/>
                          <a:pt x="657" y="430"/>
                        </a:cubicBezTo>
                        <a:cubicBezTo>
                          <a:pt x="657" y="430"/>
                          <a:pt x="657" y="430"/>
                          <a:pt x="657" y="431"/>
                        </a:cubicBezTo>
                        <a:cubicBezTo>
                          <a:pt x="658" y="431"/>
                          <a:pt x="658" y="431"/>
                          <a:pt x="658" y="431"/>
                        </a:cubicBezTo>
                        <a:cubicBezTo>
                          <a:pt x="658" y="431"/>
                          <a:pt x="658" y="431"/>
                          <a:pt x="658" y="431"/>
                        </a:cubicBezTo>
                        <a:cubicBezTo>
                          <a:pt x="659" y="432"/>
                          <a:pt x="659" y="432"/>
                          <a:pt x="659" y="432"/>
                        </a:cubicBezTo>
                        <a:cubicBezTo>
                          <a:pt x="660" y="434"/>
                          <a:pt x="662" y="436"/>
                          <a:pt x="663" y="439"/>
                        </a:cubicBezTo>
                        <a:cubicBezTo>
                          <a:pt x="663" y="439"/>
                          <a:pt x="663" y="439"/>
                          <a:pt x="663" y="439"/>
                        </a:cubicBezTo>
                        <a:cubicBezTo>
                          <a:pt x="665" y="442"/>
                          <a:pt x="668" y="445"/>
                          <a:pt x="670" y="449"/>
                        </a:cubicBezTo>
                        <a:cubicBezTo>
                          <a:pt x="670" y="449"/>
                          <a:pt x="670" y="449"/>
                          <a:pt x="670" y="449"/>
                        </a:cubicBezTo>
                        <a:cubicBezTo>
                          <a:pt x="670" y="449"/>
                          <a:pt x="670" y="449"/>
                          <a:pt x="670" y="449"/>
                        </a:cubicBezTo>
                        <a:cubicBezTo>
                          <a:pt x="671" y="451"/>
                          <a:pt x="671" y="453"/>
                          <a:pt x="670" y="454"/>
                        </a:cubicBezTo>
                        <a:close/>
                        <a:moveTo>
                          <a:pt x="729" y="79"/>
                        </a:moveTo>
                        <a:cubicBezTo>
                          <a:pt x="753" y="103"/>
                          <a:pt x="766" y="136"/>
                          <a:pt x="766" y="170"/>
                        </a:cubicBezTo>
                        <a:cubicBezTo>
                          <a:pt x="766" y="204"/>
                          <a:pt x="753" y="237"/>
                          <a:pt x="729" y="261"/>
                        </a:cubicBezTo>
                        <a:cubicBezTo>
                          <a:pt x="757" y="248"/>
                          <a:pt x="782" y="212"/>
                          <a:pt x="782" y="170"/>
                        </a:cubicBezTo>
                        <a:cubicBezTo>
                          <a:pt x="782" y="127"/>
                          <a:pt x="757" y="92"/>
                          <a:pt x="729" y="79"/>
                        </a:cubicBezTo>
                        <a:close/>
                        <a:moveTo>
                          <a:pt x="53" y="79"/>
                        </a:moveTo>
                        <a:cubicBezTo>
                          <a:pt x="26" y="92"/>
                          <a:pt x="0" y="127"/>
                          <a:pt x="0" y="170"/>
                        </a:cubicBezTo>
                        <a:cubicBezTo>
                          <a:pt x="0" y="212"/>
                          <a:pt x="26" y="248"/>
                          <a:pt x="53" y="261"/>
                        </a:cubicBezTo>
                        <a:cubicBezTo>
                          <a:pt x="30" y="237"/>
                          <a:pt x="16" y="204"/>
                          <a:pt x="16" y="170"/>
                        </a:cubicBezTo>
                        <a:cubicBezTo>
                          <a:pt x="16" y="136"/>
                          <a:pt x="30" y="103"/>
                          <a:pt x="53" y="79"/>
                        </a:cubicBezTo>
                        <a:close/>
                      </a:path>
                    </a:pathLst>
                  </a:custGeom>
                  <a:solidFill>
                    <a:srgbClr val="3D58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341" name="Freeform 31"/>
                  <p:cNvSpPr>
                    <a:spLocks noEditPoints="1"/>
                  </p:cNvSpPr>
                  <p:nvPr/>
                </p:nvSpPr>
                <p:spPr bwMode="auto">
                  <a:xfrm>
                    <a:off x="3027363" y="4386889"/>
                    <a:ext cx="623789" cy="623790"/>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sp>
              <p:nvSpPr>
                <p:cNvPr id="335" name="Rectangle 334"/>
                <p:cNvSpPr/>
                <p:nvPr/>
              </p:nvSpPr>
              <p:spPr>
                <a:xfrm>
                  <a:off x="3463955" y="3203241"/>
                  <a:ext cx="1190320" cy="304468"/>
                </a:xfrm>
                <a:prstGeom prst="rect">
                  <a:avLst/>
                </a:prstGeom>
              </p:spPr>
              <p:txBody>
                <a:bodyPr wrap="square" lIns="77699" tIns="38849" rIns="77699" bIns="38849">
                  <a:spAutoFit/>
                </a:bodyPr>
                <a:lstStyle/>
                <a:p>
                  <a:pPr marL="0" marR="0" lvl="0" indent="0" algn="ctr" defTabSz="776774" eaLnBrk="1" fontAlgn="auto" latinLnBrk="0" hangingPunct="1">
                    <a:lnSpc>
                      <a:spcPct val="90000"/>
                    </a:lnSpc>
                    <a:spcBef>
                      <a:spcPts val="510"/>
                    </a:spcBef>
                    <a:spcAft>
                      <a:spcPts val="0"/>
                    </a:spcAft>
                    <a:buClrTx/>
                    <a:buSzTx/>
                    <a:buFontTx/>
                    <a:buNone/>
                    <a:tabLst/>
                    <a:defRPr/>
                  </a:pPr>
                  <a:r>
                    <a:rPr kumimoji="0" lang="en-US" sz="1600" b="0" i="0" u="none" strike="noStrike" kern="0" cap="none" spc="-43" normalizeH="0" baseline="0" noProof="0" dirty="0" smtClean="0">
                      <a:ln>
                        <a:noFill/>
                      </a:ln>
                      <a:solidFill>
                        <a:srgbClr val="3D5800"/>
                      </a:solidFill>
                      <a:effectLst/>
                      <a:uLnTx/>
                      <a:uFillTx/>
                    </a:rPr>
                    <a:t>Devices</a:t>
                  </a:r>
                  <a:endParaRPr kumimoji="0" lang="en-US" sz="1600" b="0" i="0" u="none" strike="noStrike" kern="0" cap="none" spc="-43" normalizeH="0" baseline="0" noProof="0" dirty="0">
                    <a:ln>
                      <a:noFill/>
                    </a:ln>
                    <a:solidFill>
                      <a:srgbClr val="3D5800"/>
                    </a:solidFill>
                    <a:effectLst/>
                    <a:uLnTx/>
                    <a:uFillTx/>
                  </a:endParaRPr>
                </a:p>
              </p:txBody>
            </p:sp>
          </p:grpSp>
          <p:grpSp>
            <p:nvGrpSpPr>
              <p:cNvPr id="330" name="Group 329"/>
              <p:cNvGrpSpPr/>
              <p:nvPr/>
            </p:nvGrpSpPr>
            <p:grpSpPr>
              <a:xfrm>
                <a:off x="4277118" y="4411295"/>
                <a:ext cx="759543" cy="561263"/>
                <a:chOff x="8994204" y="5562326"/>
                <a:chExt cx="906017" cy="669499"/>
              </a:xfrm>
            </p:grpSpPr>
            <p:sp>
              <p:nvSpPr>
                <p:cNvPr id="331" name="Rectangle 36"/>
                <p:cNvSpPr>
                  <a:spLocks noChangeArrowheads="1"/>
                </p:cNvSpPr>
                <p:nvPr/>
              </p:nvSpPr>
              <p:spPr bwMode="auto">
                <a:xfrm>
                  <a:off x="8994204" y="5562326"/>
                  <a:ext cx="906017" cy="669499"/>
                </a:xfrm>
                <a:prstGeom prst="rect">
                  <a:avLst/>
                </a:prstGeom>
                <a:noFill/>
                <a:ln w="31750"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332" name="Freeform 37"/>
                <p:cNvSpPr>
                  <a:spLocks noEditPoints="1"/>
                </p:cNvSpPr>
                <p:nvPr/>
              </p:nvSpPr>
              <p:spPr bwMode="auto">
                <a:xfrm>
                  <a:off x="8994204" y="5669141"/>
                  <a:ext cx="906017" cy="454916"/>
                </a:xfrm>
                <a:custGeom>
                  <a:avLst/>
                  <a:gdLst>
                    <a:gd name="T0" fmla="*/ 0 w 950"/>
                    <a:gd name="T1" fmla="*/ 102 h 477"/>
                    <a:gd name="T2" fmla="*/ 950 w 950"/>
                    <a:gd name="T3" fmla="*/ 102 h 477"/>
                    <a:gd name="T4" fmla="*/ 950 w 950"/>
                    <a:gd name="T5" fmla="*/ 225 h 477"/>
                    <a:gd name="T6" fmla="*/ 0 w 950"/>
                    <a:gd name="T7" fmla="*/ 225 h 477"/>
                    <a:gd name="T8" fmla="*/ 0 w 950"/>
                    <a:gd name="T9" fmla="*/ 354 h 477"/>
                    <a:gd name="T10" fmla="*/ 950 w 950"/>
                    <a:gd name="T11" fmla="*/ 354 h 477"/>
                    <a:gd name="T12" fmla="*/ 0 w 950"/>
                    <a:gd name="T13" fmla="*/ 477 h 477"/>
                    <a:gd name="T14" fmla="*/ 950 w 950"/>
                    <a:gd name="T15" fmla="*/ 477 h 477"/>
                    <a:gd name="T16" fmla="*/ 0 w 950"/>
                    <a:gd name="T17" fmla="*/ 0 h 477"/>
                    <a:gd name="T18" fmla="*/ 950 w 950"/>
                    <a:gd name="T19"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0" h="477">
                      <a:moveTo>
                        <a:pt x="0" y="102"/>
                      </a:moveTo>
                      <a:lnTo>
                        <a:pt x="950" y="102"/>
                      </a:lnTo>
                      <a:moveTo>
                        <a:pt x="950" y="225"/>
                      </a:moveTo>
                      <a:lnTo>
                        <a:pt x="0" y="225"/>
                      </a:lnTo>
                      <a:moveTo>
                        <a:pt x="0" y="354"/>
                      </a:moveTo>
                      <a:lnTo>
                        <a:pt x="950" y="354"/>
                      </a:lnTo>
                      <a:moveTo>
                        <a:pt x="0" y="477"/>
                      </a:moveTo>
                      <a:lnTo>
                        <a:pt x="950" y="477"/>
                      </a:lnTo>
                      <a:moveTo>
                        <a:pt x="0" y="0"/>
                      </a:moveTo>
                      <a:lnTo>
                        <a:pt x="950" y="0"/>
                      </a:lnTo>
                    </a:path>
                  </a:pathLst>
                </a:custGeom>
                <a:noFill/>
                <a:ln w="22225" cap="flat">
                  <a:solidFill>
                    <a:srgbClr val="FF8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333" name="Freeform 38"/>
                <p:cNvSpPr>
                  <a:spLocks/>
                </p:cNvSpPr>
                <p:nvPr/>
              </p:nvSpPr>
              <p:spPr bwMode="auto">
                <a:xfrm>
                  <a:off x="9002787" y="5608104"/>
                  <a:ext cx="848795" cy="577944"/>
                </a:xfrm>
                <a:custGeom>
                  <a:avLst/>
                  <a:gdLst>
                    <a:gd name="T0" fmla="*/ 0 w 1777"/>
                    <a:gd name="T1" fmla="*/ 1150 h 1150"/>
                    <a:gd name="T2" fmla="*/ 195 w 1777"/>
                    <a:gd name="T3" fmla="*/ 1111 h 1150"/>
                    <a:gd name="T4" fmla="*/ 306 w 1777"/>
                    <a:gd name="T5" fmla="*/ 1088 h 1150"/>
                    <a:gd name="T6" fmla="*/ 367 w 1777"/>
                    <a:gd name="T7" fmla="*/ 1075 h 1150"/>
                    <a:gd name="T8" fmla="*/ 398 w 1777"/>
                    <a:gd name="T9" fmla="*/ 1068 h 1150"/>
                    <a:gd name="T10" fmla="*/ 405 w 1777"/>
                    <a:gd name="T11" fmla="*/ 1067 h 1150"/>
                    <a:gd name="T12" fmla="*/ 409 w 1777"/>
                    <a:gd name="T13" fmla="*/ 1066 h 1150"/>
                    <a:gd name="T14" fmla="*/ 411 w 1777"/>
                    <a:gd name="T15" fmla="*/ 1065 h 1150"/>
                    <a:gd name="T16" fmla="*/ 412 w 1777"/>
                    <a:gd name="T17" fmla="*/ 1063 h 1150"/>
                    <a:gd name="T18" fmla="*/ 420 w 1777"/>
                    <a:gd name="T19" fmla="*/ 1050 h 1150"/>
                    <a:gd name="T20" fmla="*/ 548 w 1777"/>
                    <a:gd name="T21" fmla="*/ 854 h 1150"/>
                    <a:gd name="T22" fmla="*/ 608 w 1777"/>
                    <a:gd name="T23" fmla="*/ 761 h 1150"/>
                    <a:gd name="T24" fmla="*/ 635 w 1777"/>
                    <a:gd name="T25" fmla="*/ 720 h 1150"/>
                    <a:gd name="T26" fmla="*/ 677 w 1777"/>
                    <a:gd name="T27" fmla="*/ 696 h 1150"/>
                    <a:gd name="T28" fmla="*/ 1021 w 1777"/>
                    <a:gd name="T29" fmla="*/ 653 h 1150"/>
                    <a:gd name="T30" fmla="*/ 1385 w 1777"/>
                    <a:gd name="T31" fmla="*/ 282 h 1150"/>
                    <a:gd name="T32" fmla="*/ 1394 w 1777"/>
                    <a:gd name="T33" fmla="*/ 277 h 1150"/>
                    <a:gd name="T34" fmla="*/ 1518 w 1777"/>
                    <a:gd name="T35" fmla="*/ 481 h 1150"/>
                    <a:gd name="T36" fmla="*/ 1777 w 1777"/>
                    <a:gd name="T37" fmla="*/ 0 h 1150"/>
                    <a:gd name="T38" fmla="*/ 1237 w 1777"/>
                    <a:gd name="T39" fmla="*/ 16 h 1150"/>
                    <a:gd name="T40" fmla="*/ 1360 w 1777"/>
                    <a:gd name="T41" fmla="*/ 220 h 1150"/>
                    <a:gd name="T42" fmla="*/ 1351 w 1777"/>
                    <a:gd name="T43" fmla="*/ 226 h 1150"/>
                    <a:gd name="T44" fmla="*/ 974 w 1777"/>
                    <a:gd name="T45" fmla="*/ 604 h 1150"/>
                    <a:gd name="T46" fmla="*/ 642 w 1777"/>
                    <a:gd name="T47" fmla="*/ 640 h 1150"/>
                    <a:gd name="T48" fmla="*/ 588 w 1777"/>
                    <a:gd name="T49" fmla="*/ 672 h 1150"/>
                    <a:gd name="T50" fmla="*/ 554 w 1777"/>
                    <a:gd name="T51" fmla="*/ 724 h 1150"/>
                    <a:gd name="T52" fmla="*/ 493 w 1777"/>
                    <a:gd name="T53" fmla="*/ 818 h 1150"/>
                    <a:gd name="T54" fmla="*/ 378 w 1777"/>
                    <a:gd name="T55" fmla="*/ 995 h 1150"/>
                    <a:gd name="T56" fmla="*/ 371 w 1777"/>
                    <a:gd name="T57" fmla="*/ 1005 h 1150"/>
                    <a:gd name="T58" fmla="*/ 369 w 1777"/>
                    <a:gd name="T59" fmla="*/ 1007 h 1150"/>
                    <a:gd name="T60" fmla="*/ 366 w 1777"/>
                    <a:gd name="T61" fmla="*/ 1008 h 1150"/>
                    <a:gd name="T62" fmla="*/ 360 w 1777"/>
                    <a:gd name="T63" fmla="*/ 1009 h 1150"/>
                    <a:gd name="T64" fmla="*/ 336 w 1777"/>
                    <a:gd name="T65" fmla="*/ 1014 h 1150"/>
                    <a:gd name="T66" fmla="*/ 288 w 1777"/>
                    <a:gd name="T67" fmla="*/ 1024 h 1150"/>
                    <a:gd name="T68" fmla="*/ 182 w 1777"/>
                    <a:gd name="T69" fmla="*/ 1046 h 1150"/>
                    <a:gd name="T70" fmla="*/ 1 w 1777"/>
                    <a:gd name="T71" fmla="*/ 1085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77" h="1150">
                      <a:moveTo>
                        <a:pt x="0" y="1150"/>
                      </a:moveTo>
                      <a:cubicBezTo>
                        <a:pt x="195" y="1111"/>
                        <a:pt x="195" y="1111"/>
                        <a:pt x="195" y="1111"/>
                      </a:cubicBezTo>
                      <a:cubicBezTo>
                        <a:pt x="306" y="1088"/>
                        <a:pt x="306" y="1088"/>
                        <a:pt x="306" y="1088"/>
                      </a:cubicBezTo>
                      <a:cubicBezTo>
                        <a:pt x="367" y="1075"/>
                        <a:pt x="367" y="1075"/>
                        <a:pt x="367" y="1075"/>
                      </a:cubicBezTo>
                      <a:cubicBezTo>
                        <a:pt x="398" y="1068"/>
                        <a:pt x="398" y="1068"/>
                        <a:pt x="398" y="1068"/>
                      </a:cubicBezTo>
                      <a:cubicBezTo>
                        <a:pt x="405" y="1067"/>
                        <a:pt x="405" y="1067"/>
                        <a:pt x="405" y="1067"/>
                      </a:cubicBezTo>
                      <a:cubicBezTo>
                        <a:pt x="409" y="1066"/>
                        <a:pt x="409" y="1066"/>
                        <a:pt x="409" y="1066"/>
                      </a:cubicBezTo>
                      <a:cubicBezTo>
                        <a:pt x="410" y="1066"/>
                        <a:pt x="410" y="1066"/>
                        <a:pt x="411" y="1065"/>
                      </a:cubicBezTo>
                      <a:cubicBezTo>
                        <a:pt x="412" y="1063"/>
                        <a:pt x="412" y="1063"/>
                        <a:pt x="412" y="1063"/>
                      </a:cubicBezTo>
                      <a:cubicBezTo>
                        <a:pt x="420" y="1050"/>
                        <a:pt x="420" y="1050"/>
                        <a:pt x="420" y="1050"/>
                      </a:cubicBezTo>
                      <a:cubicBezTo>
                        <a:pt x="548" y="854"/>
                        <a:pt x="548" y="854"/>
                        <a:pt x="548" y="854"/>
                      </a:cubicBezTo>
                      <a:cubicBezTo>
                        <a:pt x="608" y="761"/>
                        <a:pt x="608" y="761"/>
                        <a:pt x="608" y="761"/>
                      </a:cubicBezTo>
                      <a:cubicBezTo>
                        <a:pt x="617" y="748"/>
                        <a:pt x="625" y="734"/>
                        <a:pt x="635" y="720"/>
                      </a:cubicBezTo>
                      <a:cubicBezTo>
                        <a:pt x="677" y="696"/>
                        <a:pt x="677" y="696"/>
                        <a:pt x="677" y="696"/>
                      </a:cubicBezTo>
                      <a:cubicBezTo>
                        <a:pt x="1021" y="653"/>
                        <a:pt x="1021" y="653"/>
                        <a:pt x="1021" y="653"/>
                      </a:cubicBezTo>
                      <a:cubicBezTo>
                        <a:pt x="1385" y="282"/>
                        <a:pt x="1385" y="282"/>
                        <a:pt x="1385" y="282"/>
                      </a:cubicBezTo>
                      <a:cubicBezTo>
                        <a:pt x="1394" y="277"/>
                        <a:pt x="1394" y="277"/>
                        <a:pt x="1394" y="277"/>
                      </a:cubicBezTo>
                      <a:cubicBezTo>
                        <a:pt x="1518" y="481"/>
                        <a:pt x="1518" y="481"/>
                        <a:pt x="1518" y="481"/>
                      </a:cubicBezTo>
                      <a:cubicBezTo>
                        <a:pt x="1605" y="320"/>
                        <a:pt x="1692" y="160"/>
                        <a:pt x="1777" y="0"/>
                      </a:cubicBezTo>
                      <a:cubicBezTo>
                        <a:pt x="1596" y="6"/>
                        <a:pt x="1416" y="11"/>
                        <a:pt x="1237" y="16"/>
                      </a:cubicBezTo>
                      <a:cubicBezTo>
                        <a:pt x="1360" y="220"/>
                        <a:pt x="1360" y="220"/>
                        <a:pt x="1360" y="220"/>
                      </a:cubicBezTo>
                      <a:cubicBezTo>
                        <a:pt x="1351" y="226"/>
                        <a:pt x="1351" y="226"/>
                        <a:pt x="1351" y="226"/>
                      </a:cubicBezTo>
                      <a:cubicBezTo>
                        <a:pt x="974" y="604"/>
                        <a:pt x="974" y="604"/>
                        <a:pt x="974" y="604"/>
                      </a:cubicBezTo>
                      <a:cubicBezTo>
                        <a:pt x="642" y="640"/>
                        <a:pt x="642" y="640"/>
                        <a:pt x="642" y="640"/>
                      </a:cubicBezTo>
                      <a:cubicBezTo>
                        <a:pt x="588" y="672"/>
                        <a:pt x="588" y="672"/>
                        <a:pt x="588" y="672"/>
                      </a:cubicBezTo>
                      <a:cubicBezTo>
                        <a:pt x="576" y="689"/>
                        <a:pt x="565" y="706"/>
                        <a:pt x="554" y="724"/>
                      </a:cubicBezTo>
                      <a:cubicBezTo>
                        <a:pt x="493" y="818"/>
                        <a:pt x="493" y="818"/>
                        <a:pt x="493" y="818"/>
                      </a:cubicBezTo>
                      <a:cubicBezTo>
                        <a:pt x="378" y="995"/>
                        <a:pt x="378" y="995"/>
                        <a:pt x="378" y="995"/>
                      </a:cubicBezTo>
                      <a:cubicBezTo>
                        <a:pt x="371" y="1005"/>
                        <a:pt x="371" y="1005"/>
                        <a:pt x="371" y="1005"/>
                      </a:cubicBezTo>
                      <a:cubicBezTo>
                        <a:pt x="371" y="1006"/>
                        <a:pt x="370" y="1007"/>
                        <a:pt x="369" y="1007"/>
                      </a:cubicBezTo>
                      <a:cubicBezTo>
                        <a:pt x="366" y="1008"/>
                        <a:pt x="366" y="1008"/>
                        <a:pt x="366" y="1008"/>
                      </a:cubicBezTo>
                      <a:cubicBezTo>
                        <a:pt x="360" y="1009"/>
                        <a:pt x="360" y="1009"/>
                        <a:pt x="360" y="1009"/>
                      </a:cubicBezTo>
                      <a:cubicBezTo>
                        <a:pt x="336" y="1014"/>
                        <a:pt x="336" y="1014"/>
                        <a:pt x="336" y="1014"/>
                      </a:cubicBezTo>
                      <a:cubicBezTo>
                        <a:pt x="288" y="1024"/>
                        <a:pt x="288" y="1024"/>
                        <a:pt x="288" y="1024"/>
                      </a:cubicBezTo>
                      <a:cubicBezTo>
                        <a:pt x="182" y="1046"/>
                        <a:pt x="182" y="1046"/>
                        <a:pt x="182" y="1046"/>
                      </a:cubicBezTo>
                      <a:cubicBezTo>
                        <a:pt x="1" y="1085"/>
                        <a:pt x="1" y="1085"/>
                        <a:pt x="1" y="1085"/>
                      </a:cubicBezTo>
                    </a:path>
                  </a:pathLst>
                </a:custGeom>
                <a:solidFill>
                  <a:srgbClr val="FF8C00"/>
                </a:solidFill>
                <a:ln w="19050"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grpSp>
        <p:pic>
          <p:nvPicPr>
            <p:cNvPr id="79" name="Picture 7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173915" y="4037282"/>
              <a:ext cx="416193" cy="769125"/>
            </a:xfrm>
            <a:prstGeom prst="rect">
              <a:avLst/>
            </a:prstGeom>
          </p:spPr>
        </p:pic>
      </p:grpSp>
    </p:spTree>
    <p:extLst>
      <p:ext uri="{BB962C8B-B14F-4D97-AF65-F5344CB8AC3E}">
        <p14:creationId xmlns:p14="http://schemas.microsoft.com/office/powerpoint/2010/main" val="3185918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03"/>
                                        </p:tgtEl>
                                        <p:attrNameLst>
                                          <p:attrName>style.visibility</p:attrName>
                                        </p:attrNameLst>
                                      </p:cBhvr>
                                      <p:to>
                                        <p:strVal val="visible"/>
                                      </p:to>
                                    </p:set>
                                    <p:animEffect transition="in" filter="fade">
                                      <p:cBhvr>
                                        <p:cTn id="12" dur="500"/>
                                        <p:tgtEl>
                                          <p:spTgt spid="303"/>
                                        </p:tgtEl>
                                      </p:cBhvr>
                                    </p:animEffect>
                                  </p:childTnLst>
                                </p:cTn>
                              </p:par>
                              <p:par>
                                <p:cTn id="13" presetID="10"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02"/>
                                        </p:tgtEl>
                                        <p:attrNameLst>
                                          <p:attrName>style.visibility</p:attrName>
                                        </p:attrNameLst>
                                      </p:cBhvr>
                                      <p:to>
                                        <p:strVal val="visible"/>
                                      </p:to>
                                    </p:set>
                                    <p:animEffect transition="in" filter="fade">
                                      <p:cBhvr>
                                        <p:cTn id="20" dur="500"/>
                                        <p:tgtEl>
                                          <p:spTgt spid="30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08"/>
                                        </p:tgtEl>
                                        <p:attrNameLst>
                                          <p:attrName>style.visibility</p:attrName>
                                        </p:attrNameLst>
                                      </p:cBhvr>
                                      <p:to>
                                        <p:strVal val="visible"/>
                                      </p:to>
                                    </p:set>
                                    <p:animEffect transition="in" filter="fade">
                                      <p:cBhvr>
                                        <p:cTn id="23" dur="500"/>
                                        <p:tgtEl>
                                          <p:spTgt spid="308"/>
                                        </p:tgtEl>
                                      </p:cBhvr>
                                    </p:animEffect>
                                  </p:childTnLst>
                                </p:cTn>
                              </p:par>
                              <p:par>
                                <p:cTn id="24" presetID="10" presetClass="entr" presetSubtype="0" fill="hold" nodeType="withEffect">
                                  <p:stCondLst>
                                    <p:cond delay="0"/>
                                  </p:stCondLst>
                                  <p:childTnLst>
                                    <p:set>
                                      <p:cBhvr>
                                        <p:cTn id="25" dur="1" fill="hold">
                                          <p:stCondLst>
                                            <p:cond delay="0"/>
                                          </p:stCondLst>
                                        </p:cTn>
                                        <p:tgtEl>
                                          <p:spTgt spid="309"/>
                                        </p:tgtEl>
                                        <p:attrNameLst>
                                          <p:attrName>style.visibility</p:attrName>
                                        </p:attrNameLst>
                                      </p:cBhvr>
                                      <p:to>
                                        <p:strVal val="visible"/>
                                      </p:to>
                                    </p:set>
                                    <p:animEffect transition="in" filter="fade">
                                      <p:cBhvr>
                                        <p:cTn id="26" dur="500"/>
                                        <p:tgtEl>
                                          <p:spTgt spid="309"/>
                                        </p:tgtEl>
                                      </p:cBhvr>
                                    </p:animEffect>
                                  </p:childTnLst>
                                </p:cTn>
                              </p:par>
                              <p:par>
                                <p:cTn id="27" presetID="10" presetClass="entr" presetSubtype="0" fill="hold" nodeType="withEffect">
                                  <p:stCondLst>
                                    <p:cond delay="0"/>
                                  </p:stCondLst>
                                  <p:childTnLst>
                                    <p:set>
                                      <p:cBhvr>
                                        <p:cTn id="28" dur="1" fill="hold">
                                          <p:stCondLst>
                                            <p:cond delay="0"/>
                                          </p:stCondLst>
                                        </p:cTn>
                                        <p:tgtEl>
                                          <p:spTgt spid="310"/>
                                        </p:tgtEl>
                                        <p:attrNameLst>
                                          <p:attrName>style.visibility</p:attrName>
                                        </p:attrNameLst>
                                      </p:cBhvr>
                                      <p:to>
                                        <p:strVal val="visible"/>
                                      </p:to>
                                    </p:set>
                                    <p:animEffect transition="in" filter="fade">
                                      <p:cBhvr>
                                        <p:cTn id="29" dur="500"/>
                                        <p:tgtEl>
                                          <p:spTgt spid="310"/>
                                        </p:tgtEl>
                                      </p:cBhvr>
                                    </p:animEffect>
                                  </p:childTnLst>
                                </p:cTn>
                              </p:par>
                              <p:par>
                                <p:cTn id="30" presetID="10" presetClass="entr" presetSubtype="0" fill="hold" nodeType="withEffect">
                                  <p:stCondLst>
                                    <p:cond delay="0"/>
                                  </p:stCondLst>
                                  <p:childTnLst>
                                    <p:set>
                                      <p:cBhvr>
                                        <p:cTn id="31" dur="1" fill="hold">
                                          <p:stCondLst>
                                            <p:cond delay="0"/>
                                          </p:stCondLst>
                                        </p:cTn>
                                        <p:tgtEl>
                                          <p:spTgt spid="319"/>
                                        </p:tgtEl>
                                        <p:attrNameLst>
                                          <p:attrName>style.visibility</p:attrName>
                                        </p:attrNameLst>
                                      </p:cBhvr>
                                      <p:to>
                                        <p:strVal val="visible"/>
                                      </p:to>
                                    </p:set>
                                    <p:animEffect transition="in" filter="fade">
                                      <p:cBhvr>
                                        <p:cTn id="32" dur="500"/>
                                        <p:tgtEl>
                                          <p:spTgt spid="319"/>
                                        </p:tgtEl>
                                      </p:cBhvr>
                                    </p:animEffect>
                                  </p:childTnLst>
                                </p:cTn>
                              </p:par>
                              <p:par>
                                <p:cTn id="33" presetID="10" presetClass="entr" presetSubtype="0" fill="hold" nodeType="withEffect">
                                  <p:stCondLst>
                                    <p:cond delay="0"/>
                                  </p:stCondLst>
                                  <p:childTnLst>
                                    <p:set>
                                      <p:cBhvr>
                                        <p:cTn id="34" dur="1" fill="hold">
                                          <p:stCondLst>
                                            <p:cond delay="0"/>
                                          </p:stCondLst>
                                        </p:cTn>
                                        <p:tgtEl>
                                          <p:spTgt spid="307"/>
                                        </p:tgtEl>
                                        <p:attrNameLst>
                                          <p:attrName>style.visibility</p:attrName>
                                        </p:attrNameLst>
                                      </p:cBhvr>
                                      <p:to>
                                        <p:strVal val="visible"/>
                                      </p:to>
                                    </p:set>
                                    <p:animEffect transition="in" filter="fade">
                                      <p:cBhvr>
                                        <p:cTn id="35" dur="500"/>
                                        <p:tgtEl>
                                          <p:spTgt spid="30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04"/>
                                        </p:tgtEl>
                                        <p:attrNameLst>
                                          <p:attrName>style.visibility</p:attrName>
                                        </p:attrNameLst>
                                      </p:cBhvr>
                                      <p:to>
                                        <p:strVal val="visible"/>
                                      </p:to>
                                    </p:set>
                                    <p:animEffect transition="in" filter="fade">
                                      <p:cBhvr>
                                        <p:cTn id="38" dur="500"/>
                                        <p:tgtEl>
                                          <p:spTgt spid="304"/>
                                        </p:tgtEl>
                                      </p:cBhvr>
                                    </p:animEffect>
                                  </p:childTnLst>
                                </p:cTn>
                              </p:par>
                              <p:par>
                                <p:cTn id="39" presetID="10" presetClass="entr" presetSubtype="0" fill="hold" nodeType="withEffect">
                                  <p:stCondLst>
                                    <p:cond delay="0"/>
                                  </p:stCondLst>
                                  <p:childTnLst>
                                    <p:set>
                                      <p:cBhvr>
                                        <p:cTn id="40" dur="1" fill="hold">
                                          <p:stCondLst>
                                            <p:cond delay="0"/>
                                          </p:stCondLst>
                                        </p:cTn>
                                        <p:tgtEl>
                                          <p:spTgt spid="324"/>
                                        </p:tgtEl>
                                        <p:attrNameLst>
                                          <p:attrName>style.visibility</p:attrName>
                                        </p:attrNameLst>
                                      </p:cBhvr>
                                      <p:to>
                                        <p:strVal val="visible"/>
                                      </p:to>
                                    </p:set>
                                    <p:animEffect transition="in" filter="fade">
                                      <p:cBhvr>
                                        <p:cTn id="41" dur="500"/>
                                        <p:tgtEl>
                                          <p:spTgt spid="324"/>
                                        </p:tgtEl>
                                      </p:cBhvr>
                                    </p:animEffect>
                                  </p:childTnLst>
                                </p:cTn>
                              </p:par>
                              <p:par>
                                <p:cTn id="42" presetID="10" presetClass="entr" presetSubtype="0" fill="hold" nodeType="withEffect">
                                  <p:stCondLst>
                                    <p:cond delay="0"/>
                                  </p:stCondLst>
                                  <p:childTnLst>
                                    <p:set>
                                      <p:cBhvr>
                                        <p:cTn id="43" dur="1" fill="hold">
                                          <p:stCondLst>
                                            <p:cond delay="0"/>
                                          </p:stCondLst>
                                        </p:cTn>
                                        <p:tgtEl>
                                          <p:spTgt spid="311"/>
                                        </p:tgtEl>
                                        <p:attrNameLst>
                                          <p:attrName>style.visibility</p:attrName>
                                        </p:attrNameLst>
                                      </p:cBhvr>
                                      <p:to>
                                        <p:strVal val="visible"/>
                                      </p:to>
                                    </p:set>
                                    <p:animEffect transition="in" filter="fade">
                                      <p:cBhvr>
                                        <p:cTn id="44" dur="500"/>
                                        <p:tgtEl>
                                          <p:spTgt spid="311"/>
                                        </p:tgtEl>
                                      </p:cBhvr>
                                    </p:animEffect>
                                  </p:childTnLst>
                                </p:cTn>
                              </p:par>
                              <p:par>
                                <p:cTn id="45" presetID="10" presetClass="entr" presetSubtype="0" fill="hold" nodeType="withEffect">
                                  <p:stCondLst>
                                    <p:cond delay="0"/>
                                  </p:stCondLst>
                                  <p:childTnLst>
                                    <p:set>
                                      <p:cBhvr>
                                        <p:cTn id="46" dur="1" fill="hold">
                                          <p:stCondLst>
                                            <p:cond delay="0"/>
                                          </p:stCondLst>
                                        </p:cTn>
                                        <p:tgtEl>
                                          <p:spTgt spid="342"/>
                                        </p:tgtEl>
                                        <p:attrNameLst>
                                          <p:attrName>style.visibility</p:attrName>
                                        </p:attrNameLst>
                                      </p:cBhvr>
                                      <p:to>
                                        <p:strVal val="visible"/>
                                      </p:to>
                                    </p:set>
                                    <p:animEffect transition="in" filter="fade">
                                      <p:cBhvr>
                                        <p:cTn id="47" dur="500"/>
                                        <p:tgtEl>
                                          <p:spTgt spid="34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05"/>
                                        </p:tgtEl>
                                        <p:attrNameLst>
                                          <p:attrName>style.visibility</p:attrName>
                                        </p:attrNameLst>
                                      </p:cBhvr>
                                      <p:to>
                                        <p:strVal val="visible"/>
                                      </p:to>
                                    </p:set>
                                    <p:animEffect transition="in" filter="fade">
                                      <p:cBhvr>
                                        <p:cTn id="50" dur="500"/>
                                        <p:tgtEl>
                                          <p:spTgt spid="305"/>
                                        </p:tgtEl>
                                      </p:cBhvr>
                                    </p:animEffect>
                                  </p:childTnLst>
                                </p:cTn>
                              </p:par>
                              <p:par>
                                <p:cTn id="51" presetID="10" presetClass="entr" presetSubtype="0" fill="hold" nodeType="withEffect">
                                  <p:stCondLst>
                                    <p:cond delay="0"/>
                                  </p:stCondLst>
                                  <p:childTnLst>
                                    <p:set>
                                      <p:cBhvr>
                                        <p:cTn id="52" dur="1" fill="hold">
                                          <p:stCondLst>
                                            <p:cond delay="0"/>
                                          </p:stCondLst>
                                        </p:cTn>
                                        <p:tgtEl>
                                          <p:spTgt spid="312"/>
                                        </p:tgtEl>
                                        <p:attrNameLst>
                                          <p:attrName>style.visibility</p:attrName>
                                        </p:attrNameLst>
                                      </p:cBhvr>
                                      <p:to>
                                        <p:strVal val="visible"/>
                                      </p:to>
                                    </p:set>
                                    <p:animEffect transition="in" filter="fade">
                                      <p:cBhvr>
                                        <p:cTn id="53" dur="500"/>
                                        <p:tgtEl>
                                          <p:spTgt spid="3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4" grpId="0"/>
      <p:bldP spid="305" grpId="0"/>
      <p:bldP spid="30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br>
              <a:rPr lang="en-US" dirty="0" smtClean="0"/>
            </a:br>
            <a:r>
              <a:rPr lang="en-US" sz="6000" i="1" dirty="0"/>
              <a:t>Protect Your Data</a:t>
            </a:r>
          </a:p>
        </p:txBody>
      </p:sp>
      <p:sp>
        <p:nvSpPr>
          <p:cNvPr id="5" name="Text Placeholder 4"/>
          <p:cNvSpPr>
            <a:spLocks noGrp="1"/>
          </p:cNvSpPr>
          <p:nvPr>
            <p:ph type="body" sz="quarter" idx="12"/>
          </p:nvPr>
        </p:nvSpPr>
        <p:spPr/>
        <p:txBody>
          <a:bodyPr/>
          <a:lstStyle/>
          <a:p>
            <a:r>
              <a:rPr lang="en-US" dirty="0" smtClean="0"/>
              <a:t>Sam </a:t>
            </a:r>
            <a:r>
              <a:rPr lang="en-US" dirty="0" err="1" smtClean="0"/>
              <a:t>Devasahayam</a:t>
            </a:r>
            <a:endParaRPr lang="en-US" dirty="0" smtClean="0"/>
          </a:p>
          <a:p>
            <a:r>
              <a:rPr lang="en-US" dirty="0" smtClean="0"/>
              <a:t>Principal Program Manager</a:t>
            </a:r>
            <a:endParaRPr lang="en-US" dirty="0"/>
          </a:p>
        </p:txBody>
      </p:sp>
    </p:spTree>
    <p:extLst>
      <p:ext uri="{BB962C8B-B14F-4D97-AF65-F5344CB8AC3E}">
        <p14:creationId xmlns:p14="http://schemas.microsoft.com/office/powerpoint/2010/main" val="2793518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ople-centric IT Solution</a:t>
            </a:r>
            <a:endParaRPr lang="en-US" dirty="0"/>
          </a:p>
        </p:txBody>
      </p:sp>
      <p:sp>
        <p:nvSpPr>
          <p:cNvPr id="4" name="Rectangle 3"/>
          <p:cNvSpPr/>
          <p:nvPr/>
        </p:nvSpPr>
        <p:spPr>
          <a:xfrm>
            <a:off x="595838" y="5589499"/>
            <a:ext cx="4211653" cy="535392"/>
          </a:xfrm>
          <a:prstGeom prst="rect">
            <a:avLst/>
          </a:prstGeom>
        </p:spPr>
        <p:txBody>
          <a:bodyPr wrap="square">
            <a:spAutoFit/>
          </a:bodyPr>
          <a:lstStyle/>
          <a:p>
            <a:pPr algn="r" fontAlgn="base">
              <a:lnSpc>
                <a:spcPct val="90000"/>
              </a:lnSpc>
              <a:spcBef>
                <a:spcPct val="0"/>
              </a:spcBef>
              <a:spcAft>
                <a:spcPct val="0"/>
              </a:spcAft>
            </a:pPr>
            <a:r>
              <a:rPr lang="en-US" sz="3199" spc="-100" dirty="0">
                <a:ln w="3175">
                  <a:noFill/>
                </a:ln>
                <a:gradFill>
                  <a:gsLst>
                    <a:gs pos="1250">
                      <a:srgbClr val="FFFFFF"/>
                    </a:gs>
                    <a:gs pos="100000">
                      <a:srgbClr val="FFFFFF"/>
                    </a:gs>
                  </a:gsLst>
                  <a:lin ang="5400000" scaled="0"/>
                </a:gradFill>
                <a:latin typeface="Segoe UI Light"/>
                <a:cs typeface="Arial" charset="0"/>
              </a:rPr>
              <a:t>protect your data</a:t>
            </a:r>
          </a:p>
        </p:txBody>
      </p:sp>
      <p:sp>
        <p:nvSpPr>
          <p:cNvPr id="5" name="Rectangle 4"/>
          <p:cNvSpPr/>
          <p:nvPr/>
        </p:nvSpPr>
        <p:spPr>
          <a:xfrm>
            <a:off x="788230" y="2736648"/>
            <a:ext cx="4019262" cy="535392"/>
          </a:xfrm>
          <a:prstGeom prst="rect">
            <a:avLst/>
          </a:prstGeom>
        </p:spPr>
        <p:txBody>
          <a:bodyPr wrap="square">
            <a:spAutoFit/>
          </a:bodyPr>
          <a:lstStyle/>
          <a:p>
            <a:pPr algn="r" fontAlgn="base">
              <a:lnSpc>
                <a:spcPct val="90000"/>
              </a:lnSpc>
              <a:spcBef>
                <a:spcPct val="0"/>
              </a:spcBef>
              <a:spcAft>
                <a:spcPct val="0"/>
              </a:spcAft>
            </a:pPr>
            <a:r>
              <a:rPr lang="en-US" sz="3199" spc="-100" dirty="0">
                <a:ln w="3175">
                  <a:noFill/>
                </a:ln>
                <a:gradFill>
                  <a:gsLst>
                    <a:gs pos="1250">
                      <a:srgbClr val="FFFFFF"/>
                    </a:gs>
                    <a:gs pos="100000">
                      <a:srgbClr val="FFFFFF"/>
                    </a:gs>
                  </a:gsLst>
                  <a:lin ang="5400000" scaled="0"/>
                </a:gradFill>
                <a:latin typeface="Segoe UI Light"/>
                <a:cs typeface="Arial" charset="0"/>
              </a:rPr>
              <a:t>empower users</a:t>
            </a:r>
          </a:p>
        </p:txBody>
      </p:sp>
      <p:sp>
        <p:nvSpPr>
          <p:cNvPr id="6" name="Rectangle 5"/>
          <p:cNvSpPr/>
          <p:nvPr/>
        </p:nvSpPr>
        <p:spPr>
          <a:xfrm>
            <a:off x="136348" y="4163696"/>
            <a:ext cx="4671144" cy="535392"/>
          </a:xfrm>
          <a:prstGeom prst="rect">
            <a:avLst/>
          </a:prstGeom>
        </p:spPr>
        <p:txBody>
          <a:bodyPr wrap="square">
            <a:spAutoFit/>
          </a:bodyPr>
          <a:lstStyle/>
          <a:p>
            <a:pPr algn="r" fontAlgn="base">
              <a:lnSpc>
                <a:spcPct val="90000"/>
              </a:lnSpc>
              <a:spcBef>
                <a:spcPct val="0"/>
              </a:spcBef>
              <a:spcAft>
                <a:spcPct val="0"/>
              </a:spcAft>
            </a:pPr>
            <a:r>
              <a:rPr lang="en-US" sz="3199" spc="-100" dirty="0">
                <a:ln w="3175">
                  <a:noFill/>
                </a:ln>
                <a:gradFill>
                  <a:gsLst>
                    <a:gs pos="1250">
                      <a:srgbClr val="FFFFFF"/>
                    </a:gs>
                    <a:gs pos="100000">
                      <a:srgbClr val="FFFFFF"/>
                    </a:gs>
                  </a:gsLst>
                  <a:lin ang="5400000" scaled="0"/>
                </a:gradFill>
                <a:latin typeface="Segoe UI Light"/>
                <a:cs typeface="Arial" charset="0"/>
              </a:rPr>
              <a:t>unify your environment</a:t>
            </a:r>
          </a:p>
        </p:txBody>
      </p:sp>
      <p:grpSp>
        <p:nvGrpSpPr>
          <p:cNvPr id="7" name="Group 6"/>
          <p:cNvGrpSpPr/>
          <p:nvPr/>
        </p:nvGrpSpPr>
        <p:grpSpPr>
          <a:xfrm>
            <a:off x="5114236" y="5339383"/>
            <a:ext cx="1032609" cy="1035622"/>
            <a:chOff x="4917174" y="4940963"/>
            <a:chExt cx="1032878" cy="1035892"/>
          </a:xfrm>
          <a:solidFill>
            <a:srgbClr val="FFFFFF"/>
          </a:solidFill>
        </p:grpSpPr>
        <p:sp>
          <p:nvSpPr>
            <p:cNvPr id="8" name="Freeform 14"/>
            <p:cNvSpPr>
              <a:spLocks noEditPoints="1"/>
            </p:cNvSpPr>
            <p:nvPr/>
          </p:nvSpPr>
          <p:spPr bwMode="auto">
            <a:xfrm>
              <a:off x="5255019" y="5215228"/>
              <a:ext cx="357187" cy="487363"/>
            </a:xfrm>
            <a:custGeom>
              <a:avLst/>
              <a:gdLst>
                <a:gd name="T0" fmla="*/ 86 w 95"/>
                <a:gd name="T1" fmla="*/ 55 h 130"/>
                <a:gd name="T2" fmla="*/ 83 w 95"/>
                <a:gd name="T3" fmla="*/ 55 h 130"/>
                <a:gd name="T4" fmla="*/ 83 w 95"/>
                <a:gd name="T5" fmla="*/ 30 h 130"/>
                <a:gd name="T6" fmla="*/ 71 w 95"/>
                <a:gd name="T7" fmla="*/ 7 h 130"/>
                <a:gd name="T8" fmla="*/ 48 w 95"/>
                <a:gd name="T9" fmla="*/ 0 h 130"/>
                <a:gd name="T10" fmla="*/ 24 w 95"/>
                <a:gd name="T11" fmla="*/ 7 h 130"/>
                <a:gd name="T12" fmla="*/ 12 w 95"/>
                <a:gd name="T13" fmla="*/ 29 h 130"/>
                <a:gd name="T14" fmla="*/ 12 w 95"/>
                <a:gd name="T15" fmla="*/ 55 h 130"/>
                <a:gd name="T16" fmla="*/ 9 w 95"/>
                <a:gd name="T17" fmla="*/ 55 h 130"/>
                <a:gd name="T18" fmla="*/ 0 w 95"/>
                <a:gd name="T19" fmla="*/ 63 h 130"/>
                <a:gd name="T20" fmla="*/ 0 w 95"/>
                <a:gd name="T21" fmla="*/ 122 h 130"/>
                <a:gd name="T22" fmla="*/ 9 w 95"/>
                <a:gd name="T23" fmla="*/ 130 h 130"/>
                <a:gd name="T24" fmla="*/ 86 w 95"/>
                <a:gd name="T25" fmla="*/ 130 h 130"/>
                <a:gd name="T26" fmla="*/ 95 w 95"/>
                <a:gd name="T27" fmla="*/ 122 h 130"/>
                <a:gd name="T28" fmla="*/ 95 w 95"/>
                <a:gd name="T29" fmla="*/ 63 h 130"/>
                <a:gd name="T30" fmla="*/ 86 w 95"/>
                <a:gd name="T31" fmla="*/ 55 h 130"/>
                <a:gd name="T32" fmla="*/ 26 w 95"/>
                <a:gd name="T33" fmla="*/ 29 h 130"/>
                <a:gd name="T34" fmla="*/ 48 w 95"/>
                <a:gd name="T35" fmla="*/ 15 h 130"/>
                <a:gd name="T36" fmla="*/ 62 w 95"/>
                <a:gd name="T37" fmla="*/ 19 h 130"/>
                <a:gd name="T38" fmla="*/ 68 w 95"/>
                <a:gd name="T39" fmla="*/ 30 h 130"/>
                <a:gd name="T40" fmla="*/ 68 w 95"/>
                <a:gd name="T41" fmla="*/ 55 h 130"/>
                <a:gd name="T42" fmla="*/ 26 w 95"/>
                <a:gd name="T43" fmla="*/ 55 h 130"/>
                <a:gd name="T44" fmla="*/ 26 w 95"/>
                <a:gd name="T45" fmla="*/ 2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130">
                  <a:moveTo>
                    <a:pt x="86" y="55"/>
                  </a:moveTo>
                  <a:cubicBezTo>
                    <a:pt x="86" y="55"/>
                    <a:pt x="86" y="55"/>
                    <a:pt x="83" y="55"/>
                  </a:cubicBezTo>
                  <a:cubicBezTo>
                    <a:pt x="83" y="48"/>
                    <a:pt x="83" y="41"/>
                    <a:pt x="83" y="30"/>
                  </a:cubicBezTo>
                  <a:cubicBezTo>
                    <a:pt x="83" y="21"/>
                    <a:pt x="79" y="12"/>
                    <a:pt x="71" y="7"/>
                  </a:cubicBezTo>
                  <a:cubicBezTo>
                    <a:pt x="65" y="2"/>
                    <a:pt x="56" y="0"/>
                    <a:pt x="48" y="0"/>
                  </a:cubicBezTo>
                  <a:cubicBezTo>
                    <a:pt x="39" y="0"/>
                    <a:pt x="30" y="2"/>
                    <a:pt x="24" y="7"/>
                  </a:cubicBezTo>
                  <a:cubicBezTo>
                    <a:pt x="16" y="12"/>
                    <a:pt x="12" y="20"/>
                    <a:pt x="12" y="29"/>
                  </a:cubicBezTo>
                  <a:cubicBezTo>
                    <a:pt x="12" y="29"/>
                    <a:pt x="12" y="29"/>
                    <a:pt x="12" y="55"/>
                  </a:cubicBezTo>
                  <a:cubicBezTo>
                    <a:pt x="11" y="55"/>
                    <a:pt x="10" y="55"/>
                    <a:pt x="9" y="55"/>
                  </a:cubicBezTo>
                  <a:cubicBezTo>
                    <a:pt x="4" y="55"/>
                    <a:pt x="0" y="58"/>
                    <a:pt x="0" y="63"/>
                  </a:cubicBezTo>
                  <a:cubicBezTo>
                    <a:pt x="0" y="63"/>
                    <a:pt x="0" y="63"/>
                    <a:pt x="0" y="122"/>
                  </a:cubicBezTo>
                  <a:cubicBezTo>
                    <a:pt x="0" y="127"/>
                    <a:pt x="4" y="130"/>
                    <a:pt x="9" y="130"/>
                  </a:cubicBezTo>
                  <a:cubicBezTo>
                    <a:pt x="9" y="130"/>
                    <a:pt x="9" y="130"/>
                    <a:pt x="86" y="130"/>
                  </a:cubicBezTo>
                  <a:cubicBezTo>
                    <a:pt x="91" y="130"/>
                    <a:pt x="95" y="127"/>
                    <a:pt x="95" y="122"/>
                  </a:cubicBezTo>
                  <a:cubicBezTo>
                    <a:pt x="95" y="122"/>
                    <a:pt x="95" y="122"/>
                    <a:pt x="95" y="63"/>
                  </a:cubicBezTo>
                  <a:cubicBezTo>
                    <a:pt x="95" y="58"/>
                    <a:pt x="91" y="55"/>
                    <a:pt x="86" y="55"/>
                  </a:cubicBezTo>
                  <a:close/>
                  <a:moveTo>
                    <a:pt x="26" y="29"/>
                  </a:moveTo>
                  <a:cubicBezTo>
                    <a:pt x="26" y="19"/>
                    <a:pt x="39" y="15"/>
                    <a:pt x="48" y="15"/>
                  </a:cubicBezTo>
                  <a:cubicBezTo>
                    <a:pt x="53" y="15"/>
                    <a:pt x="59" y="16"/>
                    <a:pt x="62" y="19"/>
                  </a:cubicBezTo>
                  <a:cubicBezTo>
                    <a:pt x="66" y="22"/>
                    <a:pt x="68" y="25"/>
                    <a:pt x="68" y="30"/>
                  </a:cubicBezTo>
                  <a:cubicBezTo>
                    <a:pt x="68" y="30"/>
                    <a:pt x="68" y="30"/>
                    <a:pt x="68" y="55"/>
                  </a:cubicBezTo>
                  <a:cubicBezTo>
                    <a:pt x="59" y="55"/>
                    <a:pt x="46" y="55"/>
                    <a:pt x="26" y="55"/>
                  </a:cubicBezTo>
                  <a:cubicBezTo>
                    <a:pt x="26" y="51"/>
                    <a:pt x="26" y="43"/>
                    <a:pt x="26" y="29"/>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defTabSz="1218534"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dirty="0" smtClean="0">
                <a:ln>
                  <a:noFill/>
                </a:ln>
                <a:gradFill>
                  <a:gsLst>
                    <a:gs pos="1250">
                      <a:srgbClr val="7FBA00"/>
                    </a:gs>
                    <a:gs pos="100000">
                      <a:srgbClr val="7FBA00"/>
                    </a:gs>
                  </a:gsLst>
                  <a:lin ang="5400000" scaled="0"/>
                </a:gradFill>
                <a:effectLst/>
                <a:uLnTx/>
                <a:uFillTx/>
              </a:endParaRPr>
            </a:p>
          </p:txBody>
        </p:sp>
        <p:sp>
          <p:nvSpPr>
            <p:cNvPr id="9" name="Freeform 7"/>
            <p:cNvSpPr>
              <a:spLocks noEditPoints="1"/>
            </p:cNvSpPr>
            <p:nvPr/>
          </p:nvSpPr>
          <p:spPr bwMode="auto">
            <a:xfrm rot="10800000">
              <a:off x="4917174" y="4940963"/>
              <a:ext cx="1032878" cy="1035892"/>
            </a:xfrm>
            <a:custGeom>
              <a:avLst/>
              <a:gdLst>
                <a:gd name="T0" fmla="*/ 216 w 435"/>
                <a:gd name="T1" fmla="*/ 0 h 436"/>
                <a:gd name="T2" fmla="*/ 0 w 435"/>
                <a:gd name="T3" fmla="*/ 220 h 436"/>
                <a:gd name="T4" fmla="*/ 216 w 435"/>
                <a:gd name="T5" fmla="*/ 436 h 436"/>
                <a:gd name="T6" fmla="*/ 435 w 435"/>
                <a:gd name="T7" fmla="*/ 220 h 436"/>
                <a:gd name="T8" fmla="*/ 216 w 435"/>
                <a:gd name="T9" fmla="*/ 0 h 436"/>
                <a:gd name="T10" fmla="*/ 216 w 435"/>
                <a:gd name="T11" fmla="*/ 410 h 436"/>
                <a:gd name="T12" fmla="*/ 27 w 435"/>
                <a:gd name="T13" fmla="*/ 220 h 436"/>
                <a:gd name="T14" fmla="*/ 216 w 435"/>
                <a:gd name="T15" fmla="*/ 27 h 436"/>
                <a:gd name="T16" fmla="*/ 409 w 435"/>
                <a:gd name="T17" fmla="*/ 220 h 436"/>
                <a:gd name="T18" fmla="*/ 216 w 435"/>
                <a:gd name="T19" fmla="*/ 41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5" h="436">
                  <a:moveTo>
                    <a:pt x="216" y="0"/>
                  </a:moveTo>
                  <a:cubicBezTo>
                    <a:pt x="97" y="0"/>
                    <a:pt x="0" y="97"/>
                    <a:pt x="0" y="220"/>
                  </a:cubicBezTo>
                  <a:cubicBezTo>
                    <a:pt x="0" y="340"/>
                    <a:pt x="97" y="436"/>
                    <a:pt x="216" y="436"/>
                  </a:cubicBezTo>
                  <a:cubicBezTo>
                    <a:pt x="339" y="436"/>
                    <a:pt x="435" y="340"/>
                    <a:pt x="435" y="220"/>
                  </a:cubicBezTo>
                  <a:cubicBezTo>
                    <a:pt x="435" y="97"/>
                    <a:pt x="339" y="0"/>
                    <a:pt x="216" y="0"/>
                  </a:cubicBezTo>
                  <a:close/>
                  <a:moveTo>
                    <a:pt x="216" y="410"/>
                  </a:moveTo>
                  <a:cubicBezTo>
                    <a:pt x="111" y="410"/>
                    <a:pt x="27" y="325"/>
                    <a:pt x="27" y="220"/>
                  </a:cubicBezTo>
                  <a:cubicBezTo>
                    <a:pt x="27" y="114"/>
                    <a:pt x="111" y="27"/>
                    <a:pt x="216" y="27"/>
                  </a:cubicBezTo>
                  <a:cubicBezTo>
                    <a:pt x="321" y="27"/>
                    <a:pt x="409" y="114"/>
                    <a:pt x="409" y="220"/>
                  </a:cubicBezTo>
                  <a:cubicBezTo>
                    <a:pt x="409" y="325"/>
                    <a:pt x="321" y="410"/>
                    <a:pt x="216" y="410"/>
                  </a:cubicBezTo>
                  <a:close/>
                </a:path>
              </a:pathLst>
            </a:custGeom>
            <a:grpFill/>
            <a:ln>
              <a:noFill/>
            </a:ln>
            <a:effectLst/>
            <a:extLst/>
          </p:spPr>
          <p:txBody>
            <a:bodyPr vert="horz" wrap="square" lIns="91416" tIns="45708" rIns="91416" bIns="45708" numCol="1" anchor="t" anchorCtr="0" compatLnSpc="1">
              <a:prstTxWarp prst="textNoShape">
                <a:avLst/>
              </a:prstTxWarp>
            </a:bodyPr>
            <a:lstStyle/>
            <a:p>
              <a:pPr marL="0" marR="0" lvl="0" indent="0" defTabSz="1218534"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dirty="0" smtClean="0">
                <a:ln>
                  <a:noFill/>
                </a:ln>
                <a:solidFill>
                  <a:srgbClr val="FFFFFF"/>
                </a:solidFill>
                <a:effectLst/>
                <a:uLnTx/>
                <a:uFillTx/>
              </a:endParaRPr>
            </a:p>
          </p:txBody>
        </p:sp>
      </p:grpSp>
      <p:grpSp>
        <p:nvGrpSpPr>
          <p:cNvPr id="10" name="Group 9"/>
          <p:cNvGrpSpPr/>
          <p:nvPr/>
        </p:nvGrpSpPr>
        <p:grpSpPr>
          <a:xfrm>
            <a:off x="5114236" y="3913580"/>
            <a:ext cx="1032609" cy="1035622"/>
            <a:chOff x="569538" y="3539887"/>
            <a:chExt cx="1032878" cy="1035892"/>
          </a:xfrm>
          <a:solidFill>
            <a:srgbClr val="FFFFFF"/>
          </a:solidFill>
        </p:grpSpPr>
        <p:sp>
          <p:nvSpPr>
            <p:cNvPr id="11" name="Freeform 7"/>
            <p:cNvSpPr>
              <a:spLocks noEditPoints="1"/>
            </p:cNvSpPr>
            <p:nvPr/>
          </p:nvSpPr>
          <p:spPr bwMode="auto">
            <a:xfrm rot="10800000">
              <a:off x="569538" y="3539887"/>
              <a:ext cx="1032878" cy="1035892"/>
            </a:xfrm>
            <a:custGeom>
              <a:avLst/>
              <a:gdLst>
                <a:gd name="T0" fmla="*/ 216 w 435"/>
                <a:gd name="T1" fmla="*/ 0 h 436"/>
                <a:gd name="T2" fmla="*/ 0 w 435"/>
                <a:gd name="T3" fmla="*/ 220 h 436"/>
                <a:gd name="T4" fmla="*/ 216 w 435"/>
                <a:gd name="T5" fmla="*/ 436 h 436"/>
                <a:gd name="T6" fmla="*/ 435 w 435"/>
                <a:gd name="T7" fmla="*/ 220 h 436"/>
                <a:gd name="T8" fmla="*/ 216 w 435"/>
                <a:gd name="T9" fmla="*/ 0 h 436"/>
                <a:gd name="T10" fmla="*/ 216 w 435"/>
                <a:gd name="T11" fmla="*/ 410 h 436"/>
                <a:gd name="T12" fmla="*/ 27 w 435"/>
                <a:gd name="T13" fmla="*/ 220 h 436"/>
                <a:gd name="T14" fmla="*/ 216 w 435"/>
                <a:gd name="T15" fmla="*/ 27 h 436"/>
                <a:gd name="T16" fmla="*/ 409 w 435"/>
                <a:gd name="T17" fmla="*/ 220 h 436"/>
                <a:gd name="T18" fmla="*/ 216 w 435"/>
                <a:gd name="T19" fmla="*/ 41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5" h="436">
                  <a:moveTo>
                    <a:pt x="216" y="0"/>
                  </a:moveTo>
                  <a:cubicBezTo>
                    <a:pt x="97" y="0"/>
                    <a:pt x="0" y="97"/>
                    <a:pt x="0" y="220"/>
                  </a:cubicBezTo>
                  <a:cubicBezTo>
                    <a:pt x="0" y="340"/>
                    <a:pt x="97" y="436"/>
                    <a:pt x="216" y="436"/>
                  </a:cubicBezTo>
                  <a:cubicBezTo>
                    <a:pt x="339" y="436"/>
                    <a:pt x="435" y="340"/>
                    <a:pt x="435" y="220"/>
                  </a:cubicBezTo>
                  <a:cubicBezTo>
                    <a:pt x="435" y="97"/>
                    <a:pt x="339" y="0"/>
                    <a:pt x="216" y="0"/>
                  </a:cubicBezTo>
                  <a:close/>
                  <a:moveTo>
                    <a:pt x="216" y="410"/>
                  </a:moveTo>
                  <a:cubicBezTo>
                    <a:pt x="111" y="410"/>
                    <a:pt x="27" y="325"/>
                    <a:pt x="27" y="220"/>
                  </a:cubicBezTo>
                  <a:cubicBezTo>
                    <a:pt x="27" y="114"/>
                    <a:pt x="111" y="27"/>
                    <a:pt x="216" y="27"/>
                  </a:cubicBezTo>
                  <a:cubicBezTo>
                    <a:pt x="321" y="27"/>
                    <a:pt x="409" y="114"/>
                    <a:pt x="409" y="220"/>
                  </a:cubicBezTo>
                  <a:cubicBezTo>
                    <a:pt x="409" y="325"/>
                    <a:pt x="321" y="410"/>
                    <a:pt x="216" y="410"/>
                  </a:cubicBezTo>
                  <a:close/>
                </a:path>
              </a:pathLst>
            </a:custGeom>
            <a:grpFill/>
            <a:ln>
              <a:noFill/>
            </a:ln>
            <a:effectLst/>
            <a:extLst/>
          </p:spPr>
          <p:txBody>
            <a:bodyPr vert="horz" wrap="square" lIns="91416" tIns="45708" rIns="91416" bIns="45708" numCol="1" anchor="t" anchorCtr="0" compatLnSpc="1">
              <a:prstTxWarp prst="textNoShape">
                <a:avLst/>
              </a:prstTxWarp>
            </a:bodyPr>
            <a:lstStyle/>
            <a:p>
              <a:pPr marL="0" marR="0" lvl="0" indent="0" defTabSz="1218534"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dirty="0" smtClean="0">
                <a:ln>
                  <a:noFill/>
                </a:ln>
                <a:solidFill>
                  <a:srgbClr val="FFFFFF"/>
                </a:solidFill>
                <a:effectLst/>
                <a:uLnTx/>
                <a:uFillTx/>
              </a:endParaRPr>
            </a:p>
          </p:txBody>
        </p:sp>
        <p:sp>
          <p:nvSpPr>
            <p:cNvPr id="12" name="Freeform 6"/>
            <p:cNvSpPr>
              <a:spLocks noEditPoints="1"/>
            </p:cNvSpPr>
            <p:nvPr/>
          </p:nvSpPr>
          <p:spPr bwMode="auto">
            <a:xfrm>
              <a:off x="818782" y="3790638"/>
              <a:ext cx="534391" cy="534391"/>
            </a:xfrm>
            <a:custGeom>
              <a:avLst/>
              <a:gdLst>
                <a:gd name="T0" fmla="*/ 0 w 1530"/>
                <a:gd name="T1" fmla="*/ 765 h 1530"/>
                <a:gd name="T2" fmla="*/ 1530 w 1530"/>
                <a:gd name="T3" fmla="*/ 765 h 1530"/>
                <a:gd name="T4" fmla="*/ 798 w 1530"/>
                <a:gd name="T5" fmla="*/ 1369 h 1530"/>
                <a:gd name="T6" fmla="*/ 748 w 1530"/>
                <a:gd name="T7" fmla="*/ 1369 h 1530"/>
                <a:gd name="T8" fmla="*/ 741 w 1530"/>
                <a:gd name="T9" fmla="*/ 1127 h 1530"/>
                <a:gd name="T10" fmla="*/ 968 w 1530"/>
                <a:gd name="T11" fmla="*/ 1114 h 1530"/>
                <a:gd name="T12" fmla="*/ 798 w 1530"/>
                <a:gd name="T13" fmla="*/ 1369 h 1530"/>
                <a:gd name="T14" fmla="*/ 532 w 1530"/>
                <a:gd name="T15" fmla="*/ 1023 h 1530"/>
                <a:gd name="T16" fmla="*/ 511 w 1530"/>
                <a:gd name="T17" fmla="*/ 702 h 1530"/>
                <a:gd name="T18" fmla="*/ 769 w 1530"/>
                <a:gd name="T19" fmla="*/ 734 h 1530"/>
                <a:gd name="T20" fmla="*/ 1024 w 1530"/>
                <a:gd name="T21" fmla="*/ 788 h 1530"/>
                <a:gd name="T22" fmla="*/ 744 w 1530"/>
                <a:gd name="T23" fmla="*/ 1047 h 1530"/>
                <a:gd name="T24" fmla="*/ 217 w 1530"/>
                <a:gd name="T25" fmla="*/ 509 h 1530"/>
                <a:gd name="T26" fmla="*/ 433 w 1530"/>
                <a:gd name="T27" fmla="*/ 677 h 1530"/>
                <a:gd name="T28" fmla="*/ 446 w 1530"/>
                <a:gd name="T29" fmla="*/ 1002 h 1530"/>
                <a:gd name="T30" fmla="*/ 161 w 1530"/>
                <a:gd name="T31" fmla="*/ 762 h 1530"/>
                <a:gd name="T32" fmla="*/ 747 w 1530"/>
                <a:gd name="T33" fmla="*/ 160 h 1530"/>
                <a:gd name="T34" fmla="*/ 774 w 1530"/>
                <a:gd name="T35" fmla="*/ 160 h 1530"/>
                <a:gd name="T36" fmla="*/ 520 w 1530"/>
                <a:gd name="T37" fmla="*/ 621 h 1530"/>
                <a:gd name="T38" fmla="*/ 747 w 1530"/>
                <a:gd name="T39" fmla="*/ 160 h 1530"/>
                <a:gd name="T40" fmla="*/ 1178 w 1530"/>
                <a:gd name="T41" fmla="*/ 641 h 1530"/>
                <a:gd name="T42" fmla="*/ 1370 w 1530"/>
                <a:gd name="T43" fmla="*/ 760 h 1530"/>
                <a:gd name="T44" fmla="*/ 1078 w 1530"/>
                <a:gd name="T45" fmla="*/ 1010 h 1530"/>
                <a:gd name="T46" fmla="*/ 1103 w 1530"/>
                <a:gd name="T47" fmla="*/ 676 h 1530"/>
                <a:gd name="T48" fmla="*/ 1138 w 1530"/>
                <a:gd name="T49" fmla="*/ 571 h 1530"/>
                <a:gd name="T50" fmla="*/ 1041 w 1530"/>
                <a:gd name="T51" fmla="*/ 367 h 1530"/>
                <a:gd name="T52" fmla="*/ 1260 w 1530"/>
                <a:gd name="T53" fmla="*/ 417 h 1530"/>
                <a:gd name="T54" fmla="*/ 515 w 1530"/>
                <a:gd name="T55" fmla="*/ 329 h 1530"/>
                <a:gd name="T56" fmla="*/ 391 w 1530"/>
                <a:gd name="T57" fmla="*/ 569 h 1530"/>
                <a:gd name="T58" fmla="*/ 600 w 1530"/>
                <a:gd name="T59" fmla="*/ 183 h 1530"/>
                <a:gd name="T60" fmla="*/ 303 w 1530"/>
                <a:gd name="T61" fmla="*/ 1034 h 1530"/>
                <a:gd name="T62" fmla="*/ 492 w 1530"/>
                <a:gd name="T63" fmla="*/ 1168 h 1530"/>
                <a:gd name="T64" fmla="*/ 195 w 1530"/>
                <a:gd name="T65" fmla="*/ 968 h 1530"/>
                <a:gd name="T66" fmla="*/ 1018 w 1530"/>
                <a:gd name="T67" fmla="*/ 1206 h 1530"/>
                <a:gd name="T68" fmla="*/ 1333 w 1530"/>
                <a:gd name="T69" fmla="*/ 974 h 1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0" h="1530">
                  <a:moveTo>
                    <a:pt x="765" y="0"/>
                  </a:moveTo>
                  <a:cubicBezTo>
                    <a:pt x="343" y="0"/>
                    <a:pt x="0" y="343"/>
                    <a:pt x="0" y="765"/>
                  </a:cubicBezTo>
                  <a:cubicBezTo>
                    <a:pt x="0" y="1186"/>
                    <a:pt x="343" y="1530"/>
                    <a:pt x="765" y="1530"/>
                  </a:cubicBezTo>
                  <a:cubicBezTo>
                    <a:pt x="1187" y="1530"/>
                    <a:pt x="1530" y="1186"/>
                    <a:pt x="1530" y="765"/>
                  </a:cubicBezTo>
                  <a:cubicBezTo>
                    <a:pt x="1530" y="343"/>
                    <a:pt x="1187" y="0"/>
                    <a:pt x="765" y="0"/>
                  </a:cubicBezTo>
                  <a:close/>
                  <a:moveTo>
                    <a:pt x="798" y="1369"/>
                  </a:moveTo>
                  <a:cubicBezTo>
                    <a:pt x="787" y="1369"/>
                    <a:pt x="776" y="1370"/>
                    <a:pt x="765" y="1370"/>
                  </a:cubicBezTo>
                  <a:cubicBezTo>
                    <a:pt x="759" y="1370"/>
                    <a:pt x="754" y="1369"/>
                    <a:pt x="748" y="1369"/>
                  </a:cubicBezTo>
                  <a:cubicBezTo>
                    <a:pt x="655" y="1316"/>
                    <a:pt x="593" y="1220"/>
                    <a:pt x="556" y="1109"/>
                  </a:cubicBezTo>
                  <a:cubicBezTo>
                    <a:pt x="615" y="1119"/>
                    <a:pt x="678" y="1125"/>
                    <a:pt x="741" y="1127"/>
                  </a:cubicBezTo>
                  <a:cubicBezTo>
                    <a:pt x="755" y="1127"/>
                    <a:pt x="768" y="1127"/>
                    <a:pt x="781" y="1127"/>
                  </a:cubicBezTo>
                  <a:cubicBezTo>
                    <a:pt x="844" y="1127"/>
                    <a:pt x="907" y="1123"/>
                    <a:pt x="968" y="1114"/>
                  </a:cubicBezTo>
                  <a:cubicBezTo>
                    <a:pt x="961" y="1135"/>
                    <a:pt x="953" y="1155"/>
                    <a:pt x="945" y="1175"/>
                  </a:cubicBezTo>
                  <a:cubicBezTo>
                    <a:pt x="905" y="1268"/>
                    <a:pt x="854" y="1335"/>
                    <a:pt x="798" y="1369"/>
                  </a:cubicBezTo>
                  <a:close/>
                  <a:moveTo>
                    <a:pt x="744" y="1047"/>
                  </a:moveTo>
                  <a:cubicBezTo>
                    <a:pt x="670" y="1045"/>
                    <a:pt x="599" y="1037"/>
                    <a:pt x="532" y="1023"/>
                  </a:cubicBezTo>
                  <a:cubicBezTo>
                    <a:pt x="512" y="933"/>
                    <a:pt x="506" y="837"/>
                    <a:pt x="509" y="747"/>
                  </a:cubicBezTo>
                  <a:cubicBezTo>
                    <a:pt x="509" y="732"/>
                    <a:pt x="510" y="717"/>
                    <a:pt x="511" y="702"/>
                  </a:cubicBezTo>
                  <a:cubicBezTo>
                    <a:pt x="589" y="722"/>
                    <a:pt x="675" y="733"/>
                    <a:pt x="765" y="734"/>
                  </a:cubicBezTo>
                  <a:cubicBezTo>
                    <a:pt x="766" y="734"/>
                    <a:pt x="768" y="734"/>
                    <a:pt x="769" y="734"/>
                  </a:cubicBezTo>
                  <a:cubicBezTo>
                    <a:pt x="859" y="734"/>
                    <a:pt x="947" y="723"/>
                    <a:pt x="1024" y="702"/>
                  </a:cubicBezTo>
                  <a:cubicBezTo>
                    <a:pt x="1025" y="731"/>
                    <a:pt x="1025" y="760"/>
                    <a:pt x="1024" y="788"/>
                  </a:cubicBezTo>
                  <a:cubicBezTo>
                    <a:pt x="1022" y="871"/>
                    <a:pt x="1010" y="953"/>
                    <a:pt x="992" y="1029"/>
                  </a:cubicBezTo>
                  <a:cubicBezTo>
                    <a:pt x="912" y="1043"/>
                    <a:pt x="826" y="1049"/>
                    <a:pt x="744" y="1047"/>
                  </a:cubicBezTo>
                  <a:close/>
                  <a:moveTo>
                    <a:pt x="160" y="762"/>
                  </a:moveTo>
                  <a:cubicBezTo>
                    <a:pt x="161" y="672"/>
                    <a:pt x="181" y="586"/>
                    <a:pt x="217" y="509"/>
                  </a:cubicBezTo>
                  <a:cubicBezTo>
                    <a:pt x="244" y="559"/>
                    <a:pt x="289" y="602"/>
                    <a:pt x="351" y="638"/>
                  </a:cubicBezTo>
                  <a:cubicBezTo>
                    <a:pt x="376" y="652"/>
                    <a:pt x="403" y="665"/>
                    <a:pt x="433" y="677"/>
                  </a:cubicBezTo>
                  <a:cubicBezTo>
                    <a:pt x="431" y="699"/>
                    <a:pt x="430" y="722"/>
                    <a:pt x="429" y="745"/>
                  </a:cubicBezTo>
                  <a:cubicBezTo>
                    <a:pt x="426" y="835"/>
                    <a:pt x="432" y="922"/>
                    <a:pt x="446" y="1002"/>
                  </a:cubicBezTo>
                  <a:cubicBezTo>
                    <a:pt x="407" y="990"/>
                    <a:pt x="371" y="977"/>
                    <a:pt x="338" y="961"/>
                  </a:cubicBezTo>
                  <a:cubicBezTo>
                    <a:pt x="260" y="925"/>
                    <a:pt x="167" y="861"/>
                    <a:pt x="161" y="762"/>
                  </a:cubicBezTo>
                  <a:lnTo>
                    <a:pt x="160" y="762"/>
                  </a:lnTo>
                  <a:close/>
                  <a:moveTo>
                    <a:pt x="747" y="160"/>
                  </a:moveTo>
                  <a:cubicBezTo>
                    <a:pt x="753" y="160"/>
                    <a:pt x="759" y="160"/>
                    <a:pt x="765" y="160"/>
                  </a:cubicBezTo>
                  <a:cubicBezTo>
                    <a:pt x="768" y="160"/>
                    <a:pt x="771" y="160"/>
                    <a:pt x="774" y="160"/>
                  </a:cubicBezTo>
                  <a:cubicBezTo>
                    <a:pt x="926" y="240"/>
                    <a:pt x="998" y="429"/>
                    <a:pt x="1018" y="621"/>
                  </a:cubicBezTo>
                  <a:cubicBezTo>
                    <a:pt x="867" y="664"/>
                    <a:pt x="673" y="664"/>
                    <a:pt x="520" y="621"/>
                  </a:cubicBezTo>
                  <a:cubicBezTo>
                    <a:pt x="533" y="526"/>
                    <a:pt x="556" y="437"/>
                    <a:pt x="589" y="361"/>
                  </a:cubicBezTo>
                  <a:cubicBezTo>
                    <a:pt x="631" y="261"/>
                    <a:pt x="687" y="191"/>
                    <a:pt x="747" y="160"/>
                  </a:cubicBezTo>
                  <a:close/>
                  <a:moveTo>
                    <a:pt x="1103" y="676"/>
                  </a:moveTo>
                  <a:cubicBezTo>
                    <a:pt x="1130" y="666"/>
                    <a:pt x="1155" y="654"/>
                    <a:pt x="1178" y="641"/>
                  </a:cubicBezTo>
                  <a:cubicBezTo>
                    <a:pt x="1241" y="604"/>
                    <a:pt x="1286" y="560"/>
                    <a:pt x="1313" y="508"/>
                  </a:cubicBezTo>
                  <a:cubicBezTo>
                    <a:pt x="1349" y="585"/>
                    <a:pt x="1369" y="670"/>
                    <a:pt x="1370" y="760"/>
                  </a:cubicBezTo>
                  <a:cubicBezTo>
                    <a:pt x="1369" y="760"/>
                    <a:pt x="1369" y="760"/>
                    <a:pt x="1369" y="760"/>
                  </a:cubicBezTo>
                  <a:cubicBezTo>
                    <a:pt x="1355" y="885"/>
                    <a:pt x="1234" y="967"/>
                    <a:pt x="1078" y="1010"/>
                  </a:cubicBezTo>
                  <a:cubicBezTo>
                    <a:pt x="1093" y="939"/>
                    <a:pt x="1102" y="865"/>
                    <a:pt x="1104" y="791"/>
                  </a:cubicBezTo>
                  <a:cubicBezTo>
                    <a:pt x="1106" y="752"/>
                    <a:pt x="1105" y="714"/>
                    <a:pt x="1103" y="676"/>
                  </a:cubicBezTo>
                  <a:close/>
                  <a:moveTo>
                    <a:pt x="1260" y="417"/>
                  </a:moveTo>
                  <a:cubicBezTo>
                    <a:pt x="1250" y="478"/>
                    <a:pt x="1209" y="530"/>
                    <a:pt x="1138" y="571"/>
                  </a:cubicBezTo>
                  <a:cubicBezTo>
                    <a:pt x="1125" y="579"/>
                    <a:pt x="1111" y="586"/>
                    <a:pt x="1096" y="593"/>
                  </a:cubicBezTo>
                  <a:cubicBezTo>
                    <a:pt x="1086" y="511"/>
                    <a:pt x="1067" y="435"/>
                    <a:pt x="1041" y="367"/>
                  </a:cubicBezTo>
                  <a:cubicBezTo>
                    <a:pt x="1013" y="295"/>
                    <a:pt x="976" y="233"/>
                    <a:pt x="931" y="183"/>
                  </a:cubicBezTo>
                  <a:cubicBezTo>
                    <a:pt x="1065" y="221"/>
                    <a:pt x="1181" y="305"/>
                    <a:pt x="1260" y="417"/>
                  </a:cubicBezTo>
                  <a:close/>
                  <a:moveTo>
                    <a:pt x="600" y="183"/>
                  </a:moveTo>
                  <a:cubicBezTo>
                    <a:pt x="568" y="223"/>
                    <a:pt x="540" y="272"/>
                    <a:pt x="515" y="329"/>
                  </a:cubicBezTo>
                  <a:cubicBezTo>
                    <a:pt x="482" y="407"/>
                    <a:pt x="457" y="498"/>
                    <a:pt x="443" y="594"/>
                  </a:cubicBezTo>
                  <a:cubicBezTo>
                    <a:pt x="424" y="587"/>
                    <a:pt x="407" y="578"/>
                    <a:pt x="391" y="569"/>
                  </a:cubicBezTo>
                  <a:cubicBezTo>
                    <a:pt x="320" y="528"/>
                    <a:pt x="279" y="478"/>
                    <a:pt x="269" y="419"/>
                  </a:cubicBezTo>
                  <a:cubicBezTo>
                    <a:pt x="348" y="306"/>
                    <a:pt x="464" y="221"/>
                    <a:pt x="600" y="183"/>
                  </a:cubicBezTo>
                  <a:close/>
                  <a:moveTo>
                    <a:pt x="195" y="968"/>
                  </a:moveTo>
                  <a:cubicBezTo>
                    <a:pt x="226" y="992"/>
                    <a:pt x="262" y="1014"/>
                    <a:pt x="303" y="1034"/>
                  </a:cubicBezTo>
                  <a:cubicBezTo>
                    <a:pt x="352" y="1057"/>
                    <a:pt x="407" y="1075"/>
                    <a:pt x="467" y="1090"/>
                  </a:cubicBezTo>
                  <a:cubicBezTo>
                    <a:pt x="474" y="1117"/>
                    <a:pt x="483" y="1143"/>
                    <a:pt x="492" y="1168"/>
                  </a:cubicBezTo>
                  <a:cubicBezTo>
                    <a:pt x="519" y="1237"/>
                    <a:pt x="554" y="1297"/>
                    <a:pt x="597" y="1346"/>
                  </a:cubicBezTo>
                  <a:cubicBezTo>
                    <a:pt x="410" y="1291"/>
                    <a:pt x="260" y="1150"/>
                    <a:pt x="195" y="968"/>
                  </a:cubicBezTo>
                  <a:close/>
                  <a:moveTo>
                    <a:pt x="940" y="1344"/>
                  </a:moveTo>
                  <a:cubicBezTo>
                    <a:pt x="969" y="1306"/>
                    <a:pt x="995" y="1260"/>
                    <a:pt x="1018" y="1206"/>
                  </a:cubicBezTo>
                  <a:cubicBezTo>
                    <a:pt x="1033" y="1172"/>
                    <a:pt x="1045" y="1136"/>
                    <a:pt x="1057" y="1098"/>
                  </a:cubicBezTo>
                  <a:cubicBezTo>
                    <a:pt x="1165" y="1073"/>
                    <a:pt x="1262" y="1032"/>
                    <a:pt x="1333" y="974"/>
                  </a:cubicBezTo>
                  <a:cubicBezTo>
                    <a:pt x="1267" y="1150"/>
                    <a:pt x="1122" y="1288"/>
                    <a:pt x="940" y="1344"/>
                  </a:cubicBez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defTabSz="1218534"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dirty="0" smtClean="0">
                <a:ln>
                  <a:noFill/>
                </a:ln>
                <a:solidFill>
                  <a:srgbClr val="FFFFFF"/>
                </a:solidFill>
                <a:effectLst/>
                <a:uLnTx/>
                <a:uFillTx/>
              </a:endParaRPr>
            </a:p>
          </p:txBody>
        </p:sp>
      </p:grpSp>
      <p:sp>
        <p:nvSpPr>
          <p:cNvPr id="13" name="Rectangle 12"/>
          <p:cNvSpPr/>
          <p:nvPr/>
        </p:nvSpPr>
        <p:spPr>
          <a:xfrm>
            <a:off x="6361884" y="2564850"/>
            <a:ext cx="5735394" cy="878986"/>
          </a:xfrm>
          <a:prstGeom prst="rect">
            <a:avLst/>
          </a:prstGeom>
        </p:spPr>
        <p:txBody>
          <a:bodyPr wrap="square">
            <a:spAutoFit/>
          </a:bodyPr>
          <a:lstStyle/>
          <a:p>
            <a:pPr marL="0" marR="0" lvl="0" indent="0" defTabSz="914126" eaLnBrk="1" fontAlgn="auto" latinLnBrk="0" hangingPunct="1">
              <a:lnSpc>
                <a:spcPct val="90000"/>
              </a:lnSpc>
              <a:spcBef>
                <a:spcPts val="800"/>
              </a:spcBef>
              <a:spcAft>
                <a:spcPts val="0"/>
              </a:spcAft>
              <a:buClrTx/>
              <a:buSzTx/>
              <a:buFontTx/>
              <a:buNone/>
              <a:tabLst/>
              <a:defRPr/>
            </a:pPr>
            <a:r>
              <a:rPr kumimoji="0" lang="en-US" sz="1400" b="0" i="0" u="none" strike="noStrike" kern="0" cap="none" spc="-30" normalizeH="0" baseline="0" noProof="0" dirty="0" smtClean="0">
                <a:ln>
                  <a:noFill/>
                </a:ln>
                <a:solidFill>
                  <a:srgbClr val="FFFFFF"/>
                </a:solidFill>
                <a:effectLst/>
                <a:uLnTx/>
                <a:uFillTx/>
              </a:rPr>
              <a:t>Consistent Company Portal experiences across devices</a:t>
            </a:r>
          </a:p>
          <a:p>
            <a:pPr marL="0" marR="0" lvl="0" indent="0" defTabSz="914126" eaLnBrk="1" fontAlgn="auto" latinLnBrk="0" hangingPunct="1">
              <a:lnSpc>
                <a:spcPct val="90000"/>
              </a:lnSpc>
              <a:spcBef>
                <a:spcPts val="800"/>
              </a:spcBef>
              <a:spcAft>
                <a:spcPts val="0"/>
              </a:spcAft>
              <a:buClrTx/>
              <a:buSzTx/>
              <a:buFontTx/>
              <a:buNone/>
              <a:tabLst/>
              <a:defRPr/>
            </a:pPr>
            <a:r>
              <a:rPr kumimoji="0" lang="en-US" sz="1400" b="0" i="0" u="none" strike="noStrike" kern="0" cap="none" spc="-30" normalizeH="0" baseline="0" noProof="0" dirty="0" smtClean="0">
                <a:ln>
                  <a:noFill/>
                </a:ln>
                <a:solidFill>
                  <a:srgbClr val="FFFFFF"/>
                </a:solidFill>
                <a:effectLst/>
                <a:uLnTx/>
                <a:uFillTx/>
              </a:rPr>
              <a:t>Simplified registration and enrollment</a:t>
            </a:r>
          </a:p>
          <a:p>
            <a:pPr marL="0" marR="0" lvl="0" indent="0" defTabSz="914126" eaLnBrk="1" fontAlgn="auto" latinLnBrk="0" hangingPunct="1">
              <a:lnSpc>
                <a:spcPct val="90000"/>
              </a:lnSpc>
              <a:spcBef>
                <a:spcPts val="800"/>
              </a:spcBef>
              <a:spcAft>
                <a:spcPts val="0"/>
              </a:spcAft>
              <a:buClrTx/>
              <a:buSzTx/>
              <a:buFontTx/>
              <a:buNone/>
              <a:tabLst/>
              <a:defRPr/>
            </a:pPr>
            <a:r>
              <a:rPr kumimoji="0" lang="en-US" sz="1400" b="0" i="0" u="none" strike="noStrike" kern="0" cap="none" spc="-30" normalizeH="0" baseline="0" noProof="0" dirty="0" smtClean="0">
                <a:ln>
                  <a:noFill/>
                </a:ln>
                <a:solidFill>
                  <a:srgbClr val="FFFFFF"/>
                </a:solidFill>
                <a:effectLst/>
                <a:uLnTx/>
                <a:uFillTx/>
              </a:rPr>
              <a:t>Automatic connection to internal resources</a:t>
            </a:r>
          </a:p>
        </p:txBody>
      </p:sp>
      <p:sp>
        <p:nvSpPr>
          <p:cNvPr id="14" name="Rectangle 13"/>
          <p:cNvSpPr/>
          <p:nvPr/>
        </p:nvSpPr>
        <p:spPr>
          <a:xfrm>
            <a:off x="6361884" y="3818306"/>
            <a:ext cx="5735394" cy="1175400"/>
          </a:xfrm>
          <a:prstGeom prst="rect">
            <a:avLst/>
          </a:prstGeom>
        </p:spPr>
        <p:txBody>
          <a:bodyPr wrap="square">
            <a:spAutoFit/>
          </a:bodyPr>
          <a:lstStyle/>
          <a:p>
            <a:pPr marL="0" marR="0" lvl="0" indent="0" defTabSz="914126" eaLnBrk="1" fontAlgn="auto" latinLnBrk="0" hangingPunct="1">
              <a:lnSpc>
                <a:spcPct val="90000"/>
              </a:lnSpc>
              <a:spcBef>
                <a:spcPts val="800"/>
              </a:spcBef>
              <a:spcAft>
                <a:spcPts val="0"/>
              </a:spcAft>
              <a:buClrTx/>
              <a:buSzTx/>
              <a:buFontTx/>
              <a:buNone/>
              <a:tabLst/>
              <a:defRPr/>
            </a:pPr>
            <a:r>
              <a:rPr kumimoji="0" lang="en-US" sz="1400" b="0" i="0" u="none" strike="noStrike" kern="0" cap="none" spc="-30" normalizeH="0" baseline="0" noProof="0" dirty="0" smtClean="0">
                <a:ln>
                  <a:noFill/>
                </a:ln>
                <a:solidFill>
                  <a:srgbClr val="FFFFFF"/>
                </a:solidFill>
                <a:effectLst/>
                <a:uLnTx/>
                <a:uFillTx/>
              </a:rPr>
              <a:t>Market-leading client management extended with cloud-based MDM</a:t>
            </a:r>
          </a:p>
          <a:p>
            <a:pPr marL="0" marR="0" lvl="0" indent="0" defTabSz="914126" eaLnBrk="1" fontAlgn="auto" latinLnBrk="0" hangingPunct="1">
              <a:lnSpc>
                <a:spcPct val="90000"/>
              </a:lnSpc>
              <a:spcBef>
                <a:spcPts val="800"/>
              </a:spcBef>
              <a:spcAft>
                <a:spcPts val="0"/>
              </a:spcAft>
              <a:buClrTx/>
              <a:buSzTx/>
              <a:buFontTx/>
              <a:buNone/>
              <a:tabLst/>
              <a:defRPr/>
            </a:pPr>
            <a:r>
              <a:rPr kumimoji="0" lang="en-US" sz="1400" b="0" i="0" u="none" strike="noStrike" kern="0" cap="none" spc="-30" normalizeH="0" baseline="0" noProof="0" dirty="0" smtClean="0">
                <a:ln>
                  <a:noFill/>
                </a:ln>
                <a:solidFill>
                  <a:srgbClr val="FFFFFF"/>
                </a:solidFill>
                <a:effectLst/>
                <a:uLnTx/>
                <a:uFillTx/>
              </a:rPr>
              <a:t>Simplified, user-centric application management </a:t>
            </a:r>
          </a:p>
          <a:p>
            <a:pPr marL="0" marR="0" lvl="0" indent="0" defTabSz="914126" eaLnBrk="1" fontAlgn="auto" latinLnBrk="0" hangingPunct="1">
              <a:lnSpc>
                <a:spcPct val="90000"/>
              </a:lnSpc>
              <a:spcBef>
                <a:spcPts val="800"/>
              </a:spcBef>
              <a:spcAft>
                <a:spcPts val="0"/>
              </a:spcAft>
              <a:buClrTx/>
              <a:buSzTx/>
              <a:buFontTx/>
              <a:buNone/>
              <a:tabLst/>
              <a:defRPr/>
            </a:pPr>
            <a:r>
              <a:rPr kumimoji="0" lang="en-US" sz="1400" b="0" i="0" u="none" strike="noStrike" kern="0" cap="none" spc="-30" normalizeH="0" baseline="0" noProof="0" dirty="0" smtClean="0">
                <a:ln>
                  <a:noFill/>
                </a:ln>
                <a:solidFill>
                  <a:srgbClr val="FFFFFF"/>
                </a:solidFill>
                <a:effectLst/>
                <a:uLnTx/>
                <a:uFillTx/>
              </a:rPr>
              <a:t>Comprehensive settings management across platforms</a:t>
            </a:r>
          </a:p>
          <a:p>
            <a:pPr marL="0" marR="0" lvl="0" indent="0" defTabSz="914126" eaLnBrk="1" fontAlgn="auto" latinLnBrk="0" hangingPunct="1">
              <a:lnSpc>
                <a:spcPct val="90000"/>
              </a:lnSpc>
              <a:spcBef>
                <a:spcPts val="800"/>
              </a:spcBef>
              <a:spcAft>
                <a:spcPts val="0"/>
              </a:spcAft>
              <a:buClrTx/>
              <a:buSzTx/>
              <a:buFontTx/>
              <a:buNone/>
              <a:tabLst/>
              <a:defRPr/>
            </a:pPr>
            <a:r>
              <a:rPr kumimoji="0" lang="en-US" sz="1400" b="0" i="0" u="none" strike="noStrike" kern="0" cap="none" spc="-30" normalizeH="0" baseline="0" noProof="0" dirty="0" smtClean="0">
                <a:ln>
                  <a:noFill/>
                </a:ln>
                <a:solidFill>
                  <a:srgbClr val="FFFFFF"/>
                </a:solidFill>
                <a:effectLst/>
                <a:uLnTx/>
                <a:uFillTx/>
              </a:rPr>
              <a:t>Common identity across on-premises and in the cloud </a:t>
            </a:r>
          </a:p>
        </p:txBody>
      </p:sp>
      <p:sp>
        <p:nvSpPr>
          <p:cNvPr id="15" name="Rectangle 14"/>
          <p:cNvSpPr/>
          <p:nvPr/>
        </p:nvSpPr>
        <p:spPr>
          <a:xfrm>
            <a:off x="6361884" y="5417701"/>
            <a:ext cx="5939500" cy="879215"/>
          </a:xfrm>
          <a:prstGeom prst="rect">
            <a:avLst/>
          </a:prstGeom>
        </p:spPr>
        <p:txBody>
          <a:bodyPr wrap="square">
            <a:spAutoFit/>
          </a:bodyPr>
          <a:lstStyle/>
          <a:p>
            <a:pPr defTabSz="914126">
              <a:lnSpc>
                <a:spcPct val="90000"/>
              </a:lnSpc>
              <a:spcBef>
                <a:spcPts val="800"/>
              </a:spcBef>
              <a:defRPr/>
            </a:pPr>
            <a:r>
              <a:rPr lang="en-US" sz="1400" kern="0" spc="-30" dirty="0">
                <a:solidFill>
                  <a:srgbClr val="FFFFFF"/>
                </a:solidFill>
              </a:rPr>
              <a:t>Policy-based access control to corporate applications and </a:t>
            </a:r>
            <a:r>
              <a:rPr lang="en-US" sz="1400" kern="0" spc="-30" dirty="0" smtClean="0">
                <a:solidFill>
                  <a:srgbClr val="FFFFFF"/>
                </a:solidFill>
              </a:rPr>
              <a:t>data</a:t>
            </a:r>
          </a:p>
          <a:p>
            <a:pPr lvl="0" defTabSz="914126">
              <a:lnSpc>
                <a:spcPct val="90000"/>
              </a:lnSpc>
              <a:spcBef>
                <a:spcPts val="800"/>
              </a:spcBef>
              <a:defRPr/>
            </a:pPr>
            <a:r>
              <a:rPr lang="en-US" sz="1400" kern="0" spc="-30" dirty="0">
                <a:solidFill>
                  <a:srgbClr val="FFFFFF"/>
                </a:solidFill>
              </a:rPr>
              <a:t>Increased security through multi-factor authentication</a:t>
            </a:r>
          </a:p>
          <a:p>
            <a:pPr marL="0" marR="0" lvl="0" indent="0" defTabSz="914126" eaLnBrk="1" fontAlgn="auto" latinLnBrk="0" hangingPunct="1">
              <a:lnSpc>
                <a:spcPct val="90000"/>
              </a:lnSpc>
              <a:spcBef>
                <a:spcPts val="800"/>
              </a:spcBef>
              <a:spcAft>
                <a:spcPts val="0"/>
              </a:spcAft>
              <a:buClrTx/>
              <a:buSzTx/>
              <a:buFontTx/>
              <a:buNone/>
              <a:tabLst/>
              <a:defRPr/>
            </a:pPr>
            <a:r>
              <a:rPr kumimoji="0" lang="en-US" sz="1400" b="0" i="0" u="none" strike="noStrike" kern="0" cap="none" spc="-30" normalizeH="0" baseline="0" noProof="0" dirty="0" smtClean="0">
                <a:ln>
                  <a:noFill/>
                </a:ln>
                <a:solidFill>
                  <a:srgbClr val="FFFFFF"/>
                </a:solidFill>
                <a:effectLst/>
                <a:uLnTx/>
                <a:uFillTx/>
              </a:rPr>
              <a:t>Selective wipe of corporate apps and data to protect  information</a:t>
            </a:r>
          </a:p>
        </p:txBody>
      </p:sp>
      <p:grpSp>
        <p:nvGrpSpPr>
          <p:cNvPr id="16" name="Group 15"/>
          <p:cNvGrpSpPr/>
          <p:nvPr/>
        </p:nvGrpSpPr>
        <p:grpSpPr>
          <a:xfrm>
            <a:off x="300404" y="1214472"/>
            <a:ext cx="11919593" cy="941001"/>
            <a:chOff x="269302" y="1314835"/>
            <a:chExt cx="11922698" cy="941246"/>
          </a:xfrm>
        </p:grpSpPr>
        <p:grpSp>
          <p:nvGrpSpPr>
            <p:cNvPr id="17" name="Group 16"/>
            <p:cNvGrpSpPr/>
            <p:nvPr/>
          </p:nvGrpSpPr>
          <p:grpSpPr>
            <a:xfrm>
              <a:off x="269302" y="1314835"/>
              <a:ext cx="11922698" cy="941246"/>
              <a:chOff x="269302" y="1187962"/>
              <a:chExt cx="11922698" cy="941246"/>
            </a:xfrm>
          </p:grpSpPr>
          <p:sp>
            <p:nvSpPr>
              <p:cNvPr id="19" name="Rectangle 18"/>
              <p:cNvSpPr/>
              <p:nvPr/>
            </p:nvSpPr>
            <p:spPr bwMode="auto">
              <a:xfrm>
                <a:off x="986690" y="1241748"/>
                <a:ext cx="11205310" cy="833675"/>
              </a:xfrm>
              <a:prstGeom prst="rect">
                <a:avLst/>
              </a:prstGeom>
              <a:solidFill>
                <a:srgbClr val="FFFFFF"/>
              </a:solidFill>
              <a:ln w="25400" cap="flat" cmpd="sng" algn="ctr">
                <a:noFill/>
                <a:prstDash val="solid"/>
                <a:headEnd type="none" w="med" len="med"/>
                <a:tailEnd type="none" w="med" len="med"/>
              </a:ln>
              <a:effectLst/>
            </p:spPr>
            <p:txBody>
              <a:bodyPr vert="horz" wrap="square" lIns="448095" tIns="143391" rIns="179238" bIns="143391" numCol="1" rtlCol="0" anchor="ctr" anchorCtr="0" compatLnSpc="1">
                <a:prstTxWarp prst="textNoShape">
                  <a:avLst/>
                </a:prstTxWarp>
                <a:noAutofit/>
              </a:bodyPr>
              <a:lstStyle/>
              <a:p>
                <a:pPr marL="0" marR="0" lvl="0" indent="0" defTabSz="895822" eaLnBrk="1" fontAlgn="base" latinLnBrk="0" hangingPunct="1">
                  <a:lnSpc>
                    <a:spcPct val="90000"/>
                  </a:lnSpc>
                  <a:spcBef>
                    <a:spcPts val="1176"/>
                  </a:spcBef>
                  <a:spcAft>
                    <a:spcPts val="0"/>
                  </a:spcAft>
                  <a:buClrTx/>
                  <a:buSzTx/>
                  <a:buFontTx/>
                  <a:buNone/>
                  <a:tabLst/>
                  <a:defRPr/>
                </a:pPr>
                <a:r>
                  <a:rPr kumimoji="0" lang="en-US" sz="2199" b="0" i="0" u="none" strike="noStrike" kern="0" cap="none" spc="0" normalizeH="0" baseline="0" noProof="0" dirty="0" smtClean="0">
                    <a:ln>
                      <a:noFill/>
                    </a:ln>
                    <a:solidFill>
                      <a:srgbClr val="002060"/>
                    </a:solidFill>
                    <a:effectLst/>
                    <a:uLnTx/>
                    <a:uFillTx/>
                    <a:ea typeface="Segoe UI" pitchFamily="34" charset="0"/>
                    <a:cs typeface="Segoe UI" pitchFamily="34" charset="0"/>
                  </a:rPr>
                  <a:t>Enable </a:t>
                </a:r>
                <a:r>
                  <a:rPr kumimoji="0" lang="en-US" sz="2199" b="0" i="0" u="none" strike="noStrike" kern="0" cap="none" spc="0" normalizeH="0" baseline="0" noProof="0" dirty="0" err="1" smtClean="0">
                    <a:ln>
                      <a:noFill/>
                    </a:ln>
                    <a:solidFill>
                      <a:srgbClr val="002060"/>
                    </a:solidFill>
                    <a:effectLst/>
                    <a:uLnTx/>
                    <a:uFillTx/>
                    <a:latin typeface="Segoe UI Semibold" panose="020B0702040204020203" pitchFamily="34" charset="0"/>
                    <a:ea typeface="Segoe UI" pitchFamily="34" charset="0"/>
                    <a:cs typeface="Segoe UI" pitchFamily="34" charset="0"/>
                  </a:rPr>
                  <a:t>consumerization</a:t>
                </a:r>
                <a:r>
                  <a:rPr kumimoji="0" lang="en-US" sz="2199" b="0" i="0" u="none" strike="noStrike" kern="0" cap="none" spc="0" normalizeH="0" baseline="0" noProof="0" dirty="0" smtClean="0">
                    <a:ln>
                      <a:noFill/>
                    </a:ln>
                    <a:solidFill>
                      <a:srgbClr val="002060"/>
                    </a:solidFill>
                    <a:effectLst/>
                    <a:uLnTx/>
                    <a:uFillTx/>
                    <a:latin typeface="Segoe UI Semibold" panose="020B0702040204020203" pitchFamily="34" charset="0"/>
                    <a:ea typeface="Segoe UI" pitchFamily="34" charset="0"/>
                    <a:cs typeface="Segoe UI" pitchFamily="34" charset="0"/>
                  </a:rPr>
                  <a:t> of IT </a:t>
                </a:r>
                <a:r>
                  <a:rPr kumimoji="0" lang="en-US" sz="2199" b="0" i="0" u="none" strike="noStrike" kern="0" cap="none" spc="0" normalizeH="0" baseline="0" noProof="0" dirty="0" smtClean="0">
                    <a:ln>
                      <a:noFill/>
                    </a:ln>
                    <a:solidFill>
                      <a:srgbClr val="002060"/>
                    </a:solidFill>
                    <a:effectLst/>
                    <a:uLnTx/>
                    <a:uFillTx/>
                    <a:ea typeface="Segoe UI" pitchFamily="34" charset="0"/>
                    <a:cs typeface="Segoe UI" pitchFamily="34" charset="0"/>
                  </a:rPr>
                  <a:t>without compromising compliance</a:t>
                </a:r>
              </a:p>
            </p:txBody>
          </p:sp>
          <p:sp>
            <p:nvSpPr>
              <p:cNvPr id="20" name="Oval 19"/>
              <p:cNvSpPr>
                <a:spLocks noChangeAspect="1"/>
              </p:cNvSpPr>
              <p:nvPr/>
            </p:nvSpPr>
            <p:spPr bwMode="auto">
              <a:xfrm>
                <a:off x="269302" y="1187962"/>
                <a:ext cx="941246" cy="941246"/>
              </a:xfrm>
              <a:prstGeom prst="ellipse">
                <a:avLst/>
              </a:prstGeom>
              <a:solidFill>
                <a:schemeClr val="bg2"/>
              </a:solidFill>
              <a:ln w="76200"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895822"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dirty="0" err="1" smtClean="0">
                  <a:ln>
                    <a:noFill/>
                  </a:ln>
                  <a:gradFill>
                    <a:gsLst>
                      <a:gs pos="1250">
                        <a:srgbClr val="EFEFEF"/>
                      </a:gs>
                      <a:gs pos="10417">
                        <a:srgbClr val="EFEFEF"/>
                      </a:gs>
                    </a:gsLst>
                    <a:lin ang="5400000" scaled="0"/>
                  </a:gradFill>
                  <a:effectLst/>
                  <a:uLnTx/>
                  <a:uFillTx/>
                  <a:latin typeface="Segoe UI"/>
                </a:endParaRPr>
              </a:p>
            </p:txBody>
          </p:sp>
        </p:grpSp>
        <p:pic>
          <p:nvPicPr>
            <p:cNvPr id="18" name="Picture 1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23114" y="1408030"/>
              <a:ext cx="633622" cy="633624"/>
            </a:xfrm>
            <a:prstGeom prst="rect">
              <a:avLst/>
            </a:prstGeom>
          </p:spPr>
        </p:pic>
      </p:grpSp>
      <p:grpSp>
        <p:nvGrpSpPr>
          <p:cNvPr id="21" name="Group 46"/>
          <p:cNvGrpSpPr/>
          <p:nvPr/>
        </p:nvGrpSpPr>
        <p:grpSpPr>
          <a:xfrm>
            <a:off x="5114235" y="2489829"/>
            <a:ext cx="1032609" cy="1035622"/>
            <a:chOff x="5084388" y="5162562"/>
            <a:chExt cx="1032878" cy="1035892"/>
          </a:xfrm>
          <a:solidFill>
            <a:srgbClr val="FFFFFF"/>
          </a:solidFill>
        </p:grpSpPr>
        <p:sp>
          <p:nvSpPr>
            <p:cNvPr id="22" name="Freeform 7"/>
            <p:cNvSpPr>
              <a:spLocks noEditPoints="1"/>
            </p:cNvSpPr>
            <p:nvPr/>
          </p:nvSpPr>
          <p:spPr bwMode="auto">
            <a:xfrm rot="10800000">
              <a:off x="5084388" y="5162562"/>
              <a:ext cx="1032878" cy="1035892"/>
            </a:xfrm>
            <a:custGeom>
              <a:avLst/>
              <a:gdLst>
                <a:gd name="T0" fmla="*/ 216 w 435"/>
                <a:gd name="T1" fmla="*/ 0 h 436"/>
                <a:gd name="T2" fmla="*/ 0 w 435"/>
                <a:gd name="T3" fmla="*/ 220 h 436"/>
                <a:gd name="T4" fmla="*/ 216 w 435"/>
                <a:gd name="T5" fmla="*/ 436 h 436"/>
                <a:gd name="T6" fmla="*/ 435 w 435"/>
                <a:gd name="T7" fmla="*/ 220 h 436"/>
                <a:gd name="T8" fmla="*/ 216 w 435"/>
                <a:gd name="T9" fmla="*/ 0 h 436"/>
                <a:gd name="T10" fmla="*/ 216 w 435"/>
                <a:gd name="T11" fmla="*/ 410 h 436"/>
                <a:gd name="T12" fmla="*/ 27 w 435"/>
                <a:gd name="T13" fmla="*/ 220 h 436"/>
                <a:gd name="T14" fmla="*/ 216 w 435"/>
                <a:gd name="T15" fmla="*/ 27 h 436"/>
                <a:gd name="T16" fmla="*/ 409 w 435"/>
                <a:gd name="T17" fmla="*/ 220 h 436"/>
                <a:gd name="T18" fmla="*/ 216 w 435"/>
                <a:gd name="T19" fmla="*/ 41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5" h="436">
                  <a:moveTo>
                    <a:pt x="216" y="0"/>
                  </a:moveTo>
                  <a:cubicBezTo>
                    <a:pt x="97" y="0"/>
                    <a:pt x="0" y="97"/>
                    <a:pt x="0" y="220"/>
                  </a:cubicBezTo>
                  <a:cubicBezTo>
                    <a:pt x="0" y="340"/>
                    <a:pt x="97" y="436"/>
                    <a:pt x="216" y="436"/>
                  </a:cubicBezTo>
                  <a:cubicBezTo>
                    <a:pt x="339" y="436"/>
                    <a:pt x="435" y="340"/>
                    <a:pt x="435" y="220"/>
                  </a:cubicBezTo>
                  <a:cubicBezTo>
                    <a:pt x="435" y="97"/>
                    <a:pt x="339" y="0"/>
                    <a:pt x="216" y="0"/>
                  </a:cubicBezTo>
                  <a:close/>
                  <a:moveTo>
                    <a:pt x="216" y="410"/>
                  </a:moveTo>
                  <a:cubicBezTo>
                    <a:pt x="111" y="410"/>
                    <a:pt x="27" y="325"/>
                    <a:pt x="27" y="220"/>
                  </a:cubicBezTo>
                  <a:cubicBezTo>
                    <a:pt x="27" y="114"/>
                    <a:pt x="111" y="27"/>
                    <a:pt x="216" y="27"/>
                  </a:cubicBezTo>
                  <a:cubicBezTo>
                    <a:pt x="321" y="27"/>
                    <a:pt x="409" y="114"/>
                    <a:pt x="409" y="220"/>
                  </a:cubicBezTo>
                  <a:cubicBezTo>
                    <a:pt x="409" y="325"/>
                    <a:pt x="321" y="410"/>
                    <a:pt x="216" y="410"/>
                  </a:cubicBezTo>
                  <a:close/>
                </a:path>
              </a:pathLst>
            </a:custGeom>
            <a:grpFill/>
            <a:ln>
              <a:noFill/>
            </a:ln>
            <a:effectLst/>
            <a:extLst/>
          </p:spPr>
          <p:txBody>
            <a:bodyPr vert="horz" wrap="square" lIns="91416" tIns="45708" rIns="91416" bIns="45708" numCol="1" anchor="t" anchorCtr="0" compatLnSpc="1">
              <a:prstTxWarp prst="textNoShape">
                <a:avLst/>
              </a:prstTxWarp>
            </a:bodyPr>
            <a:lstStyle/>
            <a:p>
              <a:pPr marL="0" marR="0" lvl="0" indent="0" defTabSz="1218534"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dirty="0" smtClean="0">
                <a:ln>
                  <a:noFill/>
                </a:ln>
                <a:solidFill>
                  <a:srgbClr val="FFFFFF"/>
                </a:solidFill>
                <a:effectLst/>
                <a:uLnTx/>
                <a:uFillTx/>
              </a:endParaRPr>
            </a:p>
          </p:txBody>
        </p:sp>
        <p:grpSp>
          <p:nvGrpSpPr>
            <p:cNvPr id="23" name="Group 22"/>
            <p:cNvGrpSpPr>
              <a:grpSpLocks noChangeAspect="1"/>
            </p:cNvGrpSpPr>
            <p:nvPr/>
          </p:nvGrpSpPr>
          <p:grpSpPr bwMode="black">
            <a:xfrm>
              <a:off x="5475017" y="5346623"/>
              <a:ext cx="346215" cy="667770"/>
              <a:chOff x="3360738" y="989012"/>
              <a:chExt cx="746125" cy="1439864"/>
            </a:xfrm>
            <a:grpFill/>
          </p:grpSpPr>
          <p:sp>
            <p:nvSpPr>
              <p:cNvPr id="24" name="Freeform 23"/>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ctr" defTabSz="1218534"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endParaRPr>
              </a:p>
            </p:txBody>
          </p:sp>
          <p:sp>
            <p:nvSpPr>
              <p:cNvPr id="25" name="Freeform 24"/>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ctr" defTabSz="1218534"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endParaRPr>
              </a:p>
            </p:txBody>
          </p:sp>
          <p:sp>
            <p:nvSpPr>
              <p:cNvPr id="26" name="Oval 38"/>
              <p:cNvSpPr>
                <a:spLocks noChangeArrowheads="1"/>
              </p:cNvSpPr>
              <p:nvPr/>
            </p:nvSpPr>
            <p:spPr bwMode="black">
              <a:xfrm>
                <a:off x="3525838" y="989012"/>
                <a:ext cx="234950" cy="2381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ctr" defTabSz="1218534"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endParaRPr>
              </a:p>
            </p:txBody>
          </p:sp>
          <p:sp>
            <p:nvSpPr>
              <p:cNvPr id="27"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ctr" defTabSz="1218534"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endParaRPr>
              </a:p>
            </p:txBody>
          </p:sp>
        </p:grpSp>
      </p:grpSp>
    </p:spTree>
    <p:extLst>
      <p:ext uri="{BB962C8B-B14F-4D97-AF65-F5344CB8AC3E}">
        <p14:creationId xmlns:p14="http://schemas.microsoft.com/office/powerpoint/2010/main" val="35693348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1+#ppt_w/2"/>
                                          </p:val>
                                        </p:tav>
                                        <p:tav tm="100000">
                                          <p:val>
                                            <p:strVal val="#ppt_x"/>
                                          </p:val>
                                        </p:tav>
                                      </p:tavLst>
                                    </p:anim>
                                    <p:anim calcmode="lin" valueType="num">
                                      <p:cBhvr additive="base">
                                        <p:cTn id="8" dur="500" fill="hold"/>
                                        <p:tgtEl>
                                          <p:spTgt spid="1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750"/>
                                        <p:tgtEl>
                                          <p:spTgt spid="5"/>
                                        </p:tgtEl>
                                      </p:cBhvr>
                                    </p:animEffect>
                                  </p:childTnLst>
                                </p:cTn>
                              </p:par>
                              <p:par>
                                <p:cTn id="12" presetID="63" presetClass="path" presetSubtype="0" decel="100000" fill="hold" grpId="1" nodeType="withEffect">
                                  <p:stCondLst>
                                    <p:cond delay="500"/>
                                  </p:stCondLst>
                                  <p:childTnLst>
                                    <p:animMotion origin="layout" path="M -0.02409 2.22222E-6 L -3.125E-6 2.22222E-6 " pathEditMode="relative" rAng="0" ptsTypes="AA">
                                      <p:cBhvr>
                                        <p:cTn id="13" dur="500" fill="hold"/>
                                        <p:tgtEl>
                                          <p:spTgt spid="5"/>
                                        </p:tgtEl>
                                        <p:attrNameLst>
                                          <p:attrName>ppt_x</p:attrName>
                                          <p:attrName>ppt_y</p:attrName>
                                        </p:attrNameLst>
                                      </p:cBhvr>
                                      <p:rCtr x="1198" y="0"/>
                                    </p:animMotion>
                                  </p:childTnLst>
                                </p:cTn>
                              </p:par>
                              <p:par>
                                <p:cTn id="14" presetID="6" presetClass="emph" presetSubtype="0" accel="100000" autoRev="1" fill="hold" grpId="2" nodeType="withEffect">
                                  <p:stCondLst>
                                    <p:cond delay="0"/>
                                  </p:stCondLst>
                                  <p:childTnLst>
                                    <p:animScale>
                                      <p:cBhvr>
                                        <p:cTn id="15" dur="500" fill="hold"/>
                                        <p:tgtEl>
                                          <p:spTgt spid="5"/>
                                        </p:tgtEl>
                                      </p:cBhvr>
                                      <p:by x="92000" y="92000"/>
                                    </p:animScale>
                                  </p:childTnLst>
                                </p:cTn>
                              </p:par>
                              <p:par>
                                <p:cTn id="16" presetID="10" presetClass="entr" presetSubtype="0" fill="hold" nodeType="withEffect">
                                  <p:stCondLst>
                                    <p:cond delay="55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750"/>
                                        <p:tgtEl>
                                          <p:spTgt spid="21"/>
                                        </p:tgtEl>
                                      </p:cBhvr>
                                    </p:animEffect>
                                  </p:childTnLst>
                                </p:cTn>
                              </p:par>
                              <p:par>
                                <p:cTn id="19" presetID="63" presetClass="path" presetSubtype="0" decel="100000" fill="hold" nodeType="withEffect">
                                  <p:stCondLst>
                                    <p:cond delay="550"/>
                                  </p:stCondLst>
                                  <p:childTnLst>
                                    <p:animMotion origin="layout" path="M -0.02409 -7.40741E-7 L 5E-6 -7.40741E-7 " pathEditMode="relative" rAng="0" ptsTypes="AA">
                                      <p:cBhvr>
                                        <p:cTn id="20" dur="500" fill="hold"/>
                                        <p:tgtEl>
                                          <p:spTgt spid="21"/>
                                        </p:tgtEl>
                                        <p:attrNameLst>
                                          <p:attrName>ppt_x</p:attrName>
                                          <p:attrName>ppt_y</p:attrName>
                                        </p:attrNameLst>
                                      </p:cBhvr>
                                      <p:rCtr x="1198" y="0"/>
                                    </p:animMotion>
                                  </p:childTnLst>
                                </p:cTn>
                              </p:par>
                              <p:par>
                                <p:cTn id="21" presetID="6" presetClass="emph" presetSubtype="0" accel="100000" autoRev="1" fill="hold" nodeType="withEffect">
                                  <p:stCondLst>
                                    <p:cond delay="50"/>
                                  </p:stCondLst>
                                  <p:childTnLst>
                                    <p:animScale>
                                      <p:cBhvr>
                                        <p:cTn id="22" dur="500" fill="hold"/>
                                        <p:tgtEl>
                                          <p:spTgt spid="21"/>
                                        </p:tgtEl>
                                      </p:cBhvr>
                                      <p:by x="92000" y="92000"/>
                                    </p:animScale>
                                  </p:childTnLst>
                                </p:cTn>
                              </p:par>
                              <p:par>
                                <p:cTn id="23" presetID="10" presetClass="entr" presetSubtype="0" fill="hold" nodeType="withEffect">
                                  <p:stCondLst>
                                    <p:cond delay="65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750"/>
                                        <p:tgtEl>
                                          <p:spTgt spid="10"/>
                                        </p:tgtEl>
                                      </p:cBhvr>
                                    </p:animEffect>
                                  </p:childTnLst>
                                </p:cTn>
                              </p:par>
                              <p:par>
                                <p:cTn id="26" presetID="63" presetClass="path" presetSubtype="0" decel="100000" fill="hold" nodeType="withEffect">
                                  <p:stCondLst>
                                    <p:cond delay="650"/>
                                  </p:stCondLst>
                                  <p:childTnLst>
                                    <p:animMotion origin="layout" path="M -0.02409 3.7037E-7 L 5E-6 3.7037E-7 " pathEditMode="relative" rAng="0" ptsTypes="AA">
                                      <p:cBhvr>
                                        <p:cTn id="27" dur="500" fill="hold"/>
                                        <p:tgtEl>
                                          <p:spTgt spid="10"/>
                                        </p:tgtEl>
                                        <p:attrNameLst>
                                          <p:attrName>ppt_x</p:attrName>
                                          <p:attrName>ppt_y</p:attrName>
                                        </p:attrNameLst>
                                      </p:cBhvr>
                                      <p:rCtr x="1198" y="0"/>
                                    </p:animMotion>
                                  </p:childTnLst>
                                </p:cTn>
                              </p:par>
                              <p:par>
                                <p:cTn id="28" presetID="6" presetClass="emph" presetSubtype="0" accel="100000" autoRev="1" fill="hold" nodeType="withEffect">
                                  <p:stCondLst>
                                    <p:cond delay="150"/>
                                  </p:stCondLst>
                                  <p:childTnLst>
                                    <p:animScale>
                                      <p:cBhvr>
                                        <p:cTn id="29" dur="500" fill="hold"/>
                                        <p:tgtEl>
                                          <p:spTgt spid="10"/>
                                        </p:tgtEl>
                                      </p:cBhvr>
                                      <p:by x="92000" y="92000"/>
                                    </p:animScale>
                                  </p:childTnLst>
                                </p:cTn>
                              </p:par>
                              <p:par>
                                <p:cTn id="30" presetID="10" presetClass="entr" presetSubtype="0" fill="hold" grpId="0" nodeType="withEffect">
                                  <p:stCondLst>
                                    <p:cond delay="75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750"/>
                                        <p:tgtEl>
                                          <p:spTgt spid="6"/>
                                        </p:tgtEl>
                                      </p:cBhvr>
                                    </p:animEffect>
                                  </p:childTnLst>
                                </p:cTn>
                              </p:par>
                              <p:par>
                                <p:cTn id="33" presetID="63" presetClass="path" presetSubtype="0" decel="100000" fill="hold" grpId="1" nodeType="withEffect">
                                  <p:stCondLst>
                                    <p:cond delay="700"/>
                                  </p:stCondLst>
                                  <p:childTnLst>
                                    <p:animMotion origin="layout" path="M -0.02409 3.7037E-7 L -2.08333E-7 3.7037E-7 " pathEditMode="relative" rAng="0" ptsTypes="AA">
                                      <p:cBhvr>
                                        <p:cTn id="34" dur="500" fill="hold"/>
                                        <p:tgtEl>
                                          <p:spTgt spid="6"/>
                                        </p:tgtEl>
                                        <p:attrNameLst>
                                          <p:attrName>ppt_x</p:attrName>
                                          <p:attrName>ppt_y</p:attrName>
                                        </p:attrNameLst>
                                      </p:cBhvr>
                                      <p:rCtr x="1198" y="0"/>
                                    </p:animMotion>
                                  </p:childTnLst>
                                </p:cTn>
                              </p:par>
                              <p:par>
                                <p:cTn id="35" presetID="6" presetClass="emph" presetSubtype="0" accel="100000" autoRev="1" fill="hold" grpId="2" nodeType="withEffect">
                                  <p:stCondLst>
                                    <p:cond delay="200"/>
                                  </p:stCondLst>
                                  <p:childTnLst>
                                    <p:animScale>
                                      <p:cBhvr>
                                        <p:cTn id="36" dur="500" fill="hold"/>
                                        <p:tgtEl>
                                          <p:spTgt spid="6"/>
                                        </p:tgtEl>
                                      </p:cBhvr>
                                      <p:by x="92000" y="92000"/>
                                    </p:animScale>
                                  </p:childTnLst>
                                </p:cTn>
                              </p:par>
                              <p:par>
                                <p:cTn id="37" presetID="10" presetClass="entr" presetSubtype="0" fill="hold" nodeType="withEffect">
                                  <p:stCondLst>
                                    <p:cond delay="800"/>
                                  </p:stCondLst>
                                  <p:childTnLst>
                                    <p:set>
                                      <p:cBhvr>
                                        <p:cTn id="38" dur="1" fill="hold">
                                          <p:stCondLst>
                                            <p:cond delay="0"/>
                                          </p:stCondLst>
                                        </p:cTn>
                                        <p:tgtEl>
                                          <p:spTgt spid="7"/>
                                        </p:tgtEl>
                                        <p:attrNameLst>
                                          <p:attrName>style.visibility</p:attrName>
                                        </p:attrNameLst>
                                      </p:cBhvr>
                                      <p:to>
                                        <p:strVal val="visible"/>
                                      </p:to>
                                    </p:set>
                                    <p:animEffect transition="in" filter="fade">
                                      <p:cBhvr>
                                        <p:cTn id="39" dur="750"/>
                                        <p:tgtEl>
                                          <p:spTgt spid="7"/>
                                        </p:tgtEl>
                                      </p:cBhvr>
                                    </p:animEffect>
                                  </p:childTnLst>
                                </p:cTn>
                              </p:par>
                              <p:par>
                                <p:cTn id="40" presetID="63" presetClass="path" presetSubtype="0" decel="100000" fill="hold" nodeType="withEffect">
                                  <p:stCondLst>
                                    <p:cond delay="800"/>
                                  </p:stCondLst>
                                  <p:childTnLst>
                                    <p:animMotion origin="layout" path="M -0.02409 1.11022E-16 L 5E-6 1.11022E-16 " pathEditMode="relative" rAng="0" ptsTypes="AA">
                                      <p:cBhvr>
                                        <p:cTn id="41" dur="500" fill="hold"/>
                                        <p:tgtEl>
                                          <p:spTgt spid="7"/>
                                        </p:tgtEl>
                                        <p:attrNameLst>
                                          <p:attrName>ppt_x</p:attrName>
                                          <p:attrName>ppt_y</p:attrName>
                                        </p:attrNameLst>
                                      </p:cBhvr>
                                      <p:rCtr x="1198" y="0"/>
                                    </p:animMotion>
                                  </p:childTnLst>
                                </p:cTn>
                              </p:par>
                              <p:par>
                                <p:cTn id="42" presetID="6" presetClass="emph" presetSubtype="0" accel="100000" autoRev="1" fill="hold" nodeType="withEffect">
                                  <p:stCondLst>
                                    <p:cond delay="300"/>
                                  </p:stCondLst>
                                  <p:childTnLst>
                                    <p:animScale>
                                      <p:cBhvr>
                                        <p:cTn id="43" dur="500" fill="hold"/>
                                        <p:tgtEl>
                                          <p:spTgt spid="7"/>
                                        </p:tgtEl>
                                      </p:cBhvr>
                                      <p:by x="92000" y="92000"/>
                                    </p:animScale>
                                  </p:childTnLst>
                                </p:cTn>
                              </p:par>
                              <p:par>
                                <p:cTn id="44" presetID="10" presetClass="entr" presetSubtype="0" fill="hold" grpId="0" nodeType="withEffect">
                                  <p:stCondLst>
                                    <p:cond delay="850"/>
                                  </p:stCondLst>
                                  <p:childTnLst>
                                    <p:set>
                                      <p:cBhvr>
                                        <p:cTn id="45" dur="1" fill="hold">
                                          <p:stCondLst>
                                            <p:cond delay="0"/>
                                          </p:stCondLst>
                                        </p:cTn>
                                        <p:tgtEl>
                                          <p:spTgt spid="4"/>
                                        </p:tgtEl>
                                        <p:attrNameLst>
                                          <p:attrName>style.visibility</p:attrName>
                                        </p:attrNameLst>
                                      </p:cBhvr>
                                      <p:to>
                                        <p:strVal val="visible"/>
                                      </p:to>
                                    </p:set>
                                    <p:animEffect transition="in" filter="fade">
                                      <p:cBhvr>
                                        <p:cTn id="46" dur="750"/>
                                        <p:tgtEl>
                                          <p:spTgt spid="4"/>
                                        </p:tgtEl>
                                      </p:cBhvr>
                                    </p:animEffect>
                                  </p:childTnLst>
                                </p:cTn>
                              </p:par>
                              <p:par>
                                <p:cTn id="47" presetID="63" presetClass="path" presetSubtype="0" decel="100000" fill="hold" grpId="1" nodeType="withEffect">
                                  <p:stCondLst>
                                    <p:cond delay="850"/>
                                  </p:stCondLst>
                                  <p:childTnLst>
                                    <p:animMotion origin="layout" path="M -0.02409 1.11022E-16 L -4.16667E-7 1.11022E-16 " pathEditMode="relative" rAng="0" ptsTypes="AA">
                                      <p:cBhvr>
                                        <p:cTn id="48" dur="500" fill="hold"/>
                                        <p:tgtEl>
                                          <p:spTgt spid="4"/>
                                        </p:tgtEl>
                                        <p:attrNameLst>
                                          <p:attrName>ppt_x</p:attrName>
                                          <p:attrName>ppt_y</p:attrName>
                                        </p:attrNameLst>
                                      </p:cBhvr>
                                      <p:rCtr x="1198" y="0"/>
                                    </p:animMotion>
                                  </p:childTnLst>
                                </p:cTn>
                              </p:par>
                              <p:par>
                                <p:cTn id="49" presetID="6" presetClass="emph" presetSubtype="0" accel="100000" autoRev="1" fill="hold" grpId="2" nodeType="withEffect">
                                  <p:stCondLst>
                                    <p:cond delay="350"/>
                                  </p:stCondLst>
                                  <p:childTnLst>
                                    <p:animScale>
                                      <p:cBhvr>
                                        <p:cTn id="50" dur="500" fill="hold"/>
                                        <p:tgtEl>
                                          <p:spTgt spid="4"/>
                                        </p:tgtEl>
                                      </p:cBhvr>
                                      <p:by x="92000" y="92000"/>
                                    </p:animScale>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500"/>
                                  </p:stCondLst>
                                  <p:childTnLst>
                                    <p:set>
                                      <p:cBhvr>
                                        <p:cTn id="54" dur="1" fill="hold">
                                          <p:stCondLst>
                                            <p:cond delay="0"/>
                                          </p:stCondLst>
                                        </p:cTn>
                                        <p:tgtEl>
                                          <p:spTgt spid="13"/>
                                        </p:tgtEl>
                                        <p:attrNameLst>
                                          <p:attrName>style.visibility</p:attrName>
                                        </p:attrNameLst>
                                      </p:cBhvr>
                                      <p:to>
                                        <p:strVal val="visible"/>
                                      </p:to>
                                    </p:set>
                                    <p:animEffect transition="in" filter="fade">
                                      <p:cBhvr>
                                        <p:cTn id="55" dur="750"/>
                                        <p:tgtEl>
                                          <p:spTgt spid="13"/>
                                        </p:tgtEl>
                                      </p:cBhvr>
                                    </p:animEffect>
                                  </p:childTnLst>
                                </p:cTn>
                              </p:par>
                              <p:par>
                                <p:cTn id="56" presetID="63" presetClass="path" presetSubtype="0" decel="100000" fill="hold" grpId="1" nodeType="withEffect">
                                  <p:stCondLst>
                                    <p:cond delay="500"/>
                                  </p:stCondLst>
                                  <p:childTnLst>
                                    <p:animMotion origin="layout" path="M -0.02409 2.22222E-6 L 2.5E-6 2.22222E-6 " pathEditMode="relative" rAng="0" ptsTypes="AA">
                                      <p:cBhvr>
                                        <p:cTn id="57" dur="500" fill="hold"/>
                                        <p:tgtEl>
                                          <p:spTgt spid="13"/>
                                        </p:tgtEl>
                                        <p:attrNameLst>
                                          <p:attrName>ppt_x</p:attrName>
                                          <p:attrName>ppt_y</p:attrName>
                                        </p:attrNameLst>
                                      </p:cBhvr>
                                      <p:rCtr x="1198" y="0"/>
                                    </p:animMotion>
                                  </p:childTnLst>
                                </p:cTn>
                              </p:par>
                              <p:par>
                                <p:cTn id="58" presetID="6" presetClass="emph" presetSubtype="0" accel="100000" autoRev="1" fill="hold" grpId="2" nodeType="withEffect">
                                  <p:stCondLst>
                                    <p:cond delay="0"/>
                                  </p:stCondLst>
                                  <p:childTnLst>
                                    <p:animScale>
                                      <p:cBhvr>
                                        <p:cTn id="59" dur="500" fill="hold"/>
                                        <p:tgtEl>
                                          <p:spTgt spid="13"/>
                                        </p:tgtEl>
                                      </p:cBhvr>
                                      <p:by x="92000" y="92000"/>
                                    </p:animScale>
                                  </p:childTnLst>
                                </p:cTn>
                              </p:par>
                              <p:par>
                                <p:cTn id="60" presetID="10" presetClass="entr" presetSubtype="0" fill="hold" grpId="0" nodeType="withEffect">
                                  <p:stCondLst>
                                    <p:cond delay="750"/>
                                  </p:stCondLst>
                                  <p:childTnLst>
                                    <p:set>
                                      <p:cBhvr>
                                        <p:cTn id="61" dur="1" fill="hold">
                                          <p:stCondLst>
                                            <p:cond delay="0"/>
                                          </p:stCondLst>
                                        </p:cTn>
                                        <p:tgtEl>
                                          <p:spTgt spid="14"/>
                                        </p:tgtEl>
                                        <p:attrNameLst>
                                          <p:attrName>style.visibility</p:attrName>
                                        </p:attrNameLst>
                                      </p:cBhvr>
                                      <p:to>
                                        <p:strVal val="visible"/>
                                      </p:to>
                                    </p:set>
                                    <p:animEffect transition="in" filter="fade">
                                      <p:cBhvr>
                                        <p:cTn id="62" dur="750"/>
                                        <p:tgtEl>
                                          <p:spTgt spid="14"/>
                                        </p:tgtEl>
                                      </p:cBhvr>
                                    </p:animEffect>
                                  </p:childTnLst>
                                </p:cTn>
                              </p:par>
                              <p:par>
                                <p:cTn id="63" presetID="63" presetClass="path" presetSubtype="0" decel="100000" fill="hold" grpId="1" nodeType="withEffect">
                                  <p:stCondLst>
                                    <p:cond delay="750"/>
                                  </p:stCondLst>
                                  <p:childTnLst>
                                    <p:animMotion origin="layout" path="M -0.02409 4.07407E-6 L 2.5E-6 4.07407E-6 " pathEditMode="relative" rAng="0" ptsTypes="AA">
                                      <p:cBhvr>
                                        <p:cTn id="64" dur="500" fill="hold"/>
                                        <p:tgtEl>
                                          <p:spTgt spid="14"/>
                                        </p:tgtEl>
                                        <p:attrNameLst>
                                          <p:attrName>ppt_x</p:attrName>
                                          <p:attrName>ppt_y</p:attrName>
                                        </p:attrNameLst>
                                      </p:cBhvr>
                                      <p:rCtr x="1198" y="0"/>
                                    </p:animMotion>
                                  </p:childTnLst>
                                </p:cTn>
                              </p:par>
                              <p:par>
                                <p:cTn id="65" presetID="6" presetClass="emph" presetSubtype="0" accel="100000" autoRev="1" fill="hold" grpId="2" nodeType="withEffect">
                                  <p:stCondLst>
                                    <p:cond delay="250"/>
                                  </p:stCondLst>
                                  <p:childTnLst>
                                    <p:animScale>
                                      <p:cBhvr>
                                        <p:cTn id="66" dur="500" fill="hold"/>
                                        <p:tgtEl>
                                          <p:spTgt spid="14"/>
                                        </p:tgtEl>
                                      </p:cBhvr>
                                      <p:by x="92000" y="92000"/>
                                    </p:animScale>
                                  </p:childTnLst>
                                </p:cTn>
                              </p:par>
                              <p:par>
                                <p:cTn id="67" presetID="10" presetClass="entr" presetSubtype="0" fill="hold" grpId="0" nodeType="withEffect">
                                  <p:stCondLst>
                                    <p:cond delay="1000"/>
                                  </p:stCondLst>
                                  <p:childTnLst>
                                    <p:set>
                                      <p:cBhvr>
                                        <p:cTn id="68" dur="1" fill="hold">
                                          <p:stCondLst>
                                            <p:cond delay="0"/>
                                          </p:stCondLst>
                                        </p:cTn>
                                        <p:tgtEl>
                                          <p:spTgt spid="15"/>
                                        </p:tgtEl>
                                        <p:attrNameLst>
                                          <p:attrName>style.visibility</p:attrName>
                                        </p:attrNameLst>
                                      </p:cBhvr>
                                      <p:to>
                                        <p:strVal val="visible"/>
                                      </p:to>
                                    </p:set>
                                    <p:animEffect transition="in" filter="fade">
                                      <p:cBhvr>
                                        <p:cTn id="69" dur="750"/>
                                        <p:tgtEl>
                                          <p:spTgt spid="15"/>
                                        </p:tgtEl>
                                      </p:cBhvr>
                                    </p:animEffect>
                                  </p:childTnLst>
                                </p:cTn>
                              </p:par>
                              <p:par>
                                <p:cTn id="70" presetID="63" presetClass="path" presetSubtype="0" decel="100000" fill="hold" grpId="1" nodeType="withEffect">
                                  <p:stCondLst>
                                    <p:cond delay="1000"/>
                                  </p:stCondLst>
                                  <p:childTnLst>
                                    <p:animMotion origin="layout" path="M -0.02409 1.11022E-16 L -8.33333E-7 1.11022E-16 " pathEditMode="relative" rAng="0" ptsTypes="AA">
                                      <p:cBhvr>
                                        <p:cTn id="71" dur="500" fill="hold"/>
                                        <p:tgtEl>
                                          <p:spTgt spid="15"/>
                                        </p:tgtEl>
                                        <p:attrNameLst>
                                          <p:attrName>ppt_x</p:attrName>
                                          <p:attrName>ppt_y</p:attrName>
                                        </p:attrNameLst>
                                      </p:cBhvr>
                                      <p:rCtr x="1198" y="0"/>
                                    </p:animMotion>
                                  </p:childTnLst>
                                </p:cTn>
                              </p:par>
                              <p:par>
                                <p:cTn id="72" presetID="6" presetClass="emph" presetSubtype="0" accel="100000" autoRev="1" fill="hold" grpId="2" nodeType="withEffect">
                                  <p:stCondLst>
                                    <p:cond delay="500"/>
                                  </p:stCondLst>
                                  <p:childTnLst>
                                    <p:animScale>
                                      <p:cBhvr>
                                        <p:cTn id="73" dur="500" fill="hold"/>
                                        <p:tgtEl>
                                          <p:spTgt spid="15"/>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4" grpId="2"/>
      <p:bldP spid="5" grpId="0"/>
      <p:bldP spid="5" grpId="1"/>
      <p:bldP spid="5" grpId="2"/>
      <p:bldP spid="6" grpId="0"/>
      <p:bldP spid="6" grpId="1"/>
      <p:bldP spid="6" grpId="2"/>
      <p:bldP spid="13" grpId="0"/>
      <p:bldP spid="13" grpId="1"/>
      <p:bldP spid="13" grpId="2"/>
      <p:bldP spid="14" grpId="0"/>
      <p:bldP spid="14" grpId="1"/>
      <p:bldP spid="14" grpId="2"/>
      <p:bldP spid="15" grpId="0"/>
      <p:bldP spid="15" grpId="1"/>
      <p:bldP spid="15" grpId="2"/>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ated content</a:t>
            </a:r>
            <a:endParaRPr lang="en-US" dirty="0"/>
          </a:p>
        </p:txBody>
      </p:sp>
      <p:sp>
        <p:nvSpPr>
          <p:cNvPr id="6" name="Rectangle 5"/>
          <p:cNvSpPr/>
          <p:nvPr/>
        </p:nvSpPr>
        <p:spPr bwMode="auto">
          <a:xfrm>
            <a:off x="274320" y="1214472"/>
            <a:ext cx="11887518" cy="5483191"/>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371669" y="1395987"/>
            <a:ext cx="11790169" cy="590931"/>
          </a:xfrm>
          <a:prstGeom prst="rect">
            <a:avLst/>
          </a:prstGeom>
        </p:spPr>
        <p:txBody>
          <a:bodyPr wrap="square">
            <a:spAutoFit/>
          </a:bodyPr>
          <a:lstStyle/>
          <a:p>
            <a:pPr marL="571500" lvl="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Breakout Sessions</a:t>
            </a:r>
            <a:endParaRPr lang="en-US" sz="3600" dirty="0">
              <a:gradFill>
                <a:gsLst>
                  <a:gs pos="1250">
                    <a:schemeClr val="tx1"/>
                  </a:gs>
                  <a:gs pos="100000">
                    <a:schemeClr val="tx1"/>
                  </a:gs>
                </a:gsLst>
                <a:lin ang="5400000" scaled="0"/>
              </a:gradFill>
              <a:latin typeface="+mj-lt"/>
            </a:endParaRPr>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4" name="Table 13"/>
          <p:cNvGraphicFramePr>
            <a:graphicFrameLocks noGrp="1"/>
          </p:cNvGraphicFramePr>
          <p:nvPr>
            <p:extLst>
              <p:ext uri="{D42A27DB-BD31-4B8C-83A1-F6EECF244321}">
                <p14:modId xmlns:p14="http://schemas.microsoft.com/office/powerpoint/2010/main" val="2316763809"/>
              </p:ext>
            </p:extLst>
          </p:nvPr>
        </p:nvGraphicFramePr>
        <p:xfrm>
          <a:off x="484908" y="2210920"/>
          <a:ext cx="11471563" cy="3764280"/>
        </p:xfrm>
        <a:graphic>
          <a:graphicData uri="http://schemas.openxmlformats.org/drawingml/2006/table">
            <a:tbl>
              <a:tblPr>
                <a:tableStyleId>{2D5ABB26-0587-4C30-8999-92F81FD0307C}</a:tableStyleId>
              </a:tblPr>
              <a:tblGrid>
                <a:gridCol w="1524001"/>
                <a:gridCol w="9947562"/>
              </a:tblGrid>
              <a:tr h="370840">
                <a:tc>
                  <a:txBody>
                    <a:bodyPr/>
                    <a:lstStyle/>
                    <a:p>
                      <a:r>
                        <a:rPr lang="en-US" sz="1800" kern="1200" dirty="0" smtClean="0"/>
                        <a:t>WCA-B328 </a:t>
                      </a:r>
                      <a:endParaRPr lang="en-US" sz="1800" dirty="0"/>
                    </a:p>
                  </a:txBody>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kern="1200" dirty="0" smtClean="0"/>
                        <a:t>Microsoft System Center 2012 SP1 - Configuration Manager Overview</a:t>
                      </a:r>
                      <a:endParaRPr lang="en-US" sz="1800" dirty="0"/>
                    </a:p>
                  </a:txBody>
                  <a:tcPr/>
                </a:tc>
              </a:tr>
              <a:tr h="436875">
                <a:tc>
                  <a:txBody>
                    <a:bodyPr/>
                    <a:lstStyle/>
                    <a:p>
                      <a:r>
                        <a:rPr lang="en-US" sz="1800" dirty="0" smtClean="0"/>
                        <a:t>WCA-B343</a:t>
                      </a:r>
                      <a:endParaRPr lang="en-US" sz="1800" dirty="0"/>
                    </a:p>
                  </a:txBody>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smtClean="0"/>
                        <a:t>Unified Modern Device Management with Microsoft System Center 2012 SP1 - Configuration Manager Integrated with Windows Intune</a:t>
                      </a:r>
                      <a:endParaRPr lang="en-US" sz="1800" dirty="0"/>
                    </a:p>
                  </a:txBody>
                  <a:tcPr/>
                </a:tc>
              </a:tr>
              <a:tr h="219149">
                <a:tc>
                  <a:txBody>
                    <a:bodyPr/>
                    <a:lstStyle/>
                    <a:p>
                      <a:r>
                        <a:rPr lang="en-US" sz="1800" dirty="0" smtClean="0"/>
                        <a:t>WCA-B204</a:t>
                      </a:r>
                    </a:p>
                  </a:txBody>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smtClean="0"/>
                        <a:t>AD Enables</a:t>
                      </a:r>
                      <a:r>
                        <a:rPr lang="en-US" sz="1800" baseline="0" dirty="0" smtClean="0"/>
                        <a:t> End User Productivity &amp; IT Risk Management Across </a:t>
                      </a:r>
                      <a:r>
                        <a:rPr lang="en-US" sz="1800" baseline="0" smtClean="0"/>
                        <a:t>a Variety of Devices</a:t>
                      </a:r>
                      <a:endParaRPr lang="en-US" sz="1800" dirty="0"/>
                    </a:p>
                  </a:txBody>
                  <a:tcPr/>
                </a:tc>
              </a:tr>
              <a:tr h="219149">
                <a:tc>
                  <a:txBody>
                    <a:bodyPr/>
                    <a:lstStyle/>
                    <a:p>
                      <a:r>
                        <a:rPr lang="en-US" sz="1800" dirty="0" smtClean="0"/>
                        <a:t>WCA-B207</a:t>
                      </a:r>
                    </a:p>
                  </a:txBody>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smtClean="0"/>
                        <a:t>Understanding Access and Information Protection</a:t>
                      </a:r>
                      <a:endParaRPr lang="en-US" sz="1800" dirty="0"/>
                    </a:p>
                  </a:txBody>
                  <a:tcPr/>
                </a:tc>
              </a:tr>
              <a:tr h="370840">
                <a:tc>
                  <a:txBody>
                    <a:bodyPr/>
                    <a:lstStyle/>
                    <a:p>
                      <a:r>
                        <a:rPr lang="en-US" sz="1800" kern="1200" dirty="0" smtClean="0">
                          <a:solidFill>
                            <a:schemeClr val="tx1"/>
                          </a:solidFill>
                          <a:latin typeface="+mn-lt"/>
                          <a:ea typeface="+mn-ea"/>
                          <a:cs typeface="+mn-cs"/>
                        </a:rPr>
                        <a:t>WCA-B332</a:t>
                      </a:r>
                      <a:endParaRPr lang="en-US" sz="1800" dirty="0"/>
                    </a:p>
                  </a:txBody>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kern="1200" dirty="0" smtClean="0">
                          <a:solidFill>
                            <a:schemeClr val="tx1"/>
                          </a:solidFill>
                          <a:latin typeface="+mn-lt"/>
                          <a:ea typeface="+mn-ea"/>
                          <a:cs typeface="+mn-cs"/>
                        </a:rPr>
                        <a:t>Windows Server Work Folders – A Deep Dive Into The New Windows Server Data Sync Solution </a:t>
                      </a:r>
                      <a:endParaRPr lang="en-US" sz="1800" dirty="0"/>
                    </a:p>
                  </a:txBody>
                  <a:tcPr/>
                </a:tc>
              </a:tr>
              <a:tr h="370840">
                <a:tc>
                  <a:txBody>
                    <a:bodyPr/>
                    <a:lstStyle/>
                    <a:p>
                      <a:r>
                        <a:rPr lang="en-US" sz="1800" kern="1200" dirty="0" smtClean="0">
                          <a:solidFill>
                            <a:schemeClr val="tx1"/>
                          </a:solidFill>
                          <a:latin typeface="+mn-lt"/>
                          <a:ea typeface="+mn-ea"/>
                          <a:cs typeface="+mn-cs"/>
                        </a:rPr>
                        <a:t>WCA-B333</a:t>
                      </a:r>
                      <a:endParaRPr lang="en-US" sz="1800" dirty="0"/>
                    </a:p>
                  </a:txBody>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kern="1200" dirty="0" smtClean="0">
                          <a:solidFill>
                            <a:schemeClr val="tx1"/>
                          </a:solidFill>
                          <a:latin typeface="+mn-lt"/>
                          <a:ea typeface="+mn-ea"/>
                          <a:cs typeface="+mn-cs"/>
                        </a:rPr>
                        <a:t>Enable Work From Anywhere Without Losing Sleep: Remote Access With The Web Application Proxy and VPN</a:t>
                      </a:r>
                      <a:endParaRPr lang="en-US" sz="1800" dirty="0"/>
                    </a:p>
                  </a:txBody>
                  <a:tcPr/>
                </a:tc>
              </a:tr>
              <a:tr h="370840">
                <a:tc>
                  <a:txBody>
                    <a:bodyPr/>
                    <a:lstStyle/>
                    <a:p>
                      <a:r>
                        <a:rPr lang="en-US" sz="1800" kern="1200" dirty="0" smtClean="0">
                          <a:solidFill>
                            <a:schemeClr val="tx1"/>
                          </a:solidFill>
                          <a:latin typeface="+mn-lt"/>
                          <a:ea typeface="+mn-ea"/>
                          <a:cs typeface="+mn-cs"/>
                        </a:rPr>
                        <a:t>WCA-B334</a:t>
                      </a:r>
                      <a:endParaRPr lang="en-US" sz="1800" dirty="0"/>
                    </a:p>
                  </a:txBody>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kern="1200" dirty="0" smtClean="0">
                          <a:solidFill>
                            <a:schemeClr val="tx1"/>
                          </a:solidFill>
                          <a:latin typeface="+mn-lt"/>
                          <a:ea typeface="+mn-ea"/>
                          <a:cs typeface="+mn-cs"/>
                        </a:rPr>
                        <a:t>Secure Anywhere Access To Corporate Resources Such As Windows Server Work Folders Using ADFS</a:t>
                      </a:r>
                      <a:endParaRPr lang="en-US" sz="1800" dirty="0"/>
                    </a:p>
                  </a:txBody>
                  <a:tcPr/>
                </a:tc>
              </a:tr>
              <a:tr h="370840">
                <a:tc>
                  <a:txBody>
                    <a:bodyPr/>
                    <a:lstStyle/>
                    <a:p>
                      <a:r>
                        <a:rPr lang="en-US" sz="1800" dirty="0" smtClean="0"/>
                        <a:t>WCA-B215</a:t>
                      </a:r>
                      <a:endParaRPr lang="en-US" sz="1800" dirty="0"/>
                    </a:p>
                  </a:txBody>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smtClean="0"/>
                        <a:t>Using Dynamic Access Control and Rights Management for Information Protection</a:t>
                      </a:r>
                      <a:endParaRPr lang="en-US" sz="1800" dirty="0"/>
                    </a:p>
                  </a:txBody>
                  <a:tcPr/>
                </a:tc>
              </a:tr>
            </a:tbl>
          </a:graphicData>
        </a:graphic>
      </p:graphicFrame>
    </p:spTree>
    <p:extLst>
      <p:ext uri="{BB962C8B-B14F-4D97-AF65-F5344CB8AC3E}">
        <p14:creationId xmlns:p14="http://schemas.microsoft.com/office/powerpoint/2010/main" val="245498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a:xfrm>
            <a:off x="751389" y="8226659"/>
            <a:ext cx="8964879" cy="376689"/>
          </a:xfrm>
          <a:prstGeom prst="rect">
            <a:avLst/>
          </a:prstGeom>
          <a:noFill/>
        </p:spPr>
        <p:txBody>
          <a:bodyPr wrap="square" lIns="93264" tIns="46632" rIns="93264" bIns="46632">
            <a:spAutoFit/>
          </a:bodyPr>
          <a:lstStyle/>
          <a:p>
            <a:pPr marL="0" lvl="1" fontAlgn="base">
              <a:lnSpc>
                <a:spcPct val="90000"/>
              </a:lnSpc>
              <a:spcBef>
                <a:spcPct val="20000"/>
              </a:spcBef>
              <a:spcAft>
                <a:spcPts val="408"/>
              </a:spcAft>
              <a:buClr>
                <a:schemeClr val="tx1">
                  <a:lumMod val="75000"/>
                  <a:lumOff val="25000"/>
                </a:schemeClr>
              </a:buClr>
              <a:buSzPct val="90000"/>
              <a:tabLst>
                <a:tab pos="642783" algn="l"/>
              </a:tabLst>
            </a:pPr>
            <a:endParaRPr lang="en-US" sz="2000" b="1" spc="-51" dirty="0">
              <a:solidFill>
                <a:schemeClr val="bg1"/>
              </a:solidFill>
            </a:endParaRPr>
          </a:p>
        </p:txBody>
      </p:sp>
      <p:sp>
        <p:nvSpPr>
          <p:cNvPr id="2" name="Rectangle 1"/>
          <p:cNvSpPr/>
          <p:nvPr/>
        </p:nvSpPr>
        <p:spPr>
          <a:xfrm>
            <a:off x="6345369" y="1240990"/>
            <a:ext cx="5633089" cy="3128210"/>
          </a:xfrm>
          <a:prstGeom prst="rect">
            <a:avLst/>
          </a:prstGeom>
        </p:spPr>
        <p:txBody>
          <a:bodyPr wrap="square" lIns="93264" tIns="46632" rIns="93264" bIns="46632">
            <a:spAutoFit/>
          </a:bodyPr>
          <a:lstStyle/>
          <a:p>
            <a:pPr>
              <a:spcBef>
                <a:spcPts val="600"/>
              </a:spcBef>
            </a:pPr>
            <a:r>
              <a:rPr lang="en-US" sz="2000" dirty="0">
                <a:solidFill>
                  <a:schemeClr val="tx2"/>
                </a:solidFill>
              </a:rPr>
              <a:t>System Center 2012 Configuration Manager</a:t>
            </a:r>
          </a:p>
          <a:p>
            <a:pPr>
              <a:spcBef>
                <a:spcPts val="600"/>
              </a:spcBef>
            </a:pPr>
            <a:r>
              <a:rPr lang="en-US" sz="1399" dirty="0">
                <a:solidFill>
                  <a:schemeClr val="tx2"/>
                </a:solidFill>
                <a:hlinkClick r:id="rId3" action="ppaction://hlinkfile"/>
              </a:rPr>
              <a:t>http://technet.microsoft.com/en-us/evalcenter/hh667640.aspx?wt.mc_id=TEC_105_1_33</a:t>
            </a:r>
            <a:endParaRPr lang="en-US" sz="1399" dirty="0">
              <a:solidFill>
                <a:schemeClr val="tx2"/>
              </a:solidFill>
            </a:endParaRPr>
          </a:p>
          <a:p>
            <a:pPr>
              <a:spcBef>
                <a:spcPts val="600"/>
              </a:spcBef>
            </a:pPr>
            <a:endParaRPr lang="en-US" sz="1071" dirty="0">
              <a:solidFill>
                <a:schemeClr val="tx2"/>
              </a:solidFill>
            </a:endParaRPr>
          </a:p>
          <a:p>
            <a:pPr>
              <a:spcBef>
                <a:spcPts val="600"/>
              </a:spcBef>
            </a:pPr>
            <a:r>
              <a:rPr lang="en-US" sz="2000" dirty="0">
                <a:solidFill>
                  <a:schemeClr val="tx2"/>
                </a:solidFill>
              </a:rPr>
              <a:t>Windows Intune</a:t>
            </a:r>
          </a:p>
          <a:p>
            <a:pPr>
              <a:spcBef>
                <a:spcPts val="600"/>
              </a:spcBef>
            </a:pPr>
            <a:r>
              <a:rPr lang="en-US" sz="1399" dirty="0">
                <a:solidFill>
                  <a:schemeClr val="tx2"/>
                </a:solidFill>
                <a:hlinkClick r:id="rId4"/>
              </a:rPr>
              <a:t>http://www.microsoft.com/en-us/windows/windowsintune/try-and-buy</a:t>
            </a:r>
            <a:endParaRPr lang="en-US" sz="2000" dirty="0">
              <a:solidFill>
                <a:schemeClr val="tx2"/>
              </a:solidFill>
            </a:endParaRPr>
          </a:p>
          <a:p>
            <a:pPr>
              <a:spcBef>
                <a:spcPts val="612"/>
              </a:spcBef>
            </a:pPr>
            <a:endParaRPr lang="en-US" sz="1071" dirty="0">
              <a:solidFill>
                <a:schemeClr val="tx2"/>
              </a:solidFill>
            </a:endParaRPr>
          </a:p>
          <a:p>
            <a:pPr>
              <a:spcBef>
                <a:spcPts val="612"/>
              </a:spcBef>
            </a:pPr>
            <a:r>
              <a:rPr lang="en-US" sz="2040" dirty="0">
                <a:solidFill>
                  <a:schemeClr val="tx2"/>
                </a:solidFill>
              </a:rPr>
              <a:t>Windows Server 2012 </a:t>
            </a:r>
          </a:p>
          <a:p>
            <a:pPr marL="0" lvl="1" fontAlgn="base">
              <a:lnSpc>
                <a:spcPct val="90000"/>
              </a:lnSpc>
              <a:spcAft>
                <a:spcPts val="1248"/>
              </a:spcAft>
              <a:buClr>
                <a:schemeClr val="tx1">
                  <a:lumMod val="75000"/>
                  <a:lumOff val="25000"/>
                </a:schemeClr>
              </a:buClr>
              <a:buSzPct val="90000"/>
              <a:tabLst>
                <a:tab pos="655700" algn="l"/>
                <a:tab pos="1843224" algn="l"/>
              </a:tabLst>
            </a:pPr>
            <a:r>
              <a:rPr lang="en-US" sz="1632" u="sng" dirty="0">
                <a:solidFill>
                  <a:schemeClr val="tx2"/>
                </a:solidFill>
                <a:hlinkClick r:id="rId5"/>
              </a:rPr>
              <a:t>http://www.microsoft.com/en-us/server-cloud/windows-server</a:t>
            </a:r>
            <a:r>
              <a:rPr lang="en-US" sz="1632" u="sng" dirty="0">
                <a:solidFill>
                  <a:schemeClr val="tx2"/>
                </a:solidFill>
              </a:rPr>
              <a:t> </a:t>
            </a:r>
          </a:p>
        </p:txBody>
      </p:sp>
      <p:grpSp>
        <p:nvGrpSpPr>
          <p:cNvPr id="7" name="Group 6"/>
          <p:cNvGrpSpPr/>
          <p:nvPr/>
        </p:nvGrpSpPr>
        <p:grpSpPr>
          <a:xfrm>
            <a:off x="5576408" y="4661354"/>
            <a:ext cx="6286425" cy="805253"/>
            <a:chOff x="8639326" y="5519392"/>
            <a:chExt cx="6162116" cy="789646"/>
          </a:xfrm>
        </p:grpSpPr>
        <p:sp>
          <p:nvSpPr>
            <p:cNvPr id="31" name="Rectangle 30"/>
            <p:cNvSpPr/>
            <p:nvPr/>
          </p:nvSpPr>
          <p:spPr>
            <a:xfrm>
              <a:off x="8951599" y="5786000"/>
              <a:ext cx="5849843" cy="523038"/>
            </a:xfrm>
            <a:prstGeom prst="rect">
              <a:avLst/>
            </a:prstGeom>
            <a:noFill/>
          </p:spPr>
          <p:txBody>
            <a:bodyPr wrap="square">
              <a:spAutoFit/>
            </a:bodyPr>
            <a:lstStyle/>
            <a:p>
              <a:pPr lvl="1">
                <a:spcBef>
                  <a:spcPts val="600"/>
                </a:spcBef>
              </a:pPr>
              <a:r>
                <a:rPr lang="en-US" sz="1399" dirty="0">
                  <a:solidFill>
                    <a:schemeClr val="bg1"/>
                  </a:solidFill>
                  <a:hlinkClick r:id="rId6"/>
                </a:rPr>
                <a:t>microsoft.com/</a:t>
              </a:r>
              <a:r>
                <a:rPr lang="en-US" sz="1399" b="1" dirty="0">
                  <a:solidFill>
                    <a:schemeClr val="bg1"/>
                  </a:solidFill>
                  <a:hlinkClick r:id="rId6"/>
                </a:rPr>
                <a:t>workstyle</a:t>
              </a:r>
              <a:r>
                <a:rPr lang="en-US" sz="1399" dirty="0">
                  <a:solidFill>
                    <a:schemeClr val="bg1"/>
                  </a:solidFill>
                </a:rPr>
                <a:t/>
              </a:r>
              <a:br>
                <a:rPr lang="en-US" sz="1399" dirty="0">
                  <a:solidFill>
                    <a:schemeClr val="bg1"/>
                  </a:solidFill>
                </a:rPr>
              </a:br>
              <a:r>
                <a:rPr lang="en-US" sz="1399" dirty="0">
                  <a:solidFill>
                    <a:schemeClr val="bg1"/>
                  </a:solidFill>
                  <a:hlinkClick r:id="rId7"/>
                </a:rPr>
                <a:t>microsoft.com/</a:t>
              </a:r>
              <a:r>
                <a:rPr lang="en-US" sz="1399" b="1" dirty="0">
                  <a:solidFill>
                    <a:schemeClr val="bg1"/>
                  </a:solidFill>
                  <a:hlinkClick r:id="rId7"/>
                </a:rPr>
                <a:t>server-cloud/user-device-management</a:t>
              </a:r>
              <a:endParaRPr lang="en-US" sz="1399" b="1" dirty="0">
                <a:solidFill>
                  <a:schemeClr val="bg1"/>
                </a:solidFill>
              </a:endParaRPr>
            </a:p>
          </p:txBody>
        </p:sp>
        <p:sp>
          <p:nvSpPr>
            <p:cNvPr id="40" name="Rectangle 39"/>
            <p:cNvSpPr/>
            <p:nvPr/>
          </p:nvSpPr>
          <p:spPr>
            <a:xfrm>
              <a:off x="9371675" y="5519392"/>
              <a:ext cx="1610407" cy="313848"/>
            </a:xfrm>
            <a:prstGeom prst="rect">
              <a:avLst/>
            </a:prstGeom>
          </p:spPr>
          <p:txBody>
            <a:bodyPr wrap="none">
              <a:spAutoFit/>
            </a:bodyPr>
            <a:lstStyle/>
            <a:p>
              <a:pPr marL="0" lvl="1" fontAlgn="base">
                <a:lnSpc>
                  <a:spcPct val="90000"/>
                </a:lnSpc>
                <a:spcBef>
                  <a:spcPct val="20000"/>
                </a:spcBef>
                <a:spcAft>
                  <a:spcPts val="408"/>
                </a:spcAft>
                <a:buClr>
                  <a:srgbClr val="000000">
                    <a:lumMod val="75000"/>
                    <a:lumOff val="25000"/>
                  </a:srgbClr>
                </a:buClr>
                <a:buSzPct val="90000"/>
                <a:tabLst>
                  <a:tab pos="642783" algn="l"/>
                </a:tabLst>
              </a:pPr>
              <a:r>
                <a:rPr lang="en-US" sz="1599" b="1" i="1" spc="-51" dirty="0">
                  <a:solidFill>
                    <a:srgbClr val="FFFFFF"/>
                  </a:solidFill>
                </a:rPr>
                <a:t>More Resources:</a:t>
              </a:r>
              <a:endParaRPr lang="en-US" sz="1599" b="1" spc="-51" dirty="0">
                <a:solidFill>
                  <a:srgbClr val="FFFFFF"/>
                </a:solidFill>
              </a:endParaRPr>
            </a:p>
          </p:txBody>
        </p:sp>
        <p:sp>
          <p:nvSpPr>
            <p:cNvPr id="23" name="Freeform 9"/>
            <p:cNvSpPr>
              <a:spLocks noEditPoints="1"/>
            </p:cNvSpPr>
            <p:nvPr/>
          </p:nvSpPr>
          <p:spPr bwMode="black">
            <a:xfrm>
              <a:off x="8639326" y="5596846"/>
              <a:ext cx="624547" cy="62454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endParaRPr lang="en-US">
                <a:solidFill>
                  <a:prstClr val="black"/>
                </a:solidFill>
              </a:endParaRPr>
            </a:p>
          </p:txBody>
        </p:sp>
      </p:grpSp>
      <p:sp>
        <p:nvSpPr>
          <p:cNvPr id="4" name="Title 3"/>
          <p:cNvSpPr>
            <a:spLocks noGrp="1"/>
          </p:cNvSpPr>
          <p:nvPr>
            <p:ph type="title" idx="4294967295"/>
          </p:nvPr>
        </p:nvSpPr>
        <p:spPr>
          <a:xfrm>
            <a:off x="5395499" y="318952"/>
            <a:ext cx="6037589" cy="678309"/>
          </a:xfrm>
        </p:spPr>
        <p:txBody>
          <a:bodyPr/>
          <a:lstStyle/>
          <a:p>
            <a:pPr defTabSz="932600"/>
            <a:r>
              <a:rPr lang="en-US" sz="3999" dirty="0">
                <a:solidFill>
                  <a:schemeClr val="tx2"/>
                </a:solidFill>
                <a:latin typeface="Segoe UI Light" pitchFamily="34" charset="0"/>
              </a:rPr>
              <a:t>For More Information</a:t>
            </a:r>
          </a:p>
        </p:txBody>
      </p:sp>
      <p:sp>
        <p:nvSpPr>
          <p:cNvPr id="11" name="Freeform 9"/>
          <p:cNvSpPr>
            <a:spLocks noEditPoints="1"/>
          </p:cNvSpPr>
          <p:nvPr/>
        </p:nvSpPr>
        <p:spPr bwMode="black">
          <a:xfrm>
            <a:off x="5576409" y="1373066"/>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endParaRPr lang="en-US">
              <a:solidFill>
                <a:prstClr val="black"/>
              </a:solidFill>
            </a:endParaRPr>
          </a:p>
        </p:txBody>
      </p:sp>
      <p:sp>
        <p:nvSpPr>
          <p:cNvPr id="12" name="Freeform 9"/>
          <p:cNvSpPr>
            <a:spLocks noEditPoints="1"/>
          </p:cNvSpPr>
          <p:nvPr/>
        </p:nvSpPr>
        <p:spPr bwMode="black">
          <a:xfrm>
            <a:off x="5576405" y="2500766"/>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endParaRPr lang="en-US">
              <a:solidFill>
                <a:prstClr val="black"/>
              </a:solidFill>
            </a:endParaRPr>
          </a:p>
        </p:txBody>
      </p:sp>
      <p:sp>
        <p:nvSpPr>
          <p:cNvPr id="13" name="Freeform 9"/>
          <p:cNvSpPr>
            <a:spLocks noEditPoints="1"/>
          </p:cNvSpPr>
          <p:nvPr/>
        </p:nvSpPr>
        <p:spPr bwMode="black">
          <a:xfrm>
            <a:off x="5576406" y="3523334"/>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endParaRPr lang="en-US">
              <a:solidFill>
                <a:prstClr val="black"/>
              </a:solidFill>
            </a:endParaRPr>
          </a:p>
        </p:txBody>
      </p:sp>
      <p:pic>
        <p:nvPicPr>
          <p:cNvPr id="15" name="Picture 1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bwMode="invGray">
          <a:xfrm>
            <a:off x="458018" y="6355387"/>
            <a:ext cx="1569764" cy="336267"/>
          </a:xfrm>
          <a:prstGeom prst="rect">
            <a:avLst/>
          </a:prstGeom>
        </p:spPr>
      </p:pic>
      <p:sp>
        <p:nvSpPr>
          <p:cNvPr id="17" name="Freeform 9"/>
          <p:cNvSpPr>
            <a:spLocks noEditPoints="1"/>
          </p:cNvSpPr>
          <p:nvPr/>
        </p:nvSpPr>
        <p:spPr bwMode="auto">
          <a:xfrm>
            <a:off x="275482" y="3345861"/>
            <a:ext cx="3904696" cy="406950"/>
          </a:xfrm>
          <a:custGeom>
            <a:avLst/>
            <a:gdLst>
              <a:gd name="T0" fmla="*/ 89 w 1963"/>
              <a:gd name="T1" fmla="*/ 187 h 202"/>
              <a:gd name="T2" fmla="*/ 0 w 1963"/>
              <a:gd name="T3" fmla="*/ 174 h 202"/>
              <a:gd name="T4" fmla="*/ 421 w 1963"/>
              <a:gd name="T5" fmla="*/ 40 h 202"/>
              <a:gd name="T6" fmla="*/ 307 w 1963"/>
              <a:gd name="T7" fmla="*/ 141 h 202"/>
              <a:gd name="T8" fmla="*/ 1849 w 1963"/>
              <a:gd name="T9" fmla="*/ 106 h 202"/>
              <a:gd name="T10" fmla="*/ 1815 w 1963"/>
              <a:gd name="T11" fmla="*/ 162 h 202"/>
              <a:gd name="T12" fmla="*/ 1877 w 1963"/>
              <a:gd name="T13" fmla="*/ 160 h 202"/>
              <a:gd name="T14" fmla="*/ 1858 w 1963"/>
              <a:gd name="T15" fmla="*/ 70 h 202"/>
              <a:gd name="T16" fmla="*/ 805 w 1963"/>
              <a:gd name="T17" fmla="*/ 95 h 202"/>
              <a:gd name="T18" fmla="*/ 832 w 1963"/>
              <a:gd name="T19" fmla="*/ 145 h 202"/>
              <a:gd name="T20" fmla="*/ 777 w 1963"/>
              <a:gd name="T21" fmla="*/ 145 h 202"/>
              <a:gd name="T22" fmla="*/ 621 w 1963"/>
              <a:gd name="T23" fmla="*/ 34 h 202"/>
              <a:gd name="T24" fmla="*/ 620 w 1963"/>
              <a:gd name="T25" fmla="*/ 86 h 202"/>
              <a:gd name="T26" fmla="*/ 580 w 1963"/>
              <a:gd name="T27" fmla="*/ 163 h 202"/>
              <a:gd name="T28" fmla="*/ 620 w 1963"/>
              <a:gd name="T29" fmla="*/ 130 h 202"/>
              <a:gd name="T30" fmla="*/ 621 w 1963"/>
              <a:gd name="T31" fmla="*/ 109 h 202"/>
              <a:gd name="T32" fmla="*/ 1555 w 1963"/>
              <a:gd name="T33" fmla="*/ 42 h 202"/>
              <a:gd name="T34" fmla="*/ 1611 w 1963"/>
              <a:gd name="T35" fmla="*/ 100 h 202"/>
              <a:gd name="T36" fmla="*/ 1548 w 1963"/>
              <a:gd name="T37" fmla="*/ 77 h 202"/>
              <a:gd name="T38" fmla="*/ 1121 w 1963"/>
              <a:gd name="T39" fmla="*/ 93 h 202"/>
              <a:gd name="T40" fmla="*/ 1118 w 1963"/>
              <a:gd name="T41" fmla="*/ 157 h 202"/>
              <a:gd name="T42" fmla="*/ 1064 w 1963"/>
              <a:gd name="T43" fmla="*/ 127 h 202"/>
              <a:gd name="T44" fmla="*/ 1105 w 1963"/>
              <a:gd name="T45" fmla="*/ 92 h 202"/>
              <a:gd name="T46" fmla="*/ 1280 w 1963"/>
              <a:gd name="T47" fmla="*/ 143 h 202"/>
              <a:gd name="T48" fmla="*/ 1311 w 1963"/>
              <a:gd name="T49" fmla="*/ 152 h 202"/>
              <a:gd name="T50" fmla="*/ 1301 w 1963"/>
              <a:gd name="T51" fmla="*/ 90 h 202"/>
              <a:gd name="T52" fmla="*/ 1012 w 1963"/>
              <a:gd name="T53" fmla="*/ 38 h 202"/>
              <a:gd name="T54" fmla="*/ 1010 w 1963"/>
              <a:gd name="T55" fmla="*/ 150 h 202"/>
              <a:gd name="T56" fmla="*/ 1018 w 1963"/>
              <a:gd name="T57" fmla="*/ 161 h 202"/>
              <a:gd name="T58" fmla="*/ 1005 w 1963"/>
              <a:gd name="T59" fmla="*/ 51 h 202"/>
              <a:gd name="T60" fmla="*/ 656 w 1963"/>
              <a:gd name="T61" fmla="*/ 138 h 202"/>
              <a:gd name="T62" fmla="*/ 704 w 1963"/>
              <a:gd name="T63" fmla="*/ 86 h 202"/>
              <a:gd name="T64" fmla="*/ 667 w 1963"/>
              <a:gd name="T65" fmla="*/ 126 h 202"/>
              <a:gd name="T66" fmla="*/ 1918 w 1963"/>
              <a:gd name="T67" fmla="*/ 149 h 202"/>
              <a:gd name="T68" fmla="*/ 1936 w 1963"/>
              <a:gd name="T69" fmla="*/ 40 h 202"/>
              <a:gd name="T70" fmla="*/ 1924 w 1963"/>
              <a:gd name="T71" fmla="*/ 50 h 202"/>
              <a:gd name="T72" fmla="*/ 1963 w 1963"/>
              <a:gd name="T73" fmla="*/ 149 h 202"/>
              <a:gd name="T74" fmla="*/ 1487 w 1963"/>
              <a:gd name="T75" fmla="*/ 115 h 202"/>
              <a:gd name="T76" fmla="*/ 1449 w 1963"/>
              <a:gd name="T77" fmla="*/ 63 h 202"/>
              <a:gd name="T78" fmla="*/ 1475 w 1963"/>
              <a:gd name="T79" fmla="*/ 110 h 202"/>
              <a:gd name="T80" fmla="*/ 1700 w 1963"/>
              <a:gd name="T81" fmla="*/ 149 h 202"/>
              <a:gd name="T82" fmla="*/ 1716 w 1963"/>
              <a:gd name="T83" fmla="*/ 39 h 202"/>
              <a:gd name="T84" fmla="*/ 1742 w 1963"/>
              <a:gd name="T85" fmla="*/ 67 h 202"/>
              <a:gd name="T86" fmla="*/ 1761 w 1963"/>
              <a:gd name="T87" fmla="*/ 162 h 202"/>
              <a:gd name="T88" fmla="*/ 523 w 1963"/>
              <a:gd name="T89" fmla="*/ 98 h 202"/>
              <a:gd name="T90" fmla="*/ 535 w 1963"/>
              <a:gd name="T91" fmla="*/ 88 h 202"/>
              <a:gd name="T92" fmla="*/ 467 w 1963"/>
              <a:gd name="T93" fmla="*/ 162 h 202"/>
              <a:gd name="T94" fmla="*/ 1232 w 1963"/>
              <a:gd name="T95" fmla="*/ 146 h 202"/>
              <a:gd name="T96" fmla="*/ 872 w 1963"/>
              <a:gd name="T97" fmla="*/ 160 h 202"/>
              <a:gd name="T98" fmla="*/ 898 w 1963"/>
              <a:gd name="T99" fmla="*/ 85 h 202"/>
              <a:gd name="T100" fmla="*/ 890 w 1963"/>
              <a:gd name="T101" fmla="*/ 123 h 202"/>
              <a:gd name="T102" fmla="*/ 1649 w 1963"/>
              <a:gd name="T103" fmla="*/ 162 h 202"/>
              <a:gd name="T104" fmla="*/ 1649 w 1963"/>
              <a:gd name="T105" fmla="*/ 57 h 202"/>
              <a:gd name="T106" fmla="*/ 1141 w 1963"/>
              <a:gd name="T107" fmla="*/ 75 h 202"/>
              <a:gd name="T108" fmla="*/ 1186 w 1963"/>
              <a:gd name="T109" fmla="*/ 89 h 202"/>
              <a:gd name="T110" fmla="*/ 1388 w 1963"/>
              <a:gd name="T111" fmla="*/ 94 h 202"/>
              <a:gd name="T112" fmla="*/ 1381 w 1963"/>
              <a:gd name="T113" fmla="*/ 92 h 202"/>
              <a:gd name="T114" fmla="*/ 432 w 1963"/>
              <a:gd name="T115" fmla="*/ 16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63" h="202">
                <a:moveTo>
                  <a:pt x="89" y="99"/>
                </a:moveTo>
                <a:cubicBezTo>
                  <a:pt x="89" y="71"/>
                  <a:pt x="89" y="44"/>
                  <a:pt x="89" y="16"/>
                </a:cubicBezTo>
                <a:cubicBezTo>
                  <a:pt x="127" y="10"/>
                  <a:pt x="164" y="5"/>
                  <a:pt x="202" y="0"/>
                </a:cubicBezTo>
                <a:cubicBezTo>
                  <a:pt x="202" y="2"/>
                  <a:pt x="202" y="97"/>
                  <a:pt x="202" y="99"/>
                </a:cubicBezTo>
                <a:cubicBezTo>
                  <a:pt x="165" y="99"/>
                  <a:pt x="127" y="99"/>
                  <a:pt x="89" y="99"/>
                </a:cubicBezTo>
                <a:close/>
                <a:moveTo>
                  <a:pt x="202" y="103"/>
                </a:moveTo>
                <a:cubicBezTo>
                  <a:pt x="164" y="103"/>
                  <a:pt x="127" y="103"/>
                  <a:pt x="89" y="103"/>
                </a:cubicBezTo>
                <a:cubicBezTo>
                  <a:pt x="89" y="131"/>
                  <a:pt x="89" y="159"/>
                  <a:pt x="89" y="187"/>
                </a:cubicBezTo>
                <a:cubicBezTo>
                  <a:pt x="127" y="192"/>
                  <a:pt x="164" y="197"/>
                  <a:pt x="202" y="202"/>
                </a:cubicBezTo>
                <a:cubicBezTo>
                  <a:pt x="202" y="169"/>
                  <a:pt x="202" y="136"/>
                  <a:pt x="202" y="103"/>
                </a:cubicBezTo>
                <a:close/>
                <a:moveTo>
                  <a:pt x="86" y="99"/>
                </a:moveTo>
                <a:cubicBezTo>
                  <a:pt x="86" y="72"/>
                  <a:pt x="86" y="44"/>
                  <a:pt x="86" y="16"/>
                </a:cubicBezTo>
                <a:cubicBezTo>
                  <a:pt x="57" y="20"/>
                  <a:pt x="28" y="24"/>
                  <a:pt x="0" y="28"/>
                </a:cubicBezTo>
                <a:cubicBezTo>
                  <a:pt x="0" y="52"/>
                  <a:pt x="0" y="76"/>
                  <a:pt x="0" y="99"/>
                </a:cubicBezTo>
                <a:cubicBezTo>
                  <a:pt x="29" y="99"/>
                  <a:pt x="57" y="99"/>
                  <a:pt x="86" y="99"/>
                </a:cubicBezTo>
                <a:close/>
                <a:moveTo>
                  <a:pt x="0" y="174"/>
                </a:moveTo>
                <a:cubicBezTo>
                  <a:pt x="28" y="178"/>
                  <a:pt x="57" y="182"/>
                  <a:pt x="86" y="186"/>
                </a:cubicBezTo>
                <a:cubicBezTo>
                  <a:pt x="86" y="158"/>
                  <a:pt x="86" y="131"/>
                  <a:pt x="86" y="103"/>
                </a:cubicBezTo>
                <a:cubicBezTo>
                  <a:pt x="57" y="103"/>
                  <a:pt x="29" y="103"/>
                  <a:pt x="0" y="103"/>
                </a:cubicBezTo>
                <a:cubicBezTo>
                  <a:pt x="0" y="127"/>
                  <a:pt x="0" y="150"/>
                  <a:pt x="0" y="174"/>
                </a:cubicBezTo>
                <a:close/>
                <a:moveTo>
                  <a:pt x="343" y="66"/>
                </a:moveTo>
                <a:cubicBezTo>
                  <a:pt x="352" y="98"/>
                  <a:pt x="361" y="130"/>
                  <a:pt x="370" y="162"/>
                </a:cubicBezTo>
                <a:cubicBezTo>
                  <a:pt x="375" y="162"/>
                  <a:pt x="381" y="162"/>
                  <a:pt x="386" y="162"/>
                </a:cubicBezTo>
                <a:cubicBezTo>
                  <a:pt x="398" y="121"/>
                  <a:pt x="409" y="81"/>
                  <a:pt x="421" y="40"/>
                </a:cubicBezTo>
                <a:cubicBezTo>
                  <a:pt x="415" y="40"/>
                  <a:pt x="410" y="40"/>
                  <a:pt x="405" y="40"/>
                </a:cubicBezTo>
                <a:cubicBezTo>
                  <a:pt x="396" y="74"/>
                  <a:pt x="387" y="108"/>
                  <a:pt x="378" y="142"/>
                </a:cubicBezTo>
                <a:cubicBezTo>
                  <a:pt x="378" y="142"/>
                  <a:pt x="378" y="142"/>
                  <a:pt x="378" y="142"/>
                </a:cubicBezTo>
                <a:cubicBezTo>
                  <a:pt x="369" y="108"/>
                  <a:pt x="359" y="74"/>
                  <a:pt x="350" y="41"/>
                </a:cubicBezTo>
                <a:cubicBezTo>
                  <a:pt x="345" y="41"/>
                  <a:pt x="341" y="41"/>
                  <a:pt x="336" y="41"/>
                </a:cubicBezTo>
                <a:cubicBezTo>
                  <a:pt x="326" y="74"/>
                  <a:pt x="317" y="107"/>
                  <a:pt x="307" y="141"/>
                </a:cubicBezTo>
                <a:cubicBezTo>
                  <a:pt x="307" y="141"/>
                  <a:pt x="307" y="141"/>
                  <a:pt x="307" y="141"/>
                </a:cubicBezTo>
                <a:cubicBezTo>
                  <a:pt x="307" y="141"/>
                  <a:pt x="307" y="141"/>
                  <a:pt x="307" y="141"/>
                </a:cubicBezTo>
                <a:cubicBezTo>
                  <a:pt x="307" y="141"/>
                  <a:pt x="307" y="141"/>
                  <a:pt x="306" y="141"/>
                </a:cubicBezTo>
                <a:cubicBezTo>
                  <a:pt x="297" y="108"/>
                  <a:pt x="288" y="74"/>
                  <a:pt x="278" y="40"/>
                </a:cubicBezTo>
                <a:cubicBezTo>
                  <a:pt x="273" y="40"/>
                  <a:pt x="268" y="40"/>
                  <a:pt x="263" y="40"/>
                </a:cubicBezTo>
                <a:cubicBezTo>
                  <a:pt x="275" y="81"/>
                  <a:pt x="286" y="121"/>
                  <a:pt x="298" y="162"/>
                </a:cubicBezTo>
                <a:cubicBezTo>
                  <a:pt x="304" y="162"/>
                  <a:pt x="309" y="162"/>
                  <a:pt x="315" y="162"/>
                </a:cubicBezTo>
                <a:cubicBezTo>
                  <a:pt x="324" y="130"/>
                  <a:pt x="333" y="98"/>
                  <a:pt x="342" y="66"/>
                </a:cubicBezTo>
                <a:cubicBezTo>
                  <a:pt x="342" y="66"/>
                  <a:pt x="342" y="66"/>
                  <a:pt x="343" y="66"/>
                </a:cubicBezTo>
                <a:close/>
                <a:moveTo>
                  <a:pt x="1849" y="106"/>
                </a:moveTo>
                <a:cubicBezTo>
                  <a:pt x="1862" y="102"/>
                  <a:pt x="1870" y="94"/>
                  <a:pt x="1873" y="81"/>
                </a:cubicBezTo>
                <a:cubicBezTo>
                  <a:pt x="1874" y="77"/>
                  <a:pt x="1874" y="73"/>
                  <a:pt x="1873" y="69"/>
                </a:cubicBezTo>
                <a:cubicBezTo>
                  <a:pt x="1873" y="58"/>
                  <a:pt x="1867" y="50"/>
                  <a:pt x="1857" y="44"/>
                </a:cubicBezTo>
                <a:cubicBezTo>
                  <a:pt x="1852" y="42"/>
                  <a:pt x="1846" y="40"/>
                  <a:pt x="1840" y="40"/>
                </a:cubicBezTo>
                <a:cubicBezTo>
                  <a:pt x="1827" y="40"/>
                  <a:pt x="1815" y="40"/>
                  <a:pt x="1802" y="40"/>
                </a:cubicBezTo>
                <a:cubicBezTo>
                  <a:pt x="1801" y="40"/>
                  <a:pt x="1801" y="40"/>
                  <a:pt x="1800" y="40"/>
                </a:cubicBezTo>
                <a:cubicBezTo>
                  <a:pt x="1800" y="43"/>
                  <a:pt x="1800" y="160"/>
                  <a:pt x="1801" y="162"/>
                </a:cubicBezTo>
                <a:cubicBezTo>
                  <a:pt x="1805" y="162"/>
                  <a:pt x="1813" y="162"/>
                  <a:pt x="1815" y="162"/>
                </a:cubicBezTo>
                <a:cubicBezTo>
                  <a:pt x="1815" y="145"/>
                  <a:pt x="1815" y="127"/>
                  <a:pt x="1815" y="110"/>
                </a:cubicBezTo>
                <a:cubicBezTo>
                  <a:pt x="1819" y="110"/>
                  <a:pt x="1822" y="110"/>
                  <a:pt x="1826" y="110"/>
                </a:cubicBezTo>
                <a:cubicBezTo>
                  <a:pt x="1832" y="110"/>
                  <a:pt x="1837" y="112"/>
                  <a:pt x="1840" y="117"/>
                </a:cubicBezTo>
                <a:cubicBezTo>
                  <a:pt x="1843" y="120"/>
                  <a:pt x="1844" y="122"/>
                  <a:pt x="1845" y="126"/>
                </a:cubicBezTo>
                <a:cubicBezTo>
                  <a:pt x="1850" y="137"/>
                  <a:pt x="1855" y="148"/>
                  <a:pt x="1860" y="160"/>
                </a:cubicBezTo>
                <a:cubicBezTo>
                  <a:pt x="1861" y="160"/>
                  <a:pt x="1861" y="161"/>
                  <a:pt x="1861" y="162"/>
                </a:cubicBezTo>
                <a:cubicBezTo>
                  <a:pt x="1867" y="162"/>
                  <a:pt x="1873" y="162"/>
                  <a:pt x="1878" y="162"/>
                </a:cubicBezTo>
                <a:cubicBezTo>
                  <a:pt x="1878" y="161"/>
                  <a:pt x="1878" y="160"/>
                  <a:pt x="1877" y="160"/>
                </a:cubicBezTo>
                <a:cubicBezTo>
                  <a:pt x="1874" y="153"/>
                  <a:pt x="1871" y="147"/>
                  <a:pt x="1868" y="141"/>
                </a:cubicBezTo>
                <a:cubicBezTo>
                  <a:pt x="1865" y="134"/>
                  <a:pt x="1862" y="126"/>
                  <a:pt x="1858" y="119"/>
                </a:cubicBezTo>
                <a:cubicBezTo>
                  <a:pt x="1856" y="114"/>
                  <a:pt x="1852" y="109"/>
                  <a:pt x="1846" y="107"/>
                </a:cubicBezTo>
                <a:cubicBezTo>
                  <a:pt x="1848" y="106"/>
                  <a:pt x="1849" y="106"/>
                  <a:pt x="1849" y="106"/>
                </a:cubicBezTo>
                <a:close/>
                <a:moveTo>
                  <a:pt x="1816" y="53"/>
                </a:moveTo>
                <a:cubicBezTo>
                  <a:pt x="1823" y="53"/>
                  <a:pt x="1831" y="53"/>
                  <a:pt x="1838" y="53"/>
                </a:cubicBezTo>
                <a:cubicBezTo>
                  <a:pt x="1841" y="54"/>
                  <a:pt x="1843" y="54"/>
                  <a:pt x="1846" y="55"/>
                </a:cubicBezTo>
                <a:cubicBezTo>
                  <a:pt x="1853" y="57"/>
                  <a:pt x="1857" y="62"/>
                  <a:pt x="1858" y="70"/>
                </a:cubicBezTo>
                <a:cubicBezTo>
                  <a:pt x="1860" y="81"/>
                  <a:pt x="1856" y="89"/>
                  <a:pt x="1847" y="94"/>
                </a:cubicBezTo>
                <a:cubicBezTo>
                  <a:pt x="1844" y="96"/>
                  <a:pt x="1840" y="97"/>
                  <a:pt x="1837" y="97"/>
                </a:cubicBezTo>
                <a:cubicBezTo>
                  <a:pt x="1830" y="97"/>
                  <a:pt x="1823" y="97"/>
                  <a:pt x="1816" y="97"/>
                </a:cubicBezTo>
                <a:cubicBezTo>
                  <a:pt x="1815" y="97"/>
                  <a:pt x="1815" y="97"/>
                  <a:pt x="1815" y="97"/>
                </a:cubicBezTo>
                <a:cubicBezTo>
                  <a:pt x="1815" y="83"/>
                  <a:pt x="1815" y="68"/>
                  <a:pt x="1815" y="53"/>
                </a:cubicBezTo>
                <a:cubicBezTo>
                  <a:pt x="1815" y="53"/>
                  <a:pt x="1815" y="53"/>
                  <a:pt x="1816" y="53"/>
                </a:cubicBezTo>
                <a:close/>
                <a:moveTo>
                  <a:pt x="804" y="95"/>
                </a:moveTo>
                <a:cubicBezTo>
                  <a:pt x="804" y="95"/>
                  <a:pt x="805" y="95"/>
                  <a:pt x="805" y="95"/>
                </a:cubicBezTo>
                <a:cubicBezTo>
                  <a:pt x="811" y="117"/>
                  <a:pt x="818" y="140"/>
                  <a:pt x="824" y="162"/>
                </a:cubicBezTo>
                <a:cubicBezTo>
                  <a:pt x="829" y="162"/>
                  <a:pt x="834" y="162"/>
                  <a:pt x="839" y="162"/>
                </a:cubicBezTo>
                <a:cubicBezTo>
                  <a:pt x="847" y="133"/>
                  <a:pt x="856" y="104"/>
                  <a:pt x="865" y="75"/>
                </a:cubicBezTo>
                <a:cubicBezTo>
                  <a:pt x="860" y="75"/>
                  <a:pt x="855" y="75"/>
                  <a:pt x="851" y="75"/>
                </a:cubicBezTo>
                <a:cubicBezTo>
                  <a:pt x="849" y="81"/>
                  <a:pt x="848" y="87"/>
                  <a:pt x="846" y="93"/>
                </a:cubicBezTo>
                <a:cubicBezTo>
                  <a:pt x="844" y="99"/>
                  <a:pt x="843" y="104"/>
                  <a:pt x="841" y="110"/>
                </a:cubicBezTo>
                <a:cubicBezTo>
                  <a:pt x="840" y="116"/>
                  <a:pt x="838" y="122"/>
                  <a:pt x="837" y="128"/>
                </a:cubicBezTo>
                <a:cubicBezTo>
                  <a:pt x="835" y="133"/>
                  <a:pt x="834" y="139"/>
                  <a:pt x="832" y="145"/>
                </a:cubicBezTo>
                <a:cubicBezTo>
                  <a:pt x="832" y="145"/>
                  <a:pt x="831" y="145"/>
                  <a:pt x="831" y="145"/>
                </a:cubicBezTo>
                <a:cubicBezTo>
                  <a:pt x="825" y="122"/>
                  <a:pt x="818" y="98"/>
                  <a:pt x="812" y="75"/>
                </a:cubicBezTo>
                <a:cubicBezTo>
                  <a:pt x="807" y="75"/>
                  <a:pt x="803" y="75"/>
                  <a:pt x="799" y="75"/>
                </a:cubicBezTo>
                <a:cubicBezTo>
                  <a:pt x="799" y="75"/>
                  <a:pt x="799" y="75"/>
                  <a:pt x="799" y="76"/>
                </a:cubicBezTo>
                <a:cubicBezTo>
                  <a:pt x="792" y="98"/>
                  <a:pt x="785" y="121"/>
                  <a:pt x="778" y="144"/>
                </a:cubicBezTo>
                <a:cubicBezTo>
                  <a:pt x="778" y="144"/>
                  <a:pt x="778" y="144"/>
                  <a:pt x="778" y="144"/>
                </a:cubicBezTo>
                <a:cubicBezTo>
                  <a:pt x="778" y="145"/>
                  <a:pt x="778" y="145"/>
                  <a:pt x="778" y="145"/>
                </a:cubicBezTo>
                <a:cubicBezTo>
                  <a:pt x="778" y="145"/>
                  <a:pt x="777" y="145"/>
                  <a:pt x="777" y="145"/>
                </a:cubicBezTo>
                <a:cubicBezTo>
                  <a:pt x="777" y="145"/>
                  <a:pt x="777" y="145"/>
                  <a:pt x="777" y="145"/>
                </a:cubicBezTo>
                <a:cubicBezTo>
                  <a:pt x="771" y="122"/>
                  <a:pt x="764" y="98"/>
                  <a:pt x="758" y="75"/>
                </a:cubicBezTo>
                <a:cubicBezTo>
                  <a:pt x="753" y="75"/>
                  <a:pt x="748" y="75"/>
                  <a:pt x="743" y="75"/>
                </a:cubicBezTo>
                <a:cubicBezTo>
                  <a:pt x="752" y="104"/>
                  <a:pt x="761" y="133"/>
                  <a:pt x="769" y="162"/>
                </a:cubicBezTo>
                <a:cubicBezTo>
                  <a:pt x="774" y="162"/>
                  <a:pt x="779" y="162"/>
                  <a:pt x="783" y="162"/>
                </a:cubicBezTo>
                <a:cubicBezTo>
                  <a:pt x="790" y="140"/>
                  <a:pt x="797" y="117"/>
                  <a:pt x="804" y="95"/>
                </a:cubicBezTo>
                <a:close/>
                <a:moveTo>
                  <a:pt x="635" y="34"/>
                </a:moveTo>
                <a:cubicBezTo>
                  <a:pt x="632" y="33"/>
                  <a:pt x="623" y="33"/>
                  <a:pt x="621" y="34"/>
                </a:cubicBezTo>
                <a:cubicBezTo>
                  <a:pt x="621" y="34"/>
                  <a:pt x="621" y="34"/>
                  <a:pt x="621" y="34"/>
                </a:cubicBezTo>
                <a:cubicBezTo>
                  <a:pt x="621" y="34"/>
                  <a:pt x="621" y="34"/>
                  <a:pt x="621" y="34"/>
                </a:cubicBezTo>
                <a:cubicBezTo>
                  <a:pt x="621" y="51"/>
                  <a:pt x="621" y="68"/>
                  <a:pt x="621" y="85"/>
                </a:cubicBezTo>
                <a:cubicBezTo>
                  <a:pt x="621" y="85"/>
                  <a:pt x="621" y="86"/>
                  <a:pt x="621" y="86"/>
                </a:cubicBezTo>
                <a:cubicBezTo>
                  <a:pt x="621" y="86"/>
                  <a:pt x="621" y="86"/>
                  <a:pt x="621" y="86"/>
                </a:cubicBezTo>
                <a:cubicBezTo>
                  <a:pt x="621" y="86"/>
                  <a:pt x="621" y="86"/>
                  <a:pt x="621" y="86"/>
                </a:cubicBezTo>
                <a:cubicBezTo>
                  <a:pt x="621" y="86"/>
                  <a:pt x="621" y="86"/>
                  <a:pt x="621" y="86"/>
                </a:cubicBezTo>
                <a:cubicBezTo>
                  <a:pt x="620" y="86"/>
                  <a:pt x="620" y="86"/>
                  <a:pt x="620" y="86"/>
                </a:cubicBezTo>
                <a:cubicBezTo>
                  <a:pt x="620" y="85"/>
                  <a:pt x="619" y="85"/>
                  <a:pt x="619" y="84"/>
                </a:cubicBezTo>
                <a:cubicBezTo>
                  <a:pt x="615" y="79"/>
                  <a:pt x="609" y="75"/>
                  <a:pt x="602" y="74"/>
                </a:cubicBezTo>
                <a:cubicBezTo>
                  <a:pt x="598" y="73"/>
                  <a:pt x="594" y="73"/>
                  <a:pt x="590" y="73"/>
                </a:cubicBezTo>
                <a:cubicBezTo>
                  <a:pt x="582" y="74"/>
                  <a:pt x="575" y="77"/>
                  <a:pt x="570" y="82"/>
                </a:cubicBezTo>
                <a:cubicBezTo>
                  <a:pt x="564" y="87"/>
                  <a:pt x="560" y="94"/>
                  <a:pt x="557" y="102"/>
                </a:cubicBezTo>
                <a:cubicBezTo>
                  <a:pt x="555" y="111"/>
                  <a:pt x="554" y="120"/>
                  <a:pt x="555" y="129"/>
                </a:cubicBezTo>
                <a:cubicBezTo>
                  <a:pt x="556" y="134"/>
                  <a:pt x="557" y="140"/>
                  <a:pt x="560" y="145"/>
                </a:cubicBezTo>
                <a:cubicBezTo>
                  <a:pt x="564" y="153"/>
                  <a:pt x="571" y="160"/>
                  <a:pt x="580" y="163"/>
                </a:cubicBezTo>
                <a:cubicBezTo>
                  <a:pt x="586" y="164"/>
                  <a:pt x="592" y="165"/>
                  <a:pt x="598" y="164"/>
                </a:cubicBezTo>
                <a:cubicBezTo>
                  <a:pt x="607" y="162"/>
                  <a:pt x="614" y="157"/>
                  <a:pt x="619" y="149"/>
                </a:cubicBezTo>
                <a:cubicBezTo>
                  <a:pt x="620" y="149"/>
                  <a:pt x="620" y="148"/>
                  <a:pt x="621" y="148"/>
                </a:cubicBezTo>
                <a:cubicBezTo>
                  <a:pt x="621" y="148"/>
                  <a:pt x="621" y="148"/>
                  <a:pt x="621" y="148"/>
                </a:cubicBezTo>
                <a:cubicBezTo>
                  <a:pt x="621" y="153"/>
                  <a:pt x="621" y="157"/>
                  <a:pt x="621" y="162"/>
                </a:cubicBezTo>
                <a:cubicBezTo>
                  <a:pt x="626" y="162"/>
                  <a:pt x="630" y="162"/>
                  <a:pt x="635" y="162"/>
                </a:cubicBezTo>
                <a:cubicBezTo>
                  <a:pt x="635" y="119"/>
                  <a:pt x="635" y="76"/>
                  <a:pt x="635" y="34"/>
                </a:cubicBezTo>
                <a:close/>
                <a:moveTo>
                  <a:pt x="620" y="130"/>
                </a:moveTo>
                <a:cubicBezTo>
                  <a:pt x="619" y="137"/>
                  <a:pt x="616" y="143"/>
                  <a:pt x="610" y="147"/>
                </a:cubicBezTo>
                <a:cubicBezTo>
                  <a:pt x="601" y="154"/>
                  <a:pt x="582" y="155"/>
                  <a:pt x="574" y="140"/>
                </a:cubicBezTo>
                <a:cubicBezTo>
                  <a:pt x="571" y="135"/>
                  <a:pt x="570" y="130"/>
                  <a:pt x="569" y="124"/>
                </a:cubicBezTo>
                <a:cubicBezTo>
                  <a:pt x="569" y="117"/>
                  <a:pt x="569" y="111"/>
                  <a:pt x="571" y="104"/>
                </a:cubicBezTo>
                <a:cubicBezTo>
                  <a:pt x="572" y="103"/>
                  <a:pt x="572" y="101"/>
                  <a:pt x="573" y="100"/>
                </a:cubicBezTo>
                <a:cubicBezTo>
                  <a:pt x="578" y="90"/>
                  <a:pt x="586" y="85"/>
                  <a:pt x="597" y="85"/>
                </a:cubicBezTo>
                <a:cubicBezTo>
                  <a:pt x="608" y="85"/>
                  <a:pt x="615" y="90"/>
                  <a:pt x="619" y="99"/>
                </a:cubicBezTo>
                <a:cubicBezTo>
                  <a:pt x="620" y="102"/>
                  <a:pt x="621" y="106"/>
                  <a:pt x="621" y="109"/>
                </a:cubicBezTo>
                <a:cubicBezTo>
                  <a:pt x="621" y="111"/>
                  <a:pt x="621" y="114"/>
                  <a:pt x="621" y="117"/>
                </a:cubicBezTo>
                <a:cubicBezTo>
                  <a:pt x="621" y="117"/>
                  <a:pt x="621" y="117"/>
                  <a:pt x="621" y="117"/>
                </a:cubicBezTo>
                <a:cubicBezTo>
                  <a:pt x="621" y="121"/>
                  <a:pt x="621" y="125"/>
                  <a:pt x="620" y="130"/>
                </a:cubicBezTo>
                <a:close/>
                <a:moveTo>
                  <a:pt x="1608" y="73"/>
                </a:moveTo>
                <a:cubicBezTo>
                  <a:pt x="1607" y="66"/>
                  <a:pt x="1605" y="59"/>
                  <a:pt x="1601" y="53"/>
                </a:cubicBezTo>
                <a:cubicBezTo>
                  <a:pt x="1597" y="47"/>
                  <a:pt x="1591" y="42"/>
                  <a:pt x="1585" y="40"/>
                </a:cubicBezTo>
                <a:cubicBezTo>
                  <a:pt x="1582" y="39"/>
                  <a:pt x="1578" y="39"/>
                  <a:pt x="1575" y="38"/>
                </a:cubicBezTo>
                <a:cubicBezTo>
                  <a:pt x="1568" y="38"/>
                  <a:pt x="1562" y="39"/>
                  <a:pt x="1555" y="42"/>
                </a:cubicBezTo>
                <a:cubicBezTo>
                  <a:pt x="1549" y="46"/>
                  <a:pt x="1544" y="51"/>
                  <a:pt x="1540" y="58"/>
                </a:cubicBezTo>
                <a:cubicBezTo>
                  <a:pt x="1536" y="66"/>
                  <a:pt x="1534" y="75"/>
                  <a:pt x="1533" y="84"/>
                </a:cubicBezTo>
                <a:cubicBezTo>
                  <a:pt x="1531" y="96"/>
                  <a:pt x="1531" y="109"/>
                  <a:pt x="1533" y="122"/>
                </a:cubicBezTo>
                <a:cubicBezTo>
                  <a:pt x="1534" y="130"/>
                  <a:pt x="1535" y="137"/>
                  <a:pt x="1539" y="144"/>
                </a:cubicBezTo>
                <a:cubicBezTo>
                  <a:pt x="1545" y="155"/>
                  <a:pt x="1553" y="163"/>
                  <a:pt x="1566" y="164"/>
                </a:cubicBezTo>
                <a:cubicBezTo>
                  <a:pt x="1579" y="165"/>
                  <a:pt x="1590" y="161"/>
                  <a:pt x="1598" y="151"/>
                </a:cubicBezTo>
                <a:cubicBezTo>
                  <a:pt x="1602" y="145"/>
                  <a:pt x="1605" y="138"/>
                  <a:pt x="1607" y="131"/>
                </a:cubicBezTo>
                <a:cubicBezTo>
                  <a:pt x="1610" y="121"/>
                  <a:pt x="1611" y="111"/>
                  <a:pt x="1611" y="100"/>
                </a:cubicBezTo>
                <a:cubicBezTo>
                  <a:pt x="1611" y="91"/>
                  <a:pt x="1610" y="82"/>
                  <a:pt x="1608" y="73"/>
                </a:cubicBezTo>
                <a:close/>
                <a:moveTo>
                  <a:pt x="1594" y="129"/>
                </a:moveTo>
                <a:cubicBezTo>
                  <a:pt x="1593" y="134"/>
                  <a:pt x="1591" y="138"/>
                  <a:pt x="1589" y="142"/>
                </a:cubicBezTo>
                <a:cubicBezTo>
                  <a:pt x="1585" y="147"/>
                  <a:pt x="1581" y="151"/>
                  <a:pt x="1575" y="152"/>
                </a:cubicBezTo>
                <a:cubicBezTo>
                  <a:pt x="1567" y="153"/>
                  <a:pt x="1560" y="151"/>
                  <a:pt x="1555" y="144"/>
                </a:cubicBezTo>
                <a:cubicBezTo>
                  <a:pt x="1551" y="140"/>
                  <a:pt x="1550" y="135"/>
                  <a:pt x="1548" y="129"/>
                </a:cubicBezTo>
                <a:cubicBezTo>
                  <a:pt x="1547" y="122"/>
                  <a:pt x="1546" y="115"/>
                  <a:pt x="1546" y="107"/>
                </a:cubicBezTo>
                <a:cubicBezTo>
                  <a:pt x="1546" y="97"/>
                  <a:pt x="1546" y="87"/>
                  <a:pt x="1548" y="77"/>
                </a:cubicBezTo>
                <a:cubicBezTo>
                  <a:pt x="1549" y="72"/>
                  <a:pt x="1550" y="67"/>
                  <a:pt x="1552" y="63"/>
                </a:cubicBezTo>
                <a:cubicBezTo>
                  <a:pt x="1554" y="61"/>
                  <a:pt x="1555" y="59"/>
                  <a:pt x="1556" y="57"/>
                </a:cubicBezTo>
                <a:cubicBezTo>
                  <a:pt x="1563" y="48"/>
                  <a:pt x="1580" y="47"/>
                  <a:pt x="1588" y="59"/>
                </a:cubicBezTo>
                <a:cubicBezTo>
                  <a:pt x="1591" y="64"/>
                  <a:pt x="1593" y="70"/>
                  <a:pt x="1594" y="76"/>
                </a:cubicBezTo>
                <a:cubicBezTo>
                  <a:pt x="1596" y="84"/>
                  <a:pt x="1596" y="92"/>
                  <a:pt x="1596" y="104"/>
                </a:cubicBezTo>
                <a:cubicBezTo>
                  <a:pt x="1596" y="111"/>
                  <a:pt x="1596" y="120"/>
                  <a:pt x="1594" y="129"/>
                </a:cubicBezTo>
                <a:close/>
                <a:moveTo>
                  <a:pt x="1125" y="114"/>
                </a:moveTo>
                <a:cubicBezTo>
                  <a:pt x="1125" y="107"/>
                  <a:pt x="1124" y="100"/>
                  <a:pt x="1121" y="93"/>
                </a:cubicBezTo>
                <a:cubicBezTo>
                  <a:pt x="1117" y="85"/>
                  <a:pt x="1112" y="78"/>
                  <a:pt x="1103" y="75"/>
                </a:cubicBezTo>
                <a:cubicBezTo>
                  <a:pt x="1096" y="73"/>
                  <a:pt x="1090" y="72"/>
                  <a:pt x="1083" y="73"/>
                </a:cubicBezTo>
                <a:cubicBezTo>
                  <a:pt x="1070" y="76"/>
                  <a:pt x="1061" y="83"/>
                  <a:pt x="1055" y="94"/>
                </a:cubicBezTo>
                <a:cubicBezTo>
                  <a:pt x="1050" y="103"/>
                  <a:pt x="1049" y="114"/>
                  <a:pt x="1049" y="124"/>
                </a:cubicBezTo>
                <a:cubicBezTo>
                  <a:pt x="1050" y="131"/>
                  <a:pt x="1051" y="137"/>
                  <a:pt x="1054" y="143"/>
                </a:cubicBezTo>
                <a:cubicBezTo>
                  <a:pt x="1059" y="154"/>
                  <a:pt x="1068" y="161"/>
                  <a:pt x="1080" y="163"/>
                </a:cubicBezTo>
                <a:cubicBezTo>
                  <a:pt x="1088" y="165"/>
                  <a:pt x="1096" y="164"/>
                  <a:pt x="1103" y="163"/>
                </a:cubicBezTo>
                <a:cubicBezTo>
                  <a:pt x="1109" y="161"/>
                  <a:pt x="1113" y="160"/>
                  <a:pt x="1118" y="157"/>
                </a:cubicBezTo>
                <a:cubicBezTo>
                  <a:pt x="1119" y="156"/>
                  <a:pt x="1119" y="155"/>
                  <a:pt x="1119" y="154"/>
                </a:cubicBezTo>
                <a:cubicBezTo>
                  <a:pt x="1119" y="151"/>
                  <a:pt x="1119" y="148"/>
                  <a:pt x="1119" y="144"/>
                </a:cubicBezTo>
                <a:cubicBezTo>
                  <a:pt x="1119" y="144"/>
                  <a:pt x="1119" y="144"/>
                  <a:pt x="1119" y="143"/>
                </a:cubicBezTo>
                <a:cubicBezTo>
                  <a:pt x="1119" y="143"/>
                  <a:pt x="1118" y="143"/>
                  <a:pt x="1118" y="143"/>
                </a:cubicBezTo>
                <a:cubicBezTo>
                  <a:pt x="1118" y="144"/>
                  <a:pt x="1117" y="144"/>
                  <a:pt x="1116" y="145"/>
                </a:cubicBezTo>
                <a:cubicBezTo>
                  <a:pt x="1107" y="151"/>
                  <a:pt x="1096" y="153"/>
                  <a:pt x="1085" y="152"/>
                </a:cubicBezTo>
                <a:cubicBezTo>
                  <a:pt x="1076" y="150"/>
                  <a:pt x="1070" y="145"/>
                  <a:pt x="1066" y="137"/>
                </a:cubicBezTo>
                <a:cubicBezTo>
                  <a:pt x="1065" y="134"/>
                  <a:pt x="1065" y="130"/>
                  <a:pt x="1064" y="127"/>
                </a:cubicBezTo>
                <a:cubicBezTo>
                  <a:pt x="1064" y="126"/>
                  <a:pt x="1064" y="124"/>
                  <a:pt x="1064" y="122"/>
                </a:cubicBezTo>
                <a:cubicBezTo>
                  <a:pt x="1084" y="122"/>
                  <a:pt x="1104" y="122"/>
                  <a:pt x="1125" y="122"/>
                </a:cubicBezTo>
                <a:cubicBezTo>
                  <a:pt x="1125" y="119"/>
                  <a:pt x="1125" y="117"/>
                  <a:pt x="1125" y="114"/>
                </a:cubicBezTo>
                <a:close/>
                <a:moveTo>
                  <a:pt x="1064" y="110"/>
                </a:moveTo>
                <a:cubicBezTo>
                  <a:pt x="1064" y="108"/>
                  <a:pt x="1064" y="107"/>
                  <a:pt x="1065" y="105"/>
                </a:cubicBezTo>
                <a:cubicBezTo>
                  <a:pt x="1066" y="100"/>
                  <a:pt x="1069" y="94"/>
                  <a:pt x="1074" y="90"/>
                </a:cubicBezTo>
                <a:cubicBezTo>
                  <a:pt x="1081" y="84"/>
                  <a:pt x="1089" y="84"/>
                  <a:pt x="1098" y="86"/>
                </a:cubicBezTo>
                <a:cubicBezTo>
                  <a:pt x="1101" y="88"/>
                  <a:pt x="1103" y="90"/>
                  <a:pt x="1105" y="92"/>
                </a:cubicBezTo>
                <a:cubicBezTo>
                  <a:pt x="1109" y="98"/>
                  <a:pt x="1110" y="104"/>
                  <a:pt x="1111" y="110"/>
                </a:cubicBezTo>
                <a:cubicBezTo>
                  <a:pt x="1095" y="110"/>
                  <a:pt x="1080" y="110"/>
                  <a:pt x="1064" y="110"/>
                </a:cubicBezTo>
                <a:close/>
                <a:moveTo>
                  <a:pt x="1351" y="109"/>
                </a:moveTo>
                <a:cubicBezTo>
                  <a:pt x="1351" y="103"/>
                  <a:pt x="1349" y="97"/>
                  <a:pt x="1347" y="92"/>
                </a:cubicBezTo>
                <a:cubicBezTo>
                  <a:pt x="1343" y="84"/>
                  <a:pt x="1337" y="78"/>
                  <a:pt x="1329" y="75"/>
                </a:cubicBezTo>
                <a:cubicBezTo>
                  <a:pt x="1323" y="73"/>
                  <a:pt x="1316" y="72"/>
                  <a:pt x="1309" y="74"/>
                </a:cubicBezTo>
                <a:cubicBezTo>
                  <a:pt x="1297" y="76"/>
                  <a:pt x="1288" y="82"/>
                  <a:pt x="1282" y="93"/>
                </a:cubicBezTo>
                <a:cubicBezTo>
                  <a:pt x="1273" y="108"/>
                  <a:pt x="1274" y="130"/>
                  <a:pt x="1280" y="143"/>
                </a:cubicBezTo>
                <a:cubicBezTo>
                  <a:pt x="1285" y="154"/>
                  <a:pt x="1294" y="161"/>
                  <a:pt x="1306" y="163"/>
                </a:cubicBezTo>
                <a:cubicBezTo>
                  <a:pt x="1314" y="165"/>
                  <a:pt x="1322" y="164"/>
                  <a:pt x="1330" y="163"/>
                </a:cubicBezTo>
                <a:cubicBezTo>
                  <a:pt x="1334" y="162"/>
                  <a:pt x="1339" y="160"/>
                  <a:pt x="1343" y="157"/>
                </a:cubicBezTo>
                <a:cubicBezTo>
                  <a:pt x="1345" y="156"/>
                  <a:pt x="1345" y="155"/>
                  <a:pt x="1345" y="153"/>
                </a:cubicBezTo>
                <a:cubicBezTo>
                  <a:pt x="1345" y="151"/>
                  <a:pt x="1345" y="148"/>
                  <a:pt x="1345" y="145"/>
                </a:cubicBezTo>
                <a:cubicBezTo>
                  <a:pt x="1345" y="144"/>
                  <a:pt x="1345" y="144"/>
                  <a:pt x="1345" y="143"/>
                </a:cubicBezTo>
                <a:cubicBezTo>
                  <a:pt x="1344" y="143"/>
                  <a:pt x="1343" y="144"/>
                  <a:pt x="1343" y="144"/>
                </a:cubicBezTo>
                <a:cubicBezTo>
                  <a:pt x="1333" y="151"/>
                  <a:pt x="1323" y="154"/>
                  <a:pt x="1311" y="152"/>
                </a:cubicBezTo>
                <a:cubicBezTo>
                  <a:pt x="1303" y="150"/>
                  <a:pt x="1296" y="145"/>
                  <a:pt x="1293" y="137"/>
                </a:cubicBezTo>
                <a:cubicBezTo>
                  <a:pt x="1292" y="134"/>
                  <a:pt x="1291" y="131"/>
                  <a:pt x="1290" y="128"/>
                </a:cubicBezTo>
                <a:cubicBezTo>
                  <a:pt x="1290" y="126"/>
                  <a:pt x="1290" y="124"/>
                  <a:pt x="1290" y="122"/>
                </a:cubicBezTo>
                <a:cubicBezTo>
                  <a:pt x="1310" y="122"/>
                  <a:pt x="1331" y="122"/>
                  <a:pt x="1351" y="122"/>
                </a:cubicBezTo>
                <a:cubicBezTo>
                  <a:pt x="1351" y="118"/>
                  <a:pt x="1351" y="113"/>
                  <a:pt x="1351" y="109"/>
                </a:cubicBezTo>
                <a:close/>
                <a:moveTo>
                  <a:pt x="1290" y="110"/>
                </a:moveTo>
                <a:cubicBezTo>
                  <a:pt x="1291" y="108"/>
                  <a:pt x="1291" y="106"/>
                  <a:pt x="1291" y="105"/>
                </a:cubicBezTo>
                <a:cubicBezTo>
                  <a:pt x="1293" y="99"/>
                  <a:pt x="1296" y="94"/>
                  <a:pt x="1301" y="90"/>
                </a:cubicBezTo>
                <a:cubicBezTo>
                  <a:pt x="1308" y="84"/>
                  <a:pt x="1316" y="84"/>
                  <a:pt x="1324" y="86"/>
                </a:cubicBezTo>
                <a:cubicBezTo>
                  <a:pt x="1328" y="88"/>
                  <a:pt x="1331" y="91"/>
                  <a:pt x="1333" y="94"/>
                </a:cubicBezTo>
                <a:cubicBezTo>
                  <a:pt x="1336" y="98"/>
                  <a:pt x="1337" y="105"/>
                  <a:pt x="1337" y="110"/>
                </a:cubicBezTo>
                <a:cubicBezTo>
                  <a:pt x="1321" y="110"/>
                  <a:pt x="1306" y="110"/>
                  <a:pt x="1290" y="110"/>
                </a:cubicBezTo>
                <a:close/>
                <a:moveTo>
                  <a:pt x="1033" y="56"/>
                </a:moveTo>
                <a:cubicBezTo>
                  <a:pt x="1033" y="53"/>
                  <a:pt x="1033" y="51"/>
                  <a:pt x="1033" y="48"/>
                </a:cubicBezTo>
                <a:cubicBezTo>
                  <a:pt x="1033" y="42"/>
                  <a:pt x="1033" y="42"/>
                  <a:pt x="1027" y="40"/>
                </a:cubicBezTo>
                <a:cubicBezTo>
                  <a:pt x="1022" y="39"/>
                  <a:pt x="1017" y="38"/>
                  <a:pt x="1012" y="38"/>
                </a:cubicBezTo>
                <a:cubicBezTo>
                  <a:pt x="1005" y="38"/>
                  <a:pt x="999" y="38"/>
                  <a:pt x="992" y="41"/>
                </a:cubicBezTo>
                <a:cubicBezTo>
                  <a:pt x="980" y="45"/>
                  <a:pt x="972" y="53"/>
                  <a:pt x="971" y="66"/>
                </a:cubicBezTo>
                <a:cubicBezTo>
                  <a:pt x="969" y="76"/>
                  <a:pt x="972" y="85"/>
                  <a:pt x="979" y="93"/>
                </a:cubicBezTo>
                <a:cubicBezTo>
                  <a:pt x="984" y="97"/>
                  <a:pt x="989" y="101"/>
                  <a:pt x="995" y="104"/>
                </a:cubicBezTo>
                <a:cubicBezTo>
                  <a:pt x="999" y="107"/>
                  <a:pt x="1003" y="109"/>
                  <a:pt x="1007" y="112"/>
                </a:cubicBezTo>
                <a:cubicBezTo>
                  <a:pt x="1010" y="114"/>
                  <a:pt x="1013" y="116"/>
                  <a:pt x="1016" y="118"/>
                </a:cubicBezTo>
                <a:cubicBezTo>
                  <a:pt x="1020" y="122"/>
                  <a:pt x="1022" y="126"/>
                  <a:pt x="1023" y="131"/>
                </a:cubicBezTo>
                <a:cubicBezTo>
                  <a:pt x="1023" y="141"/>
                  <a:pt x="1019" y="147"/>
                  <a:pt x="1010" y="150"/>
                </a:cubicBezTo>
                <a:cubicBezTo>
                  <a:pt x="1008" y="150"/>
                  <a:pt x="1005" y="151"/>
                  <a:pt x="1002" y="151"/>
                </a:cubicBezTo>
                <a:cubicBezTo>
                  <a:pt x="991" y="152"/>
                  <a:pt x="981" y="148"/>
                  <a:pt x="972" y="142"/>
                </a:cubicBezTo>
                <a:cubicBezTo>
                  <a:pt x="971" y="141"/>
                  <a:pt x="971" y="141"/>
                  <a:pt x="970" y="141"/>
                </a:cubicBezTo>
                <a:cubicBezTo>
                  <a:pt x="970" y="142"/>
                  <a:pt x="970" y="142"/>
                  <a:pt x="970" y="143"/>
                </a:cubicBezTo>
                <a:cubicBezTo>
                  <a:pt x="970" y="146"/>
                  <a:pt x="970" y="150"/>
                  <a:pt x="970" y="153"/>
                </a:cubicBezTo>
                <a:cubicBezTo>
                  <a:pt x="970" y="158"/>
                  <a:pt x="970" y="158"/>
                  <a:pt x="974" y="159"/>
                </a:cubicBezTo>
                <a:cubicBezTo>
                  <a:pt x="981" y="162"/>
                  <a:pt x="988" y="164"/>
                  <a:pt x="995" y="164"/>
                </a:cubicBezTo>
                <a:cubicBezTo>
                  <a:pt x="1003" y="164"/>
                  <a:pt x="1011" y="164"/>
                  <a:pt x="1018" y="161"/>
                </a:cubicBezTo>
                <a:cubicBezTo>
                  <a:pt x="1035" y="154"/>
                  <a:pt x="1040" y="140"/>
                  <a:pt x="1037" y="125"/>
                </a:cubicBezTo>
                <a:cubicBezTo>
                  <a:pt x="1036" y="118"/>
                  <a:pt x="1032" y="113"/>
                  <a:pt x="1027" y="108"/>
                </a:cubicBezTo>
                <a:cubicBezTo>
                  <a:pt x="1022" y="104"/>
                  <a:pt x="1017" y="100"/>
                  <a:pt x="1011" y="97"/>
                </a:cubicBezTo>
                <a:cubicBezTo>
                  <a:pt x="1007" y="95"/>
                  <a:pt x="1003" y="92"/>
                  <a:pt x="999" y="90"/>
                </a:cubicBezTo>
                <a:cubicBezTo>
                  <a:pt x="996" y="88"/>
                  <a:pt x="994" y="87"/>
                  <a:pt x="992" y="85"/>
                </a:cubicBezTo>
                <a:cubicBezTo>
                  <a:pt x="988" y="82"/>
                  <a:pt x="986" y="78"/>
                  <a:pt x="985" y="73"/>
                </a:cubicBezTo>
                <a:cubicBezTo>
                  <a:pt x="984" y="64"/>
                  <a:pt x="988" y="57"/>
                  <a:pt x="996" y="53"/>
                </a:cubicBezTo>
                <a:cubicBezTo>
                  <a:pt x="999" y="52"/>
                  <a:pt x="1002" y="51"/>
                  <a:pt x="1005" y="51"/>
                </a:cubicBezTo>
                <a:cubicBezTo>
                  <a:pt x="1015" y="51"/>
                  <a:pt x="1024" y="52"/>
                  <a:pt x="1032" y="58"/>
                </a:cubicBezTo>
                <a:cubicBezTo>
                  <a:pt x="1032" y="58"/>
                  <a:pt x="1032" y="58"/>
                  <a:pt x="1033" y="58"/>
                </a:cubicBezTo>
                <a:cubicBezTo>
                  <a:pt x="1033" y="58"/>
                  <a:pt x="1033" y="57"/>
                  <a:pt x="1033" y="56"/>
                </a:cubicBezTo>
                <a:close/>
                <a:moveTo>
                  <a:pt x="736" y="100"/>
                </a:moveTo>
                <a:cubicBezTo>
                  <a:pt x="731" y="87"/>
                  <a:pt x="723" y="78"/>
                  <a:pt x="709" y="74"/>
                </a:cubicBezTo>
                <a:cubicBezTo>
                  <a:pt x="702" y="72"/>
                  <a:pt x="694" y="72"/>
                  <a:pt x="687" y="74"/>
                </a:cubicBezTo>
                <a:cubicBezTo>
                  <a:pt x="673" y="76"/>
                  <a:pt x="662" y="84"/>
                  <a:pt x="657" y="98"/>
                </a:cubicBezTo>
                <a:cubicBezTo>
                  <a:pt x="651" y="111"/>
                  <a:pt x="651" y="124"/>
                  <a:pt x="656" y="138"/>
                </a:cubicBezTo>
                <a:cubicBezTo>
                  <a:pt x="660" y="149"/>
                  <a:pt x="668" y="158"/>
                  <a:pt x="680" y="162"/>
                </a:cubicBezTo>
                <a:cubicBezTo>
                  <a:pt x="687" y="164"/>
                  <a:pt x="694" y="165"/>
                  <a:pt x="701" y="164"/>
                </a:cubicBezTo>
                <a:cubicBezTo>
                  <a:pt x="717" y="162"/>
                  <a:pt x="728" y="154"/>
                  <a:pt x="734" y="139"/>
                </a:cubicBezTo>
                <a:cubicBezTo>
                  <a:pt x="737" y="133"/>
                  <a:pt x="738" y="125"/>
                  <a:pt x="738" y="118"/>
                </a:cubicBezTo>
                <a:cubicBezTo>
                  <a:pt x="738" y="112"/>
                  <a:pt x="737" y="105"/>
                  <a:pt x="736" y="100"/>
                </a:cubicBezTo>
                <a:close/>
                <a:moveTo>
                  <a:pt x="670" y="103"/>
                </a:moveTo>
                <a:cubicBezTo>
                  <a:pt x="674" y="92"/>
                  <a:pt x="683" y="85"/>
                  <a:pt x="694" y="85"/>
                </a:cubicBezTo>
                <a:cubicBezTo>
                  <a:pt x="698" y="85"/>
                  <a:pt x="701" y="85"/>
                  <a:pt x="704" y="86"/>
                </a:cubicBezTo>
                <a:cubicBezTo>
                  <a:pt x="711" y="88"/>
                  <a:pt x="717" y="92"/>
                  <a:pt x="720" y="99"/>
                </a:cubicBezTo>
                <a:cubicBezTo>
                  <a:pt x="723" y="104"/>
                  <a:pt x="723" y="109"/>
                  <a:pt x="724" y="114"/>
                </a:cubicBezTo>
                <a:cubicBezTo>
                  <a:pt x="724" y="120"/>
                  <a:pt x="724" y="127"/>
                  <a:pt x="722" y="133"/>
                </a:cubicBezTo>
                <a:cubicBezTo>
                  <a:pt x="722" y="134"/>
                  <a:pt x="721" y="136"/>
                  <a:pt x="721" y="137"/>
                </a:cubicBezTo>
                <a:cubicBezTo>
                  <a:pt x="717" y="146"/>
                  <a:pt x="709" y="151"/>
                  <a:pt x="700" y="152"/>
                </a:cubicBezTo>
                <a:cubicBezTo>
                  <a:pt x="695" y="152"/>
                  <a:pt x="691" y="152"/>
                  <a:pt x="687" y="151"/>
                </a:cubicBezTo>
                <a:cubicBezTo>
                  <a:pt x="677" y="148"/>
                  <a:pt x="672" y="141"/>
                  <a:pt x="669" y="132"/>
                </a:cubicBezTo>
                <a:cubicBezTo>
                  <a:pt x="668" y="130"/>
                  <a:pt x="668" y="128"/>
                  <a:pt x="667" y="126"/>
                </a:cubicBezTo>
                <a:cubicBezTo>
                  <a:pt x="667" y="124"/>
                  <a:pt x="667" y="121"/>
                  <a:pt x="667" y="120"/>
                </a:cubicBezTo>
                <a:cubicBezTo>
                  <a:pt x="667" y="113"/>
                  <a:pt x="668" y="108"/>
                  <a:pt x="670" y="103"/>
                </a:cubicBezTo>
                <a:close/>
                <a:moveTo>
                  <a:pt x="1955" y="149"/>
                </a:moveTo>
                <a:cubicBezTo>
                  <a:pt x="1953" y="149"/>
                  <a:pt x="1950" y="149"/>
                  <a:pt x="1948" y="149"/>
                </a:cubicBezTo>
                <a:cubicBezTo>
                  <a:pt x="1945" y="149"/>
                  <a:pt x="1943" y="149"/>
                  <a:pt x="1940" y="149"/>
                </a:cubicBezTo>
                <a:cubicBezTo>
                  <a:pt x="1938" y="149"/>
                  <a:pt x="1935" y="149"/>
                  <a:pt x="1933" y="149"/>
                </a:cubicBezTo>
                <a:cubicBezTo>
                  <a:pt x="1930" y="149"/>
                  <a:pt x="1928" y="149"/>
                  <a:pt x="1925" y="149"/>
                </a:cubicBezTo>
                <a:cubicBezTo>
                  <a:pt x="1923" y="149"/>
                  <a:pt x="1920" y="149"/>
                  <a:pt x="1918" y="149"/>
                </a:cubicBezTo>
                <a:cubicBezTo>
                  <a:pt x="1915" y="149"/>
                  <a:pt x="1913" y="149"/>
                  <a:pt x="1910" y="149"/>
                </a:cubicBezTo>
                <a:cubicBezTo>
                  <a:pt x="1908" y="149"/>
                  <a:pt x="1905" y="150"/>
                  <a:pt x="1903" y="149"/>
                </a:cubicBezTo>
                <a:cubicBezTo>
                  <a:pt x="1902" y="144"/>
                  <a:pt x="1904" y="139"/>
                  <a:pt x="1907" y="135"/>
                </a:cubicBezTo>
                <a:cubicBezTo>
                  <a:pt x="1909" y="133"/>
                  <a:pt x="1911" y="130"/>
                  <a:pt x="1913" y="128"/>
                </a:cubicBezTo>
                <a:cubicBezTo>
                  <a:pt x="1919" y="124"/>
                  <a:pt x="1925" y="119"/>
                  <a:pt x="1931" y="115"/>
                </a:cubicBezTo>
                <a:cubicBezTo>
                  <a:pt x="1936" y="111"/>
                  <a:pt x="1941" y="107"/>
                  <a:pt x="1945" y="103"/>
                </a:cubicBezTo>
                <a:cubicBezTo>
                  <a:pt x="1955" y="93"/>
                  <a:pt x="1959" y="81"/>
                  <a:pt x="1958" y="67"/>
                </a:cubicBezTo>
                <a:cubicBezTo>
                  <a:pt x="1957" y="53"/>
                  <a:pt x="1949" y="44"/>
                  <a:pt x="1936" y="40"/>
                </a:cubicBezTo>
                <a:cubicBezTo>
                  <a:pt x="1930" y="38"/>
                  <a:pt x="1924" y="38"/>
                  <a:pt x="1917" y="39"/>
                </a:cubicBezTo>
                <a:cubicBezTo>
                  <a:pt x="1908" y="39"/>
                  <a:pt x="1901" y="43"/>
                  <a:pt x="1894" y="49"/>
                </a:cubicBezTo>
                <a:cubicBezTo>
                  <a:pt x="1893" y="50"/>
                  <a:pt x="1893" y="50"/>
                  <a:pt x="1893" y="51"/>
                </a:cubicBezTo>
                <a:cubicBezTo>
                  <a:pt x="1893" y="55"/>
                  <a:pt x="1893" y="59"/>
                  <a:pt x="1893" y="63"/>
                </a:cubicBezTo>
                <a:cubicBezTo>
                  <a:pt x="1893" y="63"/>
                  <a:pt x="1893" y="64"/>
                  <a:pt x="1893" y="65"/>
                </a:cubicBezTo>
                <a:cubicBezTo>
                  <a:pt x="1894" y="64"/>
                  <a:pt x="1894" y="63"/>
                  <a:pt x="1895" y="63"/>
                </a:cubicBezTo>
                <a:cubicBezTo>
                  <a:pt x="1898" y="59"/>
                  <a:pt x="1902" y="56"/>
                  <a:pt x="1906" y="54"/>
                </a:cubicBezTo>
                <a:cubicBezTo>
                  <a:pt x="1912" y="51"/>
                  <a:pt x="1918" y="50"/>
                  <a:pt x="1924" y="50"/>
                </a:cubicBezTo>
                <a:cubicBezTo>
                  <a:pt x="1936" y="51"/>
                  <a:pt x="1944" y="59"/>
                  <a:pt x="1944" y="71"/>
                </a:cubicBezTo>
                <a:cubicBezTo>
                  <a:pt x="1944" y="81"/>
                  <a:pt x="1941" y="89"/>
                  <a:pt x="1935" y="96"/>
                </a:cubicBezTo>
                <a:cubicBezTo>
                  <a:pt x="1931" y="101"/>
                  <a:pt x="1926" y="104"/>
                  <a:pt x="1921" y="108"/>
                </a:cubicBezTo>
                <a:cubicBezTo>
                  <a:pt x="1914" y="113"/>
                  <a:pt x="1908" y="118"/>
                  <a:pt x="1902" y="124"/>
                </a:cubicBezTo>
                <a:cubicBezTo>
                  <a:pt x="1893" y="131"/>
                  <a:pt x="1888" y="141"/>
                  <a:pt x="1888" y="152"/>
                </a:cubicBezTo>
                <a:cubicBezTo>
                  <a:pt x="1888" y="155"/>
                  <a:pt x="1888" y="159"/>
                  <a:pt x="1888" y="162"/>
                </a:cubicBezTo>
                <a:cubicBezTo>
                  <a:pt x="1913" y="162"/>
                  <a:pt x="1938" y="162"/>
                  <a:pt x="1963" y="162"/>
                </a:cubicBezTo>
                <a:cubicBezTo>
                  <a:pt x="1963" y="158"/>
                  <a:pt x="1963" y="154"/>
                  <a:pt x="1963" y="149"/>
                </a:cubicBezTo>
                <a:cubicBezTo>
                  <a:pt x="1960" y="149"/>
                  <a:pt x="1958" y="149"/>
                  <a:pt x="1955" y="149"/>
                </a:cubicBezTo>
                <a:close/>
                <a:moveTo>
                  <a:pt x="1504" y="149"/>
                </a:moveTo>
                <a:cubicBezTo>
                  <a:pt x="1499" y="149"/>
                  <a:pt x="1494" y="149"/>
                  <a:pt x="1489" y="149"/>
                </a:cubicBezTo>
                <a:cubicBezTo>
                  <a:pt x="1484" y="149"/>
                  <a:pt x="1479" y="149"/>
                  <a:pt x="1474" y="149"/>
                </a:cubicBezTo>
                <a:cubicBezTo>
                  <a:pt x="1469" y="149"/>
                  <a:pt x="1464" y="149"/>
                  <a:pt x="1459" y="149"/>
                </a:cubicBezTo>
                <a:cubicBezTo>
                  <a:pt x="1459" y="145"/>
                  <a:pt x="1460" y="140"/>
                  <a:pt x="1463" y="136"/>
                </a:cubicBezTo>
                <a:cubicBezTo>
                  <a:pt x="1465" y="132"/>
                  <a:pt x="1468" y="130"/>
                  <a:pt x="1471" y="127"/>
                </a:cubicBezTo>
                <a:cubicBezTo>
                  <a:pt x="1476" y="123"/>
                  <a:pt x="1482" y="119"/>
                  <a:pt x="1487" y="115"/>
                </a:cubicBezTo>
                <a:cubicBezTo>
                  <a:pt x="1491" y="112"/>
                  <a:pt x="1495" y="109"/>
                  <a:pt x="1499" y="106"/>
                </a:cubicBezTo>
                <a:cubicBezTo>
                  <a:pt x="1503" y="102"/>
                  <a:pt x="1506" y="98"/>
                  <a:pt x="1509" y="93"/>
                </a:cubicBezTo>
                <a:cubicBezTo>
                  <a:pt x="1514" y="86"/>
                  <a:pt x="1515" y="77"/>
                  <a:pt x="1515" y="69"/>
                </a:cubicBezTo>
                <a:cubicBezTo>
                  <a:pt x="1514" y="55"/>
                  <a:pt x="1506" y="44"/>
                  <a:pt x="1492" y="40"/>
                </a:cubicBezTo>
                <a:cubicBezTo>
                  <a:pt x="1486" y="38"/>
                  <a:pt x="1480" y="38"/>
                  <a:pt x="1474" y="39"/>
                </a:cubicBezTo>
                <a:cubicBezTo>
                  <a:pt x="1465" y="39"/>
                  <a:pt x="1457" y="43"/>
                  <a:pt x="1450" y="49"/>
                </a:cubicBezTo>
                <a:cubicBezTo>
                  <a:pt x="1449" y="50"/>
                  <a:pt x="1449" y="51"/>
                  <a:pt x="1449" y="52"/>
                </a:cubicBezTo>
                <a:cubicBezTo>
                  <a:pt x="1449" y="55"/>
                  <a:pt x="1449" y="59"/>
                  <a:pt x="1449" y="63"/>
                </a:cubicBezTo>
                <a:cubicBezTo>
                  <a:pt x="1449" y="63"/>
                  <a:pt x="1449" y="64"/>
                  <a:pt x="1449" y="65"/>
                </a:cubicBezTo>
                <a:cubicBezTo>
                  <a:pt x="1450" y="64"/>
                  <a:pt x="1450" y="63"/>
                  <a:pt x="1451" y="63"/>
                </a:cubicBezTo>
                <a:cubicBezTo>
                  <a:pt x="1454" y="60"/>
                  <a:pt x="1457" y="58"/>
                  <a:pt x="1460" y="56"/>
                </a:cubicBezTo>
                <a:cubicBezTo>
                  <a:pt x="1466" y="52"/>
                  <a:pt x="1473" y="50"/>
                  <a:pt x="1481" y="50"/>
                </a:cubicBezTo>
                <a:cubicBezTo>
                  <a:pt x="1491" y="51"/>
                  <a:pt x="1498" y="57"/>
                  <a:pt x="1500" y="66"/>
                </a:cubicBezTo>
                <a:cubicBezTo>
                  <a:pt x="1501" y="70"/>
                  <a:pt x="1501" y="74"/>
                  <a:pt x="1500" y="78"/>
                </a:cubicBezTo>
                <a:cubicBezTo>
                  <a:pt x="1499" y="86"/>
                  <a:pt x="1495" y="92"/>
                  <a:pt x="1490" y="98"/>
                </a:cubicBezTo>
                <a:cubicBezTo>
                  <a:pt x="1485" y="102"/>
                  <a:pt x="1480" y="106"/>
                  <a:pt x="1475" y="110"/>
                </a:cubicBezTo>
                <a:cubicBezTo>
                  <a:pt x="1468" y="115"/>
                  <a:pt x="1462" y="120"/>
                  <a:pt x="1456" y="126"/>
                </a:cubicBezTo>
                <a:cubicBezTo>
                  <a:pt x="1450" y="131"/>
                  <a:pt x="1446" y="138"/>
                  <a:pt x="1445" y="146"/>
                </a:cubicBezTo>
                <a:cubicBezTo>
                  <a:pt x="1444" y="151"/>
                  <a:pt x="1444" y="156"/>
                  <a:pt x="1444" y="162"/>
                </a:cubicBezTo>
                <a:cubicBezTo>
                  <a:pt x="1444" y="162"/>
                  <a:pt x="1445" y="162"/>
                  <a:pt x="1445" y="162"/>
                </a:cubicBezTo>
                <a:cubicBezTo>
                  <a:pt x="1469" y="162"/>
                  <a:pt x="1494" y="162"/>
                  <a:pt x="1519" y="162"/>
                </a:cubicBezTo>
                <a:cubicBezTo>
                  <a:pt x="1519" y="158"/>
                  <a:pt x="1519" y="154"/>
                  <a:pt x="1519" y="149"/>
                </a:cubicBezTo>
                <a:cubicBezTo>
                  <a:pt x="1514" y="149"/>
                  <a:pt x="1509" y="149"/>
                  <a:pt x="1504" y="149"/>
                </a:cubicBezTo>
                <a:close/>
                <a:moveTo>
                  <a:pt x="1700" y="149"/>
                </a:moveTo>
                <a:cubicBezTo>
                  <a:pt x="1700" y="149"/>
                  <a:pt x="1700" y="148"/>
                  <a:pt x="1700" y="148"/>
                </a:cubicBezTo>
                <a:cubicBezTo>
                  <a:pt x="1700" y="143"/>
                  <a:pt x="1702" y="139"/>
                  <a:pt x="1705" y="135"/>
                </a:cubicBezTo>
                <a:cubicBezTo>
                  <a:pt x="1707" y="132"/>
                  <a:pt x="1710" y="129"/>
                  <a:pt x="1713" y="126"/>
                </a:cubicBezTo>
                <a:cubicBezTo>
                  <a:pt x="1718" y="123"/>
                  <a:pt x="1724" y="119"/>
                  <a:pt x="1729" y="115"/>
                </a:cubicBezTo>
                <a:cubicBezTo>
                  <a:pt x="1733" y="112"/>
                  <a:pt x="1738" y="108"/>
                  <a:pt x="1742" y="104"/>
                </a:cubicBezTo>
                <a:cubicBezTo>
                  <a:pt x="1753" y="94"/>
                  <a:pt x="1757" y="81"/>
                  <a:pt x="1756" y="67"/>
                </a:cubicBezTo>
                <a:cubicBezTo>
                  <a:pt x="1755" y="54"/>
                  <a:pt x="1747" y="44"/>
                  <a:pt x="1734" y="40"/>
                </a:cubicBezTo>
                <a:cubicBezTo>
                  <a:pt x="1728" y="38"/>
                  <a:pt x="1722" y="38"/>
                  <a:pt x="1716" y="39"/>
                </a:cubicBezTo>
                <a:cubicBezTo>
                  <a:pt x="1706" y="39"/>
                  <a:pt x="1699" y="43"/>
                  <a:pt x="1692" y="49"/>
                </a:cubicBezTo>
                <a:cubicBezTo>
                  <a:pt x="1691" y="50"/>
                  <a:pt x="1690" y="50"/>
                  <a:pt x="1691" y="52"/>
                </a:cubicBezTo>
                <a:cubicBezTo>
                  <a:pt x="1691" y="55"/>
                  <a:pt x="1691" y="59"/>
                  <a:pt x="1691" y="63"/>
                </a:cubicBezTo>
                <a:cubicBezTo>
                  <a:pt x="1691" y="63"/>
                  <a:pt x="1691" y="64"/>
                  <a:pt x="1691" y="65"/>
                </a:cubicBezTo>
                <a:cubicBezTo>
                  <a:pt x="1692" y="64"/>
                  <a:pt x="1692" y="63"/>
                  <a:pt x="1693" y="63"/>
                </a:cubicBezTo>
                <a:cubicBezTo>
                  <a:pt x="1696" y="59"/>
                  <a:pt x="1700" y="56"/>
                  <a:pt x="1705" y="54"/>
                </a:cubicBezTo>
                <a:cubicBezTo>
                  <a:pt x="1711" y="51"/>
                  <a:pt x="1717" y="50"/>
                  <a:pt x="1723" y="50"/>
                </a:cubicBezTo>
                <a:cubicBezTo>
                  <a:pt x="1733" y="51"/>
                  <a:pt x="1740" y="58"/>
                  <a:pt x="1742" y="67"/>
                </a:cubicBezTo>
                <a:cubicBezTo>
                  <a:pt x="1742" y="71"/>
                  <a:pt x="1742" y="76"/>
                  <a:pt x="1741" y="80"/>
                </a:cubicBezTo>
                <a:cubicBezTo>
                  <a:pt x="1740" y="87"/>
                  <a:pt x="1736" y="93"/>
                  <a:pt x="1731" y="98"/>
                </a:cubicBezTo>
                <a:cubicBezTo>
                  <a:pt x="1727" y="102"/>
                  <a:pt x="1722" y="106"/>
                  <a:pt x="1717" y="109"/>
                </a:cubicBezTo>
                <a:cubicBezTo>
                  <a:pt x="1710" y="114"/>
                  <a:pt x="1704" y="119"/>
                  <a:pt x="1698" y="125"/>
                </a:cubicBezTo>
                <a:cubicBezTo>
                  <a:pt x="1693" y="130"/>
                  <a:pt x="1689" y="136"/>
                  <a:pt x="1687" y="143"/>
                </a:cubicBezTo>
                <a:cubicBezTo>
                  <a:pt x="1686" y="149"/>
                  <a:pt x="1686" y="155"/>
                  <a:pt x="1686" y="162"/>
                </a:cubicBezTo>
                <a:cubicBezTo>
                  <a:pt x="1686" y="162"/>
                  <a:pt x="1686" y="162"/>
                  <a:pt x="1686" y="162"/>
                </a:cubicBezTo>
                <a:cubicBezTo>
                  <a:pt x="1711" y="162"/>
                  <a:pt x="1736" y="162"/>
                  <a:pt x="1761" y="162"/>
                </a:cubicBezTo>
                <a:cubicBezTo>
                  <a:pt x="1761" y="158"/>
                  <a:pt x="1761" y="154"/>
                  <a:pt x="1761" y="149"/>
                </a:cubicBezTo>
                <a:cubicBezTo>
                  <a:pt x="1741" y="149"/>
                  <a:pt x="1721" y="149"/>
                  <a:pt x="1700" y="149"/>
                </a:cubicBezTo>
                <a:close/>
                <a:moveTo>
                  <a:pt x="481" y="159"/>
                </a:moveTo>
                <a:cubicBezTo>
                  <a:pt x="481" y="144"/>
                  <a:pt x="481" y="128"/>
                  <a:pt x="481" y="113"/>
                </a:cubicBezTo>
                <a:cubicBezTo>
                  <a:pt x="481" y="111"/>
                  <a:pt x="481" y="109"/>
                  <a:pt x="481" y="107"/>
                </a:cubicBezTo>
                <a:cubicBezTo>
                  <a:pt x="482" y="100"/>
                  <a:pt x="485" y="95"/>
                  <a:pt x="490" y="91"/>
                </a:cubicBezTo>
                <a:cubicBezTo>
                  <a:pt x="497" y="85"/>
                  <a:pt x="504" y="84"/>
                  <a:pt x="512" y="86"/>
                </a:cubicBezTo>
                <a:cubicBezTo>
                  <a:pt x="518" y="88"/>
                  <a:pt x="521" y="92"/>
                  <a:pt x="523" y="98"/>
                </a:cubicBezTo>
                <a:cubicBezTo>
                  <a:pt x="525" y="102"/>
                  <a:pt x="525" y="107"/>
                  <a:pt x="525" y="111"/>
                </a:cubicBezTo>
                <a:cubicBezTo>
                  <a:pt x="525" y="127"/>
                  <a:pt x="525" y="143"/>
                  <a:pt x="525" y="159"/>
                </a:cubicBezTo>
                <a:cubicBezTo>
                  <a:pt x="525" y="160"/>
                  <a:pt x="525" y="161"/>
                  <a:pt x="525" y="162"/>
                </a:cubicBezTo>
                <a:cubicBezTo>
                  <a:pt x="530" y="162"/>
                  <a:pt x="534" y="162"/>
                  <a:pt x="539" y="162"/>
                </a:cubicBezTo>
                <a:cubicBezTo>
                  <a:pt x="539" y="161"/>
                  <a:pt x="539" y="160"/>
                  <a:pt x="539" y="159"/>
                </a:cubicBezTo>
                <a:cubicBezTo>
                  <a:pt x="539" y="143"/>
                  <a:pt x="539" y="126"/>
                  <a:pt x="539" y="110"/>
                </a:cubicBezTo>
                <a:cubicBezTo>
                  <a:pt x="539" y="108"/>
                  <a:pt x="539" y="106"/>
                  <a:pt x="539" y="104"/>
                </a:cubicBezTo>
                <a:cubicBezTo>
                  <a:pt x="539" y="98"/>
                  <a:pt x="538" y="93"/>
                  <a:pt x="535" y="88"/>
                </a:cubicBezTo>
                <a:cubicBezTo>
                  <a:pt x="532" y="81"/>
                  <a:pt x="527" y="77"/>
                  <a:pt x="520" y="74"/>
                </a:cubicBezTo>
                <a:cubicBezTo>
                  <a:pt x="518" y="74"/>
                  <a:pt x="515" y="73"/>
                  <a:pt x="513" y="73"/>
                </a:cubicBezTo>
                <a:cubicBezTo>
                  <a:pt x="500" y="72"/>
                  <a:pt x="490" y="77"/>
                  <a:pt x="483" y="87"/>
                </a:cubicBezTo>
                <a:cubicBezTo>
                  <a:pt x="482" y="88"/>
                  <a:pt x="482" y="88"/>
                  <a:pt x="481" y="89"/>
                </a:cubicBezTo>
                <a:cubicBezTo>
                  <a:pt x="481" y="89"/>
                  <a:pt x="481" y="89"/>
                  <a:pt x="481" y="89"/>
                </a:cubicBezTo>
                <a:cubicBezTo>
                  <a:pt x="481" y="84"/>
                  <a:pt x="481" y="80"/>
                  <a:pt x="481" y="75"/>
                </a:cubicBezTo>
                <a:cubicBezTo>
                  <a:pt x="477" y="75"/>
                  <a:pt x="469" y="75"/>
                  <a:pt x="467" y="75"/>
                </a:cubicBezTo>
                <a:cubicBezTo>
                  <a:pt x="467" y="104"/>
                  <a:pt x="467" y="133"/>
                  <a:pt x="467" y="162"/>
                </a:cubicBezTo>
                <a:cubicBezTo>
                  <a:pt x="472" y="162"/>
                  <a:pt x="476" y="162"/>
                  <a:pt x="481" y="162"/>
                </a:cubicBezTo>
                <a:cubicBezTo>
                  <a:pt x="481" y="161"/>
                  <a:pt x="481" y="160"/>
                  <a:pt x="481" y="159"/>
                </a:cubicBezTo>
                <a:close/>
                <a:moveTo>
                  <a:pt x="1273" y="75"/>
                </a:moveTo>
                <a:cubicBezTo>
                  <a:pt x="1268" y="75"/>
                  <a:pt x="1263" y="75"/>
                  <a:pt x="1258" y="75"/>
                </a:cubicBezTo>
                <a:cubicBezTo>
                  <a:pt x="1256" y="83"/>
                  <a:pt x="1253" y="91"/>
                  <a:pt x="1250" y="99"/>
                </a:cubicBezTo>
                <a:cubicBezTo>
                  <a:pt x="1247" y="107"/>
                  <a:pt x="1244" y="115"/>
                  <a:pt x="1241" y="123"/>
                </a:cubicBezTo>
                <a:cubicBezTo>
                  <a:pt x="1238" y="130"/>
                  <a:pt x="1236" y="138"/>
                  <a:pt x="1232" y="146"/>
                </a:cubicBezTo>
                <a:cubicBezTo>
                  <a:pt x="1232" y="146"/>
                  <a:pt x="1232" y="146"/>
                  <a:pt x="1232" y="146"/>
                </a:cubicBezTo>
                <a:cubicBezTo>
                  <a:pt x="1224" y="122"/>
                  <a:pt x="1216" y="99"/>
                  <a:pt x="1207" y="75"/>
                </a:cubicBezTo>
                <a:cubicBezTo>
                  <a:pt x="1205" y="75"/>
                  <a:pt x="1202" y="75"/>
                  <a:pt x="1200" y="75"/>
                </a:cubicBezTo>
                <a:cubicBezTo>
                  <a:pt x="1197" y="75"/>
                  <a:pt x="1195" y="75"/>
                  <a:pt x="1192" y="75"/>
                </a:cubicBezTo>
                <a:cubicBezTo>
                  <a:pt x="1203" y="104"/>
                  <a:pt x="1214" y="133"/>
                  <a:pt x="1225" y="162"/>
                </a:cubicBezTo>
                <a:cubicBezTo>
                  <a:pt x="1229" y="162"/>
                  <a:pt x="1234" y="162"/>
                  <a:pt x="1238" y="162"/>
                </a:cubicBezTo>
                <a:cubicBezTo>
                  <a:pt x="1241" y="156"/>
                  <a:pt x="1273" y="77"/>
                  <a:pt x="1273" y="75"/>
                </a:cubicBezTo>
                <a:close/>
                <a:moveTo>
                  <a:pt x="870" y="157"/>
                </a:moveTo>
                <a:cubicBezTo>
                  <a:pt x="870" y="159"/>
                  <a:pt x="871" y="159"/>
                  <a:pt x="872" y="160"/>
                </a:cubicBezTo>
                <a:cubicBezTo>
                  <a:pt x="883" y="165"/>
                  <a:pt x="895" y="166"/>
                  <a:pt x="906" y="162"/>
                </a:cubicBezTo>
                <a:cubicBezTo>
                  <a:pt x="918" y="158"/>
                  <a:pt x="924" y="149"/>
                  <a:pt x="923" y="137"/>
                </a:cubicBezTo>
                <a:cubicBezTo>
                  <a:pt x="923" y="131"/>
                  <a:pt x="921" y="126"/>
                  <a:pt x="917" y="122"/>
                </a:cubicBezTo>
                <a:cubicBezTo>
                  <a:pt x="914" y="120"/>
                  <a:pt x="911" y="118"/>
                  <a:pt x="908" y="117"/>
                </a:cubicBezTo>
                <a:cubicBezTo>
                  <a:pt x="905" y="115"/>
                  <a:pt x="901" y="113"/>
                  <a:pt x="897" y="112"/>
                </a:cubicBezTo>
                <a:cubicBezTo>
                  <a:pt x="895" y="110"/>
                  <a:pt x="892" y="108"/>
                  <a:pt x="889" y="107"/>
                </a:cubicBezTo>
                <a:cubicBezTo>
                  <a:pt x="884" y="103"/>
                  <a:pt x="883" y="94"/>
                  <a:pt x="888" y="89"/>
                </a:cubicBezTo>
                <a:cubicBezTo>
                  <a:pt x="891" y="87"/>
                  <a:pt x="894" y="85"/>
                  <a:pt x="898" y="85"/>
                </a:cubicBezTo>
                <a:cubicBezTo>
                  <a:pt x="905" y="85"/>
                  <a:pt x="912" y="86"/>
                  <a:pt x="918" y="90"/>
                </a:cubicBezTo>
                <a:cubicBezTo>
                  <a:pt x="918" y="90"/>
                  <a:pt x="919" y="91"/>
                  <a:pt x="919" y="91"/>
                </a:cubicBezTo>
                <a:cubicBezTo>
                  <a:pt x="919" y="86"/>
                  <a:pt x="919" y="82"/>
                  <a:pt x="919" y="77"/>
                </a:cubicBezTo>
                <a:cubicBezTo>
                  <a:pt x="919" y="77"/>
                  <a:pt x="918" y="76"/>
                  <a:pt x="917" y="76"/>
                </a:cubicBezTo>
                <a:cubicBezTo>
                  <a:pt x="910" y="73"/>
                  <a:pt x="902" y="72"/>
                  <a:pt x="895" y="73"/>
                </a:cubicBezTo>
                <a:cubicBezTo>
                  <a:pt x="888" y="74"/>
                  <a:pt x="883" y="77"/>
                  <a:pt x="878" y="81"/>
                </a:cubicBezTo>
                <a:cubicBezTo>
                  <a:pt x="867" y="90"/>
                  <a:pt x="867" y="110"/>
                  <a:pt x="880" y="118"/>
                </a:cubicBezTo>
                <a:cubicBezTo>
                  <a:pt x="884" y="120"/>
                  <a:pt x="887" y="122"/>
                  <a:pt x="890" y="123"/>
                </a:cubicBezTo>
                <a:cubicBezTo>
                  <a:pt x="895" y="126"/>
                  <a:pt x="900" y="128"/>
                  <a:pt x="905" y="131"/>
                </a:cubicBezTo>
                <a:cubicBezTo>
                  <a:pt x="909" y="134"/>
                  <a:pt x="910" y="138"/>
                  <a:pt x="909" y="143"/>
                </a:cubicBezTo>
                <a:cubicBezTo>
                  <a:pt x="908" y="147"/>
                  <a:pt x="905" y="150"/>
                  <a:pt x="901" y="151"/>
                </a:cubicBezTo>
                <a:cubicBezTo>
                  <a:pt x="901" y="151"/>
                  <a:pt x="900" y="151"/>
                  <a:pt x="899" y="152"/>
                </a:cubicBezTo>
                <a:cubicBezTo>
                  <a:pt x="890" y="153"/>
                  <a:pt x="881" y="151"/>
                  <a:pt x="873" y="146"/>
                </a:cubicBezTo>
                <a:cubicBezTo>
                  <a:pt x="872" y="145"/>
                  <a:pt x="871" y="145"/>
                  <a:pt x="870" y="144"/>
                </a:cubicBezTo>
                <a:cubicBezTo>
                  <a:pt x="870" y="149"/>
                  <a:pt x="870" y="153"/>
                  <a:pt x="870" y="157"/>
                </a:cubicBezTo>
                <a:close/>
                <a:moveTo>
                  <a:pt x="1649" y="162"/>
                </a:moveTo>
                <a:cubicBezTo>
                  <a:pt x="1653" y="162"/>
                  <a:pt x="1658" y="162"/>
                  <a:pt x="1662" y="162"/>
                </a:cubicBezTo>
                <a:cubicBezTo>
                  <a:pt x="1662" y="120"/>
                  <a:pt x="1662" y="79"/>
                  <a:pt x="1662" y="38"/>
                </a:cubicBezTo>
                <a:cubicBezTo>
                  <a:pt x="1661" y="38"/>
                  <a:pt x="1660" y="38"/>
                  <a:pt x="1659" y="38"/>
                </a:cubicBezTo>
                <a:cubicBezTo>
                  <a:pt x="1658" y="38"/>
                  <a:pt x="1657" y="38"/>
                  <a:pt x="1656" y="39"/>
                </a:cubicBezTo>
                <a:cubicBezTo>
                  <a:pt x="1646" y="47"/>
                  <a:pt x="1634" y="53"/>
                  <a:pt x="1622" y="57"/>
                </a:cubicBezTo>
                <a:cubicBezTo>
                  <a:pt x="1621" y="57"/>
                  <a:pt x="1621" y="57"/>
                  <a:pt x="1620" y="57"/>
                </a:cubicBezTo>
                <a:cubicBezTo>
                  <a:pt x="1620" y="62"/>
                  <a:pt x="1620" y="66"/>
                  <a:pt x="1620" y="71"/>
                </a:cubicBezTo>
                <a:cubicBezTo>
                  <a:pt x="1631" y="68"/>
                  <a:pt x="1640" y="64"/>
                  <a:pt x="1649" y="57"/>
                </a:cubicBezTo>
                <a:cubicBezTo>
                  <a:pt x="1649" y="92"/>
                  <a:pt x="1649" y="127"/>
                  <a:pt x="1649" y="162"/>
                </a:cubicBezTo>
                <a:close/>
                <a:moveTo>
                  <a:pt x="1177" y="74"/>
                </a:moveTo>
                <a:cubicBezTo>
                  <a:pt x="1172" y="74"/>
                  <a:pt x="1167" y="76"/>
                  <a:pt x="1163" y="80"/>
                </a:cubicBezTo>
                <a:cubicBezTo>
                  <a:pt x="1160" y="83"/>
                  <a:pt x="1157" y="86"/>
                  <a:pt x="1156" y="90"/>
                </a:cubicBezTo>
                <a:cubicBezTo>
                  <a:pt x="1155" y="91"/>
                  <a:pt x="1155" y="91"/>
                  <a:pt x="1155" y="92"/>
                </a:cubicBezTo>
                <a:cubicBezTo>
                  <a:pt x="1155" y="92"/>
                  <a:pt x="1154" y="92"/>
                  <a:pt x="1154" y="92"/>
                </a:cubicBezTo>
                <a:cubicBezTo>
                  <a:pt x="1154" y="86"/>
                  <a:pt x="1154" y="81"/>
                  <a:pt x="1154" y="75"/>
                </a:cubicBezTo>
                <a:cubicBezTo>
                  <a:pt x="1150" y="75"/>
                  <a:pt x="1145" y="75"/>
                  <a:pt x="1141" y="75"/>
                </a:cubicBezTo>
                <a:cubicBezTo>
                  <a:pt x="1141" y="104"/>
                  <a:pt x="1141" y="133"/>
                  <a:pt x="1141" y="162"/>
                </a:cubicBezTo>
                <a:cubicBezTo>
                  <a:pt x="1143" y="162"/>
                  <a:pt x="1153" y="162"/>
                  <a:pt x="1154" y="162"/>
                </a:cubicBezTo>
                <a:cubicBezTo>
                  <a:pt x="1154" y="161"/>
                  <a:pt x="1154" y="160"/>
                  <a:pt x="1154" y="159"/>
                </a:cubicBezTo>
                <a:cubicBezTo>
                  <a:pt x="1154" y="146"/>
                  <a:pt x="1154" y="132"/>
                  <a:pt x="1154" y="119"/>
                </a:cubicBezTo>
                <a:cubicBezTo>
                  <a:pt x="1154" y="116"/>
                  <a:pt x="1155" y="113"/>
                  <a:pt x="1155" y="110"/>
                </a:cubicBezTo>
                <a:cubicBezTo>
                  <a:pt x="1156" y="104"/>
                  <a:pt x="1158" y="98"/>
                  <a:pt x="1161" y="93"/>
                </a:cubicBezTo>
                <a:cubicBezTo>
                  <a:pt x="1168" y="85"/>
                  <a:pt x="1178" y="85"/>
                  <a:pt x="1184" y="88"/>
                </a:cubicBezTo>
                <a:cubicBezTo>
                  <a:pt x="1185" y="88"/>
                  <a:pt x="1185" y="89"/>
                  <a:pt x="1186" y="89"/>
                </a:cubicBezTo>
                <a:cubicBezTo>
                  <a:pt x="1186" y="84"/>
                  <a:pt x="1186" y="80"/>
                  <a:pt x="1186" y="75"/>
                </a:cubicBezTo>
                <a:cubicBezTo>
                  <a:pt x="1183" y="74"/>
                  <a:pt x="1180" y="74"/>
                  <a:pt x="1177" y="74"/>
                </a:cubicBezTo>
                <a:close/>
                <a:moveTo>
                  <a:pt x="1367" y="162"/>
                </a:moveTo>
                <a:cubicBezTo>
                  <a:pt x="1372" y="162"/>
                  <a:pt x="1376" y="162"/>
                  <a:pt x="1381" y="162"/>
                </a:cubicBezTo>
                <a:cubicBezTo>
                  <a:pt x="1381" y="161"/>
                  <a:pt x="1381" y="160"/>
                  <a:pt x="1381" y="159"/>
                </a:cubicBezTo>
                <a:cubicBezTo>
                  <a:pt x="1381" y="145"/>
                  <a:pt x="1381" y="132"/>
                  <a:pt x="1381" y="118"/>
                </a:cubicBezTo>
                <a:cubicBezTo>
                  <a:pt x="1381" y="115"/>
                  <a:pt x="1381" y="112"/>
                  <a:pt x="1381" y="109"/>
                </a:cubicBezTo>
                <a:cubicBezTo>
                  <a:pt x="1382" y="103"/>
                  <a:pt x="1384" y="98"/>
                  <a:pt x="1388" y="94"/>
                </a:cubicBezTo>
                <a:cubicBezTo>
                  <a:pt x="1394" y="85"/>
                  <a:pt x="1404" y="85"/>
                  <a:pt x="1411" y="88"/>
                </a:cubicBezTo>
                <a:cubicBezTo>
                  <a:pt x="1411" y="88"/>
                  <a:pt x="1411" y="89"/>
                  <a:pt x="1412" y="89"/>
                </a:cubicBezTo>
                <a:cubicBezTo>
                  <a:pt x="1412" y="84"/>
                  <a:pt x="1412" y="79"/>
                  <a:pt x="1412" y="75"/>
                </a:cubicBezTo>
                <a:cubicBezTo>
                  <a:pt x="1411" y="74"/>
                  <a:pt x="1410" y="74"/>
                  <a:pt x="1409" y="74"/>
                </a:cubicBezTo>
                <a:cubicBezTo>
                  <a:pt x="1407" y="74"/>
                  <a:pt x="1406" y="74"/>
                  <a:pt x="1404" y="74"/>
                </a:cubicBezTo>
                <a:cubicBezTo>
                  <a:pt x="1398" y="74"/>
                  <a:pt x="1393" y="76"/>
                  <a:pt x="1389" y="79"/>
                </a:cubicBezTo>
                <a:cubicBezTo>
                  <a:pt x="1386" y="82"/>
                  <a:pt x="1384" y="86"/>
                  <a:pt x="1382" y="90"/>
                </a:cubicBezTo>
                <a:cubicBezTo>
                  <a:pt x="1382" y="91"/>
                  <a:pt x="1382" y="91"/>
                  <a:pt x="1381" y="92"/>
                </a:cubicBezTo>
                <a:cubicBezTo>
                  <a:pt x="1381" y="92"/>
                  <a:pt x="1381" y="92"/>
                  <a:pt x="1381" y="92"/>
                </a:cubicBezTo>
                <a:cubicBezTo>
                  <a:pt x="1381" y="89"/>
                  <a:pt x="1381" y="86"/>
                  <a:pt x="1381" y="84"/>
                </a:cubicBezTo>
                <a:cubicBezTo>
                  <a:pt x="1381" y="81"/>
                  <a:pt x="1381" y="78"/>
                  <a:pt x="1381" y="75"/>
                </a:cubicBezTo>
                <a:cubicBezTo>
                  <a:pt x="1376" y="75"/>
                  <a:pt x="1372" y="75"/>
                  <a:pt x="1367" y="75"/>
                </a:cubicBezTo>
                <a:cubicBezTo>
                  <a:pt x="1367" y="78"/>
                  <a:pt x="1367" y="160"/>
                  <a:pt x="1367" y="162"/>
                </a:cubicBezTo>
                <a:close/>
                <a:moveTo>
                  <a:pt x="446" y="75"/>
                </a:moveTo>
                <a:cubicBezTo>
                  <a:pt x="441" y="75"/>
                  <a:pt x="437" y="75"/>
                  <a:pt x="432" y="75"/>
                </a:cubicBezTo>
                <a:cubicBezTo>
                  <a:pt x="432" y="104"/>
                  <a:pt x="432" y="133"/>
                  <a:pt x="432" y="162"/>
                </a:cubicBezTo>
                <a:cubicBezTo>
                  <a:pt x="437" y="162"/>
                  <a:pt x="441" y="162"/>
                  <a:pt x="446" y="162"/>
                </a:cubicBezTo>
                <a:cubicBezTo>
                  <a:pt x="446" y="157"/>
                  <a:pt x="446" y="77"/>
                  <a:pt x="446" y="75"/>
                </a:cubicBezTo>
                <a:close/>
                <a:moveTo>
                  <a:pt x="448" y="47"/>
                </a:moveTo>
                <a:cubicBezTo>
                  <a:pt x="448" y="42"/>
                  <a:pt x="444" y="38"/>
                  <a:pt x="439" y="38"/>
                </a:cubicBezTo>
                <a:cubicBezTo>
                  <a:pt x="434" y="38"/>
                  <a:pt x="430" y="42"/>
                  <a:pt x="430" y="47"/>
                </a:cubicBezTo>
                <a:cubicBezTo>
                  <a:pt x="430" y="52"/>
                  <a:pt x="434" y="56"/>
                  <a:pt x="439" y="56"/>
                </a:cubicBezTo>
                <a:cubicBezTo>
                  <a:pt x="444" y="56"/>
                  <a:pt x="448" y="52"/>
                  <a:pt x="448" y="47"/>
                </a:cubicBezTo>
                <a:close/>
              </a:path>
            </a:pathLst>
          </a:custGeom>
          <a:solidFill>
            <a:schemeClr val="tx2"/>
          </a:solidFill>
          <a:ln>
            <a:noFill/>
          </a:ln>
        </p:spPr>
        <p:txBody>
          <a:bodyPr vert="horz" wrap="square" lIns="89606" tIns="44804" rIns="89606" bIns="44804" numCol="1" anchor="t" anchorCtr="0" compatLnSpc="1">
            <a:prstTxWarp prst="textNoShape">
              <a:avLst/>
            </a:prstTxWarp>
          </a:bodyPr>
          <a:lstStyle/>
          <a:p>
            <a:pPr defTabSz="914005"/>
            <a:endParaRPr lang="en-US" sz="1763">
              <a:solidFill>
                <a:srgbClr val="505050"/>
              </a:solidFill>
            </a:endParaRPr>
          </a:p>
        </p:txBody>
      </p:sp>
      <p:sp>
        <p:nvSpPr>
          <p:cNvPr id="19" name="Freeform 5"/>
          <p:cNvSpPr>
            <a:spLocks noEditPoints="1"/>
          </p:cNvSpPr>
          <p:nvPr/>
        </p:nvSpPr>
        <p:spPr bwMode="auto">
          <a:xfrm>
            <a:off x="275653" y="2423586"/>
            <a:ext cx="2856923" cy="414956"/>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chemeClr val="tx2"/>
          </a:solidFill>
          <a:ln>
            <a:noFill/>
          </a:ln>
        </p:spPr>
        <p:txBody>
          <a:bodyPr vert="horz" wrap="square" lIns="89606" tIns="44804" rIns="89606" bIns="44804" numCol="1" anchor="t" anchorCtr="0" compatLnSpc="1">
            <a:prstTxWarp prst="textNoShape">
              <a:avLst/>
            </a:prstTxWarp>
          </a:bodyPr>
          <a:lstStyle/>
          <a:p>
            <a:pPr defTabSz="914005"/>
            <a:endParaRPr lang="en-US" sz="1763">
              <a:ln>
                <a:solidFill>
                  <a:schemeClr val="tx2"/>
                </a:solidFill>
              </a:ln>
              <a:solidFill>
                <a:schemeClr val="tx2"/>
              </a:solidFill>
            </a:endParaRPr>
          </a:p>
        </p:txBody>
      </p:sp>
      <p:sp>
        <p:nvSpPr>
          <p:cNvPr id="22" name="Freeform 21"/>
          <p:cNvSpPr>
            <a:spLocks noChangeAspect="1" noEditPoints="1"/>
          </p:cNvSpPr>
          <p:nvPr/>
        </p:nvSpPr>
        <p:spPr bwMode="auto">
          <a:xfrm>
            <a:off x="281163" y="4295232"/>
            <a:ext cx="4368179" cy="672133"/>
          </a:xfrm>
          <a:custGeom>
            <a:avLst/>
            <a:gdLst>
              <a:gd name="T0" fmla="*/ 81 w 1381"/>
              <a:gd name="T1" fmla="*/ 8 h 210"/>
              <a:gd name="T2" fmla="*/ 695 w 1381"/>
              <a:gd name="T3" fmla="*/ 114 h 210"/>
              <a:gd name="T4" fmla="*/ 630 w 1381"/>
              <a:gd name="T5" fmla="*/ 127 h 210"/>
              <a:gd name="T6" fmla="*/ 256 w 1381"/>
              <a:gd name="T7" fmla="*/ 201 h 210"/>
              <a:gd name="T8" fmla="*/ 870 w 1381"/>
              <a:gd name="T9" fmla="*/ 136 h 210"/>
              <a:gd name="T10" fmla="*/ 909 w 1381"/>
              <a:gd name="T11" fmla="*/ 132 h 210"/>
              <a:gd name="T12" fmla="*/ 357 w 1381"/>
              <a:gd name="T13" fmla="*/ 37 h 210"/>
              <a:gd name="T14" fmla="*/ 395 w 1381"/>
              <a:gd name="T15" fmla="*/ 34 h 210"/>
              <a:gd name="T16" fmla="*/ 371 w 1381"/>
              <a:gd name="T17" fmla="*/ 2 h 210"/>
              <a:gd name="T18" fmla="*/ 688 w 1381"/>
              <a:gd name="T19" fmla="*/ 45 h 210"/>
              <a:gd name="T20" fmla="*/ 1313 w 1381"/>
              <a:gd name="T21" fmla="*/ 7 h 210"/>
              <a:gd name="T22" fmla="*/ 1316 w 1381"/>
              <a:gd name="T23" fmla="*/ 52 h 210"/>
              <a:gd name="T24" fmla="*/ 13 w 1381"/>
              <a:gd name="T25" fmla="*/ 133 h 210"/>
              <a:gd name="T26" fmla="*/ 760 w 1381"/>
              <a:gd name="T27" fmla="*/ 40 h 210"/>
              <a:gd name="T28" fmla="*/ 603 w 1381"/>
              <a:gd name="T29" fmla="*/ 55 h 210"/>
              <a:gd name="T30" fmla="*/ 467 w 1381"/>
              <a:gd name="T31" fmla="*/ 63 h 210"/>
              <a:gd name="T32" fmla="*/ 449 w 1381"/>
              <a:gd name="T33" fmla="*/ 72 h 210"/>
              <a:gd name="T34" fmla="*/ 831 w 1381"/>
              <a:gd name="T35" fmla="*/ 80 h 210"/>
              <a:gd name="T36" fmla="*/ 938 w 1381"/>
              <a:gd name="T37" fmla="*/ 185 h 210"/>
              <a:gd name="T38" fmla="*/ 989 w 1381"/>
              <a:gd name="T39" fmla="*/ 78 h 210"/>
              <a:gd name="T40" fmla="*/ 843 w 1381"/>
              <a:gd name="T41" fmla="*/ 142 h 210"/>
              <a:gd name="T42" fmla="*/ 408 w 1381"/>
              <a:gd name="T43" fmla="*/ 183 h 210"/>
              <a:gd name="T44" fmla="*/ 376 w 1381"/>
              <a:gd name="T45" fmla="*/ 166 h 210"/>
              <a:gd name="T46" fmla="*/ 314 w 1381"/>
              <a:gd name="T47" fmla="*/ 80 h 210"/>
              <a:gd name="T48" fmla="*/ 1215 w 1381"/>
              <a:gd name="T49" fmla="*/ 72 h 210"/>
              <a:gd name="T50" fmla="*/ 530 w 1381"/>
              <a:gd name="T51" fmla="*/ 169 h 210"/>
              <a:gd name="T52" fmla="*/ 1067 w 1381"/>
              <a:gd name="T53" fmla="*/ 70 h 210"/>
              <a:gd name="T54" fmla="*/ 1337 w 1381"/>
              <a:gd name="T55" fmla="*/ 79 h 210"/>
              <a:gd name="T56" fmla="*/ 738 w 1381"/>
              <a:gd name="T57" fmla="*/ 151 h 210"/>
              <a:gd name="T58" fmla="*/ 712 w 1381"/>
              <a:gd name="T59" fmla="*/ 135 h 210"/>
              <a:gd name="T60" fmla="*/ 495 w 1381"/>
              <a:gd name="T61" fmla="*/ 70 h 210"/>
              <a:gd name="T62" fmla="*/ 148 w 1381"/>
              <a:gd name="T63" fmla="*/ 138 h 210"/>
              <a:gd name="T64" fmla="*/ 760 w 1381"/>
              <a:gd name="T65" fmla="*/ 133 h 210"/>
              <a:gd name="T66" fmla="*/ 803 w 1381"/>
              <a:gd name="T67" fmla="*/ 148 h 210"/>
              <a:gd name="T68" fmla="*/ 902 w 1381"/>
              <a:gd name="T69" fmla="*/ 41 h 210"/>
              <a:gd name="T70" fmla="*/ 325 w 1381"/>
              <a:gd name="T71" fmla="*/ 132 h 210"/>
              <a:gd name="T72" fmla="*/ 324 w 1381"/>
              <a:gd name="T73" fmla="*/ 177 h 210"/>
              <a:gd name="T74" fmla="*/ 583 w 1381"/>
              <a:gd name="T75" fmla="*/ 184 h 210"/>
              <a:gd name="T76" fmla="*/ 176 w 1381"/>
              <a:gd name="T77" fmla="*/ 139 h 210"/>
              <a:gd name="T78" fmla="*/ 206 w 1381"/>
              <a:gd name="T79" fmla="*/ 107 h 210"/>
              <a:gd name="T80" fmla="*/ 540 w 1381"/>
              <a:gd name="T81" fmla="*/ 59 h 210"/>
              <a:gd name="T82" fmla="*/ 277 w 1381"/>
              <a:gd name="T83" fmla="*/ 27 h 210"/>
              <a:gd name="T84" fmla="*/ 926 w 1381"/>
              <a:gd name="T85" fmla="*/ 35 h 210"/>
              <a:gd name="T86" fmla="*/ 935 w 1381"/>
              <a:gd name="T87" fmla="*/ 11 h 210"/>
              <a:gd name="T88" fmla="*/ 431 w 1381"/>
              <a:gd name="T89" fmla="*/ 132 h 210"/>
              <a:gd name="T90" fmla="*/ 153 w 1381"/>
              <a:gd name="T91" fmla="*/ 30 h 210"/>
              <a:gd name="T92" fmla="*/ 586 w 1381"/>
              <a:gd name="T93" fmla="*/ 26 h 210"/>
              <a:gd name="T94" fmla="*/ 586 w 1381"/>
              <a:gd name="T95" fmla="*/ 72 h 210"/>
              <a:gd name="T96" fmla="*/ 983 w 1381"/>
              <a:gd name="T97" fmla="*/ 133 h 210"/>
              <a:gd name="T98" fmla="*/ 163 w 1381"/>
              <a:gd name="T99" fmla="*/ 76 h 210"/>
              <a:gd name="T100" fmla="*/ 355 w 1381"/>
              <a:gd name="T101" fmla="*/ 133 h 210"/>
              <a:gd name="T102" fmla="*/ 1015 w 1381"/>
              <a:gd name="T103" fmla="*/ 33 h 210"/>
              <a:gd name="T104" fmla="*/ 462 w 1381"/>
              <a:gd name="T105" fmla="*/ 178 h 210"/>
              <a:gd name="T106" fmla="*/ 210 w 1381"/>
              <a:gd name="T107" fmla="*/ 132 h 210"/>
              <a:gd name="T108" fmla="*/ 220 w 1381"/>
              <a:gd name="T109" fmla="*/ 113 h 210"/>
              <a:gd name="T110" fmla="*/ 872 w 1381"/>
              <a:gd name="T111" fmla="*/ 150 h 210"/>
              <a:gd name="T112" fmla="*/ 1145 w 1381"/>
              <a:gd name="T113" fmla="*/ 17 h 210"/>
              <a:gd name="T114" fmla="*/ 821 w 1381"/>
              <a:gd name="T115" fmla="*/ 47 h 210"/>
              <a:gd name="T116" fmla="*/ 844 w 1381"/>
              <a:gd name="T117" fmla="*/ 158 h 210"/>
              <a:gd name="T118" fmla="*/ 408 w 1381"/>
              <a:gd name="T119" fmla="*/ 159 h 210"/>
              <a:gd name="T120" fmla="*/ 325 w 1381"/>
              <a:gd name="T121" fmla="*/ 67 h 210"/>
              <a:gd name="T122" fmla="*/ 726 w 1381"/>
              <a:gd name="T123" fmla="*/ 17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81" h="210">
                <a:moveTo>
                  <a:pt x="14" y="20"/>
                </a:moveTo>
                <a:cubicBezTo>
                  <a:pt x="14" y="21"/>
                  <a:pt x="14" y="22"/>
                  <a:pt x="14" y="22"/>
                </a:cubicBezTo>
                <a:cubicBezTo>
                  <a:pt x="14" y="40"/>
                  <a:pt x="14" y="58"/>
                  <a:pt x="14" y="76"/>
                </a:cubicBezTo>
                <a:cubicBezTo>
                  <a:pt x="14" y="80"/>
                  <a:pt x="14" y="79"/>
                  <a:pt x="11" y="79"/>
                </a:cubicBezTo>
                <a:cubicBezTo>
                  <a:pt x="9" y="79"/>
                  <a:pt x="8" y="79"/>
                  <a:pt x="6" y="79"/>
                </a:cubicBezTo>
                <a:cubicBezTo>
                  <a:pt x="6" y="79"/>
                  <a:pt x="6" y="79"/>
                  <a:pt x="6" y="78"/>
                </a:cubicBezTo>
                <a:cubicBezTo>
                  <a:pt x="6" y="78"/>
                  <a:pt x="6" y="77"/>
                  <a:pt x="6" y="77"/>
                </a:cubicBezTo>
                <a:cubicBezTo>
                  <a:pt x="6" y="54"/>
                  <a:pt x="6" y="31"/>
                  <a:pt x="6" y="7"/>
                </a:cubicBezTo>
                <a:cubicBezTo>
                  <a:pt x="6" y="7"/>
                  <a:pt x="6" y="7"/>
                  <a:pt x="6" y="7"/>
                </a:cubicBezTo>
                <a:cubicBezTo>
                  <a:pt x="6" y="5"/>
                  <a:pt x="6" y="5"/>
                  <a:pt x="7" y="5"/>
                </a:cubicBezTo>
                <a:cubicBezTo>
                  <a:pt x="9" y="5"/>
                  <a:pt x="10" y="5"/>
                  <a:pt x="12" y="5"/>
                </a:cubicBezTo>
                <a:cubicBezTo>
                  <a:pt x="13" y="5"/>
                  <a:pt x="15" y="5"/>
                  <a:pt x="16" y="5"/>
                </a:cubicBezTo>
                <a:cubicBezTo>
                  <a:pt x="17" y="5"/>
                  <a:pt x="17" y="6"/>
                  <a:pt x="17" y="6"/>
                </a:cubicBezTo>
                <a:cubicBezTo>
                  <a:pt x="18" y="7"/>
                  <a:pt x="18" y="7"/>
                  <a:pt x="18" y="8"/>
                </a:cubicBezTo>
                <a:cubicBezTo>
                  <a:pt x="26" y="26"/>
                  <a:pt x="34" y="44"/>
                  <a:pt x="42" y="62"/>
                </a:cubicBezTo>
                <a:cubicBezTo>
                  <a:pt x="42" y="62"/>
                  <a:pt x="42" y="63"/>
                  <a:pt x="43" y="64"/>
                </a:cubicBezTo>
                <a:cubicBezTo>
                  <a:pt x="44" y="63"/>
                  <a:pt x="44" y="63"/>
                  <a:pt x="44" y="62"/>
                </a:cubicBezTo>
                <a:cubicBezTo>
                  <a:pt x="53" y="44"/>
                  <a:pt x="61" y="26"/>
                  <a:pt x="69" y="8"/>
                </a:cubicBezTo>
                <a:cubicBezTo>
                  <a:pt x="69" y="8"/>
                  <a:pt x="69" y="8"/>
                  <a:pt x="69" y="7"/>
                </a:cubicBezTo>
                <a:cubicBezTo>
                  <a:pt x="69" y="6"/>
                  <a:pt x="70" y="5"/>
                  <a:pt x="72" y="5"/>
                </a:cubicBezTo>
                <a:cubicBezTo>
                  <a:pt x="75" y="5"/>
                  <a:pt x="77" y="5"/>
                  <a:pt x="80" y="5"/>
                </a:cubicBezTo>
                <a:cubicBezTo>
                  <a:pt x="81" y="5"/>
                  <a:pt x="81" y="6"/>
                  <a:pt x="81" y="6"/>
                </a:cubicBezTo>
                <a:cubicBezTo>
                  <a:pt x="81" y="7"/>
                  <a:pt x="81" y="8"/>
                  <a:pt x="81" y="8"/>
                </a:cubicBezTo>
                <a:cubicBezTo>
                  <a:pt x="81" y="31"/>
                  <a:pt x="81" y="54"/>
                  <a:pt x="81" y="76"/>
                </a:cubicBezTo>
                <a:cubicBezTo>
                  <a:pt x="81" y="80"/>
                  <a:pt x="81" y="79"/>
                  <a:pt x="78" y="79"/>
                </a:cubicBezTo>
                <a:cubicBezTo>
                  <a:pt x="76" y="79"/>
                  <a:pt x="75" y="79"/>
                  <a:pt x="73" y="79"/>
                </a:cubicBezTo>
                <a:cubicBezTo>
                  <a:pt x="73" y="79"/>
                  <a:pt x="72" y="79"/>
                  <a:pt x="72" y="78"/>
                </a:cubicBezTo>
                <a:cubicBezTo>
                  <a:pt x="72" y="77"/>
                  <a:pt x="72" y="77"/>
                  <a:pt x="72" y="76"/>
                </a:cubicBezTo>
                <a:cubicBezTo>
                  <a:pt x="72" y="58"/>
                  <a:pt x="72" y="41"/>
                  <a:pt x="72" y="23"/>
                </a:cubicBezTo>
                <a:cubicBezTo>
                  <a:pt x="72" y="22"/>
                  <a:pt x="72" y="21"/>
                  <a:pt x="72" y="21"/>
                </a:cubicBezTo>
                <a:cubicBezTo>
                  <a:pt x="72" y="20"/>
                  <a:pt x="72" y="20"/>
                  <a:pt x="72" y="20"/>
                </a:cubicBezTo>
                <a:cubicBezTo>
                  <a:pt x="72" y="20"/>
                  <a:pt x="71" y="20"/>
                  <a:pt x="71" y="21"/>
                </a:cubicBezTo>
                <a:cubicBezTo>
                  <a:pt x="71" y="21"/>
                  <a:pt x="71" y="22"/>
                  <a:pt x="71" y="22"/>
                </a:cubicBezTo>
                <a:cubicBezTo>
                  <a:pt x="64" y="37"/>
                  <a:pt x="57" y="53"/>
                  <a:pt x="50" y="68"/>
                </a:cubicBezTo>
                <a:cubicBezTo>
                  <a:pt x="49" y="71"/>
                  <a:pt x="47" y="75"/>
                  <a:pt x="46" y="78"/>
                </a:cubicBezTo>
                <a:cubicBezTo>
                  <a:pt x="45" y="79"/>
                  <a:pt x="45" y="79"/>
                  <a:pt x="44" y="79"/>
                </a:cubicBezTo>
                <a:cubicBezTo>
                  <a:pt x="41" y="79"/>
                  <a:pt x="41" y="80"/>
                  <a:pt x="40" y="77"/>
                </a:cubicBezTo>
                <a:cubicBezTo>
                  <a:pt x="32" y="58"/>
                  <a:pt x="24" y="40"/>
                  <a:pt x="16" y="22"/>
                </a:cubicBezTo>
                <a:cubicBezTo>
                  <a:pt x="15" y="21"/>
                  <a:pt x="15" y="21"/>
                  <a:pt x="14" y="20"/>
                </a:cubicBezTo>
                <a:cubicBezTo>
                  <a:pt x="14" y="20"/>
                  <a:pt x="14" y="20"/>
                  <a:pt x="14" y="20"/>
                </a:cubicBezTo>
                <a:close/>
                <a:moveTo>
                  <a:pt x="687" y="128"/>
                </a:moveTo>
                <a:cubicBezTo>
                  <a:pt x="687" y="145"/>
                  <a:pt x="686" y="162"/>
                  <a:pt x="687" y="179"/>
                </a:cubicBezTo>
                <a:cubicBezTo>
                  <a:pt x="687" y="181"/>
                  <a:pt x="686" y="182"/>
                  <a:pt x="687" y="184"/>
                </a:cubicBezTo>
                <a:cubicBezTo>
                  <a:pt x="688" y="185"/>
                  <a:pt x="690" y="184"/>
                  <a:pt x="692" y="184"/>
                </a:cubicBezTo>
                <a:cubicBezTo>
                  <a:pt x="696" y="184"/>
                  <a:pt x="695" y="185"/>
                  <a:pt x="695" y="181"/>
                </a:cubicBezTo>
                <a:cubicBezTo>
                  <a:pt x="695" y="159"/>
                  <a:pt x="695" y="136"/>
                  <a:pt x="695" y="114"/>
                </a:cubicBezTo>
                <a:cubicBezTo>
                  <a:pt x="695" y="113"/>
                  <a:pt x="695" y="112"/>
                  <a:pt x="695" y="112"/>
                </a:cubicBezTo>
                <a:cubicBezTo>
                  <a:pt x="695" y="111"/>
                  <a:pt x="695" y="111"/>
                  <a:pt x="694" y="111"/>
                </a:cubicBezTo>
                <a:cubicBezTo>
                  <a:pt x="692" y="111"/>
                  <a:pt x="689" y="111"/>
                  <a:pt x="686" y="111"/>
                </a:cubicBezTo>
                <a:cubicBezTo>
                  <a:pt x="685" y="111"/>
                  <a:pt x="684" y="111"/>
                  <a:pt x="683" y="113"/>
                </a:cubicBezTo>
                <a:cubicBezTo>
                  <a:pt x="683" y="113"/>
                  <a:pt x="683" y="113"/>
                  <a:pt x="683" y="113"/>
                </a:cubicBezTo>
                <a:cubicBezTo>
                  <a:pt x="678" y="124"/>
                  <a:pt x="674" y="134"/>
                  <a:pt x="669" y="145"/>
                </a:cubicBezTo>
                <a:cubicBezTo>
                  <a:pt x="666" y="152"/>
                  <a:pt x="662" y="160"/>
                  <a:pt x="659" y="167"/>
                </a:cubicBezTo>
                <a:cubicBezTo>
                  <a:pt x="658" y="168"/>
                  <a:pt x="658" y="168"/>
                  <a:pt x="658" y="169"/>
                </a:cubicBezTo>
                <a:cubicBezTo>
                  <a:pt x="658" y="169"/>
                  <a:pt x="658" y="169"/>
                  <a:pt x="658" y="169"/>
                </a:cubicBezTo>
                <a:cubicBezTo>
                  <a:pt x="657" y="169"/>
                  <a:pt x="657" y="169"/>
                  <a:pt x="657" y="169"/>
                </a:cubicBezTo>
                <a:cubicBezTo>
                  <a:pt x="657" y="168"/>
                  <a:pt x="656" y="168"/>
                  <a:pt x="656" y="167"/>
                </a:cubicBezTo>
                <a:cubicBezTo>
                  <a:pt x="652" y="156"/>
                  <a:pt x="647" y="146"/>
                  <a:pt x="642" y="135"/>
                </a:cubicBezTo>
                <a:cubicBezTo>
                  <a:pt x="639" y="128"/>
                  <a:pt x="636" y="120"/>
                  <a:pt x="632" y="112"/>
                </a:cubicBezTo>
                <a:cubicBezTo>
                  <a:pt x="632" y="111"/>
                  <a:pt x="631" y="111"/>
                  <a:pt x="630" y="111"/>
                </a:cubicBezTo>
                <a:cubicBezTo>
                  <a:pt x="627" y="111"/>
                  <a:pt x="625" y="111"/>
                  <a:pt x="623" y="111"/>
                </a:cubicBezTo>
                <a:cubicBezTo>
                  <a:pt x="620" y="111"/>
                  <a:pt x="620" y="110"/>
                  <a:pt x="620" y="114"/>
                </a:cubicBezTo>
                <a:cubicBezTo>
                  <a:pt x="620" y="136"/>
                  <a:pt x="620" y="157"/>
                  <a:pt x="620" y="179"/>
                </a:cubicBezTo>
                <a:cubicBezTo>
                  <a:pt x="620" y="181"/>
                  <a:pt x="620" y="182"/>
                  <a:pt x="620" y="184"/>
                </a:cubicBezTo>
                <a:cubicBezTo>
                  <a:pt x="622" y="185"/>
                  <a:pt x="623" y="184"/>
                  <a:pt x="625" y="184"/>
                </a:cubicBezTo>
                <a:cubicBezTo>
                  <a:pt x="629" y="184"/>
                  <a:pt x="628" y="185"/>
                  <a:pt x="628" y="181"/>
                </a:cubicBezTo>
                <a:cubicBezTo>
                  <a:pt x="628" y="163"/>
                  <a:pt x="628" y="145"/>
                  <a:pt x="628" y="127"/>
                </a:cubicBezTo>
                <a:cubicBezTo>
                  <a:pt x="628" y="126"/>
                  <a:pt x="628" y="126"/>
                  <a:pt x="629" y="125"/>
                </a:cubicBezTo>
                <a:cubicBezTo>
                  <a:pt x="629" y="125"/>
                  <a:pt x="629" y="126"/>
                  <a:pt x="630" y="127"/>
                </a:cubicBezTo>
                <a:cubicBezTo>
                  <a:pt x="636" y="142"/>
                  <a:pt x="643" y="156"/>
                  <a:pt x="649" y="171"/>
                </a:cubicBezTo>
                <a:cubicBezTo>
                  <a:pt x="651" y="175"/>
                  <a:pt x="653" y="179"/>
                  <a:pt x="655" y="183"/>
                </a:cubicBezTo>
                <a:cubicBezTo>
                  <a:pt x="655" y="184"/>
                  <a:pt x="656" y="184"/>
                  <a:pt x="657" y="184"/>
                </a:cubicBezTo>
                <a:cubicBezTo>
                  <a:pt x="660" y="184"/>
                  <a:pt x="660" y="185"/>
                  <a:pt x="661" y="182"/>
                </a:cubicBezTo>
                <a:cubicBezTo>
                  <a:pt x="669" y="164"/>
                  <a:pt x="677" y="146"/>
                  <a:pt x="685" y="128"/>
                </a:cubicBezTo>
                <a:cubicBezTo>
                  <a:pt x="685" y="127"/>
                  <a:pt x="685" y="126"/>
                  <a:pt x="687" y="125"/>
                </a:cubicBezTo>
                <a:cubicBezTo>
                  <a:pt x="687" y="126"/>
                  <a:pt x="687" y="127"/>
                  <a:pt x="687" y="128"/>
                </a:cubicBezTo>
                <a:close/>
                <a:moveTo>
                  <a:pt x="267" y="138"/>
                </a:moveTo>
                <a:cubicBezTo>
                  <a:pt x="267" y="138"/>
                  <a:pt x="267" y="137"/>
                  <a:pt x="266" y="137"/>
                </a:cubicBezTo>
                <a:cubicBezTo>
                  <a:pt x="264" y="134"/>
                  <a:pt x="260" y="132"/>
                  <a:pt x="256" y="131"/>
                </a:cubicBezTo>
                <a:cubicBezTo>
                  <a:pt x="254" y="130"/>
                  <a:pt x="252" y="130"/>
                  <a:pt x="250" y="131"/>
                </a:cubicBezTo>
                <a:cubicBezTo>
                  <a:pt x="244" y="131"/>
                  <a:pt x="239" y="133"/>
                  <a:pt x="235" y="138"/>
                </a:cubicBezTo>
                <a:cubicBezTo>
                  <a:pt x="232" y="140"/>
                  <a:pt x="231" y="144"/>
                  <a:pt x="230" y="147"/>
                </a:cubicBezTo>
                <a:cubicBezTo>
                  <a:pt x="228" y="153"/>
                  <a:pt x="227" y="159"/>
                  <a:pt x="228" y="165"/>
                </a:cubicBezTo>
                <a:cubicBezTo>
                  <a:pt x="228" y="169"/>
                  <a:pt x="230" y="172"/>
                  <a:pt x="232" y="176"/>
                </a:cubicBezTo>
                <a:cubicBezTo>
                  <a:pt x="235" y="180"/>
                  <a:pt x="239" y="184"/>
                  <a:pt x="244" y="185"/>
                </a:cubicBezTo>
                <a:cubicBezTo>
                  <a:pt x="248" y="186"/>
                  <a:pt x="252" y="186"/>
                  <a:pt x="256" y="185"/>
                </a:cubicBezTo>
                <a:cubicBezTo>
                  <a:pt x="260" y="184"/>
                  <a:pt x="263" y="181"/>
                  <a:pt x="266" y="178"/>
                </a:cubicBezTo>
                <a:cubicBezTo>
                  <a:pt x="266" y="178"/>
                  <a:pt x="266" y="177"/>
                  <a:pt x="267" y="177"/>
                </a:cubicBezTo>
                <a:cubicBezTo>
                  <a:pt x="267" y="177"/>
                  <a:pt x="267" y="176"/>
                  <a:pt x="268" y="176"/>
                </a:cubicBezTo>
                <a:cubicBezTo>
                  <a:pt x="268" y="179"/>
                  <a:pt x="268" y="181"/>
                  <a:pt x="268" y="183"/>
                </a:cubicBezTo>
                <a:cubicBezTo>
                  <a:pt x="268" y="185"/>
                  <a:pt x="268" y="187"/>
                  <a:pt x="267" y="189"/>
                </a:cubicBezTo>
                <a:cubicBezTo>
                  <a:pt x="266" y="195"/>
                  <a:pt x="262" y="199"/>
                  <a:pt x="256" y="201"/>
                </a:cubicBezTo>
                <a:cubicBezTo>
                  <a:pt x="253" y="202"/>
                  <a:pt x="249" y="202"/>
                  <a:pt x="246" y="202"/>
                </a:cubicBezTo>
                <a:cubicBezTo>
                  <a:pt x="242" y="201"/>
                  <a:pt x="238" y="200"/>
                  <a:pt x="234" y="198"/>
                </a:cubicBezTo>
                <a:cubicBezTo>
                  <a:pt x="233" y="198"/>
                  <a:pt x="233" y="197"/>
                  <a:pt x="232" y="197"/>
                </a:cubicBezTo>
                <a:cubicBezTo>
                  <a:pt x="232" y="198"/>
                  <a:pt x="231" y="198"/>
                  <a:pt x="231" y="198"/>
                </a:cubicBezTo>
                <a:cubicBezTo>
                  <a:pt x="231" y="200"/>
                  <a:pt x="231" y="202"/>
                  <a:pt x="231" y="204"/>
                </a:cubicBezTo>
                <a:cubicBezTo>
                  <a:pt x="231" y="205"/>
                  <a:pt x="232" y="206"/>
                  <a:pt x="233" y="206"/>
                </a:cubicBezTo>
                <a:cubicBezTo>
                  <a:pt x="233" y="206"/>
                  <a:pt x="233" y="206"/>
                  <a:pt x="233" y="206"/>
                </a:cubicBezTo>
                <a:cubicBezTo>
                  <a:pt x="242" y="210"/>
                  <a:pt x="251" y="210"/>
                  <a:pt x="260" y="208"/>
                </a:cubicBezTo>
                <a:cubicBezTo>
                  <a:pt x="265" y="206"/>
                  <a:pt x="269" y="203"/>
                  <a:pt x="271" y="199"/>
                </a:cubicBezTo>
                <a:cubicBezTo>
                  <a:pt x="273" y="197"/>
                  <a:pt x="274" y="195"/>
                  <a:pt x="275" y="192"/>
                </a:cubicBezTo>
                <a:cubicBezTo>
                  <a:pt x="276" y="188"/>
                  <a:pt x="276" y="183"/>
                  <a:pt x="276" y="179"/>
                </a:cubicBezTo>
                <a:cubicBezTo>
                  <a:pt x="276" y="164"/>
                  <a:pt x="276" y="149"/>
                  <a:pt x="276" y="135"/>
                </a:cubicBezTo>
                <a:cubicBezTo>
                  <a:pt x="276" y="134"/>
                  <a:pt x="276" y="134"/>
                  <a:pt x="276" y="133"/>
                </a:cubicBezTo>
                <a:cubicBezTo>
                  <a:pt x="276" y="132"/>
                  <a:pt x="276" y="132"/>
                  <a:pt x="275" y="132"/>
                </a:cubicBezTo>
                <a:cubicBezTo>
                  <a:pt x="273" y="132"/>
                  <a:pt x="271" y="132"/>
                  <a:pt x="269" y="132"/>
                </a:cubicBezTo>
                <a:cubicBezTo>
                  <a:pt x="268" y="132"/>
                  <a:pt x="268" y="132"/>
                  <a:pt x="268" y="133"/>
                </a:cubicBezTo>
                <a:cubicBezTo>
                  <a:pt x="268" y="135"/>
                  <a:pt x="268" y="136"/>
                  <a:pt x="268" y="138"/>
                </a:cubicBezTo>
                <a:cubicBezTo>
                  <a:pt x="267" y="138"/>
                  <a:pt x="267" y="138"/>
                  <a:pt x="267" y="138"/>
                </a:cubicBezTo>
                <a:close/>
                <a:moveTo>
                  <a:pt x="901" y="138"/>
                </a:moveTo>
                <a:cubicBezTo>
                  <a:pt x="901" y="138"/>
                  <a:pt x="901" y="137"/>
                  <a:pt x="900" y="137"/>
                </a:cubicBezTo>
                <a:cubicBezTo>
                  <a:pt x="898" y="134"/>
                  <a:pt x="895" y="132"/>
                  <a:pt x="891" y="131"/>
                </a:cubicBezTo>
                <a:cubicBezTo>
                  <a:pt x="888" y="130"/>
                  <a:pt x="885" y="130"/>
                  <a:pt x="883" y="131"/>
                </a:cubicBezTo>
                <a:cubicBezTo>
                  <a:pt x="878" y="131"/>
                  <a:pt x="874" y="133"/>
                  <a:pt x="870" y="136"/>
                </a:cubicBezTo>
                <a:cubicBezTo>
                  <a:pt x="867" y="139"/>
                  <a:pt x="865" y="143"/>
                  <a:pt x="864" y="146"/>
                </a:cubicBezTo>
                <a:cubicBezTo>
                  <a:pt x="862" y="153"/>
                  <a:pt x="861" y="160"/>
                  <a:pt x="862" y="167"/>
                </a:cubicBezTo>
                <a:cubicBezTo>
                  <a:pt x="863" y="170"/>
                  <a:pt x="864" y="173"/>
                  <a:pt x="866" y="176"/>
                </a:cubicBezTo>
                <a:cubicBezTo>
                  <a:pt x="869" y="180"/>
                  <a:pt x="872" y="183"/>
                  <a:pt x="877" y="185"/>
                </a:cubicBezTo>
                <a:cubicBezTo>
                  <a:pt x="880" y="186"/>
                  <a:pt x="883" y="186"/>
                  <a:pt x="886" y="186"/>
                </a:cubicBezTo>
                <a:cubicBezTo>
                  <a:pt x="892" y="185"/>
                  <a:pt x="897" y="182"/>
                  <a:pt x="900" y="178"/>
                </a:cubicBezTo>
                <a:cubicBezTo>
                  <a:pt x="901" y="177"/>
                  <a:pt x="901" y="177"/>
                  <a:pt x="901" y="177"/>
                </a:cubicBezTo>
                <a:cubicBezTo>
                  <a:pt x="901" y="176"/>
                  <a:pt x="901" y="176"/>
                  <a:pt x="902" y="176"/>
                </a:cubicBezTo>
                <a:cubicBezTo>
                  <a:pt x="902" y="179"/>
                  <a:pt x="902" y="181"/>
                  <a:pt x="902" y="183"/>
                </a:cubicBezTo>
                <a:cubicBezTo>
                  <a:pt x="902" y="186"/>
                  <a:pt x="901" y="188"/>
                  <a:pt x="900" y="191"/>
                </a:cubicBezTo>
                <a:cubicBezTo>
                  <a:pt x="899" y="196"/>
                  <a:pt x="896" y="199"/>
                  <a:pt x="891" y="201"/>
                </a:cubicBezTo>
                <a:cubicBezTo>
                  <a:pt x="887" y="202"/>
                  <a:pt x="884" y="202"/>
                  <a:pt x="880" y="202"/>
                </a:cubicBezTo>
                <a:cubicBezTo>
                  <a:pt x="876" y="201"/>
                  <a:pt x="872" y="200"/>
                  <a:pt x="868" y="198"/>
                </a:cubicBezTo>
                <a:cubicBezTo>
                  <a:pt x="867" y="198"/>
                  <a:pt x="867" y="197"/>
                  <a:pt x="866" y="197"/>
                </a:cubicBezTo>
                <a:cubicBezTo>
                  <a:pt x="866" y="200"/>
                  <a:pt x="866" y="202"/>
                  <a:pt x="866" y="204"/>
                </a:cubicBezTo>
                <a:cubicBezTo>
                  <a:pt x="866" y="205"/>
                  <a:pt x="866" y="206"/>
                  <a:pt x="867" y="206"/>
                </a:cubicBezTo>
                <a:cubicBezTo>
                  <a:pt x="868" y="206"/>
                  <a:pt x="868" y="207"/>
                  <a:pt x="869" y="207"/>
                </a:cubicBezTo>
                <a:cubicBezTo>
                  <a:pt x="877" y="209"/>
                  <a:pt x="884" y="210"/>
                  <a:pt x="892" y="208"/>
                </a:cubicBezTo>
                <a:cubicBezTo>
                  <a:pt x="901" y="206"/>
                  <a:pt x="906" y="201"/>
                  <a:pt x="909" y="192"/>
                </a:cubicBezTo>
                <a:cubicBezTo>
                  <a:pt x="910" y="188"/>
                  <a:pt x="910" y="184"/>
                  <a:pt x="910" y="180"/>
                </a:cubicBezTo>
                <a:cubicBezTo>
                  <a:pt x="910" y="165"/>
                  <a:pt x="910" y="150"/>
                  <a:pt x="910" y="134"/>
                </a:cubicBezTo>
                <a:cubicBezTo>
                  <a:pt x="910" y="134"/>
                  <a:pt x="910" y="133"/>
                  <a:pt x="910" y="133"/>
                </a:cubicBezTo>
                <a:cubicBezTo>
                  <a:pt x="910" y="132"/>
                  <a:pt x="910" y="132"/>
                  <a:pt x="909" y="132"/>
                </a:cubicBezTo>
                <a:cubicBezTo>
                  <a:pt x="907" y="132"/>
                  <a:pt x="905" y="132"/>
                  <a:pt x="903" y="132"/>
                </a:cubicBezTo>
                <a:cubicBezTo>
                  <a:pt x="902" y="132"/>
                  <a:pt x="902" y="132"/>
                  <a:pt x="902" y="133"/>
                </a:cubicBezTo>
                <a:cubicBezTo>
                  <a:pt x="902" y="134"/>
                  <a:pt x="902" y="136"/>
                  <a:pt x="902" y="138"/>
                </a:cubicBezTo>
                <a:cubicBezTo>
                  <a:pt x="902" y="138"/>
                  <a:pt x="902" y="138"/>
                  <a:pt x="901" y="138"/>
                </a:cubicBezTo>
                <a:close/>
                <a:moveTo>
                  <a:pt x="371" y="2"/>
                </a:moveTo>
                <a:cubicBezTo>
                  <a:pt x="371" y="1"/>
                  <a:pt x="371" y="1"/>
                  <a:pt x="370" y="1"/>
                </a:cubicBezTo>
                <a:cubicBezTo>
                  <a:pt x="368" y="0"/>
                  <a:pt x="366" y="0"/>
                  <a:pt x="364" y="0"/>
                </a:cubicBezTo>
                <a:cubicBezTo>
                  <a:pt x="358" y="0"/>
                  <a:pt x="352" y="4"/>
                  <a:pt x="350" y="11"/>
                </a:cubicBezTo>
                <a:cubicBezTo>
                  <a:pt x="349" y="13"/>
                  <a:pt x="349" y="15"/>
                  <a:pt x="349" y="17"/>
                </a:cubicBezTo>
                <a:cubicBezTo>
                  <a:pt x="349" y="20"/>
                  <a:pt x="349" y="23"/>
                  <a:pt x="349" y="25"/>
                </a:cubicBezTo>
                <a:cubicBezTo>
                  <a:pt x="349" y="26"/>
                  <a:pt x="348" y="26"/>
                  <a:pt x="347" y="26"/>
                </a:cubicBezTo>
                <a:cubicBezTo>
                  <a:pt x="347" y="26"/>
                  <a:pt x="346" y="26"/>
                  <a:pt x="345" y="26"/>
                </a:cubicBezTo>
                <a:cubicBezTo>
                  <a:pt x="344" y="27"/>
                  <a:pt x="342" y="26"/>
                  <a:pt x="340" y="27"/>
                </a:cubicBezTo>
                <a:cubicBezTo>
                  <a:pt x="340" y="29"/>
                  <a:pt x="340" y="31"/>
                  <a:pt x="340" y="32"/>
                </a:cubicBezTo>
                <a:cubicBezTo>
                  <a:pt x="340" y="33"/>
                  <a:pt x="340" y="33"/>
                  <a:pt x="340" y="33"/>
                </a:cubicBezTo>
                <a:cubicBezTo>
                  <a:pt x="340" y="33"/>
                  <a:pt x="340" y="34"/>
                  <a:pt x="340" y="34"/>
                </a:cubicBezTo>
                <a:cubicBezTo>
                  <a:pt x="342" y="34"/>
                  <a:pt x="344" y="34"/>
                  <a:pt x="346" y="34"/>
                </a:cubicBezTo>
                <a:cubicBezTo>
                  <a:pt x="349" y="34"/>
                  <a:pt x="349" y="34"/>
                  <a:pt x="349" y="36"/>
                </a:cubicBezTo>
                <a:cubicBezTo>
                  <a:pt x="349" y="49"/>
                  <a:pt x="349" y="61"/>
                  <a:pt x="349" y="74"/>
                </a:cubicBezTo>
                <a:cubicBezTo>
                  <a:pt x="349" y="75"/>
                  <a:pt x="348" y="77"/>
                  <a:pt x="349" y="79"/>
                </a:cubicBezTo>
                <a:cubicBezTo>
                  <a:pt x="350" y="80"/>
                  <a:pt x="352" y="79"/>
                  <a:pt x="354" y="79"/>
                </a:cubicBezTo>
                <a:cubicBezTo>
                  <a:pt x="357" y="79"/>
                  <a:pt x="357" y="79"/>
                  <a:pt x="357" y="76"/>
                </a:cubicBezTo>
                <a:cubicBezTo>
                  <a:pt x="357" y="63"/>
                  <a:pt x="357" y="50"/>
                  <a:pt x="357" y="37"/>
                </a:cubicBezTo>
                <a:cubicBezTo>
                  <a:pt x="357" y="36"/>
                  <a:pt x="357" y="35"/>
                  <a:pt x="357" y="34"/>
                </a:cubicBezTo>
                <a:cubicBezTo>
                  <a:pt x="357" y="34"/>
                  <a:pt x="357" y="34"/>
                  <a:pt x="358" y="34"/>
                </a:cubicBezTo>
                <a:cubicBezTo>
                  <a:pt x="358" y="34"/>
                  <a:pt x="358" y="34"/>
                  <a:pt x="359" y="34"/>
                </a:cubicBezTo>
                <a:cubicBezTo>
                  <a:pt x="364" y="34"/>
                  <a:pt x="370" y="34"/>
                  <a:pt x="376" y="34"/>
                </a:cubicBezTo>
                <a:cubicBezTo>
                  <a:pt x="376" y="34"/>
                  <a:pt x="376" y="34"/>
                  <a:pt x="377" y="34"/>
                </a:cubicBezTo>
                <a:cubicBezTo>
                  <a:pt x="377" y="34"/>
                  <a:pt x="378" y="34"/>
                  <a:pt x="378" y="35"/>
                </a:cubicBezTo>
                <a:cubicBezTo>
                  <a:pt x="378" y="35"/>
                  <a:pt x="378" y="36"/>
                  <a:pt x="378" y="36"/>
                </a:cubicBezTo>
                <a:cubicBezTo>
                  <a:pt x="378" y="43"/>
                  <a:pt x="378" y="50"/>
                  <a:pt x="378" y="56"/>
                </a:cubicBezTo>
                <a:cubicBezTo>
                  <a:pt x="378" y="59"/>
                  <a:pt x="378" y="62"/>
                  <a:pt x="378" y="65"/>
                </a:cubicBezTo>
                <a:cubicBezTo>
                  <a:pt x="378" y="68"/>
                  <a:pt x="378" y="70"/>
                  <a:pt x="379" y="73"/>
                </a:cubicBezTo>
                <a:cubicBezTo>
                  <a:pt x="380" y="76"/>
                  <a:pt x="383" y="78"/>
                  <a:pt x="386" y="79"/>
                </a:cubicBezTo>
                <a:cubicBezTo>
                  <a:pt x="387" y="80"/>
                  <a:pt x="388" y="80"/>
                  <a:pt x="389" y="80"/>
                </a:cubicBezTo>
                <a:cubicBezTo>
                  <a:pt x="392" y="81"/>
                  <a:pt x="395" y="80"/>
                  <a:pt x="398" y="79"/>
                </a:cubicBezTo>
                <a:cubicBezTo>
                  <a:pt x="399" y="79"/>
                  <a:pt x="399" y="78"/>
                  <a:pt x="399" y="78"/>
                </a:cubicBezTo>
                <a:cubicBezTo>
                  <a:pt x="399" y="76"/>
                  <a:pt x="399" y="74"/>
                  <a:pt x="399" y="72"/>
                </a:cubicBezTo>
                <a:cubicBezTo>
                  <a:pt x="399" y="72"/>
                  <a:pt x="398" y="72"/>
                  <a:pt x="398" y="72"/>
                </a:cubicBezTo>
                <a:cubicBezTo>
                  <a:pt x="396" y="73"/>
                  <a:pt x="394" y="73"/>
                  <a:pt x="392" y="73"/>
                </a:cubicBezTo>
                <a:cubicBezTo>
                  <a:pt x="389" y="72"/>
                  <a:pt x="387" y="71"/>
                  <a:pt x="387" y="68"/>
                </a:cubicBezTo>
                <a:cubicBezTo>
                  <a:pt x="386" y="66"/>
                  <a:pt x="386" y="65"/>
                  <a:pt x="386" y="63"/>
                </a:cubicBezTo>
                <a:cubicBezTo>
                  <a:pt x="386" y="54"/>
                  <a:pt x="386" y="45"/>
                  <a:pt x="386" y="36"/>
                </a:cubicBezTo>
                <a:cubicBezTo>
                  <a:pt x="386" y="36"/>
                  <a:pt x="386" y="35"/>
                  <a:pt x="386" y="35"/>
                </a:cubicBezTo>
                <a:cubicBezTo>
                  <a:pt x="386" y="34"/>
                  <a:pt x="386" y="34"/>
                  <a:pt x="387" y="34"/>
                </a:cubicBezTo>
                <a:cubicBezTo>
                  <a:pt x="390" y="34"/>
                  <a:pt x="392" y="34"/>
                  <a:pt x="395" y="34"/>
                </a:cubicBezTo>
                <a:cubicBezTo>
                  <a:pt x="396" y="33"/>
                  <a:pt x="398" y="34"/>
                  <a:pt x="399" y="33"/>
                </a:cubicBezTo>
                <a:cubicBezTo>
                  <a:pt x="400" y="32"/>
                  <a:pt x="399" y="31"/>
                  <a:pt x="399" y="29"/>
                </a:cubicBezTo>
                <a:cubicBezTo>
                  <a:pt x="399" y="26"/>
                  <a:pt x="400" y="26"/>
                  <a:pt x="397" y="26"/>
                </a:cubicBezTo>
                <a:cubicBezTo>
                  <a:pt x="394" y="26"/>
                  <a:pt x="391" y="26"/>
                  <a:pt x="388" y="26"/>
                </a:cubicBezTo>
                <a:cubicBezTo>
                  <a:pt x="386" y="26"/>
                  <a:pt x="386" y="26"/>
                  <a:pt x="386" y="24"/>
                </a:cubicBezTo>
                <a:cubicBezTo>
                  <a:pt x="386" y="21"/>
                  <a:pt x="386" y="17"/>
                  <a:pt x="386" y="14"/>
                </a:cubicBezTo>
                <a:cubicBezTo>
                  <a:pt x="386" y="13"/>
                  <a:pt x="386" y="12"/>
                  <a:pt x="386" y="11"/>
                </a:cubicBezTo>
                <a:cubicBezTo>
                  <a:pt x="386" y="11"/>
                  <a:pt x="385" y="11"/>
                  <a:pt x="385" y="11"/>
                </a:cubicBezTo>
                <a:cubicBezTo>
                  <a:pt x="383" y="12"/>
                  <a:pt x="381" y="12"/>
                  <a:pt x="379" y="13"/>
                </a:cubicBezTo>
                <a:cubicBezTo>
                  <a:pt x="378" y="14"/>
                  <a:pt x="378" y="14"/>
                  <a:pt x="378" y="15"/>
                </a:cubicBezTo>
                <a:cubicBezTo>
                  <a:pt x="378" y="18"/>
                  <a:pt x="378" y="20"/>
                  <a:pt x="378" y="23"/>
                </a:cubicBezTo>
                <a:cubicBezTo>
                  <a:pt x="378" y="24"/>
                  <a:pt x="378" y="25"/>
                  <a:pt x="378" y="25"/>
                </a:cubicBezTo>
                <a:cubicBezTo>
                  <a:pt x="378" y="26"/>
                  <a:pt x="378" y="26"/>
                  <a:pt x="377" y="26"/>
                </a:cubicBezTo>
                <a:cubicBezTo>
                  <a:pt x="376" y="26"/>
                  <a:pt x="375" y="26"/>
                  <a:pt x="375" y="26"/>
                </a:cubicBezTo>
                <a:cubicBezTo>
                  <a:pt x="370" y="26"/>
                  <a:pt x="365" y="26"/>
                  <a:pt x="360" y="26"/>
                </a:cubicBezTo>
                <a:cubicBezTo>
                  <a:pt x="359" y="26"/>
                  <a:pt x="359" y="26"/>
                  <a:pt x="358" y="26"/>
                </a:cubicBezTo>
                <a:cubicBezTo>
                  <a:pt x="357" y="26"/>
                  <a:pt x="357" y="26"/>
                  <a:pt x="357" y="25"/>
                </a:cubicBezTo>
                <a:cubicBezTo>
                  <a:pt x="357" y="22"/>
                  <a:pt x="357" y="18"/>
                  <a:pt x="357" y="15"/>
                </a:cubicBezTo>
                <a:cubicBezTo>
                  <a:pt x="357" y="14"/>
                  <a:pt x="358" y="12"/>
                  <a:pt x="358" y="11"/>
                </a:cubicBezTo>
                <a:cubicBezTo>
                  <a:pt x="359" y="9"/>
                  <a:pt x="361" y="8"/>
                  <a:pt x="363" y="8"/>
                </a:cubicBezTo>
                <a:cubicBezTo>
                  <a:pt x="365" y="7"/>
                  <a:pt x="367" y="7"/>
                  <a:pt x="369" y="7"/>
                </a:cubicBezTo>
                <a:cubicBezTo>
                  <a:pt x="370" y="8"/>
                  <a:pt x="370" y="8"/>
                  <a:pt x="371" y="8"/>
                </a:cubicBezTo>
                <a:cubicBezTo>
                  <a:pt x="371" y="6"/>
                  <a:pt x="371" y="4"/>
                  <a:pt x="371" y="2"/>
                </a:cubicBezTo>
                <a:close/>
                <a:moveTo>
                  <a:pt x="655" y="33"/>
                </a:moveTo>
                <a:cubicBezTo>
                  <a:pt x="655" y="31"/>
                  <a:pt x="655" y="30"/>
                  <a:pt x="655" y="28"/>
                </a:cubicBezTo>
                <a:cubicBezTo>
                  <a:pt x="655" y="27"/>
                  <a:pt x="654" y="26"/>
                  <a:pt x="653" y="26"/>
                </a:cubicBezTo>
                <a:cubicBezTo>
                  <a:pt x="652" y="26"/>
                  <a:pt x="650" y="26"/>
                  <a:pt x="649" y="26"/>
                </a:cubicBezTo>
                <a:cubicBezTo>
                  <a:pt x="646" y="26"/>
                  <a:pt x="646" y="26"/>
                  <a:pt x="646" y="29"/>
                </a:cubicBezTo>
                <a:cubicBezTo>
                  <a:pt x="646" y="45"/>
                  <a:pt x="646" y="61"/>
                  <a:pt x="646" y="77"/>
                </a:cubicBezTo>
                <a:cubicBezTo>
                  <a:pt x="646" y="77"/>
                  <a:pt x="646" y="77"/>
                  <a:pt x="646" y="78"/>
                </a:cubicBezTo>
                <a:cubicBezTo>
                  <a:pt x="646" y="79"/>
                  <a:pt x="646" y="79"/>
                  <a:pt x="647" y="79"/>
                </a:cubicBezTo>
                <a:cubicBezTo>
                  <a:pt x="649" y="79"/>
                  <a:pt x="651" y="79"/>
                  <a:pt x="653" y="79"/>
                </a:cubicBezTo>
                <a:cubicBezTo>
                  <a:pt x="654" y="79"/>
                  <a:pt x="654" y="79"/>
                  <a:pt x="655" y="78"/>
                </a:cubicBezTo>
                <a:cubicBezTo>
                  <a:pt x="655" y="77"/>
                  <a:pt x="655" y="76"/>
                  <a:pt x="655" y="76"/>
                </a:cubicBezTo>
                <a:cubicBezTo>
                  <a:pt x="655" y="67"/>
                  <a:pt x="655" y="59"/>
                  <a:pt x="655" y="51"/>
                </a:cubicBezTo>
                <a:cubicBezTo>
                  <a:pt x="655" y="49"/>
                  <a:pt x="655" y="47"/>
                  <a:pt x="655" y="45"/>
                </a:cubicBezTo>
                <a:cubicBezTo>
                  <a:pt x="655" y="42"/>
                  <a:pt x="657" y="38"/>
                  <a:pt x="659" y="36"/>
                </a:cubicBezTo>
                <a:cubicBezTo>
                  <a:pt x="664" y="30"/>
                  <a:pt x="676" y="31"/>
                  <a:pt x="678" y="40"/>
                </a:cubicBezTo>
                <a:cubicBezTo>
                  <a:pt x="679" y="43"/>
                  <a:pt x="679" y="45"/>
                  <a:pt x="679" y="48"/>
                </a:cubicBezTo>
                <a:cubicBezTo>
                  <a:pt x="679" y="57"/>
                  <a:pt x="679" y="67"/>
                  <a:pt x="679" y="76"/>
                </a:cubicBezTo>
                <a:cubicBezTo>
                  <a:pt x="679" y="77"/>
                  <a:pt x="679" y="78"/>
                  <a:pt x="679" y="78"/>
                </a:cubicBezTo>
                <a:cubicBezTo>
                  <a:pt x="679" y="79"/>
                  <a:pt x="680" y="79"/>
                  <a:pt x="680" y="79"/>
                </a:cubicBezTo>
                <a:cubicBezTo>
                  <a:pt x="682" y="79"/>
                  <a:pt x="683" y="79"/>
                  <a:pt x="685" y="79"/>
                </a:cubicBezTo>
                <a:cubicBezTo>
                  <a:pt x="688" y="79"/>
                  <a:pt x="688" y="79"/>
                  <a:pt x="688" y="77"/>
                </a:cubicBezTo>
                <a:cubicBezTo>
                  <a:pt x="688" y="68"/>
                  <a:pt x="688" y="59"/>
                  <a:pt x="688" y="50"/>
                </a:cubicBezTo>
                <a:cubicBezTo>
                  <a:pt x="688" y="49"/>
                  <a:pt x="688" y="47"/>
                  <a:pt x="688" y="45"/>
                </a:cubicBezTo>
                <a:cubicBezTo>
                  <a:pt x="689" y="41"/>
                  <a:pt x="690" y="38"/>
                  <a:pt x="693" y="36"/>
                </a:cubicBezTo>
                <a:cubicBezTo>
                  <a:pt x="695" y="33"/>
                  <a:pt x="698" y="32"/>
                  <a:pt x="701" y="32"/>
                </a:cubicBezTo>
                <a:cubicBezTo>
                  <a:pt x="708" y="33"/>
                  <a:pt x="711" y="36"/>
                  <a:pt x="712" y="41"/>
                </a:cubicBezTo>
                <a:cubicBezTo>
                  <a:pt x="712" y="44"/>
                  <a:pt x="712" y="46"/>
                  <a:pt x="712" y="49"/>
                </a:cubicBezTo>
                <a:cubicBezTo>
                  <a:pt x="712" y="58"/>
                  <a:pt x="712" y="67"/>
                  <a:pt x="712" y="76"/>
                </a:cubicBezTo>
                <a:cubicBezTo>
                  <a:pt x="712" y="76"/>
                  <a:pt x="712" y="77"/>
                  <a:pt x="712" y="78"/>
                </a:cubicBezTo>
                <a:cubicBezTo>
                  <a:pt x="712" y="79"/>
                  <a:pt x="713" y="79"/>
                  <a:pt x="714" y="79"/>
                </a:cubicBezTo>
                <a:cubicBezTo>
                  <a:pt x="716" y="79"/>
                  <a:pt x="718" y="79"/>
                  <a:pt x="720" y="79"/>
                </a:cubicBezTo>
                <a:cubicBezTo>
                  <a:pt x="720" y="79"/>
                  <a:pt x="721" y="79"/>
                  <a:pt x="721" y="78"/>
                </a:cubicBezTo>
                <a:cubicBezTo>
                  <a:pt x="721" y="78"/>
                  <a:pt x="721" y="77"/>
                  <a:pt x="721" y="76"/>
                </a:cubicBezTo>
                <a:cubicBezTo>
                  <a:pt x="721" y="66"/>
                  <a:pt x="721" y="56"/>
                  <a:pt x="721" y="46"/>
                </a:cubicBezTo>
                <a:cubicBezTo>
                  <a:pt x="721" y="45"/>
                  <a:pt x="721" y="44"/>
                  <a:pt x="721" y="43"/>
                </a:cubicBezTo>
                <a:cubicBezTo>
                  <a:pt x="721" y="40"/>
                  <a:pt x="720" y="37"/>
                  <a:pt x="719" y="34"/>
                </a:cubicBezTo>
                <a:cubicBezTo>
                  <a:pt x="717" y="30"/>
                  <a:pt x="714" y="27"/>
                  <a:pt x="710" y="26"/>
                </a:cubicBezTo>
                <a:cubicBezTo>
                  <a:pt x="706" y="25"/>
                  <a:pt x="703" y="25"/>
                  <a:pt x="700" y="25"/>
                </a:cubicBezTo>
                <a:cubicBezTo>
                  <a:pt x="695" y="26"/>
                  <a:pt x="691" y="29"/>
                  <a:pt x="688" y="33"/>
                </a:cubicBezTo>
                <a:cubicBezTo>
                  <a:pt x="687" y="34"/>
                  <a:pt x="687" y="35"/>
                  <a:pt x="686" y="36"/>
                </a:cubicBezTo>
                <a:cubicBezTo>
                  <a:pt x="683" y="29"/>
                  <a:pt x="678" y="25"/>
                  <a:pt x="671" y="25"/>
                </a:cubicBezTo>
                <a:cubicBezTo>
                  <a:pt x="664" y="25"/>
                  <a:pt x="659" y="28"/>
                  <a:pt x="655" y="34"/>
                </a:cubicBezTo>
                <a:cubicBezTo>
                  <a:pt x="654" y="34"/>
                  <a:pt x="655" y="33"/>
                  <a:pt x="655" y="33"/>
                </a:cubicBezTo>
                <a:close/>
                <a:moveTo>
                  <a:pt x="1312" y="45"/>
                </a:moveTo>
                <a:cubicBezTo>
                  <a:pt x="1326" y="40"/>
                  <a:pt x="1328" y="27"/>
                  <a:pt x="1325" y="17"/>
                </a:cubicBezTo>
                <a:cubicBezTo>
                  <a:pt x="1323" y="12"/>
                  <a:pt x="1318" y="8"/>
                  <a:pt x="1313" y="7"/>
                </a:cubicBezTo>
                <a:cubicBezTo>
                  <a:pt x="1310" y="6"/>
                  <a:pt x="1306" y="5"/>
                  <a:pt x="1303" y="5"/>
                </a:cubicBezTo>
                <a:cubicBezTo>
                  <a:pt x="1296" y="5"/>
                  <a:pt x="1290" y="5"/>
                  <a:pt x="1284" y="5"/>
                </a:cubicBezTo>
                <a:cubicBezTo>
                  <a:pt x="1281" y="5"/>
                  <a:pt x="1282" y="5"/>
                  <a:pt x="1282" y="8"/>
                </a:cubicBezTo>
                <a:cubicBezTo>
                  <a:pt x="1282" y="29"/>
                  <a:pt x="1282" y="51"/>
                  <a:pt x="1282" y="72"/>
                </a:cubicBezTo>
                <a:cubicBezTo>
                  <a:pt x="1282" y="74"/>
                  <a:pt x="1281" y="77"/>
                  <a:pt x="1282" y="79"/>
                </a:cubicBezTo>
                <a:cubicBezTo>
                  <a:pt x="1284" y="79"/>
                  <a:pt x="1286" y="79"/>
                  <a:pt x="1289" y="79"/>
                </a:cubicBezTo>
                <a:cubicBezTo>
                  <a:pt x="1289" y="79"/>
                  <a:pt x="1289" y="79"/>
                  <a:pt x="1289" y="79"/>
                </a:cubicBezTo>
                <a:cubicBezTo>
                  <a:pt x="1290" y="79"/>
                  <a:pt x="1290" y="79"/>
                  <a:pt x="1290" y="78"/>
                </a:cubicBezTo>
                <a:cubicBezTo>
                  <a:pt x="1290" y="78"/>
                  <a:pt x="1290" y="77"/>
                  <a:pt x="1290" y="76"/>
                </a:cubicBezTo>
                <a:cubicBezTo>
                  <a:pt x="1290" y="68"/>
                  <a:pt x="1290" y="59"/>
                  <a:pt x="1290" y="51"/>
                </a:cubicBezTo>
                <a:cubicBezTo>
                  <a:pt x="1290" y="50"/>
                  <a:pt x="1290" y="49"/>
                  <a:pt x="1290" y="49"/>
                </a:cubicBezTo>
                <a:cubicBezTo>
                  <a:pt x="1290" y="48"/>
                  <a:pt x="1291" y="48"/>
                  <a:pt x="1291" y="48"/>
                </a:cubicBezTo>
                <a:cubicBezTo>
                  <a:pt x="1293" y="48"/>
                  <a:pt x="1295" y="48"/>
                  <a:pt x="1297" y="48"/>
                </a:cubicBezTo>
                <a:cubicBezTo>
                  <a:pt x="1301" y="48"/>
                  <a:pt x="1304" y="49"/>
                  <a:pt x="1306" y="52"/>
                </a:cubicBezTo>
                <a:cubicBezTo>
                  <a:pt x="1308" y="54"/>
                  <a:pt x="1309" y="56"/>
                  <a:pt x="1309" y="58"/>
                </a:cubicBezTo>
                <a:cubicBezTo>
                  <a:pt x="1312" y="64"/>
                  <a:pt x="1315" y="70"/>
                  <a:pt x="1318" y="77"/>
                </a:cubicBezTo>
                <a:cubicBezTo>
                  <a:pt x="1318" y="77"/>
                  <a:pt x="1318" y="78"/>
                  <a:pt x="1318" y="78"/>
                </a:cubicBezTo>
                <a:cubicBezTo>
                  <a:pt x="1319" y="79"/>
                  <a:pt x="1319" y="79"/>
                  <a:pt x="1319" y="79"/>
                </a:cubicBezTo>
                <a:cubicBezTo>
                  <a:pt x="1322" y="79"/>
                  <a:pt x="1325" y="79"/>
                  <a:pt x="1328" y="79"/>
                </a:cubicBezTo>
                <a:cubicBezTo>
                  <a:pt x="1329" y="79"/>
                  <a:pt x="1329" y="79"/>
                  <a:pt x="1329" y="78"/>
                </a:cubicBezTo>
                <a:cubicBezTo>
                  <a:pt x="1328" y="78"/>
                  <a:pt x="1328" y="77"/>
                  <a:pt x="1328" y="76"/>
                </a:cubicBezTo>
                <a:cubicBezTo>
                  <a:pt x="1324" y="69"/>
                  <a:pt x="1321" y="62"/>
                  <a:pt x="1318" y="55"/>
                </a:cubicBezTo>
                <a:cubicBezTo>
                  <a:pt x="1317" y="54"/>
                  <a:pt x="1317" y="53"/>
                  <a:pt x="1316" y="52"/>
                </a:cubicBezTo>
                <a:cubicBezTo>
                  <a:pt x="1315" y="50"/>
                  <a:pt x="1313" y="47"/>
                  <a:pt x="1310" y="46"/>
                </a:cubicBezTo>
                <a:cubicBezTo>
                  <a:pt x="1311" y="45"/>
                  <a:pt x="1311" y="45"/>
                  <a:pt x="1312" y="45"/>
                </a:cubicBezTo>
                <a:close/>
                <a:moveTo>
                  <a:pt x="1111" y="49"/>
                </a:moveTo>
                <a:cubicBezTo>
                  <a:pt x="1111" y="53"/>
                  <a:pt x="1112" y="58"/>
                  <a:pt x="1113" y="62"/>
                </a:cubicBezTo>
                <a:cubicBezTo>
                  <a:pt x="1114" y="66"/>
                  <a:pt x="1116" y="70"/>
                  <a:pt x="1119" y="74"/>
                </a:cubicBezTo>
                <a:cubicBezTo>
                  <a:pt x="1121" y="77"/>
                  <a:pt x="1124" y="79"/>
                  <a:pt x="1128" y="80"/>
                </a:cubicBezTo>
                <a:cubicBezTo>
                  <a:pt x="1132" y="81"/>
                  <a:pt x="1136" y="81"/>
                  <a:pt x="1141" y="79"/>
                </a:cubicBezTo>
                <a:cubicBezTo>
                  <a:pt x="1145" y="78"/>
                  <a:pt x="1149" y="75"/>
                  <a:pt x="1152" y="71"/>
                </a:cubicBezTo>
                <a:cubicBezTo>
                  <a:pt x="1154" y="67"/>
                  <a:pt x="1156" y="63"/>
                  <a:pt x="1157" y="58"/>
                </a:cubicBezTo>
                <a:cubicBezTo>
                  <a:pt x="1159" y="51"/>
                  <a:pt x="1159" y="43"/>
                  <a:pt x="1158" y="36"/>
                </a:cubicBezTo>
                <a:cubicBezTo>
                  <a:pt x="1158" y="31"/>
                  <a:pt x="1158" y="27"/>
                  <a:pt x="1157" y="22"/>
                </a:cubicBezTo>
                <a:cubicBezTo>
                  <a:pt x="1155" y="19"/>
                  <a:pt x="1154" y="15"/>
                  <a:pt x="1152" y="12"/>
                </a:cubicBezTo>
                <a:cubicBezTo>
                  <a:pt x="1149" y="8"/>
                  <a:pt x="1145" y="6"/>
                  <a:pt x="1141" y="5"/>
                </a:cubicBezTo>
                <a:cubicBezTo>
                  <a:pt x="1137" y="4"/>
                  <a:pt x="1133" y="4"/>
                  <a:pt x="1130" y="5"/>
                </a:cubicBezTo>
                <a:cubicBezTo>
                  <a:pt x="1124" y="6"/>
                  <a:pt x="1120" y="9"/>
                  <a:pt x="1117" y="14"/>
                </a:cubicBezTo>
                <a:cubicBezTo>
                  <a:pt x="1115" y="17"/>
                  <a:pt x="1114" y="20"/>
                  <a:pt x="1113" y="24"/>
                </a:cubicBezTo>
                <a:cubicBezTo>
                  <a:pt x="1111" y="30"/>
                  <a:pt x="1111" y="37"/>
                  <a:pt x="1111" y="43"/>
                </a:cubicBezTo>
                <a:cubicBezTo>
                  <a:pt x="1111" y="45"/>
                  <a:pt x="1111" y="47"/>
                  <a:pt x="1111" y="49"/>
                </a:cubicBezTo>
                <a:close/>
                <a:moveTo>
                  <a:pt x="55" y="174"/>
                </a:moveTo>
                <a:cubicBezTo>
                  <a:pt x="49" y="177"/>
                  <a:pt x="43" y="178"/>
                  <a:pt x="37" y="178"/>
                </a:cubicBezTo>
                <a:cubicBezTo>
                  <a:pt x="35" y="178"/>
                  <a:pt x="33" y="178"/>
                  <a:pt x="31" y="177"/>
                </a:cubicBezTo>
                <a:cubicBezTo>
                  <a:pt x="22" y="175"/>
                  <a:pt x="16" y="170"/>
                  <a:pt x="12" y="162"/>
                </a:cubicBezTo>
                <a:cubicBezTo>
                  <a:pt x="9" y="152"/>
                  <a:pt x="9" y="142"/>
                  <a:pt x="13" y="133"/>
                </a:cubicBezTo>
                <a:cubicBezTo>
                  <a:pt x="16" y="125"/>
                  <a:pt x="22" y="120"/>
                  <a:pt x="30" y="118"/>
                </a:cubicBezTo>
                <a:cubicBezTo>
                  <a:pt x="35" y="117"/>
                  <a:pt x="40" y="117"/>
                  <a:pt x="45" y="118"/>
                </a:cubicBezTo>
                <a:cubicBezTo>
                  <a:pt x="48" y="118"/>
                  <a:pt x="52" y="119"/>
                  <a:pt x="55" y="121"/>
                </a:cubicBezTo>
                <a:cubicBezTo>
                  <a:pt x="55" y="121"/>
                  <a:pt x="56" y="121"/>
                  <a:pt x="56" y="120"/>
                </a:cubicBezTo>
                <a:cubicBezTo>
                  <a:pt x="56" y="118"/>
                  <a:pt x="56" y="116"/>
                  <a:pt x="56" y="114"/>
                </a:cubicBezTo>
                <a:cubicBezTo>
                  <a:pt x="56" y="113"/>
                  <a:pt x="56" y="112"/>
                  <a:pt x="55" y="112"/>
                </a:cubicBezTo>
                <a:cubicBezTo>
                  <a:pt x="54" y="112"/>
                  <a:pt x="52" y="111"/>
                  <a:pt x="51" y="111"/>
                </a:cubicBezTo>
                <a:cubicBezTo>
                  <a:pt x="45" y="109"/>
                  <a:pt x="39" y="109"/>
                  <a:pt x="33" y="110"/>
                </a:cubicBezTo>
                <a:cubicBezTo>
                  <a:pt x="20" y="111"/>
                  <a:pt x="11" y="118"/>
                  <a:pt x="5" y="129"/>
                </a:cubicBezTo>
                <a:cubicBezTo>
                  <a:pt x="3" y="134"/>
                  <a:pt x="2" y="138"/>
                  <a:pt x="1" y="143"/>
                </a:cubicBezTo>
                <a:cubicBezTo>
                  <a:pt x="0" y="150"/>
                  <a:pt x="1" y="157"/>
                  <a:pt x="3" y="164"/>
                </a:cubicBezTo>
                <a:cubicBezTo>
                  <a:pt x="7" y="175"/>
                  <a:pt x="15" y="182"/>
                  <a:pt x="27" y="185"/>
                </a:cubicBezTo>
                <a:cubicBezTo>
                  <a:pt x="34" y="186"/>
                  <a:pt x="41" y="186"/>
                  <a:pt x="48" y="184"/>
                </a:cubicBezTo>
                <a:cubicBezTo>
                  <a:pt x="50" y="184"/>
                  <a:pt x="53" y="183"/>
                  <a:pt x="55" y="182"/>
                </a:cubicBezTo>
                <a:cubicBezTo>
                  <a:pt x="55" y="182"/>
                  <a:pt x="56" y="181"/>
                  <a:pt x="56" y="180"/>
                </a:cubicBezTo>
                <a:cubicBezTo>
                  <a:pt x="56" y="178"/>
                  <a:pt x="56" y="176"/>
                  <a:pt x="56" y="173"/>
                </a:cubicBezTo>
                <a:cubicBezTo>
                  <a:pt x="55" y="173"/>
                  <a:pt x="55" y="173"/>
                  <a:pt x="55" y="174"/>
                </a:cubicBezTo>
                <a:close/>
                <a:moveTo>
                  <a:pt x="806" y="68"/>
                </a:moveTo>
                <a:cubicBezTo>
                  <a:pt x="805" y="68"/>
                  <a:pt x="805" y="68"/>
                  <a:pt x="805" y="68"/>
                </a:cubicBezTo>
                <a:cubicBezTo>
                  <a:pt x="800" y="71"/>
                  <a:pt x="795" y="72"/>
                  <a:pt x="789" y="72"/>
                </a:cubicBezTo>
                <a:cubicBezTo>
                  <a:pt x="785" y="73"/>
                  <a:pt x="782" y="72"/>
                  <a:pt x="778" y="71"/>
                </a:cubicBezTo>
                <a:cubicBezTo>
                  <a:pt x="770" y="69"/>
                  <a:pt x="765" y="63"/>
                  <a:pt x="762" y="55"/>
                </a:cubicBezTo>
                <a:cubicBezTo>
                  <a:pt x="760" y="50"/>
                  <a:pt x="760" y="45"/>
                  <a:pt x="760" y="40"/>
                </a:cubicBezTo>
                <a:cubicBezTo>
                  <a:pt x="760" y="35"/>
                  <a:pt x="761" y="31"/>
                  <a:pt x="763" y="27"/>
                </a:cubicBezTo>
                <a:cubicBezTo>
                  <a:pt x="768" y="18"/>
                  <a:pt x="776" y="13"/>
                  <a:pt x="786" y="12"/>
                </a:cubicBezTo>
                <a:cubicBezTo>
                  <a:pt x="792" y="12"/>
                  <a:pt x="798" y="13"/>
                  <a:pt x="804" y="15"/>
                </a:cubicBezTo>
                <a:cubicBezTo>
                  <a:pt x="805" y="16"/>
                  <a:pt x="805" y="16"/>
                  <a:pt x="806" y="16"/>
                </a:cubicBezTo>
                <a:cubicBezTo>
                  <a:pt x="806" y="16"/>
                  <a:pt x="806" y="16"/>
                  <a:pt x="806" y="16"/>
                </a:cubicBezTo>
                <a:cubicBezTo>
                  <a:pt x="806" y="14"/>
                  <a:pt x="806" y="12"/>
                  <a:pt x="806" y="10"/>
                </a:cubicBezTo>
                <a:cubicBezTo>
                  <a:pt x="806" y="7"/>
                  <a:pt x="807" y="7"/>
                  <a:pt x="803" y="6"/>
                </a:cubicBezTo>
                <a:cubicBezTo>
                  <a:pt x="797" y="4"/>
                  <a:pt x="791" y="4"/>
                  <a:pt x="784" y="4"/>
                </a:cubicBezTo>
                <a:cubicBezTo>
                  <a:pt x="770" y="6"/>
                  <a:pt x="760" y="13"/>
                  <a:pt x="754" y="26"/>
                </a:cubicBezTo>
                <a:cubicBezTo>
                  <a:pt x="750" y="37"/>
                  <a:pt x="750" y="47"/>
                  <a:pt x="753" y="58"/>
                </a:cubicBezTo>
                <a:cubicBezTo>
                  <a:pt x="756" y="67"/>
                  <a:pt x="762" y="73"/>
                  <a:pt x="770" y="77"/>
                </a:cubicBezTo>
                <a:cubicBezTo>
                  <a:pt x="774" y="79"/>
                  <a:pt x="779" y="80"/>
                  <a:pt x="783" y="80"/>
                </a:cubicBezTo>
                <a:cubicBezTo>
                  <a:pt x="787" y="80"/>
                  <a:pt x="791" y="80"/>
                  <a:pt x="794" y="80"/>
                </a:cubicBezTo>
                <a:cubicBezTo>
                  <a:pt x="798" y="79"/>
                  <a:pt x="801" y="78"/>
                  <a:pt x="805" y="77"/>
                </a:cubicBezTo>
                <a:cubicBezTo>
                  <a:pt x="806" y="76"/>
                  <a:pt x="806" y="76"/>
                  <a:pt x="806" y="75"/>
                </a:cubicBezTo>
                <a:cubicBezTo>
                  <a:pt x="806" y="73"/>
                  <a:pt x="806" y="70"/>
                  <a:pt x="806" y="68"/>
                </a:cubicBezTo>
                <a:cubicBezTo>
                  <a:pt x="806" y="68"/>
                  <a:pt x="806" y="68"/>
                  <a:pt x="806" y="68"/>
                </a:cubicBezTo>
                <a:close/>
                <a:moveTo>
                  <a:pt x="631" y="69"/>
                </a:moveTo>
                <a:cubicBezTo>
                  <a:pt x="625" y="73"/>
                  <a:pt x="619" y="74"/>
                  <a:pt x="613" y="73"/>
                </a:cubicBezTo>
                <a:cubicBezTo>
                  <a:pt x="609" y="72"/>
                  <a:pt x="606" y="70"/>
                  <a:pt x="604" y="67"/>
                </a:cubicBezTo>
                <a:cubicBezTo>
                  <a:pt x="601" y="64"/>
                  <a:pt x="600" y="60"/>
                  <a:pt x="600" y="56"/>
                </a:cubicBezTo>
                <a:cubicBezTo>
                  <a:pt x="600" y="55"/>
                  <a:pt x="600" y="55"/>
                  <a:pt x="601" y="55"/>
                </a:cubicBezTo>
                <a:cubicBezTo>
                  <a:pt x="602" y="55"/>
                  <a:pt x="602" y="55"/>
                  <a:pt x="603" y="55"/>
                </a:cubicBezTo>
                <a:cubicBezTo>
                  <a:pt x="613" y="55"/>
                  <a:pt x="624" y="55"/>
                  <a:pt x="634" y="55"/>
                </a:cubicBezTo>
                <a:cubicBezTo>
                  <a:pt x="635" y="55"/>
                  <a:pt x="635" y="55"/>
                  <a:pt x="636" y="55"/>
                </a:cubicBezTo>
                <a:cubicBezTo>
                  <a:pt x="637" y="55"/>
                  <a:pt x="637" y="55"/>
                  <a:pt x="637" y="54"/>
                </a:cubicBezTo>
                <a:cubicBezTo>
                  <a:pt x="637" y="50"/>
                  <a:pt x="637" y="47"/>
                  <a:pt x="637" y="44"/>
                </a:cubicBezTo>
                <a:cubicBezTo>
                  <a:pt x="636" y="42"/>
                  <a:pt x="636" y="39"/>
                  <a:pt x="635" y="37"/>
                </a:cubicBezTo>
                <a:cubicBezTo>
                  <a:pt x="632" y="32"/>
                  <a:pt x="629" y="28"/>
                  <a:pt x="624" y="26"/>
                </a:cubicBezTo>
                <a:cubicBezTo>
                  <a:pt x="621" y="25"/>
                  <a:pt x="618" y="25"/>
                  <a:pt x="615" y="25"/>
                </a:cubicBezTo>
                <a:cubicBezTo>
                  <a:pt x="607" y="25"/>
                  <a:pt x="601" y="29"/>
                  <a:pt x="596" y="35"/>
                </a:cubicBezTo>
                <a:cubicBezTo>
                  <a:pt x="594" y="38"/>
                  <a:pt x="593" y="42"/>
                  <a:pt x="592" y="45"/>
                </a:cubicBezTo>
                <a:cubicBezTo>
                  <a:pt x="591" y="49"/>
                  <a:pt x="591" y="53"/>
                  <a:pt x="591" y="58"/>
                </a:cubicBezTo>
                <a:cubicBezTo>
                  <a:pt x="592" y="61"/>
                  <a:pt x="592" y="64"/>
                  <a:pt x="594" y="67"/>
                </a:cubicBezTo>
                <a:cubicBezTo>
                  <a:pt x="597" y="74"/>
                  <a:pt x="602" y="79"/>
                  <a:pt x="610" y="80"/>
                </a:cubicBezTo>
                <a:cubicBezTo>
                  <a:pt x="615" y="81"/>
                  <a:pt x="619" y="80"/>
                  <a:pt x="623" y="80"/>
                </a:cubicBezTo>
                <a:cubicBezTo>
                  <a:pt x="627" y="79"/>
                  <a:pt x="630" y="78"/>
                  <a:pt x="632" y="76"/>
                </a:cubicBezTo>
                <a:cubicBezTo>
                  <a:pt x="633" y="76"/>
                  <a:pt x="634" y="75"/>
                  <a:pt x="633" y="74"/>
                </a:cubicBezTo>
                <a:cubicBezTo>
                  <a:pt x="633" y="72"/>
                  <a:pt x="633" y="70"/>
                  <a:pt x="633" y="68"/>
                </a:cubicBezTo>
                <a:cubicBezTo>
                  <a:pt x="632" y="68"/>
                  <a:pt x="632" y="69"/>
                  <a:pt x="631" y="69"/>
                </a:cubicBezTo>
                <a:close/>
                <a:moveTo>
                  <a:pt x="426" y="75"/>
                </a:moveTo>
                <a:cubicBezTo>
                  <a:pt x="426" y="76"/>
                  <a:pt x="427" y="77"/>
                  <a:pt x="428" y="77"/>
                </a:cubicBezTo>
                <a:cubicBezTo>
                  <a:pt x="429" y="77"/>
                  <a:pt x="430" y="78"/>
                  <a:pt x="431" y="78"/>
                </a:cubicBezTo>
                <a:cubicBezTo>
                  <a:pt x="433" y="79"/>
                  <a:pt x="436" y="80"/>
                  <a:pt x="439" y="80"/>
                </a:cubicBezTo>
                <a:cubicBezTo>
                  <a:pt x="445" y="81"/>
                  <a:pt x="450" y="80"/>
                  <a:pt x="456" y="78"/>
                </a:cubicBezTo>
                <a:cubicBezTo>
                  <a:pt x="462" y="75"/>
                  <a:pt x="466" y="70"/>
                  <a:pt x="467" y="63"/>
                </a:cubicBezTo>
                <a:cubicBezTo>
                  <a:pt x="468" y="57"/>
                  <a:pt x="466" y="53"/>
                  <a:pt x="463" y="48"/>
                </a:cubicBezTo>
                <a:cubicBezTo>
                  <a:pt x="461" y="47"/>
                  <a:pt x="460" y="46"/>
                  <a:pt x="459" y="45"/>
                </a:cubicBezTo>
                <a:cubicBezTo>
                  <a:pt x="456" y="43"/>
                  <a:pt x="453" y="41"/>
                  <a:pt x="450" y="39"/>
                </a:cubicBezTo>
                <a:cubicBezTo>
                  <a:pt x="448" y="38"/>
                  <a:pt x="445" y="36"/>
                  <a:pt x="443" y="35"/>
                </a:cubicBezTo>
                <a:cubicBezTo>
                  <a:pt x="441" y="34"/>
                  <a:pt x="440" y="33"/>
                  <a:pt x="438" y="31"/>
                </a:cubicBezTo>
                <a:cubicBezTo>
                  <a:pt x="437" y="30"/>
                  <a:pt x="437" y="29"/>
                  <a:pt x="436" y="28"/>
                </a:cubicBezTo>
                <a:cubicBezTo>
                  <a:pt x="434" y="21"/>
                  <a:pt x="436" y="15"/>
                  <a:pt x="443" y="13"/>
                </a:cubicBezTo>
                <a:cubicBezTo>
                  <a:pt x="444" y="13"/>
                  <a:pt x="445" y="12"/>
                  <a:pt x="446" y="12"/>
                </a:cubicBezTo>
                <a:cubicBezTo>
                  <a:pt x="452" y="12"/>
                  <a:pt x="457" y="12"/>
                  <a:pt x="463" y="15"/>
                </a:cubicBezTo>
                <a:cubicBezTo>
                  <a:pt x="463" y="16"/>
                  <a:pt x="463" y="16"/>
                  <a:pt x="464" y="16"/>
                </a:cubicBezTo>
                <a:cubicBezTo>
                  <a:pt x="464" y="14"/>
                  <a:pt x="464" y="12"/>
                  <a:pt x="464" y="10"/>
                </a:cubicBezTo>
                <a:cubicBezTo>
                  <a:pt x="464" y="6"/>
                  <a:pt x="464" y="6"/>
                  <a:pt x="461" y="5"/>
                </a:cubicBezTo>
                <a:cubicBezTo>
                  <a:pt x="460" y="5"/>
                  <a:pt x="460" y="5"/>
                  <a:pt x="459" y="5"/>
                </a:cubicBezTo>
                <a:cubicBezTo>
                  <a:pt x="454" y="4"/>
                  <a:pt x="449" y="4"/>
                  <a:pt x="444" y="5"/>
                </a:cubicBezTo>
                <a:cubicBezTo>
                  <a:pt x="440" y="5"/>
                  <a:pt x="436" y="7"/>
                  <a:pt x="433" y="10"/>
                </a:cubicBezTo>
                <a:cubicBezTo>
                  <a:pt x="430" y="12"/>
                  <a:pt x="428" y="16"/>
                  <a:pt x="427" y="19"/>
                </a:cubicBezTo>
                <a:cubicBezTo>
                  <a:pt x="426" y="21"/>
                  <a:pt x="426" y="24"/>
                  <a:pt x="426" y="26"/>
                </a:cubicBezTo>
                <a:cubicBezTo>
                  <a:pt x="427" y="30"/>
                  <a:pt x="428" y="34"/>
                  <a:pt x="431" y="37"/>
                </a:cubicBezTo>
                <a:cubicBezTo>
                  <a:pt x="433" y="38"/>
                  <a:pt x="434" y="39"/>
                  <a:pt x="436" y="40"/>
                </a:cubicBezTo>
                <a:cubicBezTo>
                  <a:pt x="438" y="42"/>
                  <a:pt x="441" y="44"/>
                  <a:pt x="443" y="45"/>
                </a:cubicBezTo>
                <a:cubicBezTo>
                  <a:pt x="446" y="47"/>
                  <a:pt x="450" y="49"/>
                  <a:pt x="453" y="51"/>
                </a:cubicBezTo>
                <a:cubicBezTo>
                  <a:pt x="454" y="52"/>
                  <a:pt x="455" y="54"/>
                  <a:pt x="456" y="55"/>
                </a:cubicBezTo>
                <a:cubicBezTo>
                  <a:pt x="461" y="62"/>
                  <a:pt x="457" y="70"/>
                  <a:pt x="449" y="72"/>
                </a:cubicBezTo>
                <a:cubicBezTo>
                  <a:pt x="449" y="72"/>
                  <a:pt x="449" y="72"/>
                  <a:pt x="449" y="72"/>
                </a:cubicBezTo>
                <a:cubicBezTo>
                  <a:pt x="445" y="73"/>
                  <a:pt x="441" y="73"/>
                  <a:pt x="436" y="71"/>
                </a:cubicBezTo>
                <a:cubicBezTo>
                  <a:pt x="433" y="70"/>
                  <a:pt x="430" y="69"/>
                  <a:pt x="426" y="66"/>
                </a:cubicBezTo>
                <a:cubicBezTo>
                  <a:pt x="426" y="69"/>
                  <a:pt x="426" y="72"/>
                  <a:pt x="426" y="75"/>
                </a:cubicBezTo>
                <a:close/>
                <a:moveTo>
                  <a:pt x="854" y="68"/>
                </a:moveTo>
                <a:cubicBezTo>
                  <a:pt x="853" y="68"/>
                  <a:pt x="853" y="69"/>
                  <a:pt x="852" y="69"/>
                </a:cubicBezTo>
                <a:cubicBezTo>
                  <a:pt x="846" y="73"/>
                  <a:pt x="840" y="74"/>
                  <a:pt x="834" y="73"/>
                </a:cubicBezTo>
                <a:cubicBezTo>
                  <a:pt x="830" y="72"/>
                  <a:pt x="826" y="70"/>
                  <a:pt x="824" y="66"/>
                </a:cubicBezTo>
                <a:cubicBezTo>
                  <a:pt x="822" y="63"/>
                  <a:pt x="821" y="59"/>
                  <a:pt x="821" y="56"/>
                </a:cubicBezTo>
                <a:cubicBezTo>
                  <a:pt x="821" y="55"/>
                  <a:pt x="822" y="55"/>
                  <a:pt x="822" y="55"/>
                </a:cubicBezTo>
                <a:cubicBezTo>
                  <a:pt x="823" y="55"/>
                  <a:pt x="824" y="55"/>
                  <a:pt x="824" y="55"/>
                </a:cubicBezTo>
                <a:cubicBezTo>
                  <a:pt x="835" y="55"/>
                  <a:pt x="845" y="55"/>
                  <a:pt x="855" y="55"/>
                </a:cubicBezTo>
                <a:cubicBezTo>
                  <a:pt x="856" y="55"/>
                  <a:pt x="857" y="55"/>
                  <a:pt x="857" y="55"/>
                </a:cubicBezTo>
                <a:cubicBezTo>
                  <a:pt x="858" y="55"/>
                  <a:pt x="858" y="55"/>
                  <a:pt x="858" y="54"/>
                </a:cubicBezTo>
                <a:cubicBezTo>
                  <a:pt x="858" y="52"/>
                  <a:pt x="858" y="49"/>
                  <a:pt x="858" y="47"/>
                </a:cubicBezTo>
                <a:cubicBezTo>
                  <a:pt x="858" y="44"/>
                  <a:pt x="857" y="40"/>
                  <a:pt x="856" y="36"/>
                </a:cubicBezTo>
                <a:cubicBezTo>
                  <a:pt x="853" y="31"/>
                  <a:pt x="849" y="28"/>
                  <a:pt x="843" y="26"/>
                </a:cubicBezTo>
                <a:cubicBezTo>
                  <a:pt x="841" y="25"/>
                  <a:pt x="839" y="25"/>
                  <a:pt x="836" y="25"/>
                </a:cubicBezTo>
                <a:cubicBezTo>
                  <a:pt x="829" y="25"/>
                  <a:pt x="823" y="28"/>
                  <a:pt x="818" y="34"/>
                </a:cubicBezTo>
                <a:cubicBezTo>
                  <a:pt x="816" y="37"/>
                  <a:pt x="815" y="39"/>
                  <a:pt x="814" y="42"/>
                </a:cubicBezTo>
                <a:cubicBezTo>
                  <a:pt x="812" y="48"/>
                  <a:pt x="812" y="53"/>
                  <a:pt x="813" y="59"/>
                </a:cubicBezTo>
                <a:cubicBezTo>
                  <a:pt x="813" y="62"/>
                  <a:pt x="814" y="65"/>
                  <a:pt x="815" y="68"/>
                </a:cubicBezTo>
                <a:cubicBezTo>
                  <a:pt x="819" y="74"/>
                  <a:pt x="824" y="79"/>
                  <a:pt x="831" y="80"/>
                </a:cubicBezTo>
                <a:cubicBezTo>
                  <a:pt x="837" y="81"/>
                  <a:pt x="843" y="80"/>
                  <a:pt x="848" y="79"/>
                </a:cubicBezTo>
                <a:cubicBezTo>
                  <a:pt x="850" y="78"/>
                  <a:pt x="852" y="77"/>
                  <a:pt x="854" y="76"/>
                </a:cubicBezTo>
                <a:cubicBezTo>
                  <a:pt x="854" y="76"/>
                  <a:pt x="855" y="75"/>
                  <a:pt x="855" y="74"/>
                </a:cubicBezTo>
                <a:cubicBezTo>
                  <a:pt x="855" y="72"/>
                  <a:pt x="855" y="70"/>
                  <a:pt x="855" y="68"/>
                </a:cubicBezTo>
                <a:cubicBezTo>
                  <a:pt x="854" y="68"/>
                  <a:pt x="854" y="68"/>
                  <a:pt x="854" y="68"/>
                </a:cubicBezTo>
                <a:close/>
                <a:moveTo>
                  <a:pt x="960" y="175"/>
                </a:moveTo>
                <a:cubicBezTo>
                  <a:pt x="955" y="177"/>
                  <a:pt x="951" y="179"/>
                  <a:pt x="946" y="178"/>
                </a:cubicBezTo>
                <a:cubicBezTo>
                  <a:pt x="936" y="178"/>
                  <a:pt x="932" y="173"/>
                  <a:pt x="930" y="166"/>
                </a:cubicBezTo>
                <a:cubicBezTo>
                  <a:pt x="929" y="165"/>
                  <a:pt x="929" y="163"/>
                  <a:pt x="929" y="161"/>
                </a:cubicBezTo>
                <a:cubicBezTo>
                  <a:pt x="929" y="161"/>
                  <a:pt x="929" y="160"/>
                  <a:pt x="930" y="160"/>
                </a:cubicBezTo>
                <a:cubicBezTo>
                  <a:pt x="930" y="160"/>
                  <a:pt x="931" y="160"/>
                  <a:pt x="932" y="160"/>
                </a:cubicBezTo>
                <a:cubicBezTo>
                  <a:pt x="942" y="160"/>
                  <a:pt x="952" y="160"/>
                  <a:pt x="963" y="160"/>
                </a:cubicBezTo>
                <a:cubicBezTo>
                  <a:pt x="963" y="160"/>
                  <a:pt x="964" y="160"/>
                  <a:pt x="965" y="160"/>
                </a:cubicBezTo>
                <a:cubicBezTo>
                  <a:pt x="966" y="160"/>
                  <a:pt x="966" y="160"/>
                  <a:pt x="966" y="159"/>
                </a:cubicBezTo>
                <a:cubicBezTo>
                  <a:pt x="966" y="157"/>
                  <a:pt x="966" y="154"/>
                  <a:pt x="966" y="152"/>
                </a:cubicBezTo>
                <a:cubicBezTo>
                  <a:pt x="966" y="148"/>
                  <a:pt x="965" y="144"/>
                  <a:pt x="963" y="141"/>
                </a:cubicBezTo>
                <a:cubicBezTo>
                  <a:pt x="960" y="136"/>
                  <a:pt x="956" y="132"/>
                  <a:pt x="950" y="131"/>
                </a:cubicBezTo>
                <a:cubicBezTo>
                  <a:pt x="948" y="131"/>
                  <a:pt x="946" y="130"/>
                  <a:pt x="944" y="130"/>
                </a:cubicBezTo>
                <a:cubicBezTo>
                  <a:pt x="937" y="131"/>
                  <a:pt x="931" y="134"/>
                  <a:pt x="926" y="139"/>
                </a:cubicBezTo>
                <a:cubicBezTo>
                  <a:pt x="924" y="142"/>
                  <a:pt x="923" y="144"/>
                  <a:pt x="922" y="148"/>
                </a:cubicBezTo>
                <a:cubicBezTo>
                  <a:pt x="920" y="153"/>
                  <a:pt x="920" y="158"/>
                  <a:pt x="920" y="164"/>
                </a:cubicBezTo>
                <a:cubicBezTo>
                  <a:pt x="921" y="167"/>
                  <a:pt x="922" y="171"/>
                  <a:pt x="923" y="174"/>
                </a:cubicBezTo>
                <a:cubicBezTo>
                  <a:pt x="927" y="180"/>
                  <a:pt x="931" y="184"/>
                  <a:pt x="938" y="185"/>
                </a:cubicBezTo>
                <a:cubicBezTo>
                  <a:pt x="944" y="186"/>
                  <a:pt x="951" y="186"/>
                  <a:pt x="957" y="183"/>
                </a:cubicBezTo>
                <a:cubicBezTo>
                  <a:pt x="959" y="183"/>
                  <a:pt x="960" y="182"/>
                  <a:pt x="962" y="181"/>
                </a:cubicBezTo>
                <a:cubicBezTo>
                  <a:pt x="962" y="181"/>
                  <a:pt x="962" y="181"/>
                  <a:pt x="962" y="180"/>
                </a:cubicBezTo>
                <a:cubicBezTo>
                  <a:pt x="962" y="178"/>
                  <a:pt x="962" y="176"/>
                  <a:pt x="962" y="173"/>
                </a:cubicBezTo>
                <a:cubicBezTo>
                  <a:pt x="961" y="174"/>
                  <a:pt x="960" y="174"/>
                  <a:pt x="960" y="175"/>
                </a:cubicBezTo>
                <a:close/>
                <a:moveTo>
                  <a:pt x="992" y="69"/>
                </a:moveTo>
                <a:cubicBezTo>
                  <a:pt x="992" y="69"/>
                  <a:pt x="992" y="69"/>
                  <a:pt x="991" y="69"/>
                </a:cubicBezTo>
                <a:cubicBezTo>
                  <a:pt x="986" y="73"/>
                  <a:pt x="980" y="74"/>
                  <a:pt x="974" y="73"/>
                </a:cubicBezTo>
                <a:cubicBezTo>
                  <a:pt x="968" y="72"/>
                  <a:pt x="964" y="69"/>
                  <a:pt x="962" y="64"/>
                </a:cubicBezTo>
                <a:cubicBezTo>
                  <a:pt x="961" y="62"/>
                  <a:pt x="961" y="60"/>
                  <a:pt x="961" y="57"/>
                </a:cubicBezTo>
                <a:cubicBezTo>
                  <a:pt x="961" y="55"/>
                  <a:pt x="960" y="55"/>
                  <a:pt x="963" y="55"/>
                </a:cubicBezTo>
                <a:cubicBezTo>
                  <a:pt x="974" y="55"/>
                  <a:pt x="984" y="55"/>
                  <a:pt x="994" y="55"/>
                </a:cubicBezTo>
                <a:cubicBezTo>
                  <a:pt x="995" y="55"/>
                  <a:pt x="996" y="55"/>
                  <a:pt x="997" y="55"/>
                </a:cubicBezTo>
                <a:cubicBezTo>
                  <a:pt x="998" y="55"/>
                  <a:pt x="998" y="55"/>
                  <a:pt x="998" y="54"/>
                </a:cubicBezTo>
                <a:cubicBezTo>
                  <a:pt x="998" y="51"/>
                  <a:pt x="998" y="48"/>
                  <a:pt x="998" y="46"/>
                </a:cubicBezTo>
                <a:cubicBezTo>
                  <a:pt x="997" y="42"/>
                  <a:pt x="996" y="38"/>
                  <a:pt x="994" y="35"/>
                </a:cubicBezTo>
                <a:cubicBezTo>
                  <a:pt x="992" y="31"/>
                  <a:pt x="989" y="28"/>
                  <a:pt x="985" y="27"/>
                </a:cubicBezTo>
                <a:cubicBezTo>
                  <a:pt x="981" y="25"/>
                  <a:pt x="976" y="25"/>
                  <a:pt x="972" y="25"/>
                </a:cubicBezTo>
                <a:cubicBezTo>
                  <a:pt x="965" y="27"/>
                  <a:pt x="959" y="31"/>
                  <a:pt x="956" y="37"/>
                </a:cubicBezTo>
                <a:cubicBezTo>
                  <a:pt x="954" y="41"/>
                  <a:pt x="952" y="45"/>
                  <a:pt x="952" y="49"/>
                </a:cubicBezTo>
                <a:cubicBezTo>
                  <a:pt x="951" y="55"/>
                  <a:pt x="952" y="62"/>
                  <a:pt x="955" y="67"/>
                </a:cubicBezTo>
                <a:cubicBezTo>
                  <a:pt x="957" y="74"/>
                  <a:pt x="962" y="78"/>
                  <a:pt x="969" y="80"/>
                </a:cubicBezTo>
                <a:cubicBezTo>
                  <a:pt x="976" y="81"/>
                  <a:pt x="983" y="81"/>
                  <a:pt x="989" y="78"/>
                </a:cubicBezTo>
                <a:cubicBezTo>
                  <a:pt x="991" y="77"/>
                  <a:pt x="992" y="77"/>
                  <a:pt x="993" y="76"/>
                </a:cubicBezTo>
                <a:cubicBezTo>
                  <a:pt x="994" y="76"/>
                  <a:pt x="994" y="75"/>
                  <a:pt x="994" y="74"/>
                </a:cubicBezTo>
                <a:cubicBezTo>
                  <a:pt x="994" y="72"/>
                  <a:pt x="994" y="70"/>
                  <a:pt x="994" y="67"/>
                </a:cubicBezTo>
                <a:cubicBezTo>
                  <a:pt x="993" y="68"/>
                  <a:pt x="993" y="68"/>
                  <a:pt x="992" y="69"/>
                </a:cubicBezTo>
                <a:close/>
                <a:moveTo>
                  <a:pt x="845" y="177"/>
                </a:moveTo>
                <a:cubicBezTo>
                  <a:pt x="845" y="177"/>
                  <a:pt x="845" y="178"/>
                  <a:pt x="845" y="178"/>
                </a:cubicBezTo>
                <a:cubicBezTo>
                  <a:pt x="845" y="180"/>
                  <a:pt x="844" y="182"/>
                  <a:pt x="845" y="184"/>
                </a:cubicBezTo>
                <a:cubicBezTo>
                  <a:pt x="847" y="185"/>
                  <a:pt x="849" y="184"/>
                  <a:pt x="851" y="184"/>
                </a:cubicBezTo>
                <a:cubicBezTo>
                  <a:pt x="852" y="184"/>
                  <a:pt x="852" y="184"/>
                  <a:pt x="853" y="184"/>
                </a:cubicBezTo>
                <a:cubicBezTo>
                  <a:pt x="853" y="184"/>
                  <a:pt x="853" y="184"/>
                  <a:pt x="853" y="183"/>
                </a:cubicBezTo>
                <a:cubicBezTo>
                  <a:pt x="853" y="183"/>
                  <a:pt x="853" y="183"/>
                  <a:pt x="853" y="183"/>
                </a:cubicBezTo>
                <a:cubicBezTo>
                  <a:pt x="853" y="172"/>
                  <a:pt x="853" y="161"/>
                  <a:pt x="853" y="150"/>
                </a:cubicBezTo>
                <a:cubicBezTo>
                  <a:pt x="853" y="147"/>
                  <a:pt x="853" y="144"/>
                  <a:pt x="852" y="141"/>
                </a:cubicBezTo>
                <a:cubicBezTo>
                  <a:pt x="850" y="136"/>
                  <a:pt x="847" y="133"/>
                  <a:pt x="842" y="131"/>
                </a:cubicBezTo>
                <a:cubicBezTo>
                  <a:pt x="841" y="131"/>
                  <a:pt x="839" y="131"/>
                  <a:pt x="838" y="131"/>
                </a:cubicBezTo>
                <a:cubicBezTo>
                  <a:pt x="831" y="130"/>
                  <a:pt x="825" y="132"/>
                  <a:pt x="819" y="134"/>
                </a:cubicBezTo>
                <a:cubicBezTo>
                  <a:pt x="818" y="135"/>
                  <a:pt x="817" y="136"/>
                  <a:pt x="817" y="138"/>
                </a:cubicBezTo>
                <a:cubicBezTo>
                  <a:pt x="817" y="139"/>
                  <a:pt x="817" y="141"/>
                  <a:pt x="817" y="142"/>
                </a:cubicBezTo>
                <a:cubicBezTo>
                  <a:pt x="817" y="143"/>
                  <a:pt x="817" y="143"/>
                  <a:pt x="817" y="143"/>
                </a:cubicBezTo>
                <a:cubicBezTo>
                  <a:pt x="817" y="144"/>
                  <a:pt x="817" y="144"/>
                  <a:pt x="817" y="144"/>
                </a:cubicBezTo>
                <a:cubicBezTo>
                  <a:pt x="818" y="143"/>
                  <a:pt x="819" y="143"/>
                  <a:pt x="819" y="142"/>
                </a:cubicBezTo>
                <a:cubicBezTo>
                  <a:pt x="824" y="139"/>
                  <a:pt x="829" y="137"/>
                  <a:pt x="835" y="138"/>
                </a:cubicBezTo>
                <a:cubicBezTo>
                  <a:pt x="838" y="138"/>
                  <a:pt x="841" y="139"/>
                  <a:pt x="843" y="142"/>
                </a:cubicBezTo>
                <a:cubicBezTo>
                  <a:pt x="844" y="144"/>
                  <a:pt x="845" y="147"/>
                  <a:pt x="845" y="150"/>
                </a:cubicBezTo>
                <a:cubicBezTo>
                  <a:pt x="845" y="151"/>
                  <a:pt x="844" y="151"/>
                  <a:pt x="844" y="151"/>
                </a:cubicBezTo>
                <a:cubicBezTo>
                  <a:pt x="844" y="151"/>
                  <a:pt x="843" y="151"/>
                  <a:pt x="843" y="151"/>
                </a:cubicBezTo>
                <a:cubicBezTo>
                  <a:pt x="838" y="152"/>
                  <a:pt x="833" y="153"/>
                  <a:pt x="828" y="153"/>
                </a:cubicBezTo>
                <a:cubicBezTo>
                  <a:pt x="825" y="154"/>
                  <a:pt x="822" y="155"/>
                  <a:pt x="819" y="156"/>
                </a:cubicBezTo>
                <a:cubicBezTo>
                  <a:pt x="816" y="158"/>
                  <a:pt x="813" y="161"/>
                  <a:pt x="812" y="166"/>
                </a:cubicBezTo>
                <a:cubicBezTo>
                  <a:pt x="812" y="167"/>
                  <a:pt x="812" y="169"/>
                  <a:pt x="812" y="171"/>
                </a:cubicBezTo>
                <a:cubicBezTo>
                  <a:pt x="812" y="179"/>
                  <a:pt x="817" y="184"/>
                  <a:pt x="824" y="185"/>
                </a:cubicBezTo>
                <a:cubicBezTo>
                  <a:pt x="826" y="186"/>
                  <a:pt x="828" y="186"/>
                  <a:pt x="830" y="186"/>
                </a:cubicBezTo>
                <a:cubicBezTo>
                  <a:pt x="835" y="185"/>
                  <a:pt x="839" y="183"/>
                  <a:pt x="843" y="179"/>
                </a:cubicBezTo>
                <a:cubicBezTo>
                  <a:pt x="843" y="178"/>
                  <a:pt x="844" y="178"/>
                  <a:pt x="844" y="177"/>
                </a:cubicBezTo>
                <a:cubicBezTo>
                  <a:pt x="845" y="177"/>
                  <a:pt x="845" y="177"/>
                  <a:pt x="845" y="177"/>
                </a:cubicBezTo>
                <a:close/>
                <a:moveTo>
                  <a:pt x="241" y="42"/>
                </a:moveTo>
                <a:cubicBezTo>
                  <a:pt x="238" y="33"/>
                  <a:pt x="232" y="27"/>
                  <a:pt x="223" y="26"/>
                </a:cubicBezTo>
                <a:cubicBezTo>
                  <a:pt x="219" y="25"/>
                  <a:pt x="215" y="25"/>
                  <a:pt x="211" y="26"/>
                </a:cubicBezTo>
                <a:cubicBezTo>
                  <a:pt x="202" y="27"/>
                  <a:pt x="195" y="33"/>
                  <a:pt x="192" y="42"/>
                </a:cubicBezTo>
                <a:cubicBezTo>
                  <a:pt x="190" y="49"/>
                  <a:pt x="190" y="56"/>
                  <a:pt x="192" y="63"/>
                </a:cubicBezTo>
                <a:cubicBezTo>
                  <a:pt x="195" y="72"/>
                  <a:pt x="200" y="77"/>
                  <a:pt x="209" y="80"/>
                </a:cubicBezTo>
                <a:cubicBezTo>
                  <a:pt x="212" y="80"/>
                  <a:pt x="216" y="81"/>
                  <a:pt x="219" y="80"/>
                </a:cubicBezTo>
                <a:cubicBezTo>
                  <a:pt x="230" y="80"/>
                  <a:pt x="238" y="73"/>
                  <a:pt x="241" y="63"/>
                </a:cubicBezTo>
                <a:cubicBezTo>
                  <a:pt x="242" y="59"/>
                  <a:pt x="242" y="56"/>
                  <a:pt x="242" y="52"/>
                </a:cubicBezTo>
                <a:cubicBezTo>
                  <a:pt x="242" y="49"/>
                  <a:pt x="242" y="45"/>
                  <a:pt x="241" y="42"/>
                </a:cubicBezTo>
                <a:close/>
                <a:moveTo>
                  <a:pt x="408" y="183"/>
                </a:moveTo>
                <a:cubicBezTo>
                  <a:pt x="408" y="184"/>
                  <a:pt x="409" y="184"/>
                  <a:pt x="410" y="184"/>
                </a:cubicBezTo>
                <a:cubicBezTo>
                  <a:pt x="411" y="184"/>
                  <a:pt x="413" y="184"/>
                  <a:pt x="415" y="184"/>
                </a:cubicBezTo>
                <a:cubicBezTo>
                  <a:pt x="417" y="184"/>
                  <a:pt x="417" y="184"/>
                  <a:pt x="417" y="182"/>
                </a:cubicBezTo>
                <a:cubicBezTo>
                  <a:pt x="417" y="182"/>
                  <a:pt x="417" y="182"/>
                  <a:pt x="417" y="181"/>
                </a:cubicBezTo>
                <a:cubicBezTo>
                  <a:pt x="417" y="171"/>
                  <a:pt x="417" y="161"/>
                  <a:pt x="417" y="151"/>
                </a:cubicBezTo>
                <a:cubicBezTo>
                  <a:pt x="417" y="150"/>
                  <a:pt x="417" y="149"/>
                  <a:pt x="417" y="147"/>
                </a:cubicBezTo>
                <a:cubicBezTo>
                  <a:pt x="417" y="145"/>
                  <a:pt x="416" y="142"/>
                  <a:pt x="415" y="140"/>
                </a:cubicBezTo>
                <a:cubicBezTo>
                  <a:pt x="413" y="136"/>
                  <a:pt x="411" y="133"/>
                  <a:pt x="406" y="132"/>
                </a:cubicBezTo>
                <a:cubicBezTo>
                  <a:pt x="405" y="131"/>
                  <a:pt x="403" y="131"/>
                  <a:pt x="401" y="131"/>
                </a:cubicBezTo>
                <a:cubicBezTo>
                  <a:pt x="395" y="130"/>
                  <a:pt x="389" y="132"/>
                  <a:pt x="383" y="134"/>
                </a:cubicBezTo>
                <a:cubicBezTo>
                  <a:pt x="382" y="134"/>
                  <a:pt x="382" y="135"/>
                  <a:pt x="381" y="135"/>
                </a:cubicBezTo>
                <a:cubicBezTo>
                  <a:pt x="381" y="135"/>
                  <a:pt x="380" y="136"/>
                  <a:pt x="380" y="136"/>
                </a:cubicBezTo>
                <a:cubicBezTo>
                  <a:pt x="380" y="138"/>
                  <a:pt x="380" y="139"/>
                  <a:pt x="380" y="140"/>
                </a:cubicBezTo>
                <a:cubicBezTo>
                  <a:pt x="380" y="141"/>
                  <a:pt x="380" y="142"/>
                  <a:pt x="381" y="143"/>
                </a:cubicBezTo>
                <a:cubicBezTo>
                  <a:pt x="382" y="144"/>
                  <a:pt x="382" y="142"/>
                  <a:pt x="383" y="142"/>
                </a:cubicBezTo>
                <a:cubicBezTo>
                  <a:pt x="388" y="139"/>
                  <a:pt x="393" y="138"/>
                  <a:pt x="398" y="138"/>
                </a:cubicBezTo>
                <a:cubicBezTo>
                  <a:pt x="403" y="138"/>
                  <a:pt x="406" y="140"/>
                  <a:pt x="408" y="145"/>
                </a:cubicBezTo>
                <a:cubicBezTo>
                  <a:pt x="408" y="147"/>
                  <a:pt x="408" y="148"/>
                  <a:pt x="408" y="150"/>
                </a:cubicBezTo>
                <a:cubicBezTo>
                  <a:pt x="408" y="151"/>
                  <a:pt x="408" y="151"/>
                  <a:pt x="407" y="151"/>
                </a:cubicBezTo>
                <a:cubicBezTo>
                  <a:pt x="407" y="151"/>
                  <a:pt x="407" y="151"/>
                  <a:pt x="406" y="151"/>
                </a:cubicBezTo>
                <a:cubicBezTo>
                  <a:pt x="401" y="152"/>
                  <a:pt x="396" y="153"/>
                  <a:pt x="391" y="153"/>
                </a:cubicBezTo>
                <a:cubicBezTo>
                  <a:pt x="388" y="154"/>
                  <a:pt x="385" y="155"/>
                  <a:pt x="383" y="156"/>
                </a:cubicBezTo>
                <a:cubicBezTo>
                  <a:pt x="379" y="158"/>
                  <a:pt x="377" y="162"/>
                  <a:pt x="376" y="166"/>
                </a:cubicBezTo>
                <a:cubicBezTo>
                  <a:pt x="375" y="168"/>
                  <a:pt x="375" y="170"/>
                  <a:pt x="375" y="172"/>
                </a:cubicBezTo>
                <a:cubicBezTo>
                  <a:pt x="376" y="177"/>
                  <a:pt x="378" y="181"/>
                  <a:pt x="383" y="184"/>
                </a:cubicBezTo>
                <a:cubicBezTo>
                  <a:pt x="385" y="185"/>
                  <a:pt x="387" y="185"/>
                  <a:pt x="389" y="185"/>
                </a:cubicBezTo>
                <a:cubicBezTo>
                  <a:pt x="396" y="186"/>
                  <a:pt x="402" y="184"/>
                  <a:pt x="407" y="178"/>
                </a:cubicBezTo>
                <a:cubicBezTo>
                  <a:pt x="407" y="178"/>
                  <a:pt x="407" y="177"/>
                  <a:pt x="408" y="177"/>
                </a:cubicBezTo>
                <a:cubicBezTo>
                  <a:pt x="408" y="179"/>
                  <a:pt x="408" y="181"/>
                  <a:pt x="408" y="183"/>
                </a:cubicBezTo>
                <a:close/>
                <a:moveTo>
                  <a:pt x="64" y="168"/>
                </a:moveTo>
                <a:cubicBezTo>
                  <a:pt x="66" y="177"/>
                  <a:pt x="72" y="183"/>
                  <a:pt x="81" y="185"/>
                </a:cubicBezTo>
                <a:cubicBezTo>
                  <a:pt x="85" y="186"/>
                  <a:pt x="89" y="186"/>
                  <a:pt x="93" y="185"/>
                </a:cubicBezTo>
                <a:cubicBezTo>
                  <a:pt x="102" y="184"/>
                  <a:pt x="109" y="179"/>
                  <a:pt x="112" y="170"/>
                </a:cubicBezTo>
                <a:cubicBezTo>
                  <a:pt x="115" y="162"/>
                  <a:pt x="115" y="153"/>
                  <a:pt x="112" y="144"/>
                </a:cubicBezTo>
                <a:cubicBezTo>
                  <a:pt x="109" y="137"/>
                  <a:pt x="103" y="133"/>
                  <a:pt x="95" y="131"/>
                </a:cubicBezTo>
                <a:cubicBezTo>
                  <a:pt x="91" y="130"/>
                  <a:pt x="87" y="130"/>
                  <a:pt x="82" y="131"/>
                </a:cubicBezTo>
                <a:cubicBezTo>
                  <a:pt x="74" y="133"/>
                  <a:pt x="68" y="138"/>
                  <a:pt x="65" y="146"/>
                </a:cubicBezTo>
                <a:cubicBezTo>
                  <a:pt x="63" y="150"/>
                  <a:pt x="62" y="154"/>
                  <a:pt x="62" y="158"/>
                </a:cubicBezTo>
                <a:cubicBezTo>
                  <a:pt x="62" y="162"/>
                  <a:pt x="63" y="165"/>
                  <a:pt x="64" y="168"/>
                </a:cubicBezTo>
                <a:close/>
                <a:moveTo>
                  <a:pt x="335" y="40"/>
                </a:moveTo>
                <a:cubicBezTo>
                  <a:pt x="332" y="32"/>
                  <a:pt x="327" y="27"/>
                  <a:pt x="318" y="26"/>
                </a:cubicBezTo>
                <a:cubicBezTo>
                  <a:pt x="314" y="25"/>
                  <a:pt x="310" y="25"/>
                  <a:pt x="306" y="26"/>
                </a:cubicBezTo>
                <a:cubicBezTo>
                  <a:pt x="297" y="27"/>
                  <a:pt x="290" y="33"/>
                  <a:pt x="287" y="42"/>
                </a:cubicBezTo>
                <a:cubicBezTo>
                  <a:pt x="285" y="49"/>
                  <a:pt x="285" y="56"/>
                  <a:pt x="287" y="62"/>
                </a:cubicBezTo>
                <a:cubicBezTo>
                  <a:pt x="289" y="71"/>
                  <a:pt x="295" y="77"/>
                  <a:pt x="304" y="80"/>
                </a:cubicBezTo>
                <a:cubicBezTo>
                  <a:pt x="307" y="80"/>
                  <a:pt x="311" y="81"/>
                  <a:pt x="314" y="80"/>
                </a:cubicBezTo>
                <a:cubicBezTo>
                  <a:pt x="325" y="80"/>
                  <a:pt x="333" y="73"/>
                  <a:pt x="336" y="63"/>
                </a:cubicBezTo>
                <a:cubicBezTo>
                  <a:pt x="337" y="60"/>
                  <a:pt x="338" y="56"/>
                  <a:pt x="338" y="52"/>
                </a:cubicBezTo>
                <a:cubicBezTo>
                  <a:pt x="338" y="48"/>
                  <a:pt x="337" y="44"/>
                  <a:pt x="335" y="40"/>
                </a:cubicBezTo>
                <a:close/>
                <a:moveTo>
                  <a:pt x="1208" y="18"/>
                </a:moveTo>
                <a:cubicBezTo>
                  <a:pt x="1210" y="16"/>
                  <a:pt x="1213" y="14"/>
                  <a:pt x="1216" y="13"/>
                </a:cubicBezTo>
                <a:cubicBezTo>
                  <a:pt x="1219" y="11"/>
                  <a:pt x="1223" y="11"/>
                  <a:pt x="1227" y="12"/>
                </a:cubicBezTo>
                <a:cubicBezTo>
                  <a:pt x="1232" y="12"/>
                  <a:pt x="1235" y="15"/>
                  <a:pt x="1236" y="20"/>
                </a:cubicBezTo>
                <a:cubicBezTo>
                  <a:pt x="1237" y="23"/>
                  <a:pt x="1237" y="26"/>
                  <a:pt x="1237" y="29"/>
                </a:cubicBezTo>
                <a:cubicBezTo>
                  <a:pt x="1236" y="33"/>
                  <a:pt x="1234" y="36"/>
                  <a:pt x="1231" y="39"/>
                </a:cubicBezTo>
                <a:cubicBezTo>
                  <a:pt x="1229" y="42"/>
                  <a:pt x="1226" y="44"/>
                  <a:pt x="1224" y="46"/>
                </a:cubicBezTo>
                <a:cubicBezTo>
                  <a:pt x="1220" y="48"/>
                  <a:pt x="1217" y="51"/>
                  <a:pt x="1214" y="53"/>
                </a:cubicBezTo>
                <a:cubicBezTo>
                  <a:pt x="1212" y="55"/>
                  <a:pt x="1210" y="56"/>
                  <a:pt x="1209" y="58"/>
                </a:cubicBezTo>
                <a:cubicBezTo>
                  <a:pt x="1206" y="61"/>
                  <a:pt x="1205" y="64"/>
                  <a:pt x="1204" y="67"/>
                </a:cubicBezTo>
                <a:cubicBezTo>
                  <a:pt x="1203" y="71"/>
                  <a:pt x="1203" y="75"/>
                  <a:pt x="1203" y="78"/>
                </a:cubicBezTo>
                <a:cubicBezTo>
                  <a:pt x="1203" y="79"/>
                  <a:pt x="1203" y="79"/>
                  <a:pt x="1204" y="79"/>
                </a:cubicBezTo>
                <a:cubicBezTo>
                  <a:pt x="1204" y="79"/>
                  <a:pt x="1205" y="79"/>
                  <a:pt x="1205" y="79"/>
                </a:cubicBezTo>
                <a:cubicBezTo>
                  <a:pt x="1219" y="79"/>
                  <a:pt x="1232" y="79"/>
                  <a:pt x="1246" y="79"/>
                </a:cubicBezTo>
                <a:cubicBezTo>
                  <a:pt x="1246" y="79"/>
                  <a:pt x="1247" y="79"/>
                  <a:pt x="1247" y="79"/>
                </a:cubicBezTo>
                <a:cubicBezTo>
                  <a:pt x="1248" y="79"/>
                  <a:pt x="1248" y="79"/>
                  <a:pt x="1248" y="78"/>
                </a:cubicBezTo>
                <a:cubicBezTo>
                  <a:pt x="1248" y="76"/>
                  <a:pt x="1248" y="74"/>
                  <a:pt x="1248" y="72"/>
                </a:cubicBezTo>
                <a:cubicBezTo>
                  <a:pt x="1248" y="72"/>
                  <a:pt x="1248" y="72"/>
                  <a:pt x="1248" y="72"/>
                </a:cubicBezTo>
                <a:cubicBezTo>
                  <a:pt x="1247" y="72"/>
                  <a:pt x="1246" y="72"/>
                  <a:pt x="1245" y="72"/>
                </a:cubicBezTo>
                <a:cubicBezTo>
                  <a:pt x="1235" y="72"/>
                  <a:pt x="1225" y="72"/>
                  <a:pt x="1215" y="72"/>
                </a:cubicBezTo>
                <a:cubicBezTo>
                  <a:pt x="1214" y="72"/>
                  <a:pt x="1213" y="72"/>
                  <a:pt x="1213" y="72"/>
                </a:cubicBezTo>
                <a:cubicBezTo>
                  <a:pt x="1212" y="71"/>
                  <a:pt x="1212" y="71"/>
                  <a:pt x="1212" y="70"/>
                </a:cubicBezTo>
                <a:cubicBezTo>
                  <a:pt x="1212" y="67"/>
                  <a:pt x="1213" y="65"/>
                  <a:pt x="1215" y="63"/>
                </a:cubicBezTo>
                <a:cubicBezTo>
                  <a:pt x="1216" y="61"/>
                  <a:pt x="1218" y="59"/>
                  <a:pt x="1219" y="58"/>
                </a:cubicBezTo>
                <a:cubicBezTo>
                  <a:pt x="1223" y="55"/>
                  <a:pt x="1226" y="53"/>
                  <a:pt x="1229" y="51"/>
                </a:cubicBezTo>
                <a:cubicBezTo>
                  <a:pt x="1232" y="48"/>
                  <a:pt x="1236" y="45"/>
                  <a:pt x="1239" y="42"/>
                </a:cubicBezTo>
                <a:cubicBezTo>
                  <a:pt x="1242" y="39"/>
                  <a:pt x="1244" y="35"/>
                  <a:pt x="1245" y="31"/>
                </a:cubicBezTo>
                <a:cubicBezTo>
                  <a:pt x="1245" y="28"/>
                  <a:pt x="1246" y="25"/>
                  <a:pt x="1246" y="22"/>
                </a:cubicBezTo>
                <a:cubicBezTo>
                  <a:pt x="1245" y="14"/>
                  <a:pt x="1240" y="7"/>
                  <a:pt x="1232" y="5"/>
                </a:cubicBezTo>
                <a:cubicBezTo>
                  <a:pt x="1227" y="4"/>
                  <a:pt x="1222" y="4"/>
                  <a:pt x="1217" y="5"/>
                </a:cubicBezTo>
                <a:cubicBezTo>
                  <a:pt x="1213" y="6"/>
                  <a:pt x="1210" y="8"/>
                  <a:pt x="1207" y="10"/>
                </a:cubicBezTo>
                <a:cubicBezTo>
                  <a:pt x="1206" y="11"/>
                  <a:pt x="1206" y="11"/>
                  <a:pt x="1206" y="12"/>
                </a:cubicBezTo>
                <a:cubicBezTo>
                  <a:pt x="1206" y="15"/>
                  <a:pt x="1206" y="17"/>
                  <a:pt x="1206" y="20"/>
                </a:cubicBezTo>
                <a:cubicBezTo>
                  <a:pt x="1207" y="19"/>
                  <a:pt x="1207" y="19"/>
                  <a:pt x="1208" y="18"/>
                </a:cubicBezTo>
                <a:close/>
                <a:moveTo>
                  <a:pt x="529" y="145"/>
                </a:moveTo>
                <a:cubicBezTo>
                  <a:pt x="526" y="137"/>
                  <a:pt x="521" y="133"/>
                  <a:pt x="513" y="131"/>
                </a:cubicBezTo>
                <a:cubicBezTo>
                  <a:pt x="508" y="130"/>
                  <a:pt x="504" y="130"/>
                  <a:pt x="500" y="131"/>
                </a:cubicBezTo>
                <a:cubicBezTo>
                  <a:pt x="491" y="133"/>
                  <a:pt x="486" y="138"/>
                  <a:pt x="482" y="146"/>
                </a:cubicBezTo>
                <a:cubicBezTo>
                  <a:pt x="480" y="150"/>
                  <a:pt x="480" y="155"/>
                  <a:pt x="480" y="160"/>
                </a:cubicBezTo>
                <a:cubicBezTo>
                  <a:pt x="480" y="163"/>
                  <a:pt x="480" y="166"/>
                  <a:pt x="481" y="169"/>
                </a:cubicBezTo>
                <a:cubicBezTo>
                  <a:pt x="484" y="177"/>
                  <a:pt x="490" y="183"/>
                  <a:pt x="499" y="185"/>
                </a:cubicBezTo>
                <a:cubicBezTo>
                  <a:pt x="502" y="186"/>
                  <a:pt x="506" y="186"/>
                  <a:pt x="510" y="185"/>
                </a:cubicBezTo>
                <a:cubicBezTo>
                  <a:pt x="520" y="184"/>
                  <a:pt x="526" y="178"/>
                  <a:pt x="530" y="169"/>
                </a:cubicBezTo>
                <a:cubicBezTo>
                  <a:pt x="531" y="166"/>
                  <a:pt x="532" y="162"/>
                  <a:pt x="532" y="158"/>
                </a:cubicBezTo>
                <a:cubicBezTo>
                  <a:pt x="532" y="153"/>
                  <a:pt x="531" y="149"/>
                  <a:pt x="529" y="145"/>
                </a:cubicBezTo>
                <a:close/>
                <a:moveTo>
                  <a:pt x="1064" y="18"/>
                </a:moveTo>
                <a:cubicBezTo>
                  <a:pt x="1066" y="16"/>
                  <a:pt x="1068" y="14"/>
                  <a:pt x="1071" y="13"/>
                </a:cubicBezTo>
                <a:cubicBezTo>
                  <a:pt x="1075" y="11"/>
                  <a:pt x="1078" y="11"/>
                  <a:pt x="1082" y="12"/>
                </a:cubicBezTo>
                <a:cubicBezTo>
                  <a:pt x="1087" y="12"/>
                  <a:pt x="1091" y="16"/>
                  <a:pt x="1092" y="21"/>
                </a:cubicBezTo>
                <a:cubicBezTo>
                  <a:pt x="1093" y="24"/>
                  <a:pt x="1092" y="28"/>
                  <a:pt x="1092" y="31"/>
                </a:cubicBezTo>
                <a:cubicBezTo>
                  <a:pt x="1091" y="34"/>
                  <a:pt x="1089" y="36"/>
                  <a:pt x="1087" y="38"/>
                </a:cubicBezTo>
                <a:cubicBezTo>
                  <a:pt x="1085" y="41"/>
                  <a:pt x="1082" y="44"/>
                  <a:pt x="1079" y="46"/>
                </a:cubicBezTo>
                <a:cubicBezTo>
                  <a:pt x="1075" y="49"/>
                  <a:pt x="1072" y="51"/>
                  <a:pt x="1068" y="54"/>
                </a:cubicBezTo>
                <a:cubicBezTo>
                  <a:pt x="1066" y="56"/>
                  <a:pt x="1064" y="58"/>
                  <a:pt x="1063" y="60"/>
                </a:cubicBezTo>
                <a:cubicBezTo>
                  <a:pt x="1061" y="63"/>
                  <a:pt x="1059" y="67"/>
                  <a:pt x="1059" y="70"/>
                </a:cubicBezTo>
                <a:cubicBezTo>
                  <a:pt x="1058" y="73"/>
                  <a:pt x="1058" y="75"/>
                  <a:pt x="1058" y="77"/>
                </a:cubicBezTo>
                <a:cubicBezTo>
                  <a:pt x="1058" y="79"/>
                  <a:pt x="1058" y="79"/>
                  <a:pt x="1061" y="79"/>
                </a:cubicBezTo>
                <a:cubicBezTo>
                  <a:pt x="1074" y="79"/>
                  <a:pt x="1088" y="79"/>
                  <a:pt x="1102" y="79"/>
                </a:cubicBezTo>
                <a:cubicBezTo>
                  <a:pt x="1102" y="79"/>
                  <a:pt x="1102" y="79"/>
                  <a:pt x="1102" y="79"/>
                </a:cubicBezTo>
                <a:cubicBezTo>
                  <a:pt x="1104" y="79"/>
                  <a:pt x="1104" y="79"/>
                  <a:pt x="1104" y="78"/>
                </a:cubicBezTo>
                <a:cubicBezTo>
                  <a:pt x="1104" y="76"/>
                  <a:pt x="1104" y="75"/>
                  <a:pt x="1104" y="73"/>
                </a:cubicBezTo>
                <a:cubicBezTo>
                  <a:pt x="1104" y="72"/>
                  <a:pt x="1104" y="72"/>
                  <a:pt x="1102" y="72"/>
                </a:cubicBezTo>
                <a:cubicBezTo>
                  <a:pt x="1102" y="72"/>
                  <a:pt x="1101" y="72"/>
                  <a:pt x="1101" y="72"/>
                </a:cubicBezTo>
                <a:cubicBezTo>
                  <a:pt x="1091" y="72"/>
                  <a:pt x="1080" y="72"/>
                  <a:pt x="1070" y="72"/>
                </a:cubicBezTo>
                <a:cubicBezTo>
                  <a:pt x="1070" y="72"/>
                  <a:pt x="1069" y="72"/>
                  <a:pt x="1068" y="72"/>
                </a:cubicBezTo>
                <a:cubicBezTo>
                  <a:pt x="1067" y="71"/>
                  <a:pt x="1067" y="71"/>
                  <a:pt x="1067" y="70"/>
                </a:cubicBezTo>
                <a:cubicBezTo>
                  <a:pt x="1067" y="67"/>
                  <a:pt x="1069" y="64"/>
                  <a:pt x="1071" y="62"/>
                </a:cubicBezTo>
                <a:cubicBezTo>
                  <a:pt x="1072" y="60"/>
                  <a:pt x="1073" y="59"/>
                  <a:pt x="1075" y="58"/>
                </a:cubicBezTo>
                <a:cubicBezTo>
                  <a:pt x="1078" y="56"/>
                  <a:pt x="1081" y="53"/>
                  <a:pt x="1084" y="51"/>
                </a:cubicBezTo>
                <a:cubicBezTo>
                  <a:pt x="1087" y="48"/>
                  <a:pt x="1090" y="46"/>
                  <a:pt x="1093" y="43"/>
                </a:cubicBezTo>
                <a:cubicBezTo>
                  <a:pt x="1099" y="37"/>
                  <a:pt x="1102" y="30"/>
                  <a:pt x="1101" y="22"/>
                </a:cubicBezTo>
                <a:cubicBezTo>
                  <a:pt x="1100" y="13"/>
                  <a:pt x="1094" y="7"/>
                  <a:pt x="1087" y="5"/>
                </a:cubicBezTo>
                <a:cubicBezTo>
                  <a:pt x="1082" y="4"/>
                  <a:pt x="1076" y="4"/>
                  <a:pt x="1071" y="5"/>
                </a:cubicBezTo>
                <a:cubicBezTo>
                  <a:pt x="1068" y="6"/>
                  <a:pt x="1065" y="8"/>
                  <a:pt x="1062" y="10"/>
                </a:cubicBezTo>
                <a:cubicBezTo>
                  <a:pt x="1062" y="11"/>
                  <a:pt x="1061" y="11"/>
                  <a:pt x="1061" y="12"/>
                </a:cubicBezTo>
                <a:cubicBezTo>
                  <a:pt x="1061" y="15"/>
                  <a:pt x="1061" y="17"/>
                  <a:pt x="1061" y="20"/>
                </a:cubicBezTo>
                <a:cubicBezTo>
                  <a:pt x="1062" y="19"/>
                  <a:pt x="1063" y="19"/>
                  <a:pt x="1064" y="18"/>
                </a:cubicBezTo>
                <a:close/>
                <a:moveTo>
                  <a:pt x="1340" y="18"/>
                </a:moveTo>
                <a:cubicBezTo>
                  <a:pt x="1342" y="16"/>
                  <a:pt x="1345" y="14"/>
                  <a:pt x="1347" y="13"/>
                </a:cubicBezTo>
                <a:cubicBezTo>
                  <a:pt x="1351" y="11"/>
                  <a:pt x="1355" y="11"/>
                  <a:pt x="1358" y="12"/>
                </a:cubicBezTo>
                <a:cubicBezTo>
                  <a:pt x="1363" y="12"/>
                  <a:pt x="1367" y="15"/>
                  <a:pt x="1368" y="20"/>
                </a:cubicBezTo>
                <a:cubicBezTo>
                  <a:pt x="1369" y="22"/>
                  <a:pt x="1369" y="25"/>
                  <a:pt x="1369" y="27"/>
                </a:cubicBezTo>
                <a:cubicBezTo>
                  <a:pt x="1368" y="32"/>
                  <a:pt x="1366" y="36"/>
                  <a:pt x="1363" y="39"/>
                </a:cubicBezTo>
                <a:cubicBezTo>
                  <a:pt x="1361" y="42"/>
                  <a:pt x="1358" y="44"/>
                  <a:pt x="1355" y="46"/>
                </a:cubicBezTo>
                <a:cubicBezTo>
                  <a:pt x="1352" y="49"/>
                  <a:pt x="1348" y="51"/>
                  <a:pt x="1345" y="54"/>
                </a:cubicBezTo>
                <a:cubicBezTo>
                  <a:pt x="1343" y="56"/>
                  <a:pt x="1341" y="58"/>
                  <a:pt x="1339" y="60"/>
                </a:cubicBezTo>
                <a:cubicBezTo>
                  <a:pt x="1337" y="63"/>
                  <a:pt x="1336" y="66"/>
                  <a:pt x="1335" y="70"/>
                </a:cubicBezTo>
                <a:cubicBezTo>
                  <a:pt x="1335" y="72"/>
                  <a:pt x="1335" y="74"/>
                  <a:pt x="1335" y="77"/>
                </a:cubicBezTo>
                <a:cubicBezTo>
                  <a:pt x="1335" y="79"/>
                  <a:pt x="1335" y="79"/>
                  <a:pt x="1337" y="79"/>
                </a:cubicBezTo>
                <a:cubicBezTo>
                  <a:pt x="1350" y="79"/>
                  <a:pt x="1363" y="79"/>
                  <a:pt x="1376" y="79"/>
                </a:cubicBezTo>
                <a:cubicBezTo>
                  <a:pt x="1377" y="79"/>
                  <a:pt x="1379" y="79"/>
                  <a:pt x="1380" y="79"/>
                </a:cubicBezTo>
                <a:cubicBezTo>
                  <a:pt x="1381" y="78"/>
                  <a:pt x="1380" y="76"/>
                  <a:pt x="1380" y="75"/>
                </a:cubicBezTo>
                <a:cubicBezTo>
                  <a:pt x="1380" y="71"/>
                  <a:pt x="1381" y="72"/>
                  <a:pt x="1377" y="72"/>
                </a:cubicBezTo>
                <a:cubicBezTo>
                  <a:pt x="1367" y="72"/>
                  <a:pt x="1357" y="72"/>
                  <a:pt x="1346" y="72"/>
                </a:cubicBezTo>
                <a:cubicBezTo>
                  <a:pt x="1346" y="72"/>
                  <a:pt x="1345" y="72"/>
                  <a:pt x="1344" y="71"/>
                </a:cubicBezTo>
                <a:cubicBezTo>
                  <a:pt x="1343" y="68"/>
                  <a:pt x="1344" y="65"/>
                  <a:pt x="1346" y="63"/>
                </a:cubicBezTo>
                <a:cubicBezTo>
                  <a:pt x="1347" y="61"/>
                  <a:pt x="1349" y="60"/>
                  <a:pt x="1351" y="58"/>
                </a:cubicBezTo>
                <a:cubicBezTo>
                  <a:pt x="1354" y="55"/>
                  <a:pt x="1358" y="53"/>
                  <a:pt x="1361" y="50"/>
                </a:cubicBezTo>
                <a:cubicBezTo>
                  <a:pt x="1365" y="48"/>
                  <a:pt x="1368" y="45"/>
                  <a:pt x="1370" y="42"/>
                </a:cubicBezTo>
                <a:cubicBezTo>
                  <a:pt x="1376" y="36"/>
                  <a:pt x="1378" y="29"/>
                  <a:pt x="1377" y="21"/>
                </a:cubicBezTo>
                <a:cubicBezTo>
                  <a:pt x="1376" y="12"/>
                  <a:pt x="1370" y="7"/>
                  <a:pt x="1363" y="5"/>
                </a:cubicBezTo>
                <a:cubicBezTo>
                  <a:pt x="1358" y="4"/>
                  <a:pt x="1353" y="4"/>
                  <a:pt x="1348" y="5"/>
                </a:cubicBezTo>
                <a:cubicBezTo>
                  <a:pt x="1344" y="6"/>
                  <a:pt x="1341" y="8"/>
                  <a:pt x="1338" y="10"/>
                </a:cubicBezTo>
                <a:cubicBezTo>
                  <a:pt x="1338" y="11"/>
                  <a:pt x="1338" y="11"/>
                  <a:pt x="1338" y="12"/>
                </a:cubicBezTo>
                <a:cubicBezTo>
                  <a:pt x="1338" y="14"/>
                  <a:pt x="1338" y="16"/>
                  <a:pt x="1338" y="17"/>
                </a:cubicBezTo>
                <a:cubicBezTo>
                  <a:pt x="1338" y="18"/>
                  <a:pt x="1337" y="19"/>
                  <a:pt x="1338" y="20"/>
                </a:cubicBezTo>
                <a:cubicBezTo>
                  <a:pt x="1339" y="19"/>
                  <a:pt x="1339" y="18"/>
                  <a:pt x="1340" y="18"/>
                </a:cubicBezTo>
                <a:close/>
                <a:moveTo>
                  <a:pt x="714" y="142"/>
                </a:moveTo>
                <a:cubicBezTo>
                  <a:pt x="718" y="139"/>
                  <a:pt x="723" y="137"/>
                  <a:pt x="729" y="138"/>
                </a:cubicBezTo>
                <a:cubicBezTo>
                  <a:pt x="734" y="138"/>
                  <a:pt x="737" y="140"/>
                  <a:pt x="738" y="145"/>
                </a:cubicBezTo>
                <a:cubicBezTo>
                  <a:pt x="739" y="147"/>
                  <a:pt x="739" y="148"/>
                  <a:pt x="739" y="150"/>
                </a:cubicBezTo>
                <a:cubicBezTo>
                  <a:pt x="739" y="151"/>
                  <a:pt x="739" y="151"/>
                  <a:pt x="738" y="151"/>
                </a:cubicBezTo>
                <a:cubicBezTo>
                  <a:pt x="736" y="151"/>
                  <a:pt x="735" y="152"/>
                  <a:pt x="733" y="152"/>
                </a:cubicBezTo>
                <a:cubicBezTo>
                  <a:pt x="729" y="152"/>
                  <a:pt x="725" y="153"/>
                  <a:pt x="721" y="153"/>
                </a:cubicBezTo>
                <a:cubicBezTo>
                  <a:pt x="718" y="154"/>
                  <a:pt x="716" y="155"/>
                  <a:pt x="713" y="156"/>
                </a:cubicBezTo>
                <a:cubicBezTo>
                  <a:pt x="710" y="158"/>
                  <a:pt x="707" y="161"/>
                  <a:pt x="706" y="165"/>
                </a:cubicBezTo>
                <a:cubicBezTo>
                  <a:pt x="706" y="167"/>
                  <a:pt x="705" y="170"/>
                  <a:pt x="706" y="172"/>
                </a:cubicBezTo>
                <a:cubicBezTo>
                  <a:pt x="706" y="178"/>
                  <a:pt x="709" y="182"/>
                  <a:pt x="715" y="184"/>
                </a:cubicBezTo>
                <a:cubicBezTo>
                  <a:pt x="719" y="186"/>
                  <a:pt x="724" y="186"/>
                  <a:pt x="728" y="185"/>
                </a:cubicBezTo>
                <a:cubicBezTo>
                  <a:pt x="732" y="184"/>
                  <a:pt x="735" y="182"/>
                  <a:pt x="737" y="179"/>
                </a:cubicBezTo>
                <a:cubicBezTo>
                  <a:pt x="737" y="178"/>
                  <a:pt x="738" y="178"/>
                  <a:pt x="738" y="178"/>
                </a:cubicBezTo>
                <a:cubicBezTo>
                  <a:pt x="738" y="177"/>
                  <a:pt x="738" y="177"/>
                  <a:pt x="739" y="177"/>
                </a:cubicBezTo>
                <a:cubicBezTo>
                  <a:pt x="739" y="178"/>
                  <a:pt x="739" y="179"/>
                  <a:pt x="739" y="180"/>
                </a:cubicBezTo>
                <a:cubicBezTo>
                  <a:pt x="739" y="181"/>
                  <a:pt x="739" y="182"/>
                  <a:pt x="739" y="183"/>
                </a:cubicBezTo>
                <a:cubicBezTo>
                  <a:pt x="739" y="184"/>
                  <a:pt x="739" y="184"/>
                  <a:pt x="740" y="184"/>
                </a:cubicBezTo>
                <a:cubicBezTo>
                  <a:pt x="742" y="184"/>
                  <a:pt x="744" y="184"/>
                  <a:pt x="746" y="184"/>
                </a:cubicBezTo>
                <a:cubicBezTo>
                  <a:pt x="747" y="184"/>
                  <a:pt x="747" y="184"/>
                  <a:pt x="747" y="183"/>
                </a:cubicBezTo>
                <a:cubicBezTo>
                  <a:pt x="747" y="183"/>
                  <a:pt x="747" y="182"/>
                  <a:pt x="747" y="182"/>
                </a:cubicBezTo>
                <a:cubicBezTo>
                  <a:pt x="747" y="171"/>
                  <a:pt x="747" y="161"/>
                  <a:pt x="747" y="150"/>
                </a:cubicBezTo>
                <a:cubicBezTo>
                  <a:pt x="747" y="149"/>
                  <a:pt x="747" y="148"/>
                  <a:pt x="747" y="146"/>
                </a:cubicBezTo>
                <a:cubicBezTo>
                  <a:pt x="747" y="144"/>
                  <a:pt x="746" y="142"/>
                  <a:pt x="745" y="140"/>
                </a:cubicBezTo>
                <a:cubicBezTo>
                  <a:pt x="744" y="136"/>
                  <a:pt x="741" y="133"/>
                  <a:pt x="737" y="132"/>
                </a:cubicBezTo>
                <a:cubicBezTo>
                  <a:pt x="736" y="131"/>
                  <a:pt x="734" y="131"/>
                  <a:pt x="732" y="131"/>
                </a:cubicBezTo>
                <a:cubicBezTo>
                  <a:pt x="725" y="130"/>
                  <a:pt x="719" y="131"/>
                  <a:pt x="713" y="134"/>
                </a:cubicBezTo>
                <a:cubicBezTo>
                  <a:pt x="713" y="134"/>
                  <a:pt x="712" y="135"/>
                  <a:pt x="712" y="135"/>
                </a:cubicBezTo>
                <a:cubicBezTo>
                  <a:pt x="711" y="135"/>
                  <a:pt x="711" y="136"/>
                  <a:pt x="711" y="136"/>
                </a:cubicBezTo>
                <a:cubicBezTo>
                  <a:pt x="711" y="139"/>
                  <a:pt x="711" y="141"/>
                  <a:pt x="711" y="144"/>
                </a:cubicBezTo>
                <a:cubicBezTo>
                  <a:pt x="712" y="143"/>
                  <a:pt x="713" y="143"/>
                  <a:pt x="714" y="142"/>
                </a:cubicBezTo>
                <a:close/>
                <a:moveTo>
                  <a:pt x="471" y="29"/>
                </a:moveTo>
                <a:cubicBezTo>
                  <a:pt x="473" y="36"/>
                  <a:pt x="476" y="43"/>
                  <a:pt x="479" y="49"/>
                </a:cubicBezTo>
                <a:cubicBezTo>
                  <a:pt x="482" y="59"/>
                  <a:pt x="486" y="68"/>
                  <a:pt x="490" y="77"/>
                </a:cubicBezTo>
                <a:cubicBezTo>
                  <a:pt x="490" y="78"/>
                  <a:pt x="490" y="79"/>
                  <a:pt x="490" y="81"/>
                </a:cubicBezTo>
                <a:cubicBezTo>
                  <a:pt x="488" y="83"/>
                  <a:pt x="487" y="86"/>
                  <a:pt x="486" y="89"/>
                </a:cubicBezTo>
                <a:cubicBezTo>
                  <a:pt x="486" y="90"/>
                  <a:pt x="485" y="91"/>
                  <a:pt x="484" y="92"/>
                </a:cubicBezTo>
                <a:cubicBezTo>
                  <a:pt x="482" y="96"/>
                  <a:pt x="479" y="97"/>
                  <a:pt x="475" y="96"/>
                </a:cubicBezTo>
                <a:cubicBezTo>
                  <a:pt x="474" y="96"/>
                  <a:pt x="472" y="95"/>
                  <a:pt x="472" y="96"/>
                </a:cubicBezTo>
                <a:cubicBezTo>
                  <a:pt x="471" y="97"/>
                  <a:pt x="472" y="98"/>
                  <a:pt x="472" y="99"/>
                </a:cubicBezTo>
                <a:cubicBezTo>
                  <a:pt x="471" y="100"/>
                  <a:pt x="471" y="101"/>
                  <a:pt x="472" y="102"/>
                </a:cubicBezTo>
                <a:cubicBezTo>
                  <a:pt x="472" y="103"/>
                  <a:pt x="472" y="103"/>
                  <a:pt x="473" y="103"/>
                </a:cubicBezTo>
                <a:cubicBezTo>
                  <a:pt x="478" y="104"/>
                  <a:pt x="483" y="104"/>
                  <a:pt x="487" y="100"/>
                </a:cubicBezTo>
                <a:cubicBezTo>
                  <a:pt x="489" y="98"/>
                  <a:pt x="490" y="97"/>
                  <a:pt x="492" y="95"/>
                </a:cubicBezTo>
                <a:cubicBezTo>
                  <a:pt x="493" y="92"/>
                  <a:pt x="494" y="90"/>
                  <a:pt x="495" y="87"/>
                </a:cubicBezTo>
                <a:cubicBezTo>
                  <a:pt x="499" y="79"/>
                  <a:pt x="502" y="70"/>
                  <a:pt x="506" y="62"/>
                </a:cubicBezTo>
                <a:cubicBezTo>
                  <a:pt x="510" y="51"/>
                  <a:pt x="514" y="40"/>
                  <a:pt x="519" y="29"/>
                </a:cubicBezTo>
                <a:cubicBezTo>
                  <a:pt x="519" y="28"/>
                  <a:pt x="519" y="27"/>
                  <a:pt x="519" y="26"/>
                </a:cubicBezTo>
                <a:cubicBezTo>
                  <a:pt x="516" y="26"/>
                  <a:pt x="514" y="26"/>
                  <a:pt x="511" y="26"/>
                </a:cubicBezTo>
                <a:cubicBezTo>
                  <a:pt x="508" y="34"/>
                  <a:pt x="505" y="41"/>
                  <a:pt x="503" y="48"/>
                </a:cubicBezTo>
                <a:cubicBezTo>
                  <a:pt x="500" y="55"/>
                  <a:pt x="498" y="63"/>
                  <a:pt x="495" y="70"/>
                </a:cubicBezTo>
                <a:cubicBezTo>
                  <a:pt x="494" y="69"/>
                  <a:pt x="494" y="68"/>
                  <a:pt x="493" y="67"/>
                </a:cubicBezTo>
                <a:cubicBezTo>
                  <a:pt x="489" y="54"/>
                  <a:pt x="485" y="42"/>
                  <a:pt x="480" y="30"/>
                </a:cubicBezTo>
                <a:cubicBezTo>
                  <a:pt x="479" y="26"/>
                  <a:pt x="480" y="26"/>
                  <a:pt x="475" y="26"/>
                </a:cubicBezTo>
                <a:cubicBezTo>
                  <a:pt x="474" y="26"/>
                  <a:pt x="472" y="26"/>
                  <a:pt x="470" y="26"/>
                </a:cubicBezTo>
                <a:cubicBezTo>
                  <a:pt x="470" y="26"/>
                  <a:pt x="470" y="27"/>
                  <a:pt x="470" y="27"/>
                </a:cubicBezTo>
                <a:cubicBezTo>
                  <a:pt x="470" y="27"/>
                  <a:pt x="470" y="28"/>
                  <a:pt x="471" y="29"/>
                </a:cubicBezTo>
                <a:close/>
                <a:moveTo>
                  <a:pt x="132" y="140"/>
                </a:moveTo>
                <a:cubicBezTo>
                  <a:pt x="132" y="139"/>
                  <a:pt x="132" y="138"/>
                  <a:pt x="132" y="137"/>
                </a:cubicBezTo>
                <a:cubicBezTo>
                  <a:pt x="132" y="136"/>
                  <a:pt x="132" y="134"/>
                  <a:pt x="132" y="133"/>
                </a:cubicBezTo>
                <a:cubicBezTo>
                  <a:pt x="132" y="132"/>
                  <a:pt x="132" y="132"/>
                  <a:pt x="131" y="132"/>
                </a:cubicBezTo>
                <a:cubicBezTo>
                  <a:pt x="129" y="132"/>
                  <a:pt x="127" y="132"/>
                  <a:pt x="125" y="132"/>
                </a:cubicBezTo>
                <a:cubicBezTo>
                  <a:pt x="124" y="132"/>
                  <a:pt x="124" y="132"/>
                  <a:pt x="124" y="133"/>
                </a:cubicBezTo>
                <a:cubicBezTo>
                  <a:pt x="124" y="133"/>
                  <a:pt x="124" y="133"/>
                  <a:pt x="124" y="134"/>
                </a:cubicBezTo>
                <a:cubicBezTo>
                  <a:pt x="124" y="150"/>
                  <a:pt x="124" y="166"/>
                  <a:pt x="124" y="182"/>
                </a:cubicBezTo>
                <a:cubicBezTo>
                  <a:pt x="124" y="184"/>
                  <a:pt x="124" y="184"/>
                  <a:pt x="126" y="184"/>
                </a:cubicBezTo>
                <a:cubicBezTo>
                  <a:pt x="127" y="184"/>
                  <a:pt x="129" y="184"/>
                  <a:pt x="130" y="184"/>
                </a:cubicBezTo>
                <a:cubicBezTo>
                  <a:pt x="131" y="184"/>
                  <a:pt x="131" y="184"/>
                  <a:pt x="131" y="184"/>
                </a:cubicBezTo>
                <a:cubicBezTo>
                  <a:pt x="132" y="184"/>
                  <a:pt x="132" y="184"/>
                  <a:pt x="132" y="183"/>
                </a:cubicBezTo>
                <a:cubicBezTo>
                  <a:pt x="132" y="183"/>
                  <a:pt x="132" y="182"/>
                  <a:pt x="132" y="181"/>
                </a:cubicBezTo>
                <a:cubicBezTo>
                  <a:pt x="132" y="173"/>
                  <a:pt x="132" y="164"/>
                  <a:pt x="132" y="156"/>
                </a:cubicBezTo>
                <a:cubicBezTo>
                  <a:pt x="132" y="155"/>
                  <a:pt x="132" y="154"/>
                  <a:pt x="132" y="153"/>
                </a:cubicBezTo>
                <a:cubicBezTo>
                  <a:pt x="132" y="150"/>
                  <a:pt x="133" y="148"/>
                  <a:pt x="134" y="146"/>
                </a:cubicBezTo>
                <a:cubicBezTo>
                  <a:pt x="137" y="140"/>
                  <a:pt x="142" y="137"/>
                  <a:pt x="148" y="138"/>
                </a:cubicBezTo>
                <a:cubicBezTo>
                  <a:pt x="152" y="138"/>
                  <a:pt x="155" y="140"/>
                  <a:pt x="157" y="144"/>
                </a:cubicBezTo>
                <a:cubicBezTo>
                  <a:pt x="158" y="145"/>
                  <a:pt x="158" y="145"/>
                  <a:pt x="158" y="146"/>
                </a:cubicBezTo>
                <a:cubicBezTo>
                  <a:pt x="159" y="149"/>
                  <a:pt x="159" y="152"/>
                  <a:pt x="159" y="155"/>
                </a:cubicBezTo>
                <a:cubicBezTo>
                  <a:pt x="159" y="164"/>
                  <a:pt x="159" y="172"/>
                  <a:pt x="159" y="181"/>
                </a:cubicBezTo>
                <a:cubicBezTo>
                  <a:pt x="159" y="182"/>
                  <a:pt x="159" y="183"/>
                  <a:pt x="159" y="183"/>
                </a:cubicBezTo>
                <a:cubicBezTo>
                  <a:pt x="159" y="184"/>
                  <a:pt x="159" y="184"/>
                  <a:pt x="160" y="184"/>
                </a:cubicBezTo>
                <a:cubicBezTo>
                  <a:pt x="162" y="184"/>
                  <a:pt x="164" y="184"/>
                  <a:pt x="167" y="184"/>
                </a:cubicBezTo>
                <a:cubicBezTo>
                  <a:pt x="167" y="184"/>
                  <a:pt x="167" y="184"/>
                  <a:pt x="167" y="184"/>
                </a:cubicBezTo>
                <a:cubicBezTo>
                  <a:pt x="168" y="183"/>
                  <a:pt x="167" y="182"/>
                  <a:pt x="167" y="182"/>
                </a:cubicBezTo>
                <a:cubicBezTo>
                  <a:pt x="167" y="172"/>
                  <a:pt x="168" y="163"/>
                  <a:pt x="167" y="153"/>
                </a:cubicBezTo>
                <a:cubicBezTo>
                  <a:pt x="167" y="151"/>
                  <a:pt x="167" y="150"/>
                  <a:pt x="167" y="148"/>
                </a:cubicBezTo>
                <a:cubicBezTo>
                  <a:pt x="167" y="145"/>
                  <a:pt x="166" y="142"/>
                  <a:pt x="165" y="139"/>
                </a:cubicBezTo>
                <a:cubicBezTo>
                  <a:pt x="162" y="135"/>
                  <a:pt x="159" y="132"/>
                  <a:pt x="155" y="131"/>
                </a:cubicBezTo>
                <a:cubicBezTo>
                  <a:pt x="153" y="130"/>
                  <a:pt x="151" y="130"/>
                  <a:pt x="149" y="130"/>
                </a:cubicBezTo>
                <a:cubicBezTo>
                  <a:pt x="143" y="131"/>
                  <a:pt x="138" y="133"/>
                  <a:pt x="134" y="138"/>
                </a:cubicBezTo>
                <a:cubicBezTo>
                  <a:pt x="134" y="138"/>
                  <a:pt x="133" y="139"/>
                  <a:pt x="133" y="140"/>
                </a:cubicBezTo>
                <a:cubicBezTo>
                  <a:pt x="133" y="140"/>
                  <a:pt x="132" y="140"/>
                  <a:pt x="132" y="140"/>
                </a:cubicBezTo>
                <a:close/>
                <a:moveTo>
                  <a:pt x="768" y="140"/>
                </a:moveTo>
                <a:cubicBezTo>
                  <a:pt x="768" y="139"/>
                  <a:pt x="768" y="139"/>
                  <a:pt x="768" y="138"/>
                </a:cubicBezTo>
                <a:cubicBezTo>
                  <a:pt x="768" y="136"/>
                  <a:pt x="768" y="135"/>
                  <a:pt x="768" y="133"/>
                </a:cubicBezTo>
                <a:cubicBezTo>
                  <a:pt x="768" y="132"/>
                  <a:pt x="768" y="132"/>
                  <a:pt x="767" y="132"/>
                </a:cubicBezTo>
                <a:cubicBezTo>
                  <a:pt x="765" y="132"/>
                  <a:pt x="763" y="132"/>
                  <a:pt x="761" y="132"/>
                </a:cubicBezTo>
                <a:cubicBezTo>
                  <a:pt x="760" y="132"/>
                  <a:pt x="760" y="132"/>
                  <a:pt x="760" y="133"/>
                </a:cubicBezTo>
                <a:cubicBezTo>
                  <a:pt x="760" y="133"/>
                  <a:pt x="760" y="134"/>
                  <a:pt x="760" y="134"/>
                </a:cubicBezTo>
                <a:cubicBezTo>
                  <a:pt x="760" y="150"/>
                  <a:pt x="760" y="166"/>
                  <a:pt x="760" y="182"/>
                </a:cubicBezTo>
                <a:cubicBezTo>
                  <a:pt x="760" y="183"/>
                  <a:pt x="760" y="183"/>
                  <a:pt x="760" y="184"/>
                </a:cubicBezTo>
                <a:cubicBezTo>
                  <a:pt x="760" y="184"/>
                  <a:pt x="760" y="184"/>
                  <a:pt x="761" y="184"/>
                </a:cubicBezTo>
                <a:cubicBezTo>
                  <a:pt x="761" y="184"/>
                  <a:pt x="762" y="184"/>
                  <a:pt x="763" y="184"/>
                </a:cubicBezTo>
                <a:cubicBezTo>
                  <a:pt x="764" y="184"/>
                  <a:pt x="766" y="184"/>
                  <a:pt x="767" y="184"/>
                </a:cubicBezTo>
                <a:cubicBezTo>
                  <a:pt x="768" y="184"/>
                  <a:pt x="768" y="184"/>
                  <a:pt x="768" y="183"/>
                </a:cubicBezTo>
                <a:cubicBezTo>
                  <a:pt x="768" y="183"/>
                  <a:pt x="768" y="182"/>
                  <a:pt x="768" y="182"/>
                </a:cubicBezTo>
                <a:cubicBezTo>
                  <a:pt x="768" y="173"/>
                  <a:pt x="768" y="165"/>
                  <a:pt x="768" y="156"/>
                </a:cubicBezTo>
                <a:cubicBezTo>
                  <a:pt x="768" y="155"/>
                  <a:pt x="768" y="153"/>
                  <a:pt x="768" y="152"/>
                </a:cubicBezTo>
                <a:cubicBezTo>
                  <a:pt x="769" y="150"/>
                  <a:pt x="769" y="147"/>
                  <a:pt x="771" y="145"/>
                </a:cubicBezTo>
                <a:cubicBezTo>
                  <a:pt x="774" y="140"/>
                  <a:pt x="778" y="137"/>
                  <a:pt x="784" y="138"/>
                </a:cubicBezTo>
                <a:cubicBezTo>
                  <a:pt x="788" y="138"/>
                  <a:pt x="791" y="140"/>
                  <a:pt x="793" y="143"/>
                </a:cubicBezTo>
                <a:cubicBezTo>
                  <a:pt x="793" y="144"/>
                  <a:pt x="794" y="145"/>
                  <a:pt x="794" y="146"/>
                </a:cubicBezTo>
                <a:cubicBezTo>
                  <a:pt x="795" y="149"/>
                  <a:pt x="795" y="152"/>
                  <a:pt x="795" y="154"/>
                </a:cubicBezTo>
                <a:cubicBezTo>
                  <a:pt x="795" y="163"/>
                  <a:pt x="795" y="172"/>
                  <a:pt x="795" y="181"/>
                </a:cubicBezTo>
                <a:cubicBezTo>
                  <a:pt x="795" y="182"/>
                  <a:pt x="795" y="183"/>
                  <a:pt x="795" y="184"/>
                </a:cubicBezTo>
                <a:cubicBezTo>
                  <a:pt x="795" y="184"/>
                  <a:pt x="795" y="184"/>
                  <a:pt x="796" y="184"/>
                </a:cubicBezTo>
                <a:cubicBezTo>
                  <a:pt x="798" y="184"/>
                  <a:pt x="800" y="184"/>
                  <a:pt x="803" y="184"/>
                </a:cubicBezTo>
                <a:cubicBezTo>
                  <a:pt x="803" y="184"/>
                  <a:pt x="803" y="184"/>
                  <a:pt x="803" y="184"/>
                </a:cubicBezTo>
                <a:cubicBezTo>
                  <a:pt x="804" y="183"/>
                  <a:pt x="804" y="182"/>
                  <a:pt x="804" y="182"/>
                </a:cubicBezTo>
                <a:cubicBezTo>
                  <a:pt x="804" y="172"/>
                  <a:pt x="804" y="162"/>
                  <a:pt x="804" y="152"/>
                </a:cubicBezTo>
                <a:cubicBezTo>
                  <a:pt x="804" y="151"/>
                  <a:pt x="803" y="149"/>
                  <a:pt x="803" y="148"/>
                </a:cubicBezTo>
                <a:cubicBezTo>
                  <a:pt x="803" y="144"/>
                  <a:pt x="802" y="141"/>
                  <a:pt x="801" y="138"/>
                </a:cubicBezTo>
                <a:cubicBezTo>
                  <a:pt x="798" y="135"/>
                  <a:pt x="795" y="132"/>
                  <a:pt x="791" y="131"/>
                </a:cubicBezTo>
                <a:cubicBezTo>
                  <a:pt x="789" y="131"/>
                  <a:pt x="787" y="130"/>
                  <a:pt x="785" y="130"/>
                </a:cubicBezTo>
                <a:cubicBezTo>
                  <a:pt x="779" y="131"/>
                  <a:pt x="774" y="133"/>
                  <a:pt x="770" y="138"/>
                </a:cubicBezTo>
                <a:cubicBezTo>
                  <a:pt x="770" y="139"/>
                  <a:pt x="769" y="139"/>
                  <a:pt x="769" y="140"/>
                </a:cubicBezTo>
                <a:cubicBezTo>
                  <a:pt x="769" y="140"/>
                  <a:pt x="768" y="140"/>
                  <a:pt x="768" y="140"/>
                </a:cubicBezTo>
                <a:close/>
                <a:moveTo>
                  <a:pt x="876" y="33"/>
                </a:moveTo>
                <a:cubicBezTo>
                  <a:pt x="876" y="31"/>
                  <a:pt x="876" y="29"/>
                  <a:pt x="876" y="28"/>
                </a:cubicBezTo>
                <a:cubicBezTo>
                  <a:pt x="876" y="26"/>
                  <a:pt x="876" y="26"/>
                  <a:pt x="874" y="26"/>
                </a:cubicBezTo>
                <a:cubicBezTo>
                  <a:pt x="873" y="26"/>
                  <a:pt x="871" y="26"/>
                  <a:pt x="870" y="26"/>
                </a:cubicBezTo>
                <a:cubicBezTo>
                  <a:pt x="867" y="26"/>
                  <a:pt x="867" y="26"/>
                  <a:pt x="867" y="29"/>
                </a:cubicBezTo>
                <a:cubicBezTo>
                  <a:pt x="867" y="45"/>
                  <a:pt x="867" y="61"/>
                  <a:pt x="867" y="77"/>
                </a:cubicBezTo>
                <a:cubicBezTo>
                  <a:pt x="867" y="77"/>
                  <a:pt x="867" y="78"/>
                  <a:pt x="867" y="78"/>
                </a:cubicBezTo>
                <a:cubicBezTo>
                  <a:pt x="867" y="79"/>
                  <a:pt x="868" y="79"/>
                  <a:pt x="868" y="79"/>
                </a:cubicBezTo>
                <a:cubicBezTo>
                  <a:pt x="870" y="79"/>
                  <a:pt x="873" y="79"/>
                  <a:pt x="875" y="79"/>
                </a:cubicBezTo>
                <a:cubicBezTo>
                  <a:pt x="876" y="79"/>
                  <a:pt x="876" y="79"/>
                  <a:pt x="876" y="78"/>
                </a:cubicBezTo>
                <a:cubicBezTo>
                  <a:pt x="876" y="77"/>
                  <a:pt x="876" y="77"/>
                  <a:pt x="876" y="76"/>
                </a:cubicBezTo>
                <a:cubicBezTo>
                  <a:pt x="876" y="68"/>
                  <a:pt x="876" y="59"/>
                  <a:pt x="876" y="51"/>
                </a:cubicBezTo>
                <a:cubicBezTo>
                  <a:pt x="876" y="50"/>
                  <a:pt x="876" y="48"/>
                  <a:pt x="876" y="47"/>
                </a:cubicBezTo>
                <a:cubicBezTo>
                  <a:pt x="876" y="44"/>
                  <a:pt x="877" y="41"/>
                  <a:pt x="879" y="39"/>
                </a:cubicBezTo>
                <a:cubicBezTo>
                  <a:pt x="882" y="34"/>
                  <a:pt x="886" y="32"/>
                  <a:pt x="892" y="32"/>
                </a:cubicBezTo>
                <a:cubicBezTo>
                  <a:pt x="896" y="33"/>
                  <a:pt x="899" y="35"/>
                  <a:pt x="901" y="39"/>
                </a:cubicBezTo>
                <a:cubicBezTo>
                  <a:pt x="901" y="40"/>
                  <a:pt x="901" y="40"/>
                  <a:pt x="902" y="41"/>
                </a:cubicBezTo>
                <a:cubicBezTo>
                  <a:pt x="902" y="44"/>
                  <a:pt x="903" y="47"/>
                  <a:pt x="903" y="49"/>
                </a:cubicBezTo>
                <a:cubicBezTo>
                  <a:pt x="903" y="58"/>
                  <a:pt x="903" y="67"/>
                  <a:pt x="903" y="76"/>
                </a:cubicBezTo>
                <a:cubicBezTo>
                  <a:pt x="903" y="76"/>
                  <a:pt x="903" y="77"/>
                  <a:pt x="903" y="78"/>
                </a:cubicBezTo>
                <a:cubicBezTo>
                  <a:pt x="903" y="79"/>
                  <a:pt x="903" y="79"/>
                  <a:pt x="904" y="79"/>
                </a:cubicBezTo>
                <a:cubicBezTo>
                  <a:pt x="906" y="79"/>
                  <a:pt x="907" y="79"/>
                  <a:pt x="909" y="79"/>
                </a:cubicBezTo>
                <a:cubicBezTo>
                  <a:pt x="911" y="79"/>
                  <a:pt x="911" y="79"/>
                  <a:pt x="911" y="77"/>
                </a:cubicBezTo>
                <a:cubicBezTo>
                  <a:pt x="911" y="77"/>
                  <a:pt x="911" y="77"/>
                  <a:pt x="911" y="76"/>
                </a:cubicBezTo>
                <a:cubicBezTo>
                  <a:pt x="911" y="67"/>
                  <a:pt x="911" y="57"/>
                  <a:pt x="911" y="47"/>
                </a:cubicBezTo>
                <a:cubicBezTo>
                  <a:pt x="911" y="46"/>
                  <a:pt x="911" y="44"/>
                  <a:pt x="911" y="43"/>
                </a:cubicBezTo>
                <a:cubicBezTo>
                  <a:pt x="911" y="39"/>
                  <a:pt x="910" y="36"/>
                  <a:pt x="908" y="33"/>
                </a:cubicBezTo>
                <a:cubicBezTo>
                  <a:pt x="906" y="29"/>
                  <a:pt x="903" y="27"/>
                  <a:pt x="898" y="26"/>
                </a:cubicBezTo>
                <a:cubicBezTo>
                  <a:pt x="896" y="25"/>
                  <a:pt x="894" y="25"/>
                  <a:pt x="892" y="25"/>
                </a:cubicBezTo>
                <a:cubicBezTo>
                  <a:pt x="886" y="25"/>
                  <a:pt x="882" y="28"/>
                  <a:pt x="878" y="32"/>
                </a:cubicBezTo>
                <a:cubicBezTo>
                  <a:pt x="877" y="33"/>
                  <a:pt x="877" y="34"/>
                  <a:pt x="876" y="35"/>
                </a:cubicBezTo>
                <a:cubicBezTo>
                  <a:pt x="876" y="34"/>
                  <a:pt x="876" y="33"/>
                  <a:pt x="876" y="33"/>
                </a:cubicBezTo>
                <a:close/>
                <a:moveTo>
                  <a:pt x="324" y="179"/>
                </a:moveTo>
                <a:cubicBezTo>
                  <a:pt x="324" y="181"/>
                  <a:pt x="324" y="182"/>
                  <a:pt x="324" y="183"/>
                </a:cubicBezTo>
                <a:cubicBezTo>
                  <a:pt x="324" y="184"/>
                  <a:pt x="324" y="184"/>
                  <a:pt x="325" y="184"/>
                </a:cubicBezTo>
                <a:cubicBezTo>
                  <a:pt x="327" y="184"/>
                  <a:pt x="328" y="184"/>
                  <a:pt x="330" y="184"/>
                </a:cubicBezTo>
                <a:cubicBezTo>
                  <a:pt x="333" y="184"/>
                  <a:pt x="333" y="185"/>
                  <a:pt x="333" y="181"/>
                </a:cubicBezTo>
                <a:cubicBezTo>
                  <a:pt x="333" y="166"/>
                  <a:pt x="333" y="150"/>
                  <a:pt x="333" y="135"/>
                </a:cubicBezTo>
                <a:cubicBezTo>
                  <a:pt x="333" y="131"/>
                  <a:pt x="333" y="132"/>
                  <a:pt x="329" y="132"/>
                </a:cubicBezTo>
                <a:cubicBezTo>
                  <a:pt x="328" y="132"/>
                  <a:pt x="326" y="132"/>
                  <a:pt x="325" y="132"/>
                </a:cubicBezTo>
                <a:cubicBezTo>
                  <a:pt x="324" y="132"/>
                  <a:pt x="324" y="132"/>
                  <a:pt x="324" y="132"/>
                </a:cubicBezTo>
                <a:cubicBezTo>
                  <a:pt x="324" y="133"/>
                  <a:pt x="324" y="134"/>
                  <a:pt x="324" y="135"/>
                </a:cubicBezTo>
                <a:cubicBezTo>
                  <a:pt x="324" y="143"/>
                  <a:pt x="324" y="151"/>
                  <a:pt x="324" y="160"/>
                </a:cubicBezTo>
                <a:cubicBezTo>
                  <a:pt x="324" y="161"/>
                  <a:pt x="324" y="163"/>
                  <a:pt x="324" y="164"/>
                </a:cubicBezTo>
                <a:cubicBezTo>
                  <a:pt x="324" y="166"/>
                  <a:pt x="323" y="169"/>
                  <a:pt x="322" y="171"/>
                </a:cubicBezTo>
                <a:cubicBezTo>
                  <a:pt x="319" y="178"/>
                  <a:pt x="312" y="180"/>
                  <a:pt x="306" y="178"/>
                </a:cubicBezTo>
                <a:cubicBezTo>
                  <a:pt x="303" y="177"/>
                  <a:pt x="301" y="176"/>
                  <a:pt x="300" y="173"/>
                </a:cubicBezTo>
                <a:cubicBezTo>
                  <a:pt x="299" y="172"/>
                  <a:pt x="299" y="171"/>
                  <a:pt x="298" y="170"/>
                </a:cubicBezTo>
                <a:cubicBezTo>
                  <a:pt x="298" y="167"/>
                  <a:pt x="297" y="165"/>
                  <a:pt x="297" y="162"/>
                </a:cubicBezTo>
                <a:cubicBezTo>
                  <a:pt x="297" y="153"/>
                  <a:pt x="297" y="144"/>
                  <a:pt x="297" y="135"/>
                </a:cubicBezTo>
                <a:cubicBezTo>
                  <a:pt x="297" y="134"/>
                  <a:pt x="297" y="133"/>
                  <a:pt x="297" y="132"/>
                </a:cubicBezTo>
                <a:cubicBezTo>
                  <a:pt x="297" y="132"/>
                  <a:pt x="297" y="132"/>
                  <a:pt x="297" y="132"/>
                </a:cubicBezTo>
                <a:cubicBezTo>
                  <a:pt x="296" y="132"/>
                  <a:pt x="296" y="132"/>
                  <a:pt x="296" y="132"/>
                </a:cubicBezTo>
                <a:cubicBezTo>
                  <a:pt x="294" y="132"/>
                  <a:pt x="292" y="132"/>
                  <a:pt x="290" y="132"/>
                </a:cubicBezTo>
                <a:cubicBezTo>
                  <a:pt x="289" y="132"/>
                  <a:pt x="289" y="132"/>
                  <a:pt x="289" y="133"/>
                </a:cubicBezTo>
                <a:cubicBezTo>
                  <a:pt x="289" y="133"/>
                  <a:pt x="289" y="134"/>
                  <a:pt x="289" y="134"/>
                </a:cubicBezTo>
                <a:cubicBezTo>
                  <a:pt x="289" y="144"/>
                  <a:pt x="289" y="154"/>
                  <a:pt x="289" y="163"/>
                </a:cubicBezTo>
                <a:cubicBezTo>
                  <a:pt x="289" y="165"/>
                  <a:pt x="289" y="166"/>
                  <a:pt x="289" y="168"/>
                </a:cubicBezTo>
                <a:cubicBezTo>
                  <a:pt x="289" y="171"/>
                  <a:pt x="290" y="174"/>
                  <a:pt x="291" y="176"/>
                </a:cubicBezTo>
                <a:cubicBezTo>
                  <a:pt x="293" y="181"/>
                  <a:pt x="296" y="183"/>
                  <a:pt x="301" y="185"/>
                </a:cubicBezTo>
                <a:cubicBezTo>
                  <a:pt x="304" y="186"/>
                  <a:pt x="307" y="186"/>
                  <a:pt x="310" y="186"/>
                </a:cubicBezTo>
                <a:cubicBezTo>
                  <a:pt x="315" y="185"/>
                  <a:pt x="319" y="183"/>
                  <a:pt x="322" y="178"/>
                </a:cubicBezTo>
                <a:cubicBezTo>
                  <a:pt x="323" y="178"/>
                  <a:pt x="323" y="177"/>
                  <a:pt x="324" y="177"/>
                </a:cubicBezTo>
                <a:cubicBezTo>
                  <a:pt x="324" y="178"/>
                  <a:pt x="324" y="178"/>
                  <a:pt x="324" y="179"/>
                </a:cubicBezTo>
                <a:close/>
                <a:moveTo>
                  <a:pt x="550" y="140"/>
                </a:moveTo>
                <a:cubicBezTo>
                  <a:pt x="550" y="139"/>
                  <a:pt x="550" y="138"/>
                  <a:pt x="550" y="137"/>
                </a:cubicBezTo>
                <a:cubicBezTo>
                  <a:pt x="550" y="136"/>
                  <a:pt x="550" y="134"/>
                  <a:pt x="550" y="133"/>
                </a:cubicBezTo>
                <a:cubicBezTo>
                  <a:pt x="550" y="132"/>
                  <a:pt x="550" y="132"/>
                  <a:pt x="549" y="132"/>
                </a:cubicBezTo>
                <a:cubicBezTo>
                  <a:pt x="547" y="132"/>
                  <a:pt x="545" y="132"/>
                  <a:pt x="543" y="132"/>
                </a:cubicBezTo>
                <a:cubicBezTo>
                  <a:pt x="541" y="132"/>
                  <a:pt x="541" y="132"/>
                  <a:pt x="541" y="133"/>
                </a:cubicBezTo>
                <a:cubicBezTo>
                  <a:pt x="541" y="133"/>
                  <a:pt x="541" y="134"/>
                  <a:pt x="541" y="135"/>
                </a:cubicBezTo>
                <a:cubicBezTo>
                  <a:pt x="541" y="150"/>
                  <a:pt x="541" y="166"/>
                  <a:pt x="541" y="182"/>
                </a:cubicBezTo>
                <a:cubicBezTo>
                  <a:pt x="541" y="182"/>
                  <a:pt x="541" y="183"/>
                  <a:pt x="541" y="183"/>
                </a:cubicBezTo>
                <a:cubicBezTo>
                  <a:pt x="541" y="184"/>
                  <a:pt x="542" y="184"/>
                  <a:pt x="542" y="184"/>
                </a:cubicBezTo>
                <a:cubicBezTo>
                  <a:pt x="544" y="184"/>
                  <a:pt x="545" y="184"/>
                  <a:pt x="547" y="184"/>
                </a:cubicBezTo>
                <a:cubicBezTo>
                  <a:pt x="550" y="184"/>
                  <a:pt x="550" y="185"/>
                  <a:pt x="550" y="181"/>
                </a:cubicBezTo>
                <a:cubicBezTo>
                  <a:pt x="550" y="173"/>
                  <a:pt x="550" y="164"/>
                  <a:pt x="550" y="155"/>
                </a:cubicBezTo>
                <a:cubicBezTo>
                  <a:pt x="550" y="153"/>
                  <a:pt x="550" y="151"/>
                  <a:pt x="551" y="148"/>
                </a:cubicBezTo>
                <a:cubicBezTo>
                  <a:pt x="552" y="143"/>
                  <a:pt x="557" y="137"/>
                  <a:pt x="566" y="138"/>
                </a:cubicBezTo>
                <a:cubicBezTo>
                  <a:pt x="570" y="138"/>
                  <a:pt x="573" y="140"/>
                  <a:pt x="575" y="144"/>
                </a:cubicBezTo>
                <a:cubicBezTo>
                  <a:pt x="575" y="145"/>
                  <a:pt x="575" y="146"/>
                  <a:pt x="576" y="146"/>
                </a:cubicBezTo>
                <a:cubicBezTo>
                  <a:pt x="576" y="149"/>
                  <a:pt x="577" y="152"/>
                  <a:pt x="577" y="155"/>
                </a:cubicBezTo>
                <a:cubicBezTo>
                  <a:pt x="577" y="163"/>
                  <a:pt x="577" y="172"/>
                  <a:pt x="577" y="181"/>
                </a:cubicBezTo>
                <a:cubicBezTo>
                  <a:pt x="577" y="182"/>
                  <a:pt x="577" y="182"/>
                  <a:pt x="577" y="183"/>
                </a:cubicBezTo>
                <a:cubicBezTo>
                  <a:pt x="577" y="184"/>
                  <a:pt x="577" y="184"/>
                  <a:pt x="578" y="184"/>
                </a:cubicBezTo>
                <a:cubicBezTo>
                  <a:pt x="579" y="184"/>
                  <a:pt x="581" y="184"/>
                  <a:pt x="583" y="184"/>
                </a:cubicBezTo>
                <a:cubicBezTo>
                  <a:pt x="585" y="184"/>
                  <a:pt x="585" y="184"/>
                  <a:pt x="585" y="182"/>
                </a:cubicBezTo>
                <a:cubicBezTo>
                  <a:pt x="585" y="172"/>
                  <a:pt x="585" y="162"/>
                  <a:pt x="585" y="151"/>
                </a:cubicBezTo>
                <a:cubicBezTo>
                  <a:pt x="585" y="150"/>
                  <a:pt x="585" y="149"/>
                  <a:pt x="585" y="148"/>
                </a:cubicBezTo>
                <a:cubicBezTo>
                  <a:pt x="585" y="145"/>
                  <a:pt x="584" y="142"/>
                  <a:pt x="582" y="139"/>
                </a:cubicBezTo>
                <a:cubicBezTo>
                  <a:pt x="580" y="135"/>
                  <a:pt x="577" y="132"/>
                  <a:pt x="572" y="131"/>
                </a:cubicBezTo>
                <a:cubicBezTo>
                  <a:pt x="570" y="130"/>
                  <a:pt x="568" y="130"/>
                  <a:pt x="566" y="130"/>
                </a:cubicBezTo>
                <a:cubicBezTo>
                  <a:pt x="560" y="131"/>
                  <a:pt x="555" y="133"/>
                  <a:pt x="552" y="138"/>
                </a:cubicBezTo>
                <a:cubicBezTo>
                  <a:pt x="551" y="138"/>
                  <a:pt x="551" y="139"/>
                  <a:pt x="550" y="140"/>
                </a:cubicBezTo>
                <a:cubicBezTo>
                  <a:pt x="550" y="140"/>
                  <a:pt x="550" y="140"/>
                  <a:pt x="550" y="140"/>
                </a:cubicBezTo>
                <a:close/>
                <a:moveTo>
                  <a:pt x="206" y="107"/>
                </a:moveTo>
                <a:cubicBezTo>
                  <a:pt x="206" y="106"/>
                  <a:pt x="206" y="106"/>
                  <a:pt x="205" y="106"/>
                </a:cubicBezTo>
                <a:cubicBezTo>
                  <a:pt x="203" y="105"/>
                  <a:pt x="201" y="105"/>
                  <a:pt x="199" y="105"/>
                </a:cubicBezTo>
                <a:cubicBezTo>
                  <a:pt x="192" y="106"/>
                  <a:pt x="188" y="109"/>
                  <a:pt x="185" y="115"/>
                </a:cubicBezTo>
                <a:cubicBezTo>
                  <a:pt x="184" y="117"/>
                  <a:pt x="183" y="120"/>
                  <a:pt x="183" y="122"/>
                </a:cubicBezTo>
                <a:cubicBezTo>
                  <a:pt x="183" y="124"/>
                  <a:pt x="183" y="126"/>
                  <a:pt x="183" y="128"/>
                </a:cubicBezTo>
                <a:cubicBezTo>
                  <a:pt x="183" y="129"/>
                  <a:pt x="183" y="130"/>
                  <a:pt x="183" y="130"/>
                </a:cubicBezTo>
                <a:cubicBezTo>
                  <a:pt x="183" y="132"/>
                  <a:pt x="183" y="132"/>
                  <a:pt x="182" y="132"/>
                </a:cubicBezTo>
                <a:cubicBezTo>
                  <a:pt x="181" y="132"/>
                  <a:pt x="181" y="132"/>
                  <a:pt x="181" y="132"/>
                </a:cubicBezTo>
                <a:cubicBezTo>
                  <a:pt x="179" y="132"/>
                  <a:pt x="177" y="132"/>
                  <a:pt x="175" y="132"/>
                </a:cubicBezTo>
                <a:cubicBezTo>
                  <a:pt x="175" y="132"/>
                  <a:pt x="174" y="132"/>
                  <a:pt x="174" y="133"/>
                </a:cubicBezTo>
                <a:cubicBezTo>
                  <a:pt x="174" y="134"/>
                  <a:pt x="174" y="136"/>
                  <a:pt x="174" y="138"/>
                </a:cubicBezTo>
                <a:cubicBezTo>
                  <a:pt x="174" y="139"/>
                  <a:pt x="175" y="139"/>
                  <a:pt x="175" y="139"/>
                </a:cubicBezTo>
                <a:cubicBezTo>
                  <a:pt x="175" y="139"/>
                  <a:pt x="176" y="139"/>
                  <a:pt x="176" y="139"/>
                </a:cubicBezTo>
                <a:cubicBezTo>
                  <a:pt x="178" y="139"/>
                  <a:pt x="180" y="139"/>
                  <a:pt x="182" y="139"/>
                </a:cubicBezTo>
                <a:cubicBezTo>
                  <a:pt x="183" y="139"/>
                  <a:pt x="183" y="139"/>
                  <a:pt x="183" y="140"/>
                </a:cubicBezTo>
                <a:cubicBezTo>
                  <a:pt x="183" y="141"/>
                  <a:pt x="183" y="141"/>
                  <a:pt x="183" y="142"/>
                </a:cubicBezTo>
                <a:cubicBezTo>
                  <a:pt x="183" y="155"/>
                  <a:pt x="183" y="168"/>
                  <a:pt x="183" y="181"/>
                </a:cubicBezTo>
                <a:cubicBezTo>
                  <a:pt x="183" y="182"/>
                  <a:pt x="183" y="183"/>
                  <a:pt x="183" y="183"/>
                </a:cubicBezTo>
                <a:cubicBezTo>
                  <a:pt x="183" y="184"/>
                  <a:pt x="183" y="184"/>
                  <a:pt x="184" y="184"/>
                </a:cubicBezTo>
                <a:cubicBezTo>
                  <a:pt x="186" y="184"/>
                  <a:pt x="188" y="184"/>
                  <a:pt x="191" y="184"/>
                </a:cubicBezTo>
                <a:cubicBezTo>
                  <a:pt x="191" y="184"/>
                  <a:pt x="192" y="184"/>
                  <a:pt x="192" y="184"/>
                </a:cubicBezTo>
                <a:cubicBezTo>
                  <a:pt x="192" y="183"/>
                  <a:pt x="192" y="182"/>
                  <a:pt x="192" y="181"/>
                </a:cubicBezTo>
                <a:cubicBezTo>
                  <a:pt x="192" y="168"/>
                  <a:pt x="192" y="155"/>
                  <a:pt x="192" y="142"/>
                </a:cubicBezTo>
                <a:cubicBezTo>
                  <a:pt x="192" y="141"/>
                  <a:pt x="192" y="141"/>
                  <a:pt x="192" y="140"/>
                </a:cubicBezTo>
                <a:cubicBezTo>
                  <a:pt x="192" y="139"/>
                  <a:pt x="192" y="139"/>
                  <a:pt x="193" y="139"/>
                </a:cubicBezTo>
                <a:cubicBezTo>
                  <a:pt x="195" y="139"/>
                  <a:pt x="198" y="139"/>
                  <a:pt x="200" y="139"/>
                </a:cubicBezTo>
                <a:cubicBezTo>
                  <a:pt x="201" y="139"/>
                  <a:pt x="203" y="139"/>
                  <a:pt x="204" y="139"/>
                </a:cubicBezTo>
                <a:cubicBezTo>
                  <a:pt x="204" y="137"/>
                  <a:pt x="204" y="136"/>
                  <a:pt x="204" y="135"/>
                </a:cubicBezTo>
                <a:cubicBezTo>
                  <a:pt x="204" y="131"/>
                  <a:pt x="204" y="132"/>
                  <a:pt x="201" y="132"/>
                </a:cubicBezTo>
                <a:cubicBezTo>
                  <a:pt x="198" y="132"/>
                  <a:pt x="195" y="132"/>
                  <a:pt x="193" y="132"/>
                </a:cubicBezTo>
                <a:cubicBezTo>
                  <a:pt x="192" y="132"/>
                  <a:pt x="192" y="131"/>
                  <a:pt x="192" y="131"/>
                </a:cubicBezTo>
                <a:cubicBezTo>
                  <a:pt x="192" y="128"/>
                  <a:pt x="192" y="125"/>
                  <a:pt x="192" y="122"/>
                </a:cubicBezTo>
                <a:cubicBezTo>
                  <a:pt x="192" y="121"/>
                  <a:pt x="192" y="120"/>
                  <a:pt x="192" y="118"/>
                </a:cubicBezTo>
                <a:cubicBezTo>
                  <a:pt x="194" y="115"/>
                  <a:pt x="196" y="113"/>
                  <a:pt x="200" y="112"/>
                </a:cubicBezTo>
                <a:cubicBezTo>
                  <a:pt x="202" y="112"/>
                  <a:pt x="204" y="113"/>
                  <a:pt x="206" y="114"/>
                </a:cubicBezTo>
                <a:cubicBezTo>
                  <a:pt x="206" y="111"/>
                  <a:pt x="206" y="109"/>
                  <a:pt x="206" y="107"/>
                </a:cubicBezTo>
                <a:close/>
                <a:moveTo>
                  <a:pt x="522" y="69"/>
                </a:moveTo>
                <a:cubicBezTo>
                  <a:pt x="522" y="71"/>
                  <a:pt x="522" y="74"/>
                  <a:pt x="522" y="76"/>
                </a:cubicBezTo>
                <a:cubicBezTo>
                  <a:pt x="522" y="77"/>
                  <a:pt x="522" y="77"/>
                  <a:pt x="523" y="78"/>
                </a:cubicBezTo>
                <a:cubicBezTo>
                  <a:pt x="523" y="78"/>
                  <a:pt x="524" y="78"/>
                  <a:pt x="525" y="79"/>
                </a:cubicBezTo>
                <a:cubicBezTo>
                  <a:pt x="530" y="80"/>
                  <a:pt x="534" y="81"/>
                  <a:pt x="539" y="80"/>
                </a:cubicBezTo>
                <a:cubicBezTo>
                  <a:pt x="541" y="80"/>
                  <a:pt x="543" y="79"/>
                  <a:pt x="545" y="78"/>
                </a:cubicBezTo>
                <a:cubicBezTo>
                  <a:pt x="551" y="75"/>
                  <a:pt x="554" y="70"/>
                  <a:pt x="554" y="64"/>
                </a:cubicBezTo>
                <a:cubicBezTo>
                  <a:pt x="554" y="60"/>
                  <a:pt x="552" y="57"/>
                  <a:pt x="550" y="55"/>
                </a:cubicBezTo>
                <a:cubicBezTo>
                  <a:pt x="549" y="54"/>
                  <a:pt x="547" y="53"/>
                  <a:pt x="546" y="52"/>
                </a:cubicBezTo>
                <a:cubicBezTo>
                  <a:pt x="544" y="51"/>
                  <a:pt x="542" y="50"/>
                  <a:pt x="540" y="49"/>
                </a:cubicBezTo>
                <a:cubicBezTo>
                  <a:pt x="537" y="48"/>
                  <a:pt x="535" y="47"/>
                  <a:pt x="533" y="46"/>
                </a:cubicBezTo>
                <a:cubicBezTo>
                  <a:pt x="530" y="44"/>
                  <a:pt x="529" y="37"/>
                  <a:pt x="534" y="34"/>
                </a:cubicBezTo>
                <a:cubicBezTo>
                  <a:pt x="535" y="33"/>
                  <a:pt x="535" y="33"/>
                  <a:pt x="536" y="33"/>
                </a:cubicBezTo>
                <a:cubicBezTo>
                  <a:pt x="540" y="32"/>
                  <a:pt x="544" y="33"/>
                  <a:pt x="548" y="34"/>
                </a:cubicBezTo>
                <a:cubicBezTo>
                  <a:pt x="549" y="34"/>
                  <a:pt x="550" y="35"/>
                  <a:pt x="551" y="36"/>
                </a:cubicBezTo>
                <a:cubicBezTo>
                  <a:pt x="552" y="34"/>
                  <a:pt x="551" y="33"/>
                  <a:pt x="552" y="32"/>
                </a:cubicBezTo>
                <a:cubicBezTo>
                  <a:pt x="552" y="31"/>
                  <a:pt x="551" y="30"/>
                  <a:pt x="552" y="29"/>
                </a:cubicBezTo>
                <a:cubicBezTo>
                  <a:pt x="552" y="28"/>
                  <a:pt x="551" y="27"/>
                  <a:pt x="550" y="27"/>
                </a:cubicBezTo>
                <a:cubicBezTo>
                  <a:pt x="544" y="25"/>
                  <a:pt x="539" y="24"/>
                  <a:pt x="533" y="26"/>
                </a:cubicBezTo>
                <a:cubicBezTo>
                  <a:pt x="530" y="27"/>
                  <a:pt x="527" y="29"/>
                  <a:pt x="525" y="31"/>
                </a:cubicBezTo>
                <a:cubicBezTo>
                  <a:pt x="520" y="37"/>
                  <a:pt x="520" y="47"/>
                  <a:pt x="527" y="52"/>
                </a:cubicBezTo>
                <a:cubicBezTo>
                  <a:pt x="529" y="53"/>
                  <a:pt x="532" y="55"/>
                  <a:pt x="534" y="56"/>
                </a:cubicBezTo>
                <a:cubicBezTo>
                  <a:pt x="536" y="57"/>
                  <a:pt x="538" y="58"/>
                  <a:pt x="540" y="59"/>
                </a:cubicBezTo>
                <a:cubicBezTo>
                  <a:pt x="541" y="60"/>
                  <a:pt x="542" y="60"/>
                  <a:pt x="543" y="61"/>
                </a:cubicBezTo>
                <a:cubicBezTo>
                  <a:pt x="546" y="63"/>
                  <a:pt x="546" y="70"/>
                  <a:pt x="541" y="72"/>
                </a:cubicBezTo>
                <a:cubicBezTo>
                  <a:pt x="541" y="72"/>
                  <a:pt x="540" y="73"/>
                  <a:pt x="539" y="73"/>
                </a:cubicBezTo>
                <a:cubicBezTo>
                  <a:pt x="534" y="74"/>
                  <a:pt x="529" y="73"/>
                  <a:pt x="524" y="70"/>
                </a:cubicBezTo>
                <a:cubicBezTo>
                  <a:pt x="523" y="69"/>
                  <a:pt x="523" y="69"/>
                  <a:pt x="522" y="68"/>
                </a:cubicBezTo>
                <a:cubicBezTo>
                  <a:pt x="522" y="69"/>
                  <a:pt x="522" y="69"/>
                  <a:pt x="522" y="69"/>
                </a:cubicBezTo>
                <a:close/>
                <a:moveTo>
                  <a:pt x="249" y="76"/>
                </a:moveTo>
                <a:cubicBezTo>
                  <a:pt x="249" y="77"/>
                  <a:pt x="249" y="77"/>
                  <a:pt x="250" y="78"/>
                </a:cubicBezTo>
                <a:cubicBezTo>
                  <a:pt x="250" y="78"/>
                  <a:pt x="251" y="78"/>
                  <a:pt x="252" y="79"/>
                </a:cubicBezTo>
                <a:cubicBezTo>
                  <a:pt x="256" y="80"/>
                  <a:pt x="261" y="81"/>
                  <a:pt x="266" y="80"/>
                </a:cubicBezTo>
                <a:cubicBezTo>
                  <a:pt x="269" y="80"/>
                  <a:pt x="272" y="79"/>
                  <a:pt x="274" y="77"/>
                </a:cubicBezTo>
                <a:cubicBezTo>
                  <a:pt x="278" y="75"/>
                  <a:pt x="280" y="72"/>
                  <a:pt x="281" y="68"/>
                </a:cubicBezTo>
                <a:cubicBezTo>
                  <a:pt x="282" y="62"/>
                  <a:pt x="280" y="57"/>
                  <a:pt x="275" y="54"/>
                </a:cubicBezTo>
                <a:cubicBezTo>
                  <a:pt x="274" y="53"/>
                  <a:pt x="273" y="52"/>
                  <a:pt x="272" y="52"/>
                </a:cubicBezTo>
                <a:cubicBezTo>
                  <a:pt x="270" y="51"/>
                  <a:pt x="268" y="50"/>
                  <a:pt x="267" y="49"/>
                </a:cubicBezTo>
                <a:cubicBezTo>
                  <a:pt x="264" y="48"/>
                  <a:pt x="262" y="47"/>
                  <a:pt x="260" y="46"/>
                </a:cubicBezTo>
                <a:cubicBezTo>
                  <a:pt x="257" y="43"/>
                  <a:pt x="256" y="37"/>
                  <a:pt x="260" y="34"/>
                </a:cubicBezTo>
                <a:cubicBezTo>
                  <a:pt x="261" y="33"/>
                  <a:pt x="262" y="33"/>
                  <a:pt x="263" y="33"/>
                </a:cubicBezTo>
                <a:cubicBezTo>
                  <a:pt x="265" y="32"/>
                  <a:pt x="267" y="32"/>
                  <a:pt x="269" y="33"/>
                </a:cubicBezTo>
                <a:cubicBezTo>
                  <a:pt x="272" y="33"/>
                  <a:pt x="275" y="34"/>
                  <a:pt x="277" y="35"/>
                </a:cubicBezTo>
                <a:cubicBezTo>
                  <a:pt x="278" y="36"/>
                  <a:pt x="278" y="36"/>
                  <a:pt x="278" y="35"/>
                </a:cubicBezTo>
                <a:cubicBezTo>
                  <a:pt x="278" y="33"/>
                  <a:pt x="278" y="31"/>
                  <a:pt x="278" y="29"/>
                </a:cubicBezTo>
                <a:cubicBezTo>
                  <a:pt x="279" y="28"/>
                  <a:pt x="278" y="27"/>
                  <a:pt x="277" y="27"/>
                </a:cubicBezTo>
                <a:cubicBezTo>
                  <a:pt x="272" y="25"/>
                  <a:pt x="268" y="25"/>
                  <a:pt x="263" y="25"/>
                </a:cubicBezTo>
                <a:cubicBezTo>
                  <a:pt x="260" y="26"/>
                  <a:pt x="258" y="27"/>
                  <a:pt x="256" y="28"/>
                </a:cubicBezTo>
                <a:cubicBezTo>
                  <a:pt x="251" y="31"/>
                  <a:pt x="248" y="36"/>
                  <a:pt x="249" y="42"/>
                </a:cubicBezTo>
                <a:cubicBezTo>
                  <a:pt x="249" y="46"/>
                  <a:pt x="250" y="49"/>
                  <a:pt x="254" y="52"/>
                </a:cubicBezTo>
                <a:cubicBezTo>
                  <a:pt x="256" y="53"/>
                  <a:pt x="258" y="54"/>
                  <a:pt x="260" y="55"/>
                </a:cubicBezTo>
                <a:cubicBezTo>
                  <a:pt x="262" y="56"/>
                  <a:pt x="264" y="57"/>
                  <a:pt x="267" y="59"/>
                </a:cubicBezTo>
                <a:cubicBezTo>
                  <a:pt x="268" y="59"/>
                  <a:pt x="269" y="60"/>
                  <a:pt x="270" y="60"/>
                </a:cubicBezTo>
                <a:cubicBezTo>
                  <a:pt x="272" y="62"/>
                  <a:pt x="272" y="65"/>
                  <a:pt x="272" y="67"/>
                </a:cubicBezTo>
                <a:cubicBezTo>
                  <a:pt x="272" y="70"/>
                  <a:pt x="270" y="71"/>
                  <a:pt x="268" y="72"/>
                </a:cubicBezTo>
                <a:cubicBezTo>
                  <a:pt x="267" y="72"/>
                  <a:pt x="267" y="73"/>
                  <a:pt x="266" y="73"/>
                </a:cubicBezTo>
                <a:cubicBezTo>
                  <a:pt x="261" y="74"/>
                  <a:pt x="256" y="73"/>
                  <a:pt x="251" y="70"/>
                </a:cubicBezTo>
                <a:cubicBezTo>
                  <a:pt x="250" y="70"/>
                  <a:pt x="250" y="69"/>
                  <a:pt x="249" y="68"/>
                </a:cubicBezTo>
                <a:cubicBezTo>
                  <a:pt x="249" y="71"/>
                  <a:pt x="249" y="74"/>
                  <a:pt x="249" y="76"/>
                </a:cubicBezTo>
                <a:close/>
                <a:moveTo>
                  <a:pt x="934" y="11"/>
                </a:moveTo>
                <a:cubicBezTo>
                  <a:pt x="932" y="12"/>
                  <a:pt x="930" y="13"/>
                  <a:pt x="927" y="13"/>
                </a:cubicBezTo>
                <a:cubicBezTo>
                  <a:pt x="927" y="13"/>
                  <a:pt x="926" y="14"/>
                  <a:pt x="926" y="15"/>
                </a:cubicBezTo>
                <a:cubicBezTo>
                  <a:pt x="926" y="18"/>
                  <a:pt x="926" y="20"/>
                  <a:pt x="926" y="23"/>
                </a:cubicBezTo>
                <a:cubicBezTo>
                  <a:pt x="926" y="27"/>
                  <a:pt x="927" y="26"/>
                  <a:pt x="923" y="26"/>
                </a:cubicBezTo>
                <a:cubicBezTo>
                  <a:pt x="921" y="26"/>
                  <a:pt x="919" y="26"/>
                  <a:pt x="917" y="27"/>
                </a:cubicBezTo>
                <a:cubicBezTo>
                  <a:pt x="917" y="29"/>
                  <a:pt x="917" y="30"/>
                  <a:pt x="917" y="32"/>
                </a:cubicBezTo>
                <a:cubicBezTo>
                  <a:pt x="917" y="33"/>
                  <a:pt x="917" y="34"/>
                  <a:pt x="918" y="34"/>
                </a:cubicBezTo>
                <a:cubicBezTo>
                  <a:pt x="921" y="34"/>
                  <a:pt x="923" y="34"/>
                  <a:pt x="925" y="34"/>
                </a:cubicBezTo>
                <a:cubicBezTo>
                  <a:pt x="926" y="34"/>
                  <a:pt x="926" y="34"/>
                  <a:pt x="926" y="35"/>
                </a:cubicBezTo>
                <a:cubicBezTo>
                  <a:pt x="926" y="35"/>
                  <a:pt x="926" y="36"/>
                  <a:pt x="926" y="37"/>
                </a:cubicBezTo>
                <a:cubicBezTo>
                  <a:pt x="926" y="46"/>
                  <a:pt x="926" y="55"/>
                  <a:pt x="926" y="64"/>
                </a:cubicBezTo>
                <a:cubicBezTo>
                  <a:pt x="926" y="66"/>
                  <a:pt x="926" y="68"/>
                  <a:pt x="927" y="70"/>
                </a:cubicBezTo>
                <a:cubicBezTo>
                  <a:pt x="928" y="74"/>
                  <a:pt x="930" y="78"/>
                  <a:pt x="935" y="79"/>
                </a:cubicBezTo>
                <a:cubicBezTo>
                  <a:pt x="938" y="81"/>
                  <a:pt x="942" y="81"/>
                  <a:pt x="946" y="79"/>
                </a:cubicBezTo>
                <a:cubicBezTo>
                  <a:pt x="947" y="79"/>
                  <a:pt x="947" y="79"/>
                  <a:pt x="947" y="79"/>
                </a:cubicBezTo>
                <a:cubicBezTo>
                  <a:pt x="948" y="79"/>
                  <a:pt x="948" y="78"/>
                  <a:pt x="948" y="78"/>
                </a:cubicBezTo>
                <a:cubicBezTo>
                  <a:pt x="948" y="76"/>
                  <a:pt x="948" y="74"/>
                  <a:pt x="948" y="72"/>
                </a:cubicBezTo>
                <a:cubicBezTo>
                  <a:pt x="947" y="72"/>
                  <a:pt x="947" y="72"/>
                  <a:pt x="946" y="72"/>
                </a:cubicBezTo>
                <a:cubicBezTo>
                  <a:pt x="944" y="73"/>
                  <a:pt x="942" y="73"/>
                  <a:pt x="940" y="73"/>
                </a:cubicBezTo>
                <a:cubicBezTo>
                  <a:pt x="938" y="72"/>
                  <a:pt x="936" y="71"/>
                  <a:pt x="935" y="68"/>
                </a:cubicBezTo>
                <a:cubicBezTo>
                  <a:pt x="935" y="66"/>
                  <a:pt x="935" y="64"/>
                  <a:pt x="935" y="62"/>
                </a:cubicBezTo>
                <a:cubicBezTo>
                  <a:pt x="935" y="54"/>
                  <a:pt x="935" y="45"/>
                  <a:pt x="935" y="36"/>
                </a:cubicBezTo>
                <a:cubicBezTo>
                  <a:pt x="935" y="33"/>
                  <a:pt x="935" y="34"/>
                  <a:pt x="938" y="34"/>
                </a:cubicBezTo>
                <a:cubicBezTo>
                  <a:pt x="941" y="34"/>
                  <a:pt x="944" y="34"/>
                  <a:pt x="947" y="34"/>
                </a:cubicBezTo>
                <a:cubicBezTo>
                  <a:pt x="948" y="34"/>
                  <a:pt x="948" y="33"/>
                  <a:pt x="948" y="32"/>
                </a:cubicBezTo>
                <a:cubicBezTo>
                  <a:pt x="948" y="31"/>
                  <a:pt x="948" y="29"/>
                  <a:pt x="948" y="28"/>
                </a:cubicBezTo>
                <a:cubicBezTo>
                  <a:pt x="948" y="27"/>
                  <a:pt x="948" y="26"/>
                  <a:pt x="947" y="26"/>
                </a:cubicBezTo>
                <a:cubicBezTo>
                  <a:pt x="944" y="26"/>
                  <a:pt x="940" y="26"/>
                  <a:pt x="937" y="26"/>
                </a:cubicBezTo>
                <a:cubicBezTo>
                  <a:pt x="937" y="26"/>
                  <a:pt x="936" y="26"/>
                  <a:pt x="935" y="26"/>
                </a:cubicBezTo>
                <a:cubicBezTo>
                  <a:pt x="935" y="26"/>
                  <a:pt x="935" y="26"/>
                  <a:pt x="935" y="26"/>
                </a:cubicBezTo>
                <a:cubicBezTo>
                  <a:pt x="935" y="25"/>
                  <a:pt x="935" y="24"/>
                  <a:pt x="935" y="23"/>
                </a:cubicBezTo>
                <a:cubicBezTo>
                  <a:pt x="935" y="19"/>
                  <a:pt x="935" y="15"/>
                  <a:pt x="935" y="11"/>
                </a:cubicBezTo>
                <a:cubicBezTo>
                  <a:pt x="934" y="11"/>
                  <a:pt x="934" y="11"/>
                  <a:pt x="934" y="11"/>
                </a:cubicBezTo>
                <a:close/>
                <a:moveTo>
                  <a:pt x="452" y="177"/>
                </a:moveTo>
                <a:cubicBezTo>
                  <a:pt x="450" y="178"/>
                  <a:pt x="448" y="178"/>
                  <a:pt x="446" y="178"/>
                </a:cubicBezTo>
                <a:cubicBezTo>
                  <a:pt x="444" y="178"/>
                  <a:pt x="442" y="176"/>
                  <a:pt x="441" y="174"/>
                </a:cubicBezTo>
                <a:cubicBezTo>
                  <a:pt x="441" y="174"/>
                  <a:pt x="441" y="173"/>
                  <a:pt x="441" y="172"/>
                </a:cubicBezTo>
                <a:cubicBezTo>
                  <a:pt x="441" y="170"/>
                  <a:pt x="441" y="169"/>
                  <a:pt x="441" y="167"/>
                </a:cubicBezTo>
                <a:cubicBezTo>
                  <a:pt x="441" y="159"/>
                  <a:pt x="441" y="150"/>
                  <a:pt x="441" y="142"/>
                </a:cubicBezTo>
                <a:cubicBezTo>
                  <a:pt x="441" y="141"/>
                  <a:pt x="441" y="140"/>
                  <a:pt x="441" y="140"/>
                </a:cubicBezTo>
                <a:cubicBezTo>
                  <a:pt x="441" y="139"/>
                  <a:pt x="441" y="139"/>
                  <a:pt x="442" y="139"/>
                </a:cubicBezTo>
                <a:cubicBezTo>
                  <a:pt x="444" y="139"/>
                  <a:pt x="446" y="139"/>
                  <a:pt x="448" y="139"/>
                </a:cubicBezTo>
                <a:cubicBezTo>
                  <a:pt x="450" y="139"/>
                  <a:pt x="452" y="139"/>
                  <a:pt x="454" y="139"/>
                </a:cubicBezTo>
                <a:cubicBezTo>
                  <a:pt x="454" y="137"/>
                  <a:pt x="454" y="135"/>
                  <a:pt x="454" y="133"/>
                </a:cubicBezTo>
                <a:cubicBezTo>
                  <a:pt x="454" y="132"/>
                  <a:pt x="454" y="132"/>
                  <a:pt x="452" y="132"/>
                </a:cubicBezTo>
                <a:cubicBezTo>
                  <a:pt x="449" y="132"/>
                  <a:pt x="446" y="132"/>
                  <a:pt x="443" y="132"/>
                </a:cubicBezTo>
                <a:cubicBezTo>
                  <a:pt x="442" y="132"/>
                  <a:pt x="442" y="132"/>
                  <a:pt x="441" y="132"/>
                </a:cubicBezTo>
                <a:cubicBezTo>
                  <a:pt x="441" y="132"/>
                  <a:pt x="441" y="131"/>
                  <a:pt x="441" y="131"/>
                </a:cubicBezTo>
                <a:cubicBezTo>
                  <a:pt x="441" y="131"/>
                  <a:pt x="441" y="130"/>
                  <a:pt x="441" y="129"/>
                </a:cubicBezTo>
                <a:cubicBezTo>
                  <a:pt x="441" y="126"/>
                  <a:pt x="441" y="122"/>
                  <a:pt x="441" y="119"/>
                </a:cubicBezTo>
                <a:cubicBezTo>
                  <a:pt x="441" y="118"/>
                  <a:pt x="441" y="117"/>
                  <a:pt x="440" y="116"/>
                </a:cubicBezTo>
                <a:cubicBezTo>
                  <a:pt x="438" y="117"/>
                  <a:pt x="436" y="118"/>
                  <a:pt x="433" y="118"/>
                </a:cubicBezTo>
                <a:cubicBezTo>
                  <a:pt x="432" y="119"/>
                  <a:pt x="432" y="119"/>
                  <a:pt x="432" y="120"/>
                </a:cubicBezTo>
                <a:cubicBezTo>
                  <a:pt x="432" y="124"/>
                  <a:pt x="432" y="127"/>
                  <a:pt x="432" y="130"/>
                </a:cubicBezTo>
                <a:cubicBezTo>
                  <a:pt x="432" y="132"/>
                  <a:pt x="432" y="132"/>
                  <a:pt x="431" y="132"/>
                </a:cubicBezTo>
                <a:cubicBezTo>
                  <a:pt x="429" y="132"/>
                  <a:pt x="426" y="132"/>
                  <a:pt x="424" y="132"/>
                </a:cubicBezTo>
                <a:cubicBezTo>
                  <a:pt x="423" y="132"/>
                  <a:pt x="423" y="132"/>
                  <a:pt x="423" y="133"/>
                </a:cubicBezTo>
                <a:cubicBezTo>
                  <a:pt x="423" y="135"/>
                  <a:pt x="423" y="136"/>
                  <a:pt x="423" y="138"/>
                </a:cubicBezTo>
                <a:cubicBezTo>
                  <a:pt x="423" y="139"/>
                  <a:pt x="423" y="139"/>
                  <a:pt x="424" y="139"/>
                </a:cubicBezTo>
                <a:cubicBezTo>
                  <a:pt x="426" y="139"/>
                  <a:pt x="428" y="139"/>
                  <a:pt x="430" y="139"/>
                </a:cubicBezTo>
                <a:cubicBezTo>
                  <a:pt x="432" y="139"/>
                  <a:pt x="432" y="139"/>
                  <a:pt x="432" y="141"/>
                </a:cubicBezTo>
                <a:cubicBezTo>
                  <a:pt x="432" y="151"/>
                  <a:pt x="432" y="160"/>
                  <a:pt x="432" y="169"/>
                </a:cubicBezTo>
                <a:cubicBezTo>
                  <a:pt x="432" y="171"/>
                  <a:pt x="432" y="173"/>
                  <a:pt x="432" y="175"/>
                </a:cubicBezTo>
                <a:cubicBezTo>
                  <a:pt x="434" y="181"/>
                  <a:pt x="437" y="185"/>
                  <a:pt x="444" y="185"/>
                </a:cubicBezTo>
                <a:cubicBezTo>
                  <a:pt x="447" y="186"/>
                  <a:pt x="450" y="186"/>
                  <a:pt x="453" y="184"/>
                </a:cubicBezTo>
                <a:cubicBezTo>
                  <a:pt x="454" y="184"/>
                  <a:pt x="454" y="184"/>
                  <a:pt x="454" y="183"/>
                </a:cubicBezTo>
                <a:cubicBezTo>
                  <a:pt x="454" y="181"/>
                  <a:pt x="454" y="179"/>
                  <a:pt x="454" y="177"/>
                </a:cubicBezTo>
                <a:cubicBezTo>
                  <a:pt x="453" y="177"/>
                  <a:pt x="453" y="177"/>
                  <a:pt x="452" y="177"/>
                </a:cubicBezTo>
                <a:close/>
                <a:moveTo>
                  <a:pt x="151" y="70"/>
                </a:moveTo>
                <a:cubicBezTo>
                  <a:pt x="149" y="72"/>
                  <a:pt x="146" y="73"/>
                  <a:pt x="143" y="73"/>
                </a:cubicBezTo>
                <a:cubicBezTo>
                  <a:pt x="134" y="74"/>
                  <a:pt x="126" y="70"/>
                  <a:pt x="123" y="60"/>
                </a:cubicBezTo>
                <a:cubicBezTo>
                  <a:pt x="122" y="57"/>
                  <a:pt x="122" y="53"/>
                  <a:pt x="123" y="49"/>
                </a:cubicBezTo>
                <a:cubicBezTo>
                  <a:pt x="123" y="45"/>
                  <a:pt x="125" y="41"/>
                  <a:pt x="128" y="38"/>
                </a:cubicBezTo>
                <a:cubicBezTo>
                  <a:pt x="130" y="35"/>
                  <a:pt x="133" y="33"/>
                  <a:pt x="137" y="33"/>
                </a:cubicBezTo>
                <a:cubicBezTo>
                  <a:pt x="142" y="32"/>
                  <a:pt x="146" y="33"/>
                  <a:pt x="151" y="35"/>
                </a:cubicBezTo>
                <a:cubicBezTo>
                  <a:pt x="151" y="35"/>
                  <a:pt x="152" y="36"/>
                  <a:pt x="153" y="36"/>
                </a:cubicBezTo>
                <a:cubicBezTo>
                  <a:pt x="153" y="36"/>
                  <a:pt x="153" y="35"/>
                  <a:pt x="153" y="35"/>
                </a:cubicBezTo>
                <a:cubicBezTo>
                  <a:pt x="153" y="33"/>
                  <a:pt x="153" y="31"/>
                  <a:pt x="153" y="30"/>
                </a:cubicBezTo>
                <a:cubicBezTo>
                  <a:pt x="154" y="28"/>
                  <a:pt x="153" y="27"/>
                  <a:pt x="152" y="27"/>
                </a:cubicBezTo>
                <a:cubicBezTo>
                  <a:pt x="151" y="27"/>
                  <a:pt x="150" y="26"/>
                  <a:pt x="150" y="26"/>
                </a:cubicBezTo>
                <a:cubicBezTo>
                  <a:pt x="145" y="25"/>
                  <a:pt x="140" y="25"/>
                  <a:pt x="135" y="26"/>
                </a:cubicBezTo>
                <a:cubicBezTo>
                  <a:pt x="126" y="27"/>
                  <a:pt x="120" y="33"/>
                  <a:pt x="116" y="41"/>
                </a:cubicBezTo>
                <a:cubicBezTo>
                  <a:pt x="113" y="48"/>
                  <a:pt x="113" y="55"/>
                  <a:pt x="115" y="63"/>
                </a:cubicBezTo>
                <a:cubicBezTo>
                  <a:pt x="117" y="71"/>
                  <a:pt x="122" y="76"/>
                  <a:pt x="130" y="79"/>
                </a:cubicBezTo>
                <a:cubicBezTo>
                  <a:pt x="135" y="81"/>
                  <a:pt x="139" y="81"/>
                  <a:pt x="143" y="80"/>
                </a:cubicBezTo>
                <a:cubicBezTo>
                  <a:pt x="146" y="80"/>
                  <a:pt x="149" y="79"/>
                  <a:pt x="152" y="77"/>
                </a:cubicBezTo>
                <a:cubicBezTo>
                  <a:pt x="153" y="77"/>
                  <a:pt x="153" y="77"/>
                  <a:pt x="153" y="76"/>
                </a:cubicBezTo>
                <a:cubicBezTo>
                  <a:pt x="153" y="74"/>
                  <a:pt x="153" y="71"/>
                  <a:pt x="153" y="69"/>
                </a:cubicBezTo>
                <a:cubicBezTo>
                  <a:pt x="152" y="69"/>
                  <a:pt x="152" y="70"/>
                  <a:pt x="151" y="70"/>
                </a:cubicBezTo>
                <a:close/>
                <a:moveTo>
                  <a:pt x="586" y="72"/>
                </a:moveTo>
                <a:cubicBezTo>
                  <a:pt x="584" y="73"/>
                  <a:pt x="582" y="73"/>
                  <a:pt x="580" y="73"/>
                </a:cubicBezTo>
                <a:cubicBezTo>
                  <a:pt x="577" y="72"/>
                  <a:pt x="575" y="71"/>
                  <a:pt x="575" y="68"/>
                </a:cubicBezTo>
                <a:cubicBezTo>
                  <a:pt x="574" y="66"/>
                  <a:pt x="574" y="65"/>
                  <a:pt x="574" y="63"/>
                </a:cubicBezTo>
                <a:cubicBezTo>
                  <a:pt x="574" y="55"/>
                  <a:pt x="574" y="47"/>
                  <a:pt x="574" y="39"/>
                </a:cubicBezTo>
                <a:cubicBezTo>
                  <a:pt x="574" y="38"/>
                  <a:pt x="574" y="37"/>
                  <a:pt x="574" y="35"/>
                </a:cubicBezTo>
                <a:cubicBezTo>
                  <a:pt x="574" y="34"/>
                  <a:pt x="574" y="34"/>
                  <a:pt x="576" y="34"/>
                </a:cubicBezTo>
                <a:cubicBezTo>
                  <a:pt x="578" y="34"/>
                  <a:pt x="581" y="34"/>
                  <a:pt x="583" y="34"/>
                </a:cubicBezTo>
                <a:cubicBezTo>
                  <a:pt x="584" y="34"/>
                  <a:pt x="585" y="34"/>
                  <a:pt x="586" y="34"/>
                </a:cubicBezTo>
                <a:cubicBezTo>
                  <a:pt x="587" y="34"/>
                  <a:pt x="587" y="33"/>
                  <a:pt x="587" y="33"/>
                </a:cubicBezTo>
                <a:cubicBezTo>
                  <a:pt x="587" y="31"/>
                  <a:pt x="587" y="29"/>
                  <a:pt x="587" y="28"/>
                </a:cubicBezTo>
                <a:cubicBezTo>
                  <a:pt x="587" y="27"/>
                  <a:pt x="587" y="26"/>
                  <a:pt x="586" y="26"/>
                </a:cubicBezTo>
                <a:cubicBezTo>
                  <a:pt x="582" y="26"/>
                  <a:pt x="579" y="26"/>
                  <a:pt x="575" y="26"/>
                </a:cubicBezTo>
                <a:cubicBezTo>
                  <a:pt x="574" y="26"/>
                  <a:pt x="574" y="26"/>
                  <a:pt x="574" y="25"/>
                </a:cubicBezTo>
                <a:cubicBezTo>
                  <a:pt x="574" y="21"/>
                  <a:pt x="574" y="17"/>
                  <a:pt x="574" y="13"/>
                </a:cubicBezTo>
                <a:cubicBezTo>
                  <a:pt x="574" y="12"/>
                  <a:pt x="574" y="11"/>
                  <a:pt x="574" y="11"/>
                </a:cubicBezTo>
                <a:cubicBezTo>
                  <a:pt x="571" y="12"/>
                  <a:pt x="569" y="12"/>
                  <a:pt x="567" y="13"/>
                </a:cubicBezTo>
                <a:cubicBezTo>
                  <a:pt x="566" y="14"/>
                  <a:pt x="566" y="14"/>
                  <a:pt x="566" y="15"/>
                </a:cubicBezTo>
                <a:cubicBezTo>
                  <a:pt x="566" y="18"/>
                  <a:pt x="566" y="20"/>
                  <a:pt x="566" y="23"/>
                </a:cubicBezTo>
                <a:cubicBezTo>
                  <a:pt x="566" y="27"/>
                  <a:pt x="566" y="26"/>
                  <a:pt x="562" y="26"/>
                </a:cubicBezTo>
                <a:cubicBezTo>
                  <a:pt x="560" y="26"/>
                  <a:pt x="559" y="26"/>
                  <a:pt x="557" y="27"/>
                </a:cubicBezTo>
                <a:cubicBezTo>
                  <a:pt x="556" y="29"/>
                  <a:pt x="557" y="31"/>
                  <a:pt x="557" y="32"/>
                </a:cubicBezTo>
                <a:cubicBezTo>
                  <a:pt x="557" y="33"/>
                  <a:pt x="557" y="34"/>
                  <a:pt x="558" y="34"/>
                </a:cubicBezTo>
                <a:cubicBezTo>
                  <a:pt x="560" y="34"/>
                  <a:pt x="562" y="34"/>
                  <a:pt x="564" y="34"/>
                </a:cubicBezTo>
                <a:cubicBezTo>
                  <a:pt x="566" y="34"/>
                  <a:pt x="566" y="34"/>
                  <a:pt x="566" y="36"/>
                </a:cubicBezTo>
                <a:cubicBezTo>
                  <a:pt x="566" y="36"/>
                  <a:pt x="566" y="37"/>
                  <a:pt x="566" y="37"/>
                </a:cubicBezTo>
                <a:cubicBezTo>
                  <a:pt x="566" y="46"/>
                  <a:pt x="566" y="54"/>
                  <a:pt x="566" y="63"/>
                </a:cubicBezTo>
                <a:cubicBezTo>
                  <a:pt x="566" y="65"/>
                  <a:pt x="566" y="66"/>
                  <a:pt x="566" y="68"/>
                </a:cubicBezTo>
                <a:cubicBezTo>
                  <a:pt x="566" y="70"/>
                  <a:pt x="566" y="72"/>
                  <a:pt x="567" y="74"/>
                </a:cubicBezTo>
                <a:cubicBezTo>
                  <a:pt x="569" y="76"/>
                  <a:pt x="571" y="78"/>
                  <a:pt x="573" y="79"/>
                </a:cubicBezTo>
                <a:cubicBezTo>
                  <a:pt x="574" y="80"/>
                  <a:pt x="576" y="80"/>
                  <a:pt x="577" y="80"/>
                </a:cubicBezTo>
                <a:cubicBezTo>
                  <a:pt x="580" y="81"/>
                  <a:pt x="583" y="80"/>
                  <a:pt x="586" y="79"/>
                </a:cubicBezTo>
                <a:cubicBezTo>
                  <a:pt x="587" y="79"/>
                  <a:pt x="587" y="78"/>
                  <a:pt x="587" y="77"/>
                </a:cubicBezTo>
                <a:cubicBezTo>
                  <a:pt x="587" y="76"/>
                  <a:pt x="587" y="74"/>
                  <a:pt x="587" y="72"/>
                </a:cubicBezTo>
                <a:cubicBezTo>
                  <a:pt x="587" y="72"/>
                  <a:pt x="586" y="72"/>
                  <a:pt x="586" y="72"/>
                </a:cubicBezTo>
                <a:close/>
                <a:moveTo>
                  <a:pt x="1189" y="7"/>
                </a:moveTo>
                <a:cubicBezTo>
                  <a:pt x="1189" y="6"/>
                  <a:pt x="1189" y="5"/>
                  <a:pt x="1189" y="4"/>
                </a:cubicBezTo>
                <a:cubicBezTo>
                  <a:pt x="1189" y="4"/>
                  <a:pt x="1189" y="4"/>
                  <a:pt x="1189" y="4"/>
                </a:cubicBezTo>
                <a:cubicBezTo>
                  <a:pt x="1187" y="4"/>
                  <a:pt x="1186" y="4"/>
                  <a:pt x="1185" y="5"/>
                </a:cubicBezTo>
                <a:cubicBezTo>
                  <a:pt x="1184" y="6"/>
                  <a:pt x="1182" y="7"/>
                  <a:pt x="1181" y="8"/>
                </a:cubicBezTo>
                <a:cubicBezTo>
                  <a:pt x="1176" y="11"/>
                  <a:pt x="1171" y="13"/>
                  <a:pt x="1165" y="15"/>
                </a:cubicBezTo>
                <a:cubicBezTo>
                  <a:pt x="1164" y="15"/>
                  <a:pt x="1164" y="16"/>
                  <a:pt x="1164" y="17"/>
                </a:cubicBezTo>
                <a:cubicBezTo>
                  <a:pt x="1164" y="19"/>
                  <a:pt x="1164" y="21"/>
                  <a:pt x="1164" y="23"/>
                </a:cubicBezTo>
                <a:cubicBezTo>
                  <a:pt x="1164" y="24"/>
                  <a:pt x="1164" y="24"/>
                  <a:pt x="1165" y="24"/>
                </a:cubicBezTo>
                <a:cubicBezTo>
                  <a:pt x="1170" y="22"/>
                  <a:pt x="1175" y="20"/>
                  <a:pt x="1180" y="17"/>
                </a:cubicBezTo>
                <a:cubicBezTo>
                  <a:pt x="1180" y="16"/>
                  <a:pt x="1180" y="16"/>
                  <a:pt x="1181" y="16"/>
                </a:cubicBezTo>
                <a:cubicBezTo>
                  <a:pt x="1181" y="16"/>
                  <a:pt x="1181" y="17"/>
                  <a:pt x="1181" y="17"/>
                </a:cubicBezTo>
                <a:cubicBezTo>
                  <a:pt x="1181" y="18"/>
                  <a:pt x="1181" y="18"/>
                  <a:pt x="1181" y="19"/>
                </a:cubicBezTo>
                <a:cubicBezTo>
                  <a:pt x="1181" y="38"/>
                  <a:pt x="1181" y="57"/>
                  <a:pt x="1181" y="76"/>
                </a:cubicBezTo>
                <a:cubicBezTo>
                  <a:pt x="1181" y="76"/>
                  <a:pt x="1181" y="77"/>
                  <a:pt x="1181" y="78"/>
                </a:cubicBezTo>
                <a:cubicBezTo>
                  <a:pt x="1181" y="79"/>
                  <a:pt x="1181" y="79"/>
                  <a:pt x="1182" y="79"/>
                </a:cubicBezTo>
                <a:cubicBezTo>
                  <a:pt x="1184" y="79"/>
                  <a:pt x="1185" y="79"/>
                  <a:pt x="1187" y="79"/>
                </a:cubicBezTo>
                <a:cubicBezTo>
                  <a:pt x="1189" y="79"/>
                  <a:pt x="1189" y="79"/>
                  <a:pt x="1189" y="77"/>
                </a:cubicBezTo>
                <a:cubicBezTo>
                  <a:pt x="1189" y="65"/>
                  <a:pt x="1189" y="53"/>
                  <a:pt x="1189" y="41"/>
                </a:cubicBezTo>
                <a:cubicBezTo>
                  <a:pt x="1189" y="30"/>
                  <a:pt x="1189" y="18"/>
                  <a:pt x="1189" y="7"/>
                </a:cubicBezTo>
                <a:close/>
                <a:moveTo>
                  <a:pt x="983" y="141"/>
                </a:moveTo>
                <a:cubicBezTo>
                  <a:pt x="983" y="139"/>
                  <a:pt x="983" y="137"/>
                  <a:pt x="983" y="135"/>
                </a:cubicBezTo>
                <a:cubicBezTo>
                  <a:pt x="983" y="134"/>
                  <a:pt x="983" y="133"/>
                  <a:pt x="983" y="133"/>
                </a:cubicBezTo>
                <a:cubicBezTo>
                  <a:pt x="983" y="132"/>
                  <a:pt x="983" y="132"/>
                  <a:pt x="982" y="132"/>
                </a:cubicBezTo>
                <a:cubicBezTo>
                  <a:pt x="981" y="132"/>
                  <a:pt x="979" y="132"/>
                  <a:pt x="978" y="132"/>
                </a:cubicBezTo>
                <a:cubicBezTo>
                  <a:pt x="975" y="132"/>
                  <a:pt x="975" y="131"/>
                  <a:pt x="975" y="134"/>
                </a:cubicBezTo>
                <a:cubicBezTo>
                  <a:pt x="975" y="150"/>
                  <a:pt x="975" y="166"/>
                  <a:pt x="975" y="182"/>
                </a:cubicBezTo>
                <a:cubicBezTo>
                  <a:pt x="975" y="182"/>
                  <a:pt x="975" y="183"/>
                  <a:pt x="975" y="183"/>
                </a:cubicBezTo>
                <a:cubicBezTo>
                  <a:pt x="975" y="184"/>
                  <a:pt x="975" y="184"/>
                  <a:pt x="976" y="184"/>
                </a:cubicBezTo>
                <a:cubicBezTo>
                  <a:pt x="978" y="184"/>
                  <a:pt x="980" y="184"/>
                  <a:pt x="983" y="184"/>
                </a:cubicBezTo>
                <a:cubicBezTo>
                  <a:pt x="983" y="184"/>
                  <a:pt x="983" y="184"/>
                  <a:pt x="983" y="183"/>
                </a:cubicBezTo>
                <a:cubicBezTo>
                  <a:pt x="983" y="183"/>
                  <a:pt x="983" y="182"/>
                  <a:pt x="983" y="181"/>
                </a:cubicBezTo>
                <a:cubicBezTo>
                  <a:pt x="983" y="174"/>
                  <a:pt x="983" y="166"/>
                  <a:pt x="983" y="159"/>
                </a:cubicBezTo>
                <a:cubicBezTo>
                  <a:pt x="983" y="156"/>
                  <a:pt x="984" y="154"/>
                  <a:pt x="984" y="151"/>
                </a:cubicBezTo>
                <a:cubicBezTo>
                  <a:pt x="985" y="148"/>
                  <a:pt x="986" y="145"/>
                  <a:pt x="988" y="142"/>
                </a:cubicBezTo>
                <a:cubicBezTo>
                  <a:pt x="990" y="140"/>
                  <a:pt x="992" y="139"/>
                  <a:pt x="994" y="139"/>
                </a:cubicBezTo>
                <a:cubicBezTo>
                  <a:pt x="997" y="138"/>
                  <a:pt x="999" y="139"/>
                  <a:pt x="1001" y="139"/>
                </a:cubicBezTo>
                <a:cubicBezTo>
                  <a:pt x="1002" y="140"/>
                  <a:pt x="1002" y="140"/>
                  <a:pt x="1002" y="140"/>
                </a:cubicBezTo>
                <a:cubicBezTo>
                  <a:pt x="1002" y="137"/>
                  <a:pt x="1002" y="135"/>
                  <a:pt x="1002" y="132"/>
                </a:cubicBezTo>
                <a:cubicBezTo>
                  <a:pt x="1002" y="132"/>
                  <a:pt x="1002" y="131"/>
                  <a:pt x="1002" y="131"/>
                </a:cubicBezTo>
                <a:cubicBezTo>
                  <a:pt x="996" y="130"/>
                  <a:pt x="992" y="131"/>
                  <a:pt x="988" y="135"/>
                </a:cubicBezTo>
                <a:cubicBezTo>
                  <a:pt x="987" y="136"/>
                  <a:pt x="986" y="138"/>
                  <a:pt x="985" y="139"/>
                </a:cubicBezTo>
                <a:cubicBezTo>
                  <a:pt x="985" y="140"/>
                  <a:pt x="984" y="141"/>
                  <a:pt x="984" y="141"/>
                </a:cubicBezTo>
                <a:cubicBezTo>
                  <a:pt x="984" y="141"/>
                  <a:pt x="984" y="141"/>
                  <a:pt x="983" y="141"/>
                </a:cubicBezTo>
                <a:close/>
                <a:moveTo>
                  <a:pt x="163" y="29"/>
                </a:moveTo>
                <a:cubicBezTo>
                  <a:pt x="163" y="45"/>
                  <a:pt x="163" y="61"/>
                  <a:pt x="163" y="76"/>
                </a:cubicBezTo>
                <a:cubicBezTo>
                  <a:pt x="163" y="77"/>
                  <a:pt x="163" y="77"/>
                  <a:pt x="163" y="78"/>
                </a:cubicBezTo>
                <a:cubicBezTo>
                  <a:pt x="163" y="79"/>
                  <a:pt x="163" y="79"/>
                  <a:pt x="164" y="79"/>
                </a:cubicBezTo>
                <a:cubicBezTo>
                  <a:pt x="166" y="79"/>
                  <a:pt x="168" y="79"/>
                  <a:pt x="170" y="79"/>
                </a:cubicBezTo>
                <a:cubicBezTo>
                  <a:pt x="171" y="79"/>
                  <a:pt x="171" y="79"/>
                  <a:pt x="171" y="78"/>
                </a:cubicBezTo>
                <a:cubicBezTo>
                  <a:pt x="171" y="77"/>
                  <a:pt x="171" y="77"/>
                  <a:pt x="171" y="76"/>
                </a:cubicBezTo>
                <a:cubicBezTo>
                  <a:pt x="171" y="68"/>
                  <a:pt x="171" y="60"/>
                  <a:pt x="171" y="52"/>
                </a:cubicBezTo>
                <a:cubicBezTo>
                  <a:pt x="171" y="50"/>
                  <a:pt x="171" y="48"/>
                  <a:pt x="172" y="46"/>
                </a:cubicBezTo>
                <a:cubicBezTo>
                  <a:pt x="172" y="43"/>
                  <a:pt x="174" y="40"/>
                  <a:pt x="176" y="37"/>
                </a:cubicBezTo>
                <a:cubicBezTo>
                  <a:pt x="178" y="35"/>
                  <a:pt x="180" y="34"/>
                  <a:pt x="182" y="33"/>
                </a:cubicBezTo>
                <a:cubicBezTo>
                  <a:pt x="185" y="33"/>
                  <a:pt x="187" y="33"/>
                  <a:pt x="189" y="34"/>
                </a:cubicBezTo>
                <a:cubicBezTo>
                  <a:pt x="189" y="34"/>
                  <a:pt x="190" y="35"/>
                  <a:pt x="190" y="34"/>
                </a:cubicBezTo>
                <a:cubicBezTo>
                  <a:pt x="190" y="32"/>
                  <a:pt x="190" y="30"/>
                  <a:pt x="190" y="28"/>
                </a:cubicBezTo>
                <a:cubicBezTo>
                  <a:pt x="190" y="26"/>
                  <a:pt x="190" y="26"/>
                  <a:pt x="188" y="26"/>
                </a:cubicBezTo>
                <a:cubicBezTo>
                  <a:pt x="187" y="26"/>
                  <a:pt x="187" y="26"/>
                  <a:pt x="186" y="26"/>
                </a:cubicBezTo>
                <a:cubicBezTo>
                  <a:pt x="182" y="25"/>
                  <a:pt x="178" y="27"/>
                  <a:pt x="175" y="30"/>
                </a:cubicBezTo>
                <a:cubicBezTo>
                  <a:pt x="174" y="31"/>
                  <a:pt x="173" y="33"/>
                  <a:pt x="172" y="35"/>
                </a:cubicBezTo>
                <a:cubicBezTo>
                  <a:pt x="172" y="36"/>
                  <a:pt x="172" y="36"/>
                  <a:pt x="171" y="36"/>
                </a:cubicBezTo>
                <a:cubicBezTo>
                  <a:pt x="171" y="35"/>
                  <a:pt x="171" y="34"/>
                  <a:pt x="171" y="33"/>
                </a:cubicBezTo>
                <a:cubicBezTo>
                  <a:pt x="171" y="31"/>
                  <a:pt x="171" y="29"/>
                  <a:pt x="171" y="27"/>
                </a:cubicBezTo>
                <a:cubicBezTo>
                  <a:pt x="171" y="27"/>
                  <a:pt x="171" y="26"/>
                  <a:pt x="170" y="26"/>
                </a:cubicBezTo>
                <a:cubicBezTo>
                  <a:pt x="168" y="26"/>
                  <a:pt x="165" y="26"/>
                  <a:pt x="163" y="26"/>
                </a:cubicBezTo>
                <a:cubicBezTo>
                  <a:pt x="162" y="27"/>
                  <a:pt x="163" y="28"/>
                  <a:pt x="163" y="29"/>
                </a:cubicBezTo>
                <a:close/>
                <a:moveTo>
                  <a:pt x="355" y="133"/>
                </a:moveTo>
                <a:cubicBezTo>
                  <a:pt x="355" y="132"/>
                  <a:pt x="354" y="132"/>
                  <a:pt x="354" y="132"/>
                </a:cubicBezTo>
                <a:cubicBezTo>
                  <a:pt x="352" y="132"/>
                  <a:pt x="350" y="132"/>
                  <a:pt x="348" y="132"/>
                </a:cubicBezTo>
                <a:cubicBezTo>
                  <a:pt x="346" y="132"/>
                  <a:pt x="346" y="132"/>
                  <a:pt x="346" y="133"/>
                </a:cubicBezTo>
                <a:cubicBezTo>
                  <a:pt x="346" y="133"/>
                  <a:pt x="346" y="134"/>
                  <a:pt x="346" y="134"/>
                </a:cubicBezTo>
                <a:cubicBezTo>
                  <a:pt x="346" y="150"/>
                  <a:pt x="346" y="166"/>
                  <a:pt x="346" y="182"/>
                </a:cubicBezTo>
                <a:cubicBezTo>
                  <a:pt x="346" y="183"/>
                  <a:pt x="346" y="183"/>
                  <a:pt x="346" y="184"/>
                </a:cubicBezTo>
                <a:cubicBezTo>
                  <a:pt x="346" y="184"/>
                  <a:pt x="347" y="184"/>
                  <a:pt x="347" y="184"/>
                </a:cubicBezTo>
                <a:cubicBezTo>
                  <a:pt x="349" y="184"/>
                  <a:pt x="352" y="184"/>
                  <a:pt x="354" y="184"/>
                </a:cubicBezTo>
                <a:cubicBezTo>
                  <a:pt x="354" y="184"/>
                  <a:pt x="355" y="184"/>
                  <a:pt x="355" y="183"/>
                </a:cubicBezTo>
                <a:cubicBezTo>
                  <a:pt x="355" y="183"/>
                  <a:pt x="355" y="182"/>
                  <a:pt x="355" y="181"/>
                </a:cubicBezTo>
                <a:cubicBezTo>
                  <a:pt x="355" y="174"/>
                  <a:pt x="355" y="166"/>
                  <a:pt x="355" y="158"/>
                </a:cubicBezTo>
                <a:cubicBezTo>
                  <a:pt x="355" y="156"/>
                  <a:pt x="355" y="154"/>
                  <a:pt x="355" y="152"/>
                </a:cubicBezTo>
                <a:cubicBezTo>
                  <a:pt x="356" y="149"/>
                  <a:pt x="357" y="145"/>
                  <a:pt x="359" y="143"/>
                </a:cubicBezTo>
                <a:cubicBezTo>
                  <a:pt x="361" y="140"/>
                  <a:pt x="364" y="138"/>
                  <a:pt x="368" y="139"/>
                </a:cubicBezTo>
                <a:cubicBezTo>
                  <a:pt x="369" y="139"/>
                  <a:pt x="371" y="139"/>
                  <a:pt x="372" y="139"/>
                </a:cubicBezTo>
                <a:cubicBezTo>
                  <a:pt x="373" y="140"/>
                  <a:pt x="373" y="140"/>
                  <a:pt x="374" y="140"/>
                </a:cubicBezTo>
                <a:cubicBezTo>
                  <a:pt x="374" y="137"/>
                  <a:pt x="374" y="135"/>
                  <a:pt x="374" y="132"/>
                </a:cubicBezTo>
                <a:cubicBezTo>
                  <a:pt x="374" y="132"/>
                  <a:pt x="373" y="131"/>
                  <a:pt x="373" y="131"/>
                </a:cubicBezTo>
                <a:cubicBezTo>
                  <a:pt x="367" y="130"/>
                  <a:pt x="362" y="131"/>
                  <a:pt x="358" y="136"/>
                </a:cubicBezTo>
                <a:cubicBezTo>
                  <a:pt x="357" y="137"/>
                  <a:pt x="356" y="139"/>
                  <a:pt x="356" y="140"/>
                </a:cubicBezTo>
                <a:cubicBezTo>
                  <a:pt x="356" y="141"/>
                  <a:pt x="355" y="141"/>
                  <a:pt x="355" y="141"/>
                </a:cubicBezTo>
                <a:cubicBezTo>
                  <a:pt x="355" y="138"/>
                  <a:pt x="355" y="136"/>
                  <a:pt x="355" y="133"/>
                </a:cubicBezTo>
                <a:close/>
                <a:moveTo>
                  <a:pt x="1015" y="33"/>
                </a:moveTo>
                <a:cubicBezTo>
                  <a:pt x="1015" y="31"/>
                  <a:pt x="1015" y="29"/>
                  <a:pt x="1015" y="27"/>
                </a:cubicBezTo>
                <a:cubicBezTo>
                  <a:pt x="1015" y="27"/>
                  <a:pt x="1015" y="26"/>
                  <a:pt x="1014" y="26"/>
                </a:cubicBezTo>
                <a:cubicBezTo>
                  <a:pt x="1013" y="26"/>
                  <a:pt x="1011" y="26"/>
                  <a:pt x="1009" y="26"/>
                </a:cubicBezTo>
                <a:cubicBezTo>
                  <a:pt x="1007" y="26"/>
                  <a:pt x="1007" y="26"/>
                  <a:pt x="1007" y="29"/>
                </a:cubicBezTo>
                <a:cubicBezTo>
                  <a:pt x="1007" y="45"/>
                  <a:pt x="1007" y="61"/>
                  <a:pt x="1007" y="77"/>
                </a:cubicBezTo>
                <a:cubicBezTo>
                  <a:pt x="1007" y="77"/>
                  <a:pt x="1007" y="78"/>
                  <a:pt x="1007" y="78"/>
                </a:cubicBezTo>
                <a:cubicBezTo>
                  <a:pt x="1007" y="79"/>
                  <a:pt x="1007" y="79"/>
                  <a:pt x="1008" y="79"/>
                </a:cubicBezTo>
                <a:cubicBezTo>
                  <a:pt x="1010" y="79"/>
                  <a:pt x="1012" y="79"/>
                  <a:pt x="1014" y="79"/>
                </a:cubicBezTo>
                <a:cubicBezTo>
                  <a:pt x="1015" y="79"/>
                  <a:pt x="1015" y="79"/>
                  <a:pt x="1015" y="78"/>
                </a:cubicBezTo>
                <a:cubicBezTo>
                  <a:pt x="1015" y="77"/>
                  <a:pt x="1015" y="77"/>
                  <a:pt x="1015" y="76"/>
                </a:cubicBezTo>
                <a:cubicBezTo>
                  <a:pt x="1015" y="69"/>
                  <a:pt x="1015" y="61"/>
                  <a:pt x="1015" y="54"/>
                </a:cubicBezTo>
                <a:cubicBezTo>
                  <a:pt x="1015" y="51"/>
                  <a:pt x="1015" y="49"/>
                  <a:pt x="1016" y="47"/>
                </a:cubicBezTo>
                <a:cubicBezTo>
                  <a:pt x="1016" y="43"/>
                  <a:pt x="1017" y="40"/>
                  <a:pt x="1020" y="37"/>
                </a:cubicBezTo>
                <a:cubicBezTo>
                  <a:pt x="1021" y="35"/>
                  <a:pt x="1023" y="34"/>
                  <a:pt x="1026" y="33"/>
                </a:cubicBezTo>
                <a:cubicBezTo>
                  <a:pt x="1028" y="33"/>
                  <a:pt x="1031" y="33"/>
                  <a:pt x="1033" y="34"/>
                </a:cubicBezTo>
                <a:cubicBezTo>
                  <a:pt x="1033" y="34"/>
                  <a:pt x="1034" y="35"/>
                  <a:pt x="1034" y="34"/>
                </a:cubicBezTo>
                <a:cubicBezTo>
                  <a:pt x="1034" y="32"/>
                  <a:pt x="1034" y="30"/>
                  <a:pt x="1034" y="27"/>
                </a:cubicBezTo>
                <a:cubicBezTo>
                  <a:pt x="1034" y="26"/>
                  <a:pt x="1034" y="26"/>
                  <a:pt x="1033" y="26"/>
                </a:cubicBezTo>
                <a:cubicBezTo>
                  <a:pt x="1028" y="25"/>
                  <a:pt x="1023" y="26"/>
                  <a:pt x="1019" y="31"/>
                </a:cubicBezTo>
                <a:cubicBezTo>
                  <a:pt x="1018" y="32"/>
                  <a:pt x="1017" y="33"/>
                  <a:pt x="1016" y="35"/>
                </a:cubicBezTo>
                <a:cubicBezTo>
                  <a:pt x="1016" y="35"/>
                  <a:pt x="1016" y="36"/>
                  <a:pt x="1015" y="36"/>
                </a:cubicBezTo>
                <a:cubicBezTo>
                  <a:pt x="1015" y="35"/>
                  <a:pt x="1015" y="34"/>
                  <a:pt x="1015" y="33"/>
                </a:cubicBezTo>
                <a:close/>
                <a:moveTo>
                  <a:pt x="462" y="178"/>
                </a:moveTo>
                <a:cubicBezTo>
                  <a:pt x="462" y="180"/>
                  <a:pt x="461" y="182"/>
                  <a:pt x="462" y="184"/>
                </a:cubicBezTo>
                <a:cubicBezTo>
                  <a:pt x="464" y="185"/>
                  <a:pt x="466" y="184"/>
                  <a:pt x="469" y="184"/>
                </a:cubicBezTo>
                <a:cubicBezTo>
                  <a:pt x="469" y="184"/>
                  <a:pt x="469" y="184"/>
                  <a:pt x="469" y="184"/>
                </a:cubicBezTo>
                <a:cubicBezTo>
                  <a:pt x="470" y="184"/>
                  <a:pt x="470" y="184"/>
                  <a:pt x="470" y="183"/>
                </a:cubicBezTo>
                <a:cubicBezTo>
                  <a:pt x="470" y="183"/>
                  <a:pt x="470" y="182"/>
                  <a:pt x="470" y="181"/>
                </a:cubicBezTo>
                <a:cubicBezTo>
                  <a:pt x="470" y="167"/>
                  <a:pt x="470" y="153"/>
                  <a:pt x="470" y="139"/>
                </a:cubicBezTo>
                <a:cubicBezTo>
                  <a:pt x="470" y="136"/>
                  <a:pt x="471" y="134"/>
                  <a:pt x="470" y="132"/>
                </a:cubicBezTo>
                <a:cubicBezTo>
                  <a:pt x="467" y="131"/>
                  <a:pt x="465" y="132"/>
                  <a:pt x="463" y="132"/>
                </a:cubicBezTo>
                <a:cubicBezTo>
                  <a:pt x="463" y="132"/>
                  <a:pt x="463" y="132"/>
                  <a:pt x="463" y="132"/>
                </a:cubicBezTo>
                <a:cubicBezTo>
                  <a:pt x="462" y="132"/>
                  <a:pt x="462" y="132"/>
                  <a:pt x="462" y="133"/>
                </a:cubicBezTo>
                <a:cubicBezTo>
                  <a:pt x="462" y="133"/>
                  <a:pt x="462" y="134"/>
                  <a:pt x="462" y="135"/>
                </a:cubicBezTo>
                <a:cubicBezTo>
                  <a:pt x="462" y="143"/>
                  <a:pt x="462" y="150"/>
                  <a:pt x="462" y="158"/>
                </a:cubicBezTo>
                <a:cubicBezTo>
                  <a:pt x="462" y="165"/>
                  <a:pt x="462" y="171"/>
                  <a:pt x="462" y="178"/>
                </a:cubicBezTo>
                <a:close/>
                <a:moveTo>
                  <a:pt x="210" y="135"/>
                </a:moveTo>
                <a:cubicBezTo>
                  <a:pt x="210" y="149"/>
                  <a:pt x="210" y="164"/>
                  <a:pt x="210" y="178"/>
                </a:cubicBezTo>
                <a:cubicBezTo>
                  <a:pt x="210" y="180"/>
                  <a:pt x="210" y="181"/>
                  <a:pt x="210" y="183"/>
                </a:cubicBezTo>
                <a:cubicBezTo>
                  <a:pt x="210" y="184"/>
                  <a:pt x="210" y="184"/>
                  <a:pt x="211" y="184"/>
                </a:cubicBezTo>
                <a:cubicBezTo>
                  <a:pt x="213" y="184"/>
                  <a:pt x="214" y="184"/>
                  <a:pt x="216" y="184"/>
                </a:cubicBezTo>
                <a:cubicBezTo>
                  <a:pt x="218" y="184"/>
                  <a:pt x="218" y="184"/>
                  <a:pt x="218" y="182"/>
                </a:cubicBezTo>
                <a:cubicBezTo>
                  <a:pt x="218" y="166"/>
                  <a:pt x="218" y="150"/>
                  <a:pt x="218" y="134"/>
                </a:cubicBezTo>
                <a:cubicBezTo>
                  <a:pt x="218" y="133"/>
                  <a:pt x="218" y="133"/>
                  <a:pt x="218" y="133"/>
                </a:cubicBezTo>
                <a:cubicBezTo>
                  <a:pt x="218" y="132"/>
                  <a:pt x="218" y="132"/>
                  <a:pt x="217" y="132"/>
                </a:cubicBezTo>
                <a:cubicBezTo>
                  <a:pt x="215" y="132"/>
                  <a:pt x="212" y="132"/>
                  <a:pt x="210" y="132"/>
                </a:cubicBezTo>
                <a:cubicBezTo>
                  <a:pt x="209" y="133"/>
                  <a:pt x="210" y="134"/>
                  <a:pt x="210" y="135"/>
                </a:cubicBezTo>
                <a:close/>
                <a:moveTo>
                  <a:pt x="96" y="76"/>
                </a:moveTo>
                <a:cubicBezTo>
                  <a:pt x="96" y="77"/>
                  <a:pt x="96" y="78"/>
                  <a:pt x="96" y="78"/>
                </a:cubicBezTo>
                <a:cubicBezTo>
                  <a:pt x="96" y="79"/>
                  <a:pt x="96" y="79"/>
                  <a:pt x="96" y="79"/>
                </a:cubicBezTo>
                <a:cubicBezTo>
                  <a:pt x="99" y="79"/>
                  <a:pt x="101" y="79"/>
                  <a:pt x="103" y="79"/>
                </a:cubicBezTo>
                <a:cubicBezTo>
                  <a:pt x="104" y="79"/>
                  <a:pt x="104" y="79"/>
                  <a:pt x="104" y="78"/>
                </a:cubicBezTo>
                <a:cubicBezTo>
                  <a:pt x="104" y="77"/>
                  <a:pt x="104" y="77"/>
                  <a:pt x="104" y="76"/>
                </a:cubicBezTo>
                <a:cubicBezTo>
                  <a:pt x="104" y="62"/>
                  <a:pt x="104" y="47"/>
                  <a:pt x="104" y="33"/>
                </a:cubicBezTo>
                <a:cubicBezTo>
                  <a:pt x="104" y="31"/>
                  <a:pt x="104" y="29"/>
                  <a:pt x="104" y="27"/>
                </a:cubicBezTo>
                <a:cubicBezTo>
                  <a:pt x="102" y="26"/>
                  <a:pt x="99" y="27"/>
                  <a:pt x="97" y="26"/>
                </a:cubicBezTo>
                <a:cubicBezTo>
                  <a:pt x="97" y="26"/>
                  <a:pt x="97" y="26"/>
                  <a:pt x="96" y="26"/>
                </a:cubicBezTo>
                <a:cubicBezTo>
                  <a:pt x="96" y="26"/>
                  <a:pt x="96" y="27"/>
                  <a:pt x="96" y="27"/>
                </a:cubicBezTo>
                <a:cubicBezTo>
                  <a:pt x="96" y="28"/>
                  <a:pt x="96" y="29"/>
                  <a:pt x="96" y="29"/>
                </a:cubicBezTo>
                <a:cubicBezTo>
                  <a:pt x="96" y="37"/>
                  <a:pt x="96" y="45"/>
                  <a:pt x="96" y="52"/>
                </a:cubicBezTo>
                <a:cubicBezTo>
                  <a:pt x="96" y="60"/>
                  <a:pt x="96" y="68"/>
                  <a:pt x="96" y="76"/>
                </a:cubicBezTo>
                <a:close/>
                <a:moveTo>
                  <a:pt x="94" y="8"/>
                </a:moveTo>
                <a:cubicBezTo>
                  <a:pt x="94" y="11"/>
                  <a:pt x="97" y="13"/>
                  <a:pt x="100" y="13"/>
                </a:cubicBezTo>
                <a:cubicBezTo>
                  <a:pt x="103" y="13"/>
                  <a:pt x="105" y="11"/>
                  <a:pt x="106" y="8"/>
                </a:cubicBezTo>
                <a:cubicBezTo>
                  <a:pt x="106" y="5"/>
                  <a:pt x="103" y="2"/>
                  <a:pt x="100" y="2"/>
                </a:cubicBezTo>
                <a:cubicBezTo>
                  <a:pt x="97" y="2"/>
                  <a:pt x="94" y="5"/>
                  <a:pt x="94" y="8"/>
                </a:cubicBezTo>
                <a:close/>
                <a:moveTo>
                  <a:pt x="208" y="113"/>
                </a:moveTo>
                <a:cubicBezTo>
                  <a:pt x="208" y="116"/>
                  <a:pt x="211" y="118"/>
                  <a:pt x="214" y="118"/>
                </a:cubicBezTo>
                <a:cubicBezTo>
                  <a:pt x="217" y="119"/>
                  <a:pt x="220" y="116"/>
                  <a:pt x="220" y="113"/>
                </a:cubicBezTo>
                <a:cubicBezTo>
                  <a:pt x="220" y="110"/>
                  <a:pt x="217" y="107"/>
                  <a:pt x="214" y="107"/>
                </a:cubicBezTo>
                <a:cubicBezTo>
                  <a:pt x="211" y="107"/>
                  <a:pt x="208" y="110"/>
                  <a:pt x="208" y="113"/>
                </a:cubicBezTo>
                <a:close/>
                <a:moveTo>
                  <a:pt x="466" y="107"/>
                </a:moveTo>
                <a:cubicBezTo>
                  <a:pt x="463" y="107"/>
                  <a:pt x="460" y="110"/>
                  <a:pt x="460" y="113"/>
                </a:cubicBezTo>
                <a:cubicBezTo>
                  <a:pt x="460" y="116"/>
                  <a:pt x="463" y="118"/>
                  <a:pt x="466" y="118"/>
                </a:cubicBezTo>
                <a:cubicBezTo>
                  <a:pt x="469" y="118"/>
                  <a:pt x="472" y="116"/>
                  <a:pt x="472" y="113"/>
                </a:cubicBezTo>
                <a:cubicBezTo>
                  <a:pt x="472" y="110"/>
                  <a:pt x="469" y="107"/>
                  <a:pt x="466" y="107"/>
                </a:cubicBezTo>
                <a:close/>
                <a:moveTo>
                  <a:pt x="268" y="157"/>
                </a:moveTo>
                <a:cubicBezTo>
                  <a:pt x="268" y="156"/>
                  <a:pt x="268" y="154"/>
                  <a:pt x="268" y="152"/>
                </a:cubicBezTo>
                <a:cubicBezTo>
                  <a:pt x="268" y="151"/>
                  <a:pt x="268" y="150"/>
                  <a:pt x="267" y="149"/>
                </a:cubicBezTo>
                <a:cubicBezTo>
                  <a:pt x="266" y="143"/>
                  <a:pt x="261" y="139"/>
                  <a:pt x="255" y="138"/>
                </a:cubicBezTo>
                <a:cubicBezTo>
                  <a:pt x="249" y="137"/>
                  <a:pt x="244" y="139"/>
                  <a:pt x="240" y="144"/>
                </a:cubicBezTo>
                <a:cubicBezTo>
                  <a:pt x="239" y="146"/>
                  <a:pt x="238" y="148"/>
                  <a:pt x="238" y="149"/>
                </a:cubicBezTo>
                <a:cubicBezTo>
                  <a:pt x="236" y="154"/>
                  <a:pt x="236" y="159"/>
                  <a:pt x="237" y="164"/>
                </a:cubicBezTo>
                <a:cubicBezTo>
                  <a:pt x="237" y="167"/>
                  <a:pt x="238" y="169"/>
                  <a:pt x="239" y="171"/>
                </a:cubicBezTo>
                <a:cubicBezTo>
                  <a:pt x="245" y="181"/>
                  <a:pt x="257" y="180"/>
                  <a:pt x="262" y="175"/>
                </a:cubicBezTo>
                <a:cubicBezTo>
                  <a:pt x="266" y="171"/>
                  <a:pt x="267" y="167"/>
                  <a:pt x="268" y="163"/>
                </a:cubicBezTo>
                <a:cubicBezTo>
                  <a:pt x="268" y="161"/>
                  <a:pt x="268" y="159"/>
                  <a:pt x="268" y="157"/>
                </a:cubicBezTo>
                <a:cubicBezTo>
                  <a:pt x="268" y="157"/>
                  <a:pt x="268" y="157"/>
                  <a:pt x="268" y="157"/>
                </a:cubicBezTo>
                <a:close/>
                <a:moveTo>
                  <a:pt x="902" y="150"/>
                </a:moveTo>
                <a:cubicBezTo>
                  <a:pt x="900" y="144"/>
                  <a:pt x="897" y="140"/>
                  <a:pt x="891" y="138"/>
                </a:cubicBezTo>
                <a:cubicBezTo>
                  <a:pt x="884" y="136"/>
                  <a:pt x="877" y="139"/>
                  <a:pt x="873" y="146"/>
                </a:cubicBezTo>
                <a:cubicBezTo>
                  <a:pt x="873" y="147"/>
                  <a:pt x="872" y="149"/>
                  <a:pt x="872" y="150"/>
                </a:cubicBezTo>
                <a:cubicBezTo>
                  <a:pt x="871" y="154"/>
                  <a:pt x="870" y="158"/>
                  <a:pt x="871" y="162"/>
                </a:cubicBezTo>
                <a:cubicBezTo>
                  <a:pt x="871" y="166"/>
                  <a:pt x="872" y="169"/>
                  <a:pt x="874" y="172"/>
                </a:cubicBezTo>
                <a:cubicBezTo>
                  <a:pt x="876" y="175"/>
                  <a:pt x="878" y="177"/>
                  <a:pt x="881" y="178"/>
                </a:cubicBezTo>
                <a:cubicBezTo>
                  <a:pt x="887" y="180"/>
                  <a:pt x="894" y="178"/>
                  <a:pt x="898" y="173"/>
                </a:cubicBezTo>
                <a:cubicBezTo>
                  <a:pt x="900" y="170"/>
                  <a:pt x="901" y="168"/>
                  <a:pt x="902" y="165"/>
                </a:cubicBezTo>
                <a:cubicBezTo>
                  <a:pt x="902" y="162"/>
                  <a:pt x="902" y="160"/>
                  <a:pt x="902" y="157"/>
                </a:cubicBezTo>
                <a:cubicBezTo>
                  <a:pt x="902" y="155"/>
                  <a:pt x="902" y="152"/>
                  <a:pt x="902" y="150"/>
                </a:cubicBezTo>
                <a:close/>
                <a:moveTo>
                  <a:pt x="1298" y="13"/>
                </a:moveTo>
                <a:cubicBezTo>
                  <a:pt x="1296" y="13"/>
                  <a:pt x="1294" y="13"/>
                  <a:pt x="1292" y="13"/>
                </a:cubicBezTo>
                <a:cubicBezTo>
                  <a:pt x="1290" y="13"/>
                  <a:pt x="1290" y="13"/>
                  <a:pt x="1290" y="15"/>
                </a:cubicBezTo>
                <a:cubicBezTo>
                  <a:pt x="1290" y="17"/>
                  <a:pt x="1290" y="19"/>
                  <a:pt x="1290" y="22"/>
                </a:cubicBezTo>
                <a:cubicBezTo>
                  <a:pt x="1290" y="27"/>
                  <a:pt x="1290" y="33"/>
                  <a:pt x="1290" y="39"/>
                </a:cubicBezTo>
                <a:cubicBezTo>
                  <a:pt x="1290" y="40"/>
                  <a:pt x="1290" y="40"/>
                  <a:pt x="1291" y="40"/>
                </a:cubicBezTo>
                <a:cubicBezTo>
                  <a:pt x="1295" y="40"/>
                  <a:pt x="1299" y="40"/>
                  <a:pt x="1303" y="40"/>
                </a:cubicBezTo>
                <a:cubicBezTo>
                  <a:pt x="1304" y="40"/>
                  <a:pt x="1305" y="40"/>
                  <a:pt x="1306" y="39"/>
                </a:cubicBezTo>
                <a:cubicBezTo>
                  <a:pt x="1312" y="38"/>
                  <a:pt x="1318" y="33"/>
                  <a:pt x="1317" y="24"/>
                </a:cubicBezTo>
                <a:cubicBezTo>
                  <a:pt x="1316" y="19"/>
                  <a:pt x="1314" y="16"/>
                  <a:pt x="1309" y="14"/>
                </a:cubicBezTo>
                <a:cubicBezTo>
                  <a:pt x="1307" y="14"/>
                  <a:pt x="1305" y="13"/>
                  <a:pt x="1304" y="13"/>
                </a:cubicBezTo>
                <a:cubicBezTo>
                  <a:pt x="1302" y="13"/>
                  <a:pt x="1300" y="13"/>
                  <a:pt x="1298" y="13"/>
                </a:cubicBezTo>
                <a:cubicBezTo>
                  <a:pt x="1298" y="13"/>
                  <a:pt x="1298" y="13"/>
                  <a:pt x="1298" y="13"/>
                </a:cubicBezTo>
                <a:close/>
                <a:moveTo>
                  <a:pt x="1150" y="38"/>
                </a:moveTo>
                <a:cubicBezTo>
                  <a:pt x="1150" y="33"/>
                  <a:pt x="1149" y="28"/>
                  <a:pt x="1148" y="23"/>
                </a:cubicBezTo>
                <a:cubicBezTo>
                  <a:pt x="1147" y="21"/>
                  <a:pt x="1146" y="19"/>
                  <a:pt x="1145" y="17"/>
                </a:cubicBezTo>
                <a:cubicBezTo>
                  <a:pt x="1140" y="9"/>
                  <a:pt x="1130" y="10"/>
                  <a:pt x="1125" y="16"/>
                </a:cubicBezTo>
                <a:cubicBezTo>
                  <a:pt x="1124" y="17"/>
                  <a:pt x="1123" y="19"/>
                  <a:pt x="1123" y="21"/>
                </a:cubicBezTo>
                <a:cubicBezTo>
                  <a:pt x="1121" y="24"/>
                  <a:pt x="1120" y="28"/>
                  <a:pt x="1120" y="31"/>
                </a:cubicBezTo>
                <a:cubicBezTo>
                  <a:pt x="1119" y="37"/>
                  <a:pt x="1119" y="43"/>
                  <a:pt x="1119" y="49"/>
                </a:cubicBezTo>
                <a:cubicBezTo>
                  <a:pt x="1120" y="54"/>
                  <a:pt x="1120" y="58"/>
                  <a:pt x="1122" y="62"/>
                </a:cubicBezTo>
                <a:cubicBezTo>
                  <a:pt x="1122" y="64"/>
                  <a:pt x="1123" y="66"/>
                  <a:pt x="1125" y="68"/>
                </a:cubicBezTo>
                <a:cubicBezTo>
                  <a:pt x="1126" y="70"/>
                  <a:pt x="1129" y="72"/>
                  <a:pt x="1131" y="73"/>
                </a:cubicBezTo>
                <a:cubicBezTo>
                  <a:pt x="1137" y="74"/>
                  <a:pt x="1142" y="72"/>
                  <a:pt x="1145" y="67"/>
                </a:cubicBezTo>
                <a:cubicBezTo>
                  <a:pt x="1147" y="64"/>
                  <a:pt x="1148" y="62"/>
                  <a:pt x="1148" y="59"/>
                </a:cubicBezTo>
                <a:cubicBezTo>
                  <a:pt x="1150" y="54"/>
                  <a:pt x="1150" y="48"/>
                  <a:pt x="1150" y="42"/>
                </a:cubicBezTo>
                <a:cubicBezTo>
                  <a:pt x="1150" y="41"/>
                  <a:pt x="1150" y="40"/>
                  <a:pt x="1150" y="38"/>
                </a:cubicBezTo>
                <a:close/>
                <a:moveTo>
                  <a:pt x="627" y="40"/>
                </a:moveTo>
                <a:cubicBezTo>
                  <a:pt x="625" y="36"/>
                  <a:pt x="623" y="34"/>
                  <a:pt x="620" y="33"/>
                </a:cubicBezTo>
                <a:cubicBezTo>
                  <a:pt x="614" y="31"/>
                  <a:pt x="609" y="33"/>
                  <a:pt x="605" y="37"/>
                </a:cubicBezTo>
                <a:cubicBezTo>
                  <a:pt x="603" y="39"/>
                  <a:pt x="601" y="43"/>
                  <a:pt x="600" y="46"/>
                </a:cubicBezTo>
                <a:cubicBezTo>
                  <a:pt x="600" y="46"/>
                  <a:pt x="600" y="47"/>
                  <a:pt x="600" y="47"/>
                </a:cubicBezTo>
                <a:cubicBezTo>
                  <a:pt x="603" y="48"/>
                  <a:pt x="626" y="48"/>
                  <a:pt x="628" y="47"/>
                </a:cubicBezTo>
                <a:cubicBezTo>
                  <a:pt x="628" y="45"/>
                  <a:pt x="628" y="42"/>
                  <a:pt x="627" y="40"/>
                </a:cubicBezTo>
                <a:close/>
                <a:moveTo>
                  <a:pt x="848" y="39"/>
                </a:moveTo>
                <a:cubicBezTo>
                  <a:pt x="846" y="36"/>
                  <a:pt x="844" y="34"/>
                  <a:pt x="842" y="33"/>
                </a:cubicBezTo>
                <a:cubicBezTo>
                  <a:pt x="836" y="31"/>
                  <a:pt x="832" y="32"/>
                  <a:pt x="827" y="36"/>
                </a:cubicBezTo>
                <a:cubicBezTo>
                  <a:pt x="825" y="38"/>
                  <a:pt x="823" y="41"/>
                  <a:pt x="822" y="44"/>
                </a:cubicBezTo>
                <a:cubicBezTo>
                  <a:pt x="822" y="45"/>
                  <a:pt x="821" y="46"/>
                  <a:pt x="821" y="47"/>
                </a:cubicBezTo>
                <a:cubicBezTo>
                  <a:pt x="824" y="48"/>
                  <a:pt x="847" y="48"/>
                  <a:pt x="850" y="47"/>
                </a:cubicBezTo>
                <a:cubicBezTo>
                  <a:pt x="850" y="44"/>
                  <a:pt x="849" y="41"/>
                  <a:pt x="848" y="39"/>
                </a:cubicBezTo>
                <a:close/>
                <a:moveTo>
                  <a:pt x="956" y="144"/>
                </a:moveTo>
                <a:cubicBezTo>
                  <a:pt x="954" y="142"/>
                  <a:pt x="952" y="140"/>
                  <a:pt x="950" y="139"/>
                </a:cubicBezTo>
                <a:cubicBezTo>
                  <a:pt x="945" y="137"/>
                  <a:pt x="941" y="137"/>
                  <a:pt x="936" y="140"/>
                </a:cubicBezTo>
                <a:cubicBezTo>
                  <a:pt x="932" y="143"/>
                  <a:pt x="930" y="148"/>
                  <a:pt x="929" y="153"/>
                </a:cubicBezTo>
                <a:cubicBezTo>
                  <a:pt x="938" y="153"/>
                  <a:pt x="948" y="153"/>
                  <a:pt x="957" y="153"/>
                </a:cubicBezTo>
                <a:cubicBezTo>
                  <a:pt x="957" y="150"/>
                  <a:pt x="957" y="147"/>
                  <a:pt x="956" y="144"/>
                </a:cubicBezTo>
                <a:close/>
                <a:moveTo>
                  <a:pt x="986" y="37"/>
                </a:moveTo>
                <a:cubicBezTo>
                  <a:pt x="985" y="35"/>
                  <a:pt x="983" y="34"/>
                  <a:pt x="980" y="33"/>
                </a:cubicBezTo>
                <a:cubicBezTo>
                  <a:pt x="975" y="31"/>
                  <a:pt x="969" y="33"/>
                  <a:pt x="965" y="37"/>
                </a:cubicBezTo>
                <a:cubicBezTo>
                  <a:pt x="963" y="40"/>
                  <a:pt x="962" y="43"/>
                  <a:pt x="961" y="46"/>
                </a:cubicBezTo>
                <a:cubicBezTo>
                  <a:pt x="961" y="46"/>
                  <a:pt x="961" y="47"/>
                  <a:pt x="961" y="47"/>
                </a:cubicBezTo>
                <a:cubicBezTo>
                  <a:pt x="965" y="48"/>
                  <a:pt x="987" y="48"/>
                  <a:pt x="989" y="47"/>
                </a:cubicBezTo>
                <a:cubicBezTo>
                  <a:pt x="989" y="44"/>
                  <a:pt x="988" y="40"/>
                  <a:pt x="986" y="37"/>
                </a:cubicBezTo>
                <a:close/>
                <a:moveTo>
                  <a:pt x="844" y="158"/>
                </a:moveTo>
                <a:cubicBezTo>
                  <a:pt x="840" y="158"/>
                  <a:pt x="835" y="159"/>
                  <a:pt x="831" y="160"/>
                </a:cubicBezTo>
                <a:cubicBezTo>
                  <a:pt x="830" y="160"/>
                  <a:pt x="828" y="160"/>
                  <a:pt x="826" y="161"/>
                </a:cubicBezTo>
                <a:cubicBezTo>
                  <a:pt x="823" y="162"/>
                  <a:pt x="821" y="164"/>
                  <a:pt x="820" y="168"/>
                </a:cubicBezTo>
                <a:cubicBezTo>
                  <a:pt x="820" y="173"/>
                  <a:pt x="823" y="177"/>
                  <a:pt x="827" y="178"/>
                </a:cubicBezTo>
                <a:cubicBezTo>
                  <a:pt x="835" y="180"/>
                  <a:pt x="842" y="176"/>
                  <a:pt x="844" y="168"/>
                </a:cubicBezTo>
                <a:cubicBezTo>
                  <a:pt x="845" y="166"/>
                  <a:pt x="845" y="161"/>
                  <a:pt x="845" y="158"/>
                </a:cubicBezTo>
                <a:cubicBezTo>
                  <a:pt x="844" y="158"/>
                  <a:pt x="844" y="158"/>
                  <a:pt x="844" y="158"/>
                </a:cubicBezTo>
                <a:close/>
                <a:moveTo>
                  <a:pt x="200" y="61"/>
                </a:moveTo>
                <a:cubicBezTo>
                  <a:pt x="202" y="67"/>
                  <a:pt x="206" y="71"/>
                  <a:pt x="212" y="73"/>
                </a:cubicBezTo>
                <a:cubicBezTo>
                  <a:pt x="215" y="73"/>
                  <a:pt x="219" y="73"/>
                  <a:pt x="222" y="73"/>
                </a:cubicBezTo>
                <a:cubicBezTo>
                  <a:pt x="226" y="71"/>
                  <a:pt x="229" y="69"/>
                  <a:pt x="231" y="66"/>
                </a:cubicBezTo>
                <a:cubicBezTo>
                  <a:pt x="232" y="64"/>
                  <a:pt x="232" y="62"/>
                  <a:pt x="233" y="61"/>
                </a:cubicBezTo>
                <a:cubicBezTo>
                  <a:pt x="234" y="56"/>
                  <a:pt x="234" y="51"/>
                  <a:pt x="233" y="46"/>
                </a:cubicBezTo>
                <a:cubicBezTo>
                  <a:pt x="233" y="44"/>
                  <a:pt x="232" y="42"/>
                  <a:pt x="231" y="40"/>
                </a:cubicBezTo>
                <a:cubicBezTo>
                  <a:pt x="229" y="37"/>
                  <a:pt x="226" y="34"/>
                  <a:pt x="223" y="33"/>
                </a:cubicBezTo>
                <a:cubicBezTo>
                  <a:pt x="219" y="32"/>
                  <a:pt x="215" y="32"/>
                  <a:pt x="211" y="33"/>
                </a:cubicBezTo>
                <a:cubicBezTo>
                  <a:pt x="206" y="35"/>
                  <a:pt x="202" y="39"/>
                  <a:pt x="201" y="44"/>
                </a:cubicBezTo>
                <a:cubicBezTo>
                  <a:pt x="200" y="47"/>
                  <a:pt x="199" y="50"/>
                  <a:pt x="199" y="53"/>
                </a:cubicBezTo>
                <a:cubicBezTo>
                  <a:pt x="199" y="55"/>
                  <a:pt x="199" y="58"/>
                  <a:pt x="200" y="61"/>
                </a:cubicBezTo>
                <a:close/>
                <a:moveTo>
                  <a:pt x="408" y="159"/>
                </a:moveTo>
                <a:cubicBezTo>
                  <a:pt x="408" y="158"/>
                  <a:pt x="408" y="158"/>
                  <a:pt x="408" y="158"/>
                </a:cubicBezTo>
                <a:cubicBezTo>
                  <a:pt x="407" y="158"/>
                  <a:pt x="407" y="158"/>
                  <a:pt x="407" y="158"/>
                </a:cubicBezTo>
                <a:cubicBezTo>
                  <a:pt x="403" y="159"/>
                  <a:pt x="399" y="159"/>
                  <a:pt x="395" y="160"/>
                </a:cubicBezTo>
                <a:cubicBezTo>
                  <a:pt x="393" y="160"/>
                  <a:pt x="391" y="160"/>
                  <a:pt x="389" y="161"/>
                </a:cubicBezTo>
                <a:cubicBezTo>
                  <a:pt x="387" y="162"/>
                  <a:pt x="386" y="163"/>
                  <a:pt x="385" y="164"/>
                </a:cubicBezTo>
                <a:cubicBezTo>
                  <a:pt x="384" y="167"/>
                  <a:pt x="383" y="171"/>
                  <a:pt x="385" y="174"/>
                </a:cubicBezTo>
                <a:cubicBezTo>
                  <a:pt x="386" y="176"/>
                  <a:pt x="388" y="178"/>
                  <a:pt x="391" y="178"/>
                </a:cubicBezTo>
                <a:cubicBezTo>
                  <a:pt x="398" y="180"/>
                  <a:pt x="405" y="176"/>
                  <a:pt x="407" y="169"/>
                </a:cubicBezTo>
                <a:cubicBezTo>
                  <a:pt x="408" y="166"/>
                  <a:pt x="408" y="164"/>
                  <a:pt x="408" y="161"/>
                </a:cubicBezTo>
                <a:cubicBezTo>
                  <a:pt x="408" y="160"/>
                  <a:pt x="408" y="160"/>
                  <a:pt x="408" y="159"/>
                </a:cubicBezTo>
                <a:close/>
                <a:moveTo>
                  <a:pt x="71" y="163"/>
                </a:moveTo>
                <a:cubicBezTo>
                  <a:pt x="71" y="164"/>
                  <a:pt x="72" y="165"/>
                  <a:pt x="72" y="166"/>
                </a:cubicBezTo>
                <a:cubicBezTo>
                  <a:pt x="74" y="172"/>
                  <a:pt x="77" y="176"/>
                  <a:pt x="83" y="178"/>
                </a:cubicBezTo>
                <a:cubicBezTo>
                  <a:pt x="87" y="179"/>
                  <a:pt x="90" y="179"/>
                  <a:pt x="94" y="178"/>
                </a:cubicBezTo>
                <a:cubicBezTo>
                  <a:pt x="97" y="177"/>
                  <a:pt x="100" y="175"/>
                  <a:pt x="102" y="171"/>
                </a:cubicBezTo>
                <a:cubicBezTo>
                  <a:pt x="103" y="170"/>
                  <a:pt x="104" y="168"/>
                  <a:pt x="104" y="166"/>
                </a:cubicBezTo>
                <a:cubicBezTo>
                  <a:pt x="106" y="161"/>
                  <a:pt x="106" y="157"/>
                  <a:pt x="105" y="152"/>
                </a:cubicBezTo>
                <a:cubicBezTo>
                  <a:pt x="105" y="150"/>
                  <a:pt x="104" y="148"/>
                  <a:pt x="103" y="146"/>
                </a:cubicBezTo>
                <a:cubicBezTo>
                  <a:pt x="101" y="142"/>
                  <a:pt x="97" y="139"/>
                  <a:pt x="93" y="138"/>
                </a:cubicBezTo>
                <a:cubicBezTo>
                  <a:pt x="91" y="138"/>
                  <a:pt x="90" y="138"/>
                  <a:pt x="88" y="138"/>
                </a:cubicBezTo>
                <a:cubicBezTo>
                  <a:pt x="80" y="138"/>
                  <a:pt x="75" y="142"/>
                  <a:pt x="72" y="149"/>
                </a:cubicBezTo>
                <a:cubicBezTo>
                  <a:pt x="71" y="152"/>
                  <a:pt x="71" y="155"/>
                  <a:pt x="71" y="159"/>
                </a:cubicBezTo>
                <a:cubicBezTo>
                  <a:pt x="71" y="160"/>
                  <a:pt x="71" y="162"/>
                  <a:pt x="71" y="163"/>
                </a:cubicBezTo>
                <a:close/>
                <a:moveTo>
                  <a:pt x="329" y="49"/>
                </a:moveTo>
                <a:cubicBezTo>
                  <a:pt x="329" y="47"/>
                  <a:pt x="328" y="44"/>
                  <a:pt x="327" y="41"/>
                </a:cubicBezTo>
                <a:cubicBezTo>
                  <a:pt x="325" y="37"/>
                  <a:pt x="322" y="34"/>
                  <a:pt x="318" y="33"/>
                </a:cubicBezTo>
                <a:cubicBezTo>
                  <a:pt x="314" y="32"/>
                  <a:pt x="310" y="32"/>
                  <a:pt x="306" y="33"/>
                </a:cubicBezTo>
                <a:cubicBezTo>
                  <a:pt x="301" y="35"/>
                  <a:pt x="297" y="39"/>
                  <a:pt x="296" y="44"/>
                </a:cubicBezTo>
                <a:cubicBezTo>
                  <a:pt x="294" y="48"/>
                  <a:pt x="294" y="53"/>
                  <a:pt x="295" y="57"/>
                </a:cubicBezTo>
                <a:cubicBezTo>
                  <a:pt x="295" y="59"/>
                  <a:pt x="295" y="61"/>
                  <a:pt x="296" y="63"/>
                </a:cubicBezTo>
                <a:cubicBezTo>
                  <a:pt x="298" y="67"/>
                  <a:pt x="301" y="71"/>
                  <a:pt x="306" y="72"/>
                </a:cubicBezTo>
                <a:cubicBezTo>
                  <a:pt x="310" y="74"/>
                  <a:pt x="314" y="74"/>
                  <a:pt x="318" y="72"/>
                </a:cubicBezTo>
                <a:cubicBezTo>
                  <a:pt x="321" y="71"/>
                  <a:pt x="324" y="69"/>
                  <a:pt x="325" y="67"/>
                </a:cubicBezTo>
                <a:cubicBezTo>
                  <a:pt x="327" y="65"/>
                  <a:pt x="327" y="63"/>
                  <a:pt x="328" y="62"/>
                </a:cubicBezTo>
                <a:cubicBezTo>
                  <a:pt x="329" y="59"/>
                  <a:pt x="329" y="56"/>
                  <a:pt x="329" y="53"/>
                </a:cubicBezTo>
                <a:cubicBezTo>
                  <a:pt x="329" y="52"/>
                  <a:pt x="329" y="51"/>
                  <a:pt x="329" y="49"/>
                </a:cubicBezTo>
                <a:close/>
                <a:moveTo>
                  <a:pt x="523" y="152"/>
                </a:moveTo>
                <a:cubicBezTo>
                  <a:pt x="522" y="150"/>
                  <a:pt x="522" y="148"/>
                  <a:pt x="520" y="146"/>
                </a:cubicBezTo>
                <a:cubicBezTo>
                  <a:pt x="518" y="142"/>
                  <a:pt x="515" y="139"/>
                  <a:pt x="510" y="138"/>
                </a:cubicBezTo>
                <a:cubicBezTo>
                  <a:pt x="509" y="138"/>
                  <a:pt x="507" y="138"/>
                  <a:pt x="505" y="138"/>
                </a:cubicBezTo>
                <a:cubicBezTo>
                  <a:pt x="498" y="138"/>
                  <a:pt x="492" y="142"/>
                  <a:pt x="490" y="149"/>
                </a:cubicBezTo>
                <a:cubicBezTo>
                  <a:pt x="488" y="154"/>
                  <a:pt x="488" y="159"/>
                  <a:pt x="489" y="165"/>
                </a:cubicBezTo>
                <a:cubicBezTo>
                  <a:pt x="489" y="166"/>
                  <a:pt x="490" y="167"/>
                  <a:pt x="490" y="169"/>
                </a:cubicBezTo>
                <a:cubicBezTo>
                  <a:pt x="493" y="175"/>
                  <a:pt x="498" y="178"/>
                  <a:pt x="505" y="178"/>
                </a:cubicBezTo>
                <a:cubicBezTo>
                  <a:pt x="514" y="179"/>
                  <a:pt x="520" y="175"/>
                  <a:pt x="522" y="166"/>
                </a:cubicBezTo>
                <a:cubicBezTo>
                  <a:pt x="523" y="164"/>
                  <a:pt x="523" y="161"/>
                  <a:pt x="523" y="159"/>
                </a:cubicBezTo>
                <a:cubicBezTo>
                  <a:pt x="523" y="157"/>
                  <a:pt x="523" y="155"/>
                  <a:pt x="523" y="152"/>
                </a:cubicBezTo>
                <a:close/>
                <a:moveTo>
                  <a:pt x="739" y="159"/>
                </a:moveTo>
                <a:cubicBezTo>
                  <a:pt x="739" y="158"/>
                  <a:pt x="738" y="158"/>
                  <a:pt x="738" y="158"/>
                </a:cubicBezTo>
                <a:cubicBezTo>
                  <a:pt x="738" y="158"/>
                  <a:pt x="737" y="158"/>
                  <a:pt x="737" y="158"/>
                </a:cubicBezTo>
                <a:cubicBezTo>
                  <a:pt x="733" y="158"/>
                  <a:pt x="730" y="159"/>
                  <a:pt x="726" y="160"/>
                </a:cubicBezTo>
                <a:cubicBezTo>
                  <a:pt x="723" y="160"/>
                  <a:pt x="721" y="160"/>
                  <a:pt x="719" y="162"/>
                </a:cubicBezTo>
                <a:cubicBezTo>
                  <a:pt x="717" y="163"/>
                  <a:pt x="715" y="164"/>
                  <a:pt x="715" y="166"/>
                </a:cubicBezTo>
                <a:cubicBezTo>
                  <a:pt x="714" y="167"/>
                  <a:pt x="714" y="169"/>
                  <a:pt x="714" y="170"/>
                </a:cubicBezTo>
                <a:cubicBezTo>
                  <a:pt x="714" y="173"/>
                  <a:pt x="716" y="176"/>
                  <a:pt x="719" y="177"/>
                </a:cubicBezTo>
                <a:cubicBezTo>
                  <a:pt x="721" y="178"/>
                  <a:pt x="724" y="179"/>
                  <a:pt x="726" y="178"/>
                </a:cubicBezTo>
                <a:cubicBezTo>
                  <a:pt x="732" y="178"/>
                  <a:pt x="737" y="173"/>
                  <a:pt x="738" y="167"/>
                </a:cubicBezTo>
                <a:cubicBezTo>
                  <a:pt x="739" y="165"/>
                  <a:pt x="739" y="164"/>
                  <a:pt x="739" y="162"/>
                </a:cubicBezTo>
                <a:cubicBezTo>
                  <a:pt x="739" y="161"/>
                  <a:pt x="739" y="160"/>
                  <a:pt x="739" y="159"/>
                </a:cubicBezTo>
                <a:close/>
              </a:path>
            </a:pathLst>
          </a:custGeom>
          <a:solidFill>
            <a:srgbClr val="FFFFFF"/>
          </a:solidFill>
          <a:ln>
            <a:noFill/>
          </a:ln>
        </p:spPr>
        <p:txBody>
          <a:bodyPr vert="horz" wrap="square" lIns="91403" tIns="45702" rIns="91403" bIns="45702" numCol="1" anchor="t" anchorCtr="0" compatLnSpc="1">
            <a:prstTxWarp prst="textNoShape">
              <a:avLst/>
            </a:prstTxWarp>
          </a:bodyPr>
          <a:lstStyle/>
          <a:p>
            <a:pPr defTabSz="932372"/>
            <a:endParaRPr lang="en-US" sz="1799" kern="0" dirty="0">
              <a:solidFill>
                <a:srgbClr val="505050"/>
              </a:solidFill>
            </a:endParaRPr>
          </a:p>
        </p:txBody>
      </p:sp>
    </p:spTree>
    <p:extLst>
      <p:ext uri="{BB962C8B-B14F-4D97-AF65-F5344CB8AC3E}">
        <p14:creationId xmlns:p14="http://schemas.microsoft.com/office/powerpoint/2010/main" val="3788068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Enabling People-Centric IT</a:t>
            </a:r>
            <a:endParaRPr lang="en-US" dirty="0"/>
          </a:p>
        </p:txBody>
      </p:sp>
      <p:sp>
        <p:nvSpPr>
          <p:cNvPr id="5" name="Text Placeholder 4"/>
          <p:cNvSpPr>
            <a:spLocks noGrp="1"/>
          </p:cNvSpPr>
          <p:nvPr>
            <p:ph type="body" sz="quarter" idx="12"/>
          </p:nvPr>
        </p:nvSpPr>
        <p:spPr/>
        <p:txBody>
          <a:bodyPr/>
          <a:lstStyle/>
          <a:p>
            <a:r>
              <a:rPr lang="en-US" sz="3200" dirty="0" smtClean="0"/>
              <a:t>Andrew Conway</a:t>
            </a:r>
          </a:p>
          <a:p>
            <a:r>
              <a:rPr lang="en-US" sz="3200" dirty="0" smtClean="0"/>
              <a:t>Director Product Marketing</a:t>
            </a:r>
          </a:p>
        </p:txBody>
      </p:sp>
      <p:sp>
        <p:nvSpPr>
          <p:cNvPr id="14" name="Text Placeholder 13"/>
          <p:cNvSpPr>
            <a:spLocks noGrp="1"/>
          </p:cNvSpPr>
          <p:nvPr>
            <p:ph type="body" sz="quarter" idx="13"/>
          </p:nvPr>
        </p:nvSpPr>
        <p:spPr/>
        <p:txBody>
          <a:bodyPr/>
          <a:lstStyle/>
          <a:p>
            <a:r>
              <a:rPr lang="en-US" dirty="0" smtClean="0"/>
              <a:t>FDN03</a:t>
            </a:r>
            <a:endParaRPr lang="en-US" dirty="0"/>
          </a:p>
        </p:txBody>
      </p:sp>
    </p:spTree>
    <p:extLst>
      <p:ext uri="{BB962C8B-B14F-4D97-AF65-F5344CB8AC3E}">
        <p14:creationId xmlns:p14="http://schemas.microsoft.com/office/powerpoint/2010/main" val="248586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3946350"/>
            <a:ext cx="5481387"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980243" y="5766010"/>
            <a:ext cx="5498792" cy="91439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82880">
              <a:spAutoFit/>
            </a:bodyPr>
            <a:lstStyle/>
            <a:p>
              <a:r>
                <a:rPr lang="en-US" dirty="0">
                  <a:solidFill>
                    <a:srgbClr val="FFFFFF"/>
                  </a:solidFill>
                  <a:hlinkClick r:id="rId3"/>
                </a:rPr>
                <a:t>http://microsoft.com/msdn </a:t>
              </a:r>
              <a:endParaRPr lang="en-US" dirty="0">
                <a:solidFill>
                  <a:srgbClr val="FFFFFF"/>
                </a:solidFill>
              </a:endParaRPr>
            </a:p>
          </p:txBody>
        </p:sp>
      </p:grpSp>
      <p:sp>
        <p:nvSpPr>
          <p:cNvPr id="12" name="Arrow Bar"/>
          <p:cNvSpPr/>
          <p:nvPr/>
        </p:nvSpPr>
        <p:spPr bwMode="gray">
          <a:xfrm>
            <a:off x="5997647" y="1214472"/>
            <a:ext cx="5486400" cy="18413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grpSp>
        <p:nvGrpSpPr>
          <p:cNvPr id="17" name="MS Learning Link"/>
          <p:cNvGrpSpPr/>
          <p:nvPr/>
        </p:nvGrpSpPr>
        <p:grpSpPr>
          <a:xfrm>
            <a:off x="5982656" y="3040063"/>
            <a:ext cx="5501390" cy="91664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82880">
              <a:spAutoFit/>
            </a:bodyPr>
            <a:lstStyle/>
            <a:p>
              <a:r>
                <a:rPr lang="en-US" dirty="0">
                  <a:solidFill>
                    <a:srgbClr val="FFFFFF"/>
                  </a:solidFill>
                  <a:hlinkClick r:id="rId4"/>
                </a:rPr>
                <a:t>www.microsoft.com/learning </a:t>
              </a:r>
              <a:endParaRPr lang="en-US" sz="1600" dirty="0"/>
            </a:p>
          </p:txBody>
        </p:sp>
      </p:grpSp>
      <p:sp>
        <p:nvSpPr>
          <p:cNvPr id="5" name="TechEd Tile"/>
          <p:cNvSpPr/>
          <p:nvPr/>
        </p:nvSpPr>
        <p:spPr bwMode="ltGray">
          <a:xfrm>
            <a:off x="274638" y="1214472"/>
            <a:ext cx="5476342" cy="1841394"/>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chEd Tile"/>
          <p:cNvSpPr/>
          <p:nvPr/>
        </p:nvSpPr>
        <p:spPr bwMode="gray">
          <a:xfrm>
            <a:off x="274639" y="3947146"/>
            <a:ext cx="5486399" cy="183450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2820" y="3040063"/>
            <a:ext cx="5478161" cy="916885"/>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82880">
              <a:spAutoFit/>
            </a:bodyPr>
            <a:lstStyle/>
            <a:p>
              <a:pPr marL="0" lvl="1">
                <a:tabLst>
                  <a:tab pos="1828800" algn="l"/>
                </a:tabLst>
              </a:pP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white">
            <a:xfrm>
              <a:off x="1022073" y="2961633"/>
              <a:ext cx="4991109" cy="327641"/>
            </a:xfrm>
            <a:prstGeom prst="rect">
              <a:avLst/>
            </a:prstGeom>
          </p:spPr>
          <p:txBody>
            <a:bodyPr wrap="square" lIns="182880">
              <a:spAutoFit/>
            </a:bodyPr>
            <a:lstStyle/>
            <a:p>
              <a:r>
                <a:rPr lang="en-US" u="sng" dirty="0">
                  <a:hlinkClick r:id="rId5"/>
                </a:rPr>
                <a:t>http://channel9.msdn.com/Events/TechEd</a:t>
              </a:r>
              <a:endParaRPr lang="en-US" dirty="0"/>
            </a:p>
          </p:txBody>
        </p:sp>
      </p:grpSp>
      <p:grpSp>
        <p:nvGrpSpPr>
          <p:cNvPr id="27" name="MS TechNet Link"/>
          <p:cNvGrpSpPr/>
          <p:nvPr/>
        </p:nvGrpSpPr>
        <p:grpSpPr>
          <a:xfrm>
            <a:off x="274639" y="5766010"/>
            <a:ext cx="5476339" cy="91439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6"/>
                </a:rPr>
                <a:t>http://microsoft.com/technet  </a:t>
              </a:r>
              <a:endParaRPr lang="en-US" dirty="0">
                <a:solidFill>
                  <a:srgbClr val="FFFFFF"/>
                </a:solidFill>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26107" y="1485017"/>
            <a:ext cx="2695575" cy="1273289"/>
          </a:xfrm>
          <a:prstGeom prst="rect">
            <a:avLst/>
          </a:prstGeom>
        </p:spPr>
      </p:pic>
      <p:sp useBgFill="1">
        <p:nvSpPr>
          <p:cNvPr id="39" name="Freeform 38"/>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21562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lete an evaluation on CommNet and enter to win!</a:t>
            </a:r>
            <a:endParaRPr lang="en-US" dirty="0"/>
          </a:p>
        </p:txBody>
      </p:sp>
      <p:sp>
        <p:nvSpPr>
          <p:cNvPr id="5" name="Rectangle 4"/>
          <p:cNvSpPr/>
          <p:nvPr/>
        </p:nvSpPr>
        <p:spPr bwMode="auto">
          <a:xfrm>
            <a:off x="4459854" y="2125662"/>
            <a:ext cx="7701983"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 name="Best Buy gc" descr="\\192.168.1.51\Shared\ADI_Projects\Microsoft\MS_11-01457_TechEd_2012_Template\Working_Art\Eval-prizes\bestbuy-gc.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177148" y="2607703"/>
            <a:ext cx="1881043" cy="122476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274638" y="2125663"/>
            <a:ext cx="4032817"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8" name="Xbox kinect" descr="\\192.168.1.51\Shared\ADI_Projects\Microsoft\MS_11-01457_TechEd_2012_Template\Working_Art\Eval-prizes\Xbox360_Matte_Sensor_7-8View.png"/>
          <p:cNvPicPr>
            <a:picLocks noChangeAspect="1" noChangeArrowheads="1"/>
          </p:cNvPicPr>
          <p:nvPr/>
        </p:nvPicPr>
        <p:blipFill rotWithShape="1">
          <a:blip r:embed="rId4" cstate="email">
            <a:extLst>
              <a:ext uri="{28A0092B-C50C-407E-A947-70E740481C1C}">
                <a14:useLocalDpi xmlns:a14="http://schemas.microsoft.com/office/drawing/2010/main"/>
              </a:ext>
            </a:extLst>
          </a:blip>
          <a:stretch/>
        </p:blipFill>
        <p:spPr bwMode="auto">
          <a:xfrm>
            <a:off x="483655" y="2529186"/>
            <a:ext cx="3620005" cy="3896269"/>
          </a:xfrm>
          <a:prstGeom prst="rect">
            <a:avLst/>
          </a:prstGeom>
          <a:noFill/>
          <a:extLst>
            <a:ext uri="{909E8E84-426E-40DD-AFC4-6F175D3DCCD1}">
              <a14:hiddenFill xmlns:a14="http://schemas.microsoft.com/office/drawing/2010/main">
                <a:solidFill>
                  <a:srgbClr val="FFFFFF"/>
                </a:solidFill>
              </a14:hiddenFill>
            </a:ext>
          </a:extLst>
        </p:spPr>
      </p:pic>
      <p:pic>
        <p:nvPicPr>
          <p:cNvPr id="9" name="hat" descr="\\192.168.1.51\Shared\ADI_Projects\Microsoft\MS_11-01457_TechEd_2012_Template\Working_Art\Eval-prizes\Geek-military-hat.jp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12535" y="4750235"/>
            <a:ext cx="1355377" cy="1694221"/>
          </a:xfrm>
          <a:prstGeom prst="rect">
            <a:avLst/>
          </a:prstGeom>
          <a:noFill/>
          <a:extLst>
            <a:ext uri="{909E8E84-426E-40DD-AFC4-6F175D3DCCD1}">
              <a14:hiddenFill xmlns:a14="http://schemas.microsoft.com/office/drawing/2010/main">
                <a:solidFill>
                  <a:srgbClr val="FFFFFF"/>
                </a:solidFill>
              </a14:hiddenFill>
            </a:ext>
          </a:extLst>
        </p:spPr>
      </p:pic>
      <p:pic>
        <p:nvPicPr>
          <p:cNvPr id="10" name="usb hub" descr="\\192.168.1.51\Shared\ADI_Projects\Microsoft\MS_11-01457_TechEd_2012_Template\Working_Art\Eval-prizes\Geek-usb-hub.jp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892060" y="4750234"/>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1" name="flashlight" descr="\\192.168.1.51\Shared\ADI_Projects\Microsoft\MS_11-01457_TechEd_2012_Template\Working_Art\Eval-prizes\LED-flashlight.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683123" y="4766996"/>
            <a:ext cx="1341968" cy="1677460"/>
          </a:xfrm>
          <a:prstGeom prst="rect">
            <a:avLst/>
          </a:prstGeom>
          <a:noFill/>
          <a:extLst>
            <a:ext uri="{909E8E84-426E-40DD-AFC4-6F175D3DCCD1}">
              <a14:hiddenFill xmlns:a14="http://schemas.microsoft.com/office/drawing/2010/main">
                <a:solidFill>
                  <a:srgbClr val="FFFFFF"/>
                </a:solidFill>
              </a14:hiddenFill>
            </a:ext>
          </a:extLst>
        </p:spPr>
      </p:pic>
      <p:pic>
        <p:nvPicPr>
          <p:cNvPr id="12" name="Accessory bag" descr="\\192.168.1.51\Shared\ADI_Projects\Microsoft\MS_11-01457_TechEd_2012_Template\Working_Art\Eval-prizes\Neoprene-accessory-case.jp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683123" y="2372973"/>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3" name="shirt" descr="\\192.168.1.51\Shared\ADI_Projects\Microsoft\MS_11-01457_TechEd_2012_Template\Working_Art\Eval-prizes\Cloud-power-shirt.jp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986190" y="2372974"/>
            <a:ext cx="1355377" cy="1694222"/>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8"/>
          <p:cNvSpPr/>
          <p:nvPr/>
        </p:nvSpPr>
        <p:spPr bwMode="auto">
          <a:xfrm>
            <a:off x="0" y="0"/>
            <a:ext cx="12436475" cy="6994525"/>
          </a:xfrm>
          <a:custGeom>
            <a:avLst/>
            <a:gdLst>
              <a:gd name="connsiteX0" fmla="*/ 4459854 w 12436475"/>
              <a:gd name="connsiteY0" fmla="*/ 4500064 h 6994525"/>
              <a:gd name="connsiteX1" fmla="*/ 4459854 w 12436475"/>
              <a:gd name="connsiteY1" fmla="*/ 6697663 h 6994525"/>
              <a:gd name="connsiteX2" fmla="*/ 12161837 w 12436475"/>
              <a:gd name="connsiteY2" fmla="*/ 6697663 h 6994525"/>
              <a:gd name="connsiteX3" fmla="*/ 12161837 w 12436475"/>
              <a:gd name="connsiteY3" fmla="*/ 4500064 h 6994525"/>
              <a:gd name="connsiteX4" fmla="*/ 0 w 12436475"/>
              <a:gd name="connsiteY4" fmla="*/ 0 h 6994525"/>
              <a:gd name="connsiteX5" fmla="*/ 274638 w 12436475"/>
              <a:gd name="connsiteY5" fmla="*/ 0 h 6994525"/>
              <a:gd name="connsiteX6" fmla="*/ 274638 w 12436475"/>
              <a:gd name="connsiteY6" fmla="*/ 6697663 h 6994525"/>
              <a:gd name="connsiteX7" fmla="*/ 4307455 w 12436475"/>
              <a:gd name="connsiteY7" fmla="*/ 6697663 h 6994525"/>
              <a:gd name="connsiteX8" fmla="*/ 4307455 w 12436475"/>
              <a:gd name="connsiteY8" fmla="*/ 4500064 h 6994525"/>
              <a:gd name="connsiteX9" fmla="*/ 4307455 w 12436475"/>
              <a:gd name="connsiteY9" fmla="*/ 4320223 h 6994525"/>
              <a:gd name="connsiteX10" fmla="*/ 4307455 w 12436475"/>
              <a:gd name="connsiteY10" fmla="*/ 2125663 h 6994525"/>
              <a:gd name="connsiteX11" fmla="*/ 4459854 w 12436475"/>
              <a:gd name="connsiteY11" fmla="*/ 2125663 h 6994525"/>
              <a:gd name="connsiteX12" fmla="*/ 4459854 w 12436475"/>
              <a:gd name="connsiteY12" fmla="*/ 4320223 h 6994525"/>
              <a:gd name="connsiteX13" fmla="*/ 12161837 w 12436475"/>
              <a:gd name="connsiteY13" fmla="*/ 4320223 h 6994525"/>
              <a:gd name="connsiteX14" fmla="*/ 12161837 w 12436475"/>
              <a:gd name="connsiteY14" fmla="*/ 0 h 6994525"/>
              <a:gd name="connsiteX15" fmla="*/ 12436475 w 12436475"/>
              <a:gd name="connsiteY15" fmla="*/ 0 h 6994525"/>
              <a:gd name="connsiteX16" fmla="*/ 12436475 w 12436475"/>
              <a:gd name="connsiteY16" fmla="*/ 4320223 h 6994525"/>
              <a:gd name="connsiteX17" fmla="*/ 12436475 w 12436475"/>
              <a:gd name="connsiteY17" fmla="*/ 4500064 h 6994525"/>
              <a:gd name="connsiteX18" fmla="*/ 12436475 w 12436475"/>
              <a:gd name="connsiteY18" fmla="*/ 6697663 h 6994525"/>
              <a:gd name="connsiteX19" fmla="*/ 12436475 w 12436475"/>
              <a:gd name="connsiteY19" fmla="*/ 6994525 h 6994525"/>
              <a:gd name="connsiteX20" fmla="*/ 12161837 w 12436475"/>
              <a:gd name="connsiteY20" fmla="*/ 6994525 h 6994525"/>
              <a:gd name="connsiteX21" fmla="*/ 4459854 w 12436475"/>
              <a:gd name="connsiteY21" fmla="*/ 6994525 h 6994525"/>
              <a:gd name="connsiteX22" fmla="*/ 4307455 w 12436475"/>
              <a:gd name="connsiteY22" fmla="*/ 6994525 h 6994525"/>
              <a:gd name="connsiteX23" fmla="*/ 274638 w 12436475"/>
              <a:gd name="connsiteY23" fmla="*/ 6994525 h 6994525"/>
              <a:gd name="connsiteX24" fmla="*/ 1 w 12436475"/>
              <a:gd name="connsiteY24" fmla="*/ 6994525 h 6994525"/>
              <a:gd name="connsiteX25" fmla="*/ 0 w 12436475"/>
              <a:gd name="connsiteY25"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36475" h="6994525">
                <a:moveTo>
                  <a:pt x="4459854" y="4500064"/>
                </a:moveTo>
                <a:lnTo>
                  <a:pt x="4459854" y="6697663"/>
                </a:lnTo>
                <a:lnTo>
                  <a:pt x="12161837" y="6697663"/>
                </a:lnTo>
                <a:lnTo>
                  <a:pt x="12161837" y="4500064"/>
                </a:lnTo>
                <a:close/>
                <a:moveTo>
                  <a:pt x="0" y="0"/>
                </a:moveTo>
                <a:lnTo>
                  <a:pt x="274638" y="0"/>
                </a:lnTo>
                <a:lnTo>
                  <a:pt x="274638" y="6697663"/>
                </a:lnTo>
                <a:lnTo>
                  <a:pt x="4307455" y="6697663"/>
                </a:lnTo>
                <a:lnTo>
                  <a:pt x="4307455" y="4500064"/>
                </a:lnTo>
                <a:lnTo>
                  <a:pt x="4307455" y="4320223"/>
                </a:lnTo>
                <a:lnTo>
                  <a:pt x="4307455" y="2125663"/>
                </a:lnTo>
                <a:lnTo>
                  <a:pt x="4459854" y="2125663"/>
                </a:lnTo>
                <a:lnTo>
                  <a:pt x="4459854" y="4320223"/>
                </a:lnTo>
                <a:lnTo>
                  <a:pt x="12161837" y="4320223"/>
                </a:lnTo>
                <a:lnTo>
                  <a:pt x="12161837" y="0"/>
                </a:lnTo>
                <a:lnTo>
                  <a:pt x="12436475" y="0"/>
                </a:lnTo>
                <a:lnTo>
                  <a:pt x="12436475" y="4320223"/>
                </a:lnTo>
                <a:lnTo>
                  <a:pt x="12436475" y="4500064"/>
                </a:lnTo>
                <a:lnTo>
                  <a:pt x="12436475" y="6697663"/>
                </a:lnTo>
                <a:lnTo>
                  <a:pt x="12436475" y="6994525"/>
                </a:lnTo>
                <a:lnTo>
                  <a:pt x="12161837" y="6994525"/>
                </a:lnTo>
                <a:lnTo>
                  <a:pt x="4459854" y="6994525"/>
                </a:lnTo>
                <a:lnTo>
                  <a:pt x="4307455" y="6994525"/>
                </a:lnTo>
                <a:lnTo>
                  <a:pt x="274638" y="6994525"/>
                </a:lnTo>
                <a:lnTo>
                  <a:pt x="1" y="6994525"/>
                </a:lnTo>
                <a:lnTo>
                  <a:pt x="0" y="699452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35485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withEffect">
                                  <p:stCondLst>
                                    <p:cond delay="75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ppt_x"/>
                                          </p:val>
                                        </p:tav>
                                        <p:tav tm="100000">
                                          <p:val>
                                            <p:strVal val="#ppt_x"/>
                                          </p:val>
                                        </p:tav>
                                      </p:tavLst>
                                    </p:anim>
                                    <p:anim calcmode="lin" valueType="num">
                                      <p:cBhvr additive="base">
                                        <p:cTn id="12" dur="10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6" decel="100000" fill="hold" grpId="0" nodeType="withEffect">
                                  <p:stCondLst>
                                    <p:cond delay="1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1000" fill="hold"/>
                                        <p:tgtEl>
                                          <p:spTgt spid="5"/>
                                        </p:tgtEl>
                                        <p:attrNameLst>
                                          <p:attrName>ppt_x</p:attrName>
                                        </p:attrNameLst>
                                      </p:cBhvr>
                                      <p:tavLst>
                                        <p:tav tm="0">
                                          <p:val>
                                            <p:strVal val="1+#ppt_w/2"/>
                                          </p:val>
                                        </p:tav>
                                        <p:tav tm="100000">
                                          <p:val>
                                            <p:strVal val="#ppt_x"/>
                                          </p:val>
                                        </p:tav>
                                      </p:tavLst>
                                    </p:anim>
                                    <p:anim calcmode="lin" valueType="num">
                                      <p:cBhvr additive="base">
                                        <p:cTn id="16" dur="1000" fill="hold"/>
                                        <p:tgtEl>
                                          <p:spTgt spid="5"/>
                                        </p:tgtEl>
                                        <p:attrNameLst>
                                          <p:attrName>ppt_y</p:attrName>
                                        </p:attrNameLst>
                                      </p:cBhvr>
                                      <p:tavLst>
                                        <p:tav tm="0">
                                          <p:val>
                                            <p:strVal val="1+#ppt_h/2"/>
                                          </p:val>
                                        </p:tav>
                                        <p:tav tm="100000">
                                          <p:val>
                                            <p:strVal val="#ppt_y"/>
                                          </p:val>
                                        </p:tav>
                                      </p:tavLst>
                                    </p:anim>
                                  </p:childTnLst>
                                </p:cTn>
                              </p:par>
                              <p:par>
                                <p:cTn id="17" presetID="2" presetClass="entr" presetSubtype="2" decel="100000" fill="hold" nodeType="withEffect">
                                  <p:stCondLst>
                                    <p:cond delay="15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1000" fill="hold"/>
                                        <p:tgtEl>
                                          <p:spTgt spid="6"/>
                                        </p:tgtEl>
                                        <p:attrNameLst>
                                          <p:attrName>ppt_x</p:attrName>
                                        </p:attrNameLst>
                                      </p:cBhvr>
                                      <p:tavLst>
                                        <p:tav tm="0">
                                          <p:val>
                                            <p:strVal val="1+#ppt_w/2"/>
                                          </p:val>
                                        </p:tav>
                                        <p:tav tm="100000">
                                          <p:val>
                                            <p:strVal val="#ppt_x"/>
                                          </p:val>
                                        </p:tav>
                                      </p:tavLst>
                                    </p:anim>
                                    <p:anim calcmode="lin" valueType="num">
                                      <p:cBhvr additive="base">
                                        <p:cTn id="20" dur="10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4" decel="100000" fill="hold" nodeType="withEffect">
                                  <p:stCondLst>
                                    <p:cond delay="150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1000" fill="hold"/>
                                        <p:tgtEl>
                                          <p:spTgt spid="9"/>
                                        </p:tgtEl>
                                        <p:attrNameLst>
                                          <p:attrName>ppt_x</p:attrName>
                                        </p:attrNameLst>
                                      </p:cBhvr>
                                      <p:tavLst>
                                        <p:tav tm="0">
                                          <p:val>
                                            <p:strVal val="#ppt_x"/>
                                          </p:val>
                                        </p:tav>
                                        <p:tav tm="100000">
                                          <p:val>
                                            <p:strVal val="#ppt_x"/>
                                          </p:val>
                                        </p:tav>
                                      </p:tavLst>
                                    </p:anim>
                                    <p:anim calcmode="lin" valueType="num">
                                      <p:cBhvr additive="base">
                                        <p:cTn id="24" dur="10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2" decel="100000" fill="hold" nodeType="withEffect">
                                  <p:stCondLst>
                                    <p:cond delay="17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1000" fill="hold"/>
                                        <p:tgtEl>
                                          <p:spTgt spid="12"/>
                                        </p:tgtEl>
                                        <p:attrNameLst>
                                          <p:attrName>ppt_x</p:attrName>
                                        </p:attrNameLst>
                                      </p:cBhvr>
                                      <p:tavLst>
                                        <p:tav tm="0">
                                          <p:val>
                                            <p:strVal val="1+#ppt_w/2"/>
                                          </p:val>
                                        </p:tav>
                                        <p:tav tm="100000">
                                          <p:val>
                                            <p:strVal val="#ppt_x"/>
                                          </p:val>
                                        </p:tav>
                                      </p:tavLst>
                                    </p:anim>
                                    <p:anim calcmode="lin" valueType="num">
                                      <p:cBhvr additive="base">
                                        <p:cTn id="28" dur="1000" fill="hold"/>
                                        <p:tgtEl>
                                          <p:spTgt spid="12"/>
                                        </p:tgtEl>
                                        <p:attrNameLst>
                                          <p:attrName>ppt_y</p:attrName>
                                        </p:attrNameLst>
                                      </p:cBhvr>
                                      <p:tavLst>
                                        <p:tav tm="0">
                                          <p:val>
                                            <p:strVal val="#ppt_y"/>
                                          </p:val>
                                        </p:tav>
                                        <p:tav tm="100000">
                                          <p:val>
                                            <p:strVal val="#ppt_y"/>
                                          </p:val>
                                        </p:tav>
                                      </p:tavLst>
                                    </p:anim>
                                  </p:childTnLst>
                                </p:cTn>
                              </p:par>
                              <p:par>
                                <p:cTn id="29" presetID="2" presetClass="entr" presetSubtype="4" decel="100000" fill="hold" nodeType="withEffect">
                                  <p:stCondLst>
                                    <p:cond delay="175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1000" fill="hold"/>
                                        <p:tgtEl>
                                          <p:spTgt spid="11"/>
                                        </p:tgtEl>
                                        <p:attrNameLst>
                                          <p:attrName>ppt_x</p:attrName>
                                        </p:attrNameLst>
                                      </p:cBhvr>
                                      <p:tavLst>
                                        <p:tav tm="0">
                                          <p:val>
                                            <p:strVal val="#ppt_x"/>
                                          </p:val>
                                        </p:tav>
                                        <p:tav tm="100000">
                                          <p:val>
                                            <p:strVal val="#ppt_x"/>
                                          </p:val>
                                        </p:tav>
                                      </p:tavLst>
                                    </p:anim>
                                    <p:anim calcmode="lin" valueType="num">
                                      <p:cBhvr additive="base">
                                        <p:cTn id="32" dur="1000" fill="hold"/>
                                        <p:tgtEl>
                                          <p:spTgt spid="11"/>
                                        </p:tgtEl>
                                        <p:attrNameLst>
                                          <p:attrName>ppt_y</p:attrName>
                                        </p:attrNameLst>
                                      </p:cBhvr>
                                      <p:tavLst>
                                        <p:tav tm="0">
                                          <p:val>
                                            <p:strVal val="1+#ppt_h/2"/>
                                          </p:val>
                                        </p:tav>
                                        <p:tav tm="100000">
                                          <p:val>
                                            <p:strVal val="#ppt_y"/>
                                          </p:val>
                                        </p:tav>
                                      </p:tavLst>
                                    </p:anim>
                                  </p:childTnLst>
                                </p:cTn>
                              </p:par>
                              <p:par>
                                <p:cTn id="33" presetID="2" presetClass="entr" presetSubtype="2" decel="100000" fill="hold" nodeType="withEffect">
                                  <p:stCondLst>
                                    <p:cond delay="200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1000" fill="hold"/>
                                        <p:tgtEl>
                                          <p:spTgt spid="13"/>
                                        </p:tgtEl>
                                        <p:attrNameLst>
                                          <p:attrName>ppt_x</p:attrName>
                                        </p:attrNameLst>
                                      </p:cBhvr>
                                      <p:tavLst>
                                        <p:tav tm="0">
                                          <p:val>
                                            <p:strVal val="1+#ppt_w/2"/>
                                          </p:val>
                                        </p:tav>
                                        <p:tav tm="100000">
                                          <p:val>
                                            <p:strVal val="#ppt_x"/>
                                          </p:val>
                                        </p:tav>
                                      </p:tavLst>
                                    </p:anim>
                                    <p:anim calcmode="lin" valueType="num">
                                      <p:cBhvr additive="base">
                                        <p:cTn id="36" dur="1000" fill="hold"/>
                                        <p:tgtEl>
                                          <p:spTgt spid="13"/>
                                        </p:tgtEl>
                                        <p:attrNameLst>
                                          <p:attrName>ppt_y</p:attrName>
                                        </p:attrNameLst>
                                      </p:cBhvr>
                                      <p:tavLst>
                                        <p:tav tm="0">
                                          <p:val>
                                            <p:strVal val="#ppt_y"/>
                                          </p:val>
                                        </p:tav>
                                        <p:tav tm="100000">
                                          <p:val>
                                            <p:strVal val="#ppt_y"/>
                                          </p:val>
                                        </p:tav>
                                      </p:tavLst>
                                    </p:anim>
                                  </p:childTnLst>
                                </p:cTn>
                              </p:par>
                              <p:par>
                                <p:cTn id="37" presetID="2" presetClass="entr" presetSubtype="4" decel="100000" fill="hold" nodeType="withEffect">
                                  <p:stCondLst>
                                    <p:cond delay="200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1000" fill="hold"/>
                                        <p:tgtEl>
                                          <p:spTgt spid="10"/>
                                        </p:tgtEl>
                                        <p:attrNameLst>
                                          <p:attrName>ppt_x</p:attrName>
                                        </p:attrNameLst>
                                      </p:cBhvr>
                                      <p:tavLst>
                                        <p:tav tm="0">
                                          <p:val>
                                            <p:strVal val="#ppt_x"/>
                                          </p:val>
                                        </p:tav>
                                        <p:tav tm="100000">
                                          <p:val>
                                            <p:strVal val="#ppt_x"/>
                                          </p:val>
                                        </p:tav>
                                      </p:tavLst>
                                    </p:anim>
                                    <p:anim calcmode="lin" valueType="num">
                                      <p:cBhvr additive="base">
                                        <p:cTn id="40" dur="10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586389" y="3040002"/>
            <a:ext cx="4554072" cy="903013"/>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sp>
        <p:nvSpPr>
          <p:cNvPr id="7" name="TextBox 6"/>
          <p:cNvSpPr txBox="1"/>
          <p:nvPr/>
        </p:nvSpPr>
        <p:spPr>
          <a:xfrm>
            <a:off x="292249" y="2143592"/>
            <a:ext cx="4572318" cy="4561249"/>
          </a:xfrm>
          <a:prstGeom prst="rect">
            <a:avLst/>
          </a:prstGeom>
          <a:noFill/>
        </p:spPr>
        <p:txBody>
          <a:bodyPr wrap="square" lIns="182880" tIns="146304" rIns="182880" bIns="146304" rtlCol="0">
            <a:spAutoFit/>
          </a:bodyPr>
          <a:lstStyle/>
          <a:p>
            <a:pPr>
              <a:lnSpc>
                <a:spcPct val="90000"/>
              </a:lnSpc>
              <a:spcAft>
                <a:spcPts val="600"/>
              </a:spcAft>
            </a:pPr>
            <a:r>
              <a:rPr lang="en-US" sz="4400" b="1" dirty="0" smtClean="0">
                <a:gradFill>
                  <a:gsLst>
                    <a:gs pos="1250">
                      <a:srgbClr val="FFFFFF"/>
                    </a:gs>
                    <a:gs pos="100000">
                      <a:srgbClr val="FFFFFF"/>
                    </a:gs>
                  </a:gsLst>
                  <a:lin ang="5400000" scaled="0"/>
                </a:gradFill>
              </a:rPr>
              <a:t>Scan this QR code </a:t>
            </a:r>
            <a:r>
              <a:rPr lang="en-US" sz="4400" dirty="0" smtClean="0">
                <a:gradFill>
                  <a:gsLst>
                    <a:gs pos="1250">
                      <a:srgbClr val="FFFFFF"/>
                    </a:gs>
                    <a:gs pos="100000">
                      <a:srgbClr val="FFFFFF"/>
                    </a:gs>
                  </a:gsLst>
                  <a:lin ang="5400000" scaled="0"/>
                </a:gradFill>
              </a:rPr>
              <a:t>to evaluate this session and be automatically entered in a drawing to </a:t>
            </a:r>
            <a:br>
              <a:rPr lang="en-US" sz="4400" dirty="0" smtClean="0">
                <a:gradFill>
                  <a:gsLst>
                    <a:gs pos="1250">
                      <a:srgbClr val="FFFFFF"/>
                    </a:gs>
                    <a:gs pos="100000">
                      <a:srgbClr val="FFFFFF"/>
                    </a:gs>
                  </a:gsLst>
                  <a:lin ang="5400000" scaled="0"/>
                </a:gradFill>
              </a:rPr>
            </a:br>
            <a:r>
              <a:rPr lang="en-US" sz="4400" dirty="0" smtClean="0">
                <a:gradFill>
                  <a:gsLst>
                    <a:gs pos="1250">
                      <a:srgbClr val="FFFFFF"/>
                    </a:gs>
                    <a:gs pos="100000">
                      <a:srgbClr val="FFFFFF"/>
                    </a:gs>
                  </a:gsLst>
                  <a:lin ang="5400000" scaled="0"/>
                </a:gradFill>
              </a:rPr>
              <a:t>win a prize</a:t>
            </a:r>
            <a:endParaRPr lang="en-US" sz="4400" b="1" dirty="0" smtClean="0">
              <a:gradFill>
                <a:gsLst>
                  <a:gs pos="1250">
                    <a:srgbClr val="FFFFFF"/>
                  </a:gs>
                  <a:gs pos="100000">
                    <a:srgbClr val="FFFFFF"/>
                  </a:gs>
                </a:gsLst>
                <a:lin ang="5400000" scaled="0"/>
              </a:gradFill>
            </a:endParaRPr>
          </a:p>
        </p:txBody>
      </p:sp>
      <p:grpSp>
        <p:nvGrpSpPr>
          <p:cNvPr id="10" name="Group 9"/>
          <p:cNvGrpSpPr/>
          <p:nvPr/>
        </p:nvGrpSpPr>
        <p:grpSpPr>
          <a:xfrm>
            <a:off x="9943129" y="1559114"/>
            <a:ext cx="1915773" cy="4209429"/>
            <a:chOff x="9835555" y="1393220"/>
            <a:chExt cx="2076450" cy="4562475"/>
          </a:xfrm>
        </p:grpSpPr>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r>
              <a:rPr lang="en-US" dirty="0">
                <a:solidFill>
                  <a:srgbClr val="FFFFFF">
                    <a:alpha val="99000"/>
                  </a:srgbClr>
                </a:solidFill>
              </a:rPr>
              <a:t>Your MS Tag will be inserted here during the final scrub. </a:t>
            </a:r>
          </a:p>
        </p:txBody>
      </p:sp>
      <p:pic>
        <p:nvPicPr>
          <p:cNvPr id="11"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4846638" y="1214472"/>
            <a:ext cx="4572000" cy="457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4927685"/>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492700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88542" y="265247"/>
            <a:ext cx="11373923" cy="1015663"/>
          </a:xfrm>
        </p:spPr>
        <p:txBody>
          <a:bodyPr/>
          <a:lstStyle/>
          <a:p>
            <a:r>
              <a:rPr lang="en-US" sz="4000" dirty="0"/>
              <a:t>The C</a:t>
            </a:r>
            <a:r>
              <a:rPr lang="en-US" sz="4000" dirty="0" smtClean="0"/>
              <a:t>loud </a:t>
            </a:r>
            <a:r>
              <a:rPr lang="en-US" sz="4000" dirty="0"/>
              <a:t>OS </a:t>
            </a:r>
            <a:r>
              <a:rPr lang="en-US" sz="3200" dirty="0"/>
              <a:t/>
            </a:r>
            <a:br>
              <a:rPr lang="en-US" sz="3200" dirty="0"/>
            </a:br>
            <a:r>
              <a:rPr lang="en-US" sz="2000" spc="0" dirty="0">
                <a:solidFill>
                  <a:schemeClr val="accent1">
                    <a:lumMod val="20000"/>
                    <a:lumOff val="80000"/>
                  </a:schemeClr>
                </a:solidFill>
                <a:latin typeface="+mn-lt"/>
              </a:rPr>
              <a:t>Modern platform for the world’s apps</a:t>
            </a:r>
          </a:p>
        </p:txBody>
      </p:sp>
      <p:sp>
        <p:nvSpPr>
          <p:cNvPr id="46" name="Rectangle 45"/>
          <p:cNvSpPr/>
          <p:nvPr/>
        </p:nvSpPr>
        <p:spPr bwMode="auto">
          <a:xfrm>
            <a:off x="883" y="5974041"/>
            <a:ext cx="12442690" cy="61464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47" name="TextBox 46"/>
          <p:cNvSpPr txBox="1"/>
          <p:nvPr/>
        </p:nvSpPr>
        <p:spPr>
          <a:xfrm>
            <a:off x="456887" y="6061416"/>
            <a:ext cx="1810063" cy="382284"/>
          </a:xfrm>
          <a:prstGeom prst="rect">
            <a:avLst/>
          </a:prstGeom>
          <a:noFill/>
        </p:spPr>
        <p:txBody>
          <a:bodyPr wrap="none" lIns="93236" tIns="46618" rIns="93236" bIns="46618" rtlCol="0" anchor="ctr">
            <a:spAutoFit/>
          </a:bodyPr>
          <a:lstStyle>
            <a:defPPr>
              <a:defRPr lang="en-US"/>
            </a:defPPr>
            <a:lvl1pPr algn="ctr" defTabSz="621551">
              <a:defRPr sz="1836">
                <a:solidFill>
                  <a:srgbClr val="FFFFFF"/>
                </a:solidFill>
                <a:ea typeface="Segoe UI" pitchFamily="34" charset="0"/>
                <a:cs typeface="Segoe UI" pitchFamily="34" charset="0"/>
              </a:defRPr>
            </a:lvl1pPr>
          </a:lstStyle>
          <a:p>
            <a:r>
              <a:rPr lang="en-US" sz="1800" dirty="0">
                <a:gradFill>
                  <a:gsLst>
                    <a:gs pos="6195">
                      <a:srgbClr val="FFFFFF"/>
                    </a:gs>
                    <a:gs pos="24779">
                      <a:srgbClr val="FFFFFF"/>
                    </a:gs>
                  </a:gsLst>
                  <a:lin ang="5400000" scaled="0"/>
                </a:gradFill>
              </a:rPr>
              <a:t>DEVELOPMENT</a:t>
            </a:r>
          </a:p>
        </p:txBody>
      </p:sp>
      <p:sp>
        <p:nvSpPr>
          <p:cNvPr id="48" name="TextBox 47"/>
          <p:cNvSpPr txBox="1"/>
          <p:nvPr/>
        </p:nvSpPr>
        <p:spPr>
          <a:xfrm>
            <a:off x="3234888" y="6064233"/>
            <a:ext cx="1820069" cy="382284"/>
          </a:xfrm>
          <a:prstGeom prst="rect">
            <a:avLst/>
          </a:prstGeom>
          <a:noFill/>
        </p:spPr>
        <p:txBody>
          <a:bodyPr wrap="none" lIns="93236" tIns="46618" rIns="93236" bIns="46618" rtlCol="0" anchor="ctr">
            <a:spAutoFit/>
          </a:bodyPr>
          <a:lstStyle>
            <a:defPPr>
              <a:defRPr lang="en-US"/>
            </a:defPPr>
            <a:lvl1pPr algn="ctr" defTabSz="621551">
              <a:defRPr sz="1836">
                <a:solidFill>
                  <a:srgbClr val="FFFFFF"/>
                </a:solidFill>
                <a:ea typeface="Segoe UI" pitchFamily="34" charset="0"/>
                <a:cs typeface="Segoe UI" pitchFamily="34" charset="0"/>
              </a:defRPr>
            </a:lvl1pPr>
          </a:lstStyle>
          <a:p>
            <a:r>
              <a:rPr lang="en-US" sz="1800" dirty="0">
                <a:gradFill>
                  <a:gsLst>
                    <a:gs pos="6195">
                      <a:srgbClr val="FFFFFF"/>
                    </a:gs>
                    <a:gs pos="24779">
                      <a:srgbClr val="FFFFFF"/>
                    </a:gs>
                  </a:gsLst>
                  <a:lin ang="5400000" scaled="0"/>
                </a:gradFill>
              </a:rPr>
              <a:t>MANAGEMENT</a:t>
            </a:r>
          </a:p>
        </p:txBody>
      </p:sp>
      <p:sp>
        <p:nvSpPr>
          <p:cNvPr id="49" name="TextBox 48"/>
          <p:cNvSpPr txBox="1"/>
          <p:nvPr/>
        </p:nvSpPr>
        <p:spPr>
          <a:xfrm>
            <a:off x="7776714" y="6064233"/>
            <a:ext cx="1172642" cy="382284"/>
          </a:xfrm>
          <a:prstGeom prst="rect">
            <a:avLst/>
          </a:prstGeom>
          <a:noFill/>
        </p:spPr>
        <p:txBody>
          <a:bodyPr wrap="none" lIns="93236" tIns="46618" rIns="93236" bIns="46618" rtlCol="0" anchor="ctr">
            <a:spAutoFit/>
          </a:bodyPr>
          <a:lstStyle>
            <a:defPPr>
              <a:defRPr lang="en-US"/>
            </a:defPPr>
            <a:lvl1pPr algn="ctr" defTabSz="621551">
              <a:defRPr sz="1836">
                <a:solidFill>
                  <a:srgbClr val="FFFFFF"/>
                </a:solidFill>
                <a:ea typeface="Segoe UI" pitchFamily="34" charset="0"/>
                <a:cs typeface="Segoe UI" pitchFamily="34" charset="0"/>
              </a:defRPr>
            </a:lvl1pPr>
          </a:lstStyle>
          <a:p>
            <a:r>
              <a:rPr lang="en-US" sz="1800" dirty="0">
                <a:gradFill>
                  <a:gsLst>
                    <a:gs pos="6195">
                      <a:srgbClr val="FFFFFF"/>
                    </a:gs>
                    <a:gs pos="24779">
                      <a:srgbClr val="FFFFFF"/>
                    </a:gs>
                  </a:gsLst>
                  <a:lin ang="5400000" scaled="0"/>
                </a:gradFill>
              </a:rPr>
              <a:t>IDENTITY</a:t>
            </a:r>
          </a:p>
        </p:txBody>
      </p:sp>
      <p:sp>
        <p:nvSpPr>
          <p:cNvPr id="50" name="TextBox 49"/>
          <p:cNvSpPr txBox="1"/>
          <p:nvPr/>
        </p:nvSpPr>
        <p:spPr>
          <a:xfrm>
            <a:off x="9933158" y="6064233"/>
            <a:ext cx="1982907" cy="382284"/>
          </a:xfrm>
          <a:prstGeom prst="rect">
            <a:avLst/>
          </a:prstGeom>
          <a:noFill/>
        </p:spPr>
        <p:txBody>
          <a:bodyPr wrap="none" lIns="93236" tIns="46618" rIns="93236" bIns="46618" rtlCol="0" anchor="ctr">
            <a:spAutoFit/>
          </a:bodyPr>
          <a:lstStyle>
            <a:defPPr>
              <a:defRPr lang="en-US"/>
            </a:defPPr>
            <a:lvl1pPr algn="ctr" defTabSz="621551">
              <a:defRPr sz="1836">
                <a:solidFill>
                  <a:srgbClr val="FFFFFF"/>
                </a:solidFill>
                <a:ea typeface="Segoe UI" pitchFamily="34" charset="0"/>
                <a:cs typeface="Segoe UI" pitchFamily="34" charset="0"/>
              </a:defRPr>
            </a:lvl1pPr>
          </a:lstStyle>
          <a:p>
            <a:r>
              <a:rPr lang="en-US" sz="1800" dirty="0">
                <a:gradFill>
                  <a:gsLst>
                    <a:gs pos="6195">
                      <a:srgbClr val="FFFFFF"/>
                    </a:gs>
                    <a:gs pos="24779">
                      <a:srgbClr val="FFFFFF"/>
                    </a:gs>
                  </a:gsLst>
                  <a:lin ang="5400000" scaled="0"/>
                </a:gradFill>
              </a:rPr>
              <a:t>VIRTUALIZATION</a:t>
            </a:r>
          </a:p>
        </p:txBody>
      </p:sp>
      <p:sp>
        <p:nvSpPr>
          <p:cNvPr id="51" name="TextBox 50"/>
          <p:cNvSpPr txBox="1"/>
          <p:nvPr/>
        </p:nvSpPr>
        <p:spPr>
          <a:xfrm>
            <a:off x="6038794" y="6064233"/>
            <a:ext cx="754039" cy="382284"/>
          </a:xfrm>
          <a:prstGeom prst="rect">
            <a:avLst/>
          </a:prstGeom>
          <a:noFill/>
        </p:spPr>
        <p:txBody>
          <a:bodyPr wrap="none" lIns="93236" tIns="46618" rIns="93236" bIns="46618" rtlCol="0" anchor="ctr">
            <a:spAutoFit/>
          </a:bodyPr>
          <a:lstStyle>
            <a:defPPr>
              <a:defRPr lang="en-US"/>
            </a:defPPr>
            <a:lvl1pPr algn="ctr" defTabSz="621551">
              <a:defRPr sz="1836">
                <a:solidFill>
                  <a:srgbClr val="FFFFFF"/>
                </a:solidFill>
                <a:ea typeface="Segoe UI" pitchFamily="34" charset="0"/>
                <a:cs typeface="Segoe UI" pitchFamily="34" charset="0"/>
              </a:defRPr>
            </a:lvl1pPr>
          </a:lstStyle>
          <a:p>
            <a:r>
              <a:rPr lang="en-US" sz="1800" dirty="0">
                <a:gradFill>
                  <a:gsLst>
                    <a:gs pos="6195">
                      <a:srgbClr val="FFFFFF"/>
                    </a:gs>
                    <a:gs pos="24779">
                      <a:srgbClr val="FFFFFF"/>
                    </a:gs>
                  </a:gsLst>
                  <a:lin ang="5400000" scaled="0"/>
                </a:gradFill>
              </a:rPr>
              <a:t>DATA</a:t>
            </a:r>
          </a:p>
        </p:txBody>
      </p:sp>
      <p:grpSp>
        <p:nvGrpSpPr>
          <p:cNvPr id="2" name="Group 1"/>
          <p:cNvGrpSpPr/>
          <p:nvPr/>
        </p:nvGrpSpPr>
        <p:grpSpPr>
          <a:xfrm>
            <a:off x="294984" y="1339569"/>
            <a:ext cx="4893379" cy="4344883"/>
            <a:chOff x="278849" y="1473954"/>
            <a:chExt cx="4798544" cy="4260681"/>
          </a:xfrm>
        </p:grpSpPr>
        <p:sp>
          <p:nvSpPr>
            <p:cNvPr id="37" name="Oval 2"/>
            <p:cNvSpPr/>
            <p:nvPr/>
          </p:nvSpPr>
          <p:spPr bwMode="auto">
            <a:xfrm>
              <a:off x="1120196" y="2317994"/>
              <a:ext cx="3105791" cy="2149660"/>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nvGrpSpPr>
            <p:cNvPr id="38" name="Group 37"/>
            <p:cNvGrpSpPr/>
            <p:nvPr/>
          </p:nvGrpSpPr>
          <p:grpSpPr>
            <a:xfrm>
              <a:off x="981870" y="2573740"/>
              <a:ext cx="3326453" cy="1905819"/>
              <a:chOff x="7851229" y="2573740"/>
              <a:chExt cx="3326453" cy="1905819"/>
            </a:xfrm>
          </p:grpSpPr>
          <p:sp>
            <p:nvSpPr>
              <p:cNvPr id="40" name="Rectangle 39"/>
              <p:cNvSpPr/>
              <p:nvPr/>
            </p:nvSpPr>
            <p:spPr bwMode="auto">
              <a:xfrm>
                <a:off x="9519064" y="3392824"/>
                <a:ext cx="62450" cy="108673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useBgFill="1">
            <p:nvSpPr>
              <p:cNvPr id="41" name="Freeform 40"/>
              <p:cNvSpPr/>
              <p:nvPr/>
            </p:nvSpPr>
            <p:spPr bwMode="auto">
              <a:xfrm>
                <a:off x="9528515" y="3206804"/>
                <a:ext cx="1214753" cy="233361"/>
              </a:xfrm>
              <a:custGeom>
                <a:avLst/>
                <a:gdLst>
                  <a:gd name="connsiteX0" fmla="*/ 0 w 1159668"/>
                  <a:gd name="connsiteY0" fmla="*/ 150019 h 150019"/>
                  <a:gd name="connsiteX1" fmla="*/ 1123950 w 1159668"/>
                  <a:gd name="connsiteY1" fmla="*/ 0 h 150019"/>
                  <a:gd name="connsiteX2" fmla="*/ 1159668 w 1159668"/>
                  <a:gd name="connsiteY2" fmla="*/ 11906 h 150019"/>
                  <a:gd name="connsiteX3" fmla="*/ 0 w 1159668"/>
                  <a:gd name="connsiteY3" fmla="*/ 150019 h 150019"/>
                  <a:gd name="connsiteX0" fmla="*/ 0 w 1159668"/>
                  <a:gd name="connsiteY0" fmla="*/ 150019 h 150019"/>
                  <a:gd name="connsiteX1" fmla="*/ 1123950 w 1159668"/>
                  <a:gd name="connsiteY1" fmla="*/ 0 h 150019"/>
                  <a:gd name="connsiteX2" fmla="*/ 1159668 w 1159668"/>
                  <a:gd name="connsiteY2" fmla="*/ 11906 h 150019"/>
                  <a:gd name="connsiteX3" fmla="*/ 245268 w 1159668"/>
                  <a:gd name="connsiteY3" fmla="*/ 114300 h 150019"/>
                  <a:gd name="connsiteX4" fmla="*/ 0 w 1159668"/>
                  <a:gd name="connsiteY4" fmla="*/ 150019 h 150019"/>
                  <a:gd name="connsiteX0" fmla="*/ 0 w 1159668"/>
                  <a:gd name="connsiteY0" fmla="*/ 150019 h 169069"/>
                  <a:gd name="connsiteX1" fmla="*/ 1123950 w 1159668"/>
                  <a:gd name="connsiteY1" fmla="*/ 0 h 169069"/>
                  <a:gd name="connsiteX2" fmla="*/ 1159668 w 1159668"/>
                  <a:gd name="connsiteY2" fmla="*/ 11906 h 169069"/>
                  <a:gd name="connsiteX3" fmla="*/ 16668 w 1159668"/>
                  <a:gd name="connsiteY3" fmla="*/ 169069 h 169069"/>
                  <a:gd name="connsiteX4" fmla="*/ 0 w 1159668"/>
                  <a:gd name="connsiteY4" fmla="*/ 150019 h 169069"/>
                  <a:gd name="connsiteX0" fmla="*/ 0 w 1159668"/>
                  <a:gd name="connsiteY0" fmla="*/ 150019 h 169069"/>
                  <a:gd name="connsiteX1" fmla="*/ 26193 w 1159668"/>
                  <a:gd name="connsiteY1" fmla="*/ 135731 h 169069"/>
                  <a:gd name="connsiteX2" fmla="*/ 1123950 w 1159668"/>
                  <a:gd name="connsiteY2" fmla="*/ 0 h 169069"/>
                  <a:gd name="connsiteX3" fmla="*/ 1159668 w 1159668"/>
                  <a:gd name="connsiteY3" fmla="*/ 11906 h 169069"/>
                  <a:gd name="connsiteX4" fmla="*/ 16668 w 1159668"/>
                  <a:gd name="connsiteY4" fmla="*/ 169069 h 169069"/>
                  <a:gd name="connsiteX5" fmla="*/ 0 w 1159668"/>
                  <a:gd name="connsiteY5" fmla="*/ 150019 h 169069"/>
                  <a:gd name="connsiteX0" fmla="*/ 0 w 1171575"/>
                  <a:gd name="connsiteY0" fmla="*/ 150019 h 169069"/>
                  <a:gd name="connsiteX1" fmla="*/ 26193 w 1171575"/>
                  <a:gd name="connsiteY1" fmla="*/ 135731 h 169069"/>
                  <a:gd name="connsiteX2" fmla="*/ 1123950 w 1171575"/>
                  <a:gd name="connsiteY2" fmla="*/ 0 h 169069"/>
                  <a:gd name="connsiteX3" fmla="*/ 1171575 w 1171575"/>
                  <a:gd name="connsiteY3" fmla="*/ 14287 h 169069"/>
                  <a:gd name="connsiteX4" fmla="*/ 16668 w 1171575"/>
                  <a:gd name="connsiteY4" fmla="*/ 169069 h 169069"/>
                  <a:gd name="connsiteX5" fmla="*/ 0 w 1171575"/>
                  <a:gd name="connsiteY5" fmla="*/ 150019 h 169069"/>
                  <a:gd name="connsiteX0" fmla="*/ 0 w 1171575"/>
                  <a:gd name="connsiteY0" fmla="*/ 150019 h 169069"/>
                  <a:gd name="connsiteX1" fmla="*/ 19049 w 1171575"/>
                  <a:gd name="connsiteY1" fmla="*/ 128587 h 169069"/>
                  <a:gd name="connsiteX2" fmla="*/ 1123950 w 1171575"/>
                  <a:gd name="connsiteY2" fmla="*/ 0 h 169069"/>
                  <a:gd name="connsiteX3" fmla="*/ 1171575 w 1171575"/>
                  <a:gd name="connsiteY3" fmla="*/ 14287 h 169069"/>
                  <a:gd name="connsiteX4" fmla="*/ 16668 w 1171575"/>
                  <a:gd name="connsiteY4" fmla="*/ 169069 h 169069"/>
                  <a:gd name="connsiteX5" fmla="*/ 0 w 1171575"/>
                  <a:gd name="connsiteY5" fmla="*/ 150019 h 169069"/>
                  <a:gd name="connsiteX0" fmla="*/ 0 w 1190625"/>
                  <a:gd name="connsiteY0" fmla="*/ 150019 h 169069"/>
                  <a:gd name="connsiteX1" fmla="*/ 19049 w 1190625"/>
                  <a:gd name="connsiteY1" fmla="*/ 128587 h 169069"/>
                  <a:gd name="connsiteX2" fmla="*/ 1123950 w 1190625"/>
                  <a:gd name="connsiteY2" fmla="*/ 0 h 169069"/>
                  <a:gd name="connsiteX3" fmla="*/ 1190625 w 1190625"/>
                  <a:gd name="connsiteY3" fmla="*/ 16668 h 169069"/>
                  <a:gd name="connsiteX4" fmla="*/ 16668 w 1190625"/>
                  <a:gd name="connsiteY4" fmla="*/ 169069 h 169069"/>
                  <a:gd name="connsiteX5" fmla="*/ 0 w 1190625"/>
                  <a:gd name="connsiteY5" fmla="*/ 150019 h 169069"/>
                  <a:gd name="connsiteX0" fmla="*/ 0 w 1190625"/>
                  <a:gd name="connsiteY0" fmla="*/ 150019 h 169069"/>
                  <a:gd name="connsiteX1" fmla="*/ 7142 w 1190625"/>
                  <a:gd name="connsiteY1" fmla="*/ 138112 h 169069"/>
                  <a:gd name="connsiteX2" fmla="*/ 1123950 w 1190625"/>
                  <a:gd name="connsiteY2" fmla="*/ 0 h 169069"/>
                  <a:gd name="connsiteX3" fmla="*/ 1190625 w 1190625"/>
                  <a:gd name="connsiteY3" fmla="*/ 16668 h 169069"/>
                  <a:gd name="connsiteX4" fmla="*/ 16668 w 1190625"/>
                  <a:gd name="connsiteY4" fmla="*/ 169069 h 169069"/>
                  <a:gd name="connsiteX5" fmla="*/ 0 w 1190625"/>
                  <a:gd name="connsiteY5" fmla="*/ 150019 h 169069"/>
                  <a:gd name="connsiteX0" fmla="*/ 0 w 1190625"/>
                  <a:gd name="connsiteY0" fmla="*/ 150019 h 161925"/>
                  <a:gd name="connsiteX1" fmla="*/ 7142 w 1190625"/>
                  <a:gd name="connsiteY1" fmla="*/ 138112 h 161925"/>
                  <a:gd name="connsiteX2" fmla="*/ 1123950 w 1190625"/>
                  <a:gd name="connsiteY2" fmla="*/ 0 h 161925"/>
                  <a:gd name="connsiteX3" fmla="*/ 1190625 w 1190625"/>
                  <a:gd name="connsiteY3" fmla="*/ 16668 h 161925"/>
                  <a:gd name="connsiteX4" fmla="*/ 21430 w 1190625"/>
                  <a:gd name="connsiteY4" fmla="*/ 161925 h 161925"/>
                  <a:gd name="connsiteX5" fmla="*/ 0 w 1190625"/>
                  <a:gd name="connsiteY5" fmla="*/ 150019 h 161925"/>
                  <a:gd name="connsiteX0" fmla="*/ 0 w 1202531"/>
                  <a:gd name="connsiteY0" fmla="*/ 150019 h 161925"/>
                  <a:gd name="connsiteX1" fmla="*/ 7142 w 1202531"/>
                  <a:gd name="connsiteY1" fmla="*/ 138112 h 161925"/>
                  <a:gd name="connsiteX2" fmla="*/ 1123950 w 1202531"/>
                  <a:gd name="connsiteY2" fmla="*/ 0 h 161925"/>
                  <a:gd name="connsiteX3" fmla="*/ 1202531 w 1202531"/>
                  <a:gd name="connsiteY3" fmla="*/ 26193 h 161925"/>
                  <a:gd name="connsiteX4" fmla="*/ 21430 w 1202531"/>
                  <a:gd name="connsiteY4" fmla="*/ 161925 h 161925"/>
                  <a:gd name="connsiteX5" fmla="*/ 0 w 1202531"/>
                  <a:gd name="connsiteY5" fmla="*/ 150019 h 161925"/>
                  <a:gd name="connsiteX0" fmla="*/ 0 w 1202531"/>
                  <a:gd name="connsiteY0" fmla="*/ 150019 h 173831"/>
                  <a:gd name="connsiteX1" fmla="*/ 7142 w 1202531"/>
                  <a:gd name="connsiteY1" fmla="*/ 138112 h 173831"/>
                  <a:gd name="connsiteX2" fmla="*/ 1123950 w 1202531"/>
                  <a:gd name="connsiteY2" fmla="*/ 0 h 173831"/>
                  <a:gd name="connsiteX3" fmla="*/ 1202531 w 1202531"/>
                  <a:gd name="connsiteY3" fmla="*/ 26193 h 173831"/>
                  <a:gd name="connsiteX4" fmla="*/ 19048 w 1202531"/>
                  <a:gd name="connsiteY4" fmla="*/ 173831 h 173831"/>
                  <a:gd name="connsiteX5" fmla="*/ 0 w 1202531"/>
                  <a:gd name="connsiteY5" fmla="*/ 150019 h 173831"/>
                  <a:gd name="connsiteX0" fmla="*/ 0 w 1202531"/>
                  <a:gd name="connsiteY0" fmla="*/ 150019 h 188118"/>
                  <a:gd name="connsiteX1" fmla="*/ 7142 w 1202531"/>
                  <a:gd name="connsiteY1" fmla="*/ 138112 h 188118"/>
                  <a:gd name="connsiteX2" fmla="*/ 1123950 w 1202531"/>
                  <a:gd name="connsiteY2" fmla="*/ 0 h 188118"/>
                  <a:gd name="connsiteX3" fmla="*/ 1202531 w 1202531"/>
                  <a:gd name="connsiteY3" fmla="*/ 26193 h 188118"/>
                  <a:gd name="connsiteX4" fmla="*/ 16666 w 1202531"/>
                  <a:gd name="connsiteY4" fmla="*/ 188118 h 188118"/>
                  <a:gd name="connsiteX5" fmla="*/ 0 w 1202531"/>
                  <a:gd name="connsiteY5" fmla="*/ 150019 h 188118"/>
                  <a:gd name="connsiteX0" fmla="*/ 0 w 1214437"/>
                  <a:gd name="connsiteY0" fmla="*/ 150019 h 188118"/>
                  <a:gd name="connsiteX1" fmla="*/ 7142 w 1214437"/>
                  <a:gd name="connsiteY1" fmla="*/ 138112 h 188118"/>
                  <a:gd name="connsiteX2" fmla="*/ 1123950 w 1214437"/>
                  <a:gd name="connsiteY2" fmla="*/ 0 h 188118"/>
                  <a:gd name="connsiteX3" fmla="*/ 1214437 w 1214437"/>
                  <a:gd name="connsiteY3" fmla="*/ 28574 h 188118"/>
                  <a:gd name="connsiteX4" fmla="*/ 16666 w 1214437"/>
                  <a:gd name="connsiteY4" fmla="*/ 188118 h 188118"/>
                  <a:gd name="connsiteX5" fmla="*/ 0 w 1214437"/>
                  <a:gd name="connsiteY5" fmla="*/ 150019 h 188118"/>
                  <a:gd name="connsiteX0" fmla="*/ 0 w 1214437"/>
                  <a:gd name="connsiteY0" fmla="*/ 150019 h 233361"/>
                  <a:gd name="connsiteX1" fmla="*/ 7142 w 1214437"/>
                  <a:gd name="connsiteY1" fmla="*/ 138112 h 233361"/>
                  <a:gd name="connsiteX2" fmla="*/ 1123950 w 1214437"/>
                  <a:gd name="connsiteY2" fmla="*/ 0 h 233361"/>
                  <a:gd name="connsiteX3" fmla="*/ 1214437 w 1214437"/>
                  <a:gd name="connsiteY3" fmla="*/ 28574 h 233361"/>
                  <a:gd name="connsiteX4" fmla="*/ 11903 w 1214437"/>
                  <a:gd name="connsiteY4" fmla="*/ 233361 h 233361"/>
                  <a:gd name="connsiteX5" fmla="*/ 0 w 1214437"/>
                  <a:gd name="connsiteY5" fmla="*/ 150019 h 233361"/>
                  <a:gd name="connsiteX0" fmla="*/ 0 w 1214437"/>
                  <a:gd name="connsiteY0" fmla="*/ 183357 h 233361"/>
                  <a:gd name="connsiteX1" fmla="*/ 7142 w 1214437"/>
                  <a:gd name="connsiteY1" fmla="*/ 138112 h 233361"/>
                  <a:gd name="connsiteX2" fmla="*/ 1123950 w 1214437"/>
                  <a:gd name="connsiteY2" fmla="*/ 0 h 233361"/>
                  <a:gd name="connsiteX3" fmla="*/ 1214437 w 1214437"/>
                  <a:gd name="connsiteY3" fmla="*/ 28574 h 233361"/>
                  <a:gd name="connsiteX4" fmla="*/ 11903 w 1214437"/>
                  <a:gd name="connsiteY4" fmla="*/ 233361 h 233361"/>
                  <a:gd name="connsiteX5" fmla="*/ 0 w 1214437"/>
                  <a:gd name="connsiteY5" fmla="*/ 183357 h 233361"/>
                  <a:gd name="connsiteX0" fmla="*/ 0 w 1214437"/>
                  <a:gd name="connsiteY0" fmla="*/ 183357 h 233361"/>
                  <a:gd name="connsiteX1" fmla="*/ 2380 w 1214437"/>
                  <a:gd name="connsiteY1" fmla="*/ 188118 h 233361"/>
                  <a:gd name="connsiteX2" fmla="*/ 1123950 w 1214437"/>
                  <a:gd name="connsiteY2" fmla="*/ 0 h 233361"/>
                  <a:gd name="connsiteX3" fmla="*/ 1214437 w 1214437"/>
                  <a:gd name="connsiteY3" fmla="*/ 28574 h 233361"/>
                  <a:gd name="connsiteX4" fmla="*/ 11903 w 1214437"/>
                  <a:gd name="connsiteY4" fmla="*/ 233361 h 233361"/>
                  <a:gd name="connsiteX5" fmla="*/ 0 w 1214437"/>
                  <a:gd name="connsiteY5" fmla="*/ 183357 h 233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4437" h="233361">
                    <a:moveTo>
                      <a:pt x="0" y="183357"/>
                    </a:moveTo>
                    <a:cubicBezTo>
                      <a:pt x="2381" y="180976"/>
                      <a:pt x="-1" y="190499"/>
                      <a:pt x="2380" y="188118"/>
                    </a:cubicBezTo>
                    <a:lnTo>
                      <a:pt x="1123950" y="0"/>
                    </a:lnTo>
                    <a:lnTo>
                      <a:pt x="1214437" y="28574"/>
                    </a:lnTo>
                    <a:lnTo>
                      <a:pt x="11903" y="233361"/>
                    </a:lnTo>
                    <a:lnTo>
                      <a:pt x="0" y="183357"/>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useBgFill="1">
            <p:nvSpPr>
              <p:cNvPr id="42" name="Freeform 41"/>
              <p:cNvSpPr/>
              <p:nvPr/>
            </p:nvSpPr>
            <p:spPr bwMode="auto">
              <a:xfrm flipH="1">
                <a:off x="8279933" y="3147272"/>
                <a:ext cx="1276235" cy="300037"/>
              </a:xfrm>
              <a:custGeom>
                <a:avLst/>
                <a:gdLst>
                  <a:gd name="connsiteX0" fmla="*/ 0 w 1159668"/>
                  <a:gd name="connsiteY0" fmla="*/ 150019 h 150019"/>
                  <a:gd name="connsiteX1" fmla="*/ 1123950 w 1159668"/>
                  <a:gd name="connsiteY1" fmla="*/ 0 h 150019"/>
                  <a:gd name="connsiteX2" fmla="*/ 1159668 w 1159668"/>
                  <a:gd name="connsiteY2" fmla="*/ 11906 h 150019"/>
                  <a:gd name="connsiteX3" fmla="*/ 0 w 1159668"/>
                  <a:gd name="connsiteY3" fmla="*/ 150019 h 150019"/>
                  <a:gd name="connsiteX0" fmla="*/ 0 w 1159668"/>
                  <a:gd name="connsiteY0" fmla="*/ 150019 h 150019"/>
                  <a:gd name="connsiteX1" fmla="*/ 1123950 w 1159668"/>
                  <a:gd name="connsiteY1" fmla="*/ 0 h 150019"/>
                  <a:gd name="connsiteX2" fmla="*/ 1159668 w 1159668"/>
                  <a:gd name="connsiteY2" fmla="*/ 11906 h 150019"/>
                  <a:gd name="connsiteX3" fmla="*/ 245268 w 1159668"/>
                  <a:gd name="connsiteY3" fmla="*/ 114300 h 150019"/>
                  <a:gd name="connsiteX4" fmla="*/ 0 w 1159668"/>
                  <a:gd name="connsiteY4" fmla="*/ 150019 h 150019"/>
                  <a:gd name="connsiteX0" fmla="*/ 0 w 1159668"/>
                  <a:gd name="connsiteY0" fmla="*/ 150019 h 169069"/>
                  <a:gd name="connsiteX1" fmla="*/ 1123950 w 1159668"/>
                  <a:gd name="connsiteY1" fmla="*/ 0 h 169069"/>
                  <a:gd name="connsiteX2" fmla="*/ 1159668 w 1159668"/>
                  <a:gd name="connsiteY2" fmla="*/ 11906 h 169069"/>
                  <a:gd name="connsiteX3" fmla="*/ 16668 w 1159668"/>
                  <a:gd name="connsiteY3" fmla="*/ 169069 h 169069"/>
                  <a:gd name="connsiteX4" fmla="*/ 0 w 1159668"/>
                  <a:gd name="connsiteY4" fmla="*/ 150019 h 169069"/>
                  <a:gd name="connsiteX0" fmla="*/ 0 w 1159668"/>
                  <a:gd name="connsiteY0" fmla="*/ 150019 h 169069"/>
                  <a:gd name="connsiteX1" fmla="*/ 26193 w 1159668"/>
                  <a:gd name="connsiteY1" fmla="*/ 135731 h 169069"/>
                  <a:gd name="connsiteX2" fmla="*/ 1123950 w 1159668"/>
                  <a:gd name="connsiteY2" fmla="*/ 0 h 169069"/>
                  <a:gd name="connsiteX3" fmla="*/ 1159668 w 1159668"/>
                  <a:gd name="connsiteY3" fmla="*/ 11906 h 169069"/>
                  <a:gd name="connsiteX4" fmla="*/ 16668 w 1159668"/>
                  <a:gd name="connsiteY4" fmla="*/ 169069 h 169069"/>
                  <a:gd name="connsiteX5" fmla="*/ 0 w 1159668"/>
                  <a:gd name="connsiteY5" fmla="*/ 150019 h 169069"/>
                  <a:gd name="connsiteX0" fmla="*/ 0 w 1171575"/>
                  <a:gd name="connsiteY0" fmla="*/ 150019 h 169069"/>
                  <a:gd name="connsiteX1" fmla="*/ 26193 w 1171575"/>
                  <a:gd name="connsiteY1" fmla="*/ 135731 h 169069"/>
                  <a:gd name="connsiteX2" fmla="*/ 1123950 w 1171575"/>
                  <a:gd name="connsiteY2" fmla="*/ 0 h 169069"/>
                  <a:gd name="connsiteX3" fmla="*/ 1171575 w 1171575"/>
                  <a:gd name="connsiteY3" fmla="*/ 14287 h 169069"/>
                  <a:gd name="connsiteX4" fmla="*/ 16668 w 1171575"/>
                  <a:gd name="connsiteY4" fmla="*/ 169069 h 169069"/>
                  <a:gd name="connsiteX5" fmla="*/ 0 w 1171575"/>
                  <a:gd name="connsiteY5" fmla="*/ 150019 h 169069"/>
                  <a:gd name="connsiteX0" fmla="*/ 0 w 1171575"/>
                  <a:gd name="connsiteY0" fmla="*/ 150019 h 169069"/>
                  <a:gd name="connsiteX1" fmla="*/ 19049 w 1171575"/>
                  <a:gd name="connsiteY1" fmla="*/ 128587 h 169069"/>
                  <a:gd name="connsiteX2" fmla="*/ 1123950 w 1171575"/>
                  <a:gd name="connsiteY2" fmla="*/ 0 h 169069"/>
                  <a:gd name="connsiteX3" fmla="*/ 1171575 w 1171575"/>
                  <a:gd name="connsiteY3" fmla="*/ 14287 h 169069"/>
                  <a:gd name="connsiteX4" fmla="*/ 16668 w 1171575"/>
                  <a:gd name="connsiteY4" fmla="*/ 169069 h 169069"/>
                  <a:gd name="connsiteX5" fmla="*/ 0 w 1171575"/>
                  <a:gd name="connsiteY5" fmla="*/ 150019 h 169069"/>
                  <a:gd name="connsiteX0" fmla="*/ 0 w 1190625"/>
                  <a:gd name="connsiteY0" fmla="*/ 150019 h 169069"/>
                  <a:gd name="connsiteX1" fmla="*/ 19049 w 1190625"/>
                  <a:gd name="connsiteY1" fmla="*/ 128587 h 169069"/>
                  <a:gd name="connsiteX2" fmla="*/ 1123950 w 1190625"/>
                  <a:gd name="connsiteY2" fmla="*/ 0 h 169069"/>
                  <a:gd name="connsiteX3" fmla="*/ 1190625 w 1190625"/>
                  <a:gd name="connsiteY3" fmla="*/ 16668 h 169069"/>
                  <a:gd name="connsiteX4" fmla="*/ 16668 w 1190625"/>
                  <a:gd name="connsiteY4" fmla="*/ 169069 h 169069"/>
                  <a:gd name="connsiteX5" fmla="*/ 0 w 1190625"/>
                  <a:gd name="connsiteY5" fmla="*/ 150019 h 169069"/>
                  <a:gd name="connsiteX0" fmla="*/ 0 w 1190625"/>
                  <a:gd name="connsiteY0" fmla="*/ 150019 h 169069"/>
                  <a:gd name="connsiteX1" fmla="*/ 7142 w 1190625"/>
                  <a:gd name="connsiteY1" fmla="*/ 138112 h 169069"/>
                  <a:gd name="connsiteX2" fmla="*/ 1123950 w 1190625"/>
                  <a:gd name="connsiteY2" fmla="*/ 0 h 169069"/>
                  <a:gd name="connsiteX3" fmla="*/ 1190625 w 1190625"/>
                  <a:gd name="connsiteY3" fmla="*/ 16668 h 169069"/>
                  <a:gd name="connsiteX4" fmla="*/ 16668 w 1190625"/>
                  <a:gd name="connsiteY4" fmla="*/ 169069 h 169069"/>
                  <a:gd name="connsiteX5" fmla="*/ 0 w 1190625"/>
                  <a:gd name="connsiteY5" fmla="*/ 150019 h 169069"/>
                  <a:gd name="connsiteX0" fmla="*/ 0 w 1190625"/>
                  <a:gd name="connsiteY0" fmla="*/ 150019 h 161925"/>
                  <a:gd name="connsiteX1" fmla="*/ 7142 w 1190625"/>
                  <a:gd name="connsiteY1" fmla="*/ 138112 h 161925"/>
                  <a:gd name="connsiteX2" fmla="*/ 1123950 w 1190625"/>
                  <a:gd name="connsiteY2" fmla="*/ 0 h 161925"/>
                  <a:gd name="connsiteX3" fmla="*/ 1190625 w 1190625"/>
                  <a:gd name="connsiteY3" fmla="*/ 16668 h 161925"/>
                  <a:gd name="connsiteX4" fmla="*/ 21430 w 1190625"/>
                  <a:gd name="connsiteY4" fmla="*/ 161925 h 161925"/>
                  <a:gd name="connsiteX5" fmla="*/ 0 w 1190625"/>
                  <a:gd name="connsiteY5" fmla="*/ 150019 h 161925"/>
                  <a:gd name="connsiteX0" fmla="*/ 88107 w 1278732"/>
                  <a:gd name="connsiteY0" fmla="*/ 150019 h 226219"/>
                  <a:gd name="connsiteX1" fmla="*/ 95249 w 1278732"/>
                  <a:gd name="connsiteY1" fmla="*/ 138112 h 226219"/>
                  <a:gd name="connsiteX2" fmla="*/ 1212057 w 1278732"/>
                  <a:gd name="connsiteY2" fmla="*/ 0 h 226219"/>
                  <a:gd name="connsiteX3" fmla="*/ 1278732 w 1278732"/>
                  <a:gd name="connsiteY3" fmla="*/ 16668 h 226219"/>
                  <a:gd name="connsiteX4" fmla="*/ 0 w 1278732"/>
                  <a:gd name="connsiteY4" fmla="*/ 226219 h 226219"/>
                  <a:gd name="connsiteX5" fmla="*/ 88107 w 1278732"/>
                  <a:gd name="connsiteY5" fmla="*/ 150019 h 226219"/>
                  <a:gd name="connsiteX0" fmla="*/ 14289 w 1278732"/>
                  <a:gd name="connsiteY0" fmla="*/ 197644 h 226219"/>
                  <a:gd name="connsiteX1" fmla="*/ 95249 w 1278732"/>
                  <a:gd name="connsiteY1" fmla="*/ 138112 h 226219"/>
                  <a:gd name="connsiteX2" fmla="*/ 1212057 w 1278732"/>
                  <a:gd name="connsiteY2" fmla="*/ 0 h 226219"/>
                  <a:gd name="connsiteX3" fmla="*/ 1278732 w 1278732"/>
                  <a:gd name="connsiteY3" fmla="*/ 16668 h 226219"/>
                  <a:gd name="connsiteX4" fmla="*/ 0 w 1278732"/>
                  <a:gd name="connsiteY4" fmla="*/ 226219 h 226219"/>
                  <a:gd name="connsiteX5" fmla="*/ 14289 w 1278732"/>
                  <a:gd name="connsiteY5" fmla="*/ 197644 h 226219"/>
                  <a:gd name="connsiteX0" fmla="*/ 14289 w 1278732"/>
                  <a:gd name="connsiteY0" fmla="*/ 197644 h 226219"/>
                  <a:gd name="connsiteX1" fmla="*/ 1212057 w 1278732"/>
                  <a:gd name="connsiteY1" fmla="*/ 0 h 226219"/>
                  <a:gd name="connsiteX2" fmla="*/ 1278732 w 1278732"/>
                  <a:gd name="connsiteY2" fmla="*/ 16668 h 226219"/>
                  <a:gd name="connsiteX3" fmla="*/ 0 w 1278732"/>
                  <a:gd name="connsiteY3" fmla="*/ 226219 h 226219"/>
                  <a:gd name="connsiteX4" fmla="*/ 14289 w 1278732"/>
                  <a:gd name="connsiteY4" fmla="*/ 197644 h 226219"/>
                  <a:gd name="connsiteX0" fmla="*/ 14289 w 1278732"/>
                  <a:gd name="connsiteY0" fmla="*/ 197644 h 233363"/>
                  <a:gd name="connsiteX1" fmla="*/ 1212057 w 1278732"/>
                  <a:gd name="connsiteY1" fmla="*/ 0 h 233363"/>
                  <a:gd name="connsiteX2" fmla="*/ 1278732 w 1278732"/>
                  <a:gd name="connsiteY2" fmla="*/ 16668 h 233363"/>
                  <a:gd name="connsiteX3" fmla="*/ 13567 w 1278732"/>
                  <a:gd name="connsiteY3" fmla="*/ 233363 h 233363"/>
                  <a:gd name="connsiteX4" fmla="*/ 0 w 1278732"/>
                  <a:gd name="connsiteY4" fmla="*/ 226219 h 233363"/>
                  <a:gd name="connsiteX5" fmla="*/ 14289 w 1278732"/>
                  <a:gd name="connsiteY5" fmla="*/ 197644 h 233363"/>
                  <a:gd name="connsiteX0" fmla="*/ 14289 w 1288404"/>
                  <a:gd name="connsiteY0" fmla="*/ 197644 h 233363"/>
                  <a:gd name="connsiteX1" fmla="*/ 1212057 w 1288404"/>
                  <a:gd name="connsiteY1" fmla="*/ 0 h 233363"/>
                  <a:gd name="connsiteX2" fmla="*/ 1288404 w 1288404"/>
                  <a:gd name="connsiteY2" fmla="*/ 23812 h 233363"/>
                  <a:gd name="connsiteX3" fmla="*/ 13567 w 1288404"/>
                  <a:gd name="connsiteY3" fmla="*/ 233363 h 233363"/>
                  <a:gd name="connsiteX4" fmla="*/ 0 w 1288404"/>
                  <a:gd name="connsiteY4" fmla="*/ 226219 h 233363"/>
                  <a:gd name="connsiteX5" fmla="*/ 14289 w 1288404"/>
                  <a:gd name="connsiteY5" fmla="*/ 197644 h 233363"/>
                  <a:gd name="connsiteX0" fmla="*/ 14289 w 1288404"/>
                  <a:gd name="connsiteY0" fmla="*/ 197644 h 247650"/>
                  <a:gd name="connsiteX1" fmla="*/ 1212057 w 1288404"/>
                  <a:gd name="connsiteY1" fmla="*/ 0 h 247650"/>
                  <a:gd name="connsiteX2" fmla="*/ 1288404 w 1288404"/>
                  <a:gd name="connsiteY2" fmla="*/ 23812 h 247650"/>
                  <a:gd name="connsiteX3" fmla="*/ 11149 w 1288404"/>
                  <a:gd name="connsiteY3" fmla="*/ 247650 h 247650"/>
                  <a:gd name="connsiteX4" fmla="*/ 0 w 1288404"/>
                  <a:gd name="connsiteY4" fmla="*/ 226219 h 247650"/>
                  <a:gd name="connsiteX5" fmla="*/ 14289 w 1288404"/>
                  <a:gd name="connsiteY5" fmla="*/ 197644 h 247650"/>
                  <a:gd name="connsiteX0" fmla="*/ 14289 w 1295658"/>
                  <a:gd name="connsiteY0" fmla="*/ 197644 h 247650"/>
                  <a:gd name="connsiteX1" fmla="*/ 1212057 w 1295658"/>
                  <a:gd name="connsiteY1" fmla="*/ 0 h 247650"/>
                  <a:gd name="connsiteX2" fmla="*/ 1295658 w 1295658"/>
                  <a:gd name="connsiteY2" fmla="*/ 28575 h 247650"/>
                  <a:gd name="connsiteX3" fmla="*/ 11149 w 1295658"/>
                  <a:gd name="connsiteY3" fmla="*/ 247650 h 247650"/>
                  <a:gd name="connsiteX4" fmla="*/ 0 w 1295658"/>
                  <a:gd name="connsiteY4" fmla="*/ 226219 h 247650"/>
                  <a:gd name="connsiteX5" fmla="*/ 14289 w 1295658"/>
                  <a:gd name="connsiteY5" fmla="*/ 197644 h 247650"/>
                  <a:gd name="connsiteX0" fmla="*/ 14289 w 1295658"/>
                  <a:gd name="connsiteY0" fmla="*/ 197644 h 300037"/>
                  <a:gd name="connsiteX1" fmla="*/ 1212057 w 1295658"/>
                  <a:gd name="connsiteY1" fmla="*/ 0 h 300037"/>
                  <a:gd name="connsiteX2" fmla="*/ 1295658 w 1295658"/>
                  <a:gd name="connsiteY2" fmla="*/ 28575 h 300037"/>
                  <a:gd name="connsiteX3" fmla="*/ 28074 w 1295658"/>
                  <a:gd name="connsiteY3" fmla="*/ 300037 h 300037"/>
                  <a:gd name="connsiteX4" fmla="*/ 11149 w 1295658"/>
                  <a:gd name="connsiteY4" fmla="*/ 247650 h 300037"/>
                  <a:gd name="connsiteX5" fmla="*/ 0 w 1295658"/>
                  <a:gd name="connsiteY5" fmla="*/ 226219 h 300037"/>
                  <a:gd name="connsiteX6" fmla="*/ 14289 w 1295658"/>
                  <a:gd name="connsiteY6" fmla="*/ 197644 h 300037"/>
                  <a:gd name="connsiteX0" fmla="*/ 11871 w 1295658"/>
                  <a:gd name="connsiteY0" fmla="*/ 252413 h 300037"/>
                  <a:gd name="connsiteX1" fmla="*/ 1212057 w 1295658"/>
                  <a:gd name="connsiteY1" fmla="*/ 0 h 300037"/>
                  <a:gd name="connsiteX2" fmla="*/ 1295658 w 1295658"/>
                  <a:gd name="connsiteY2" fmla="*/ 28575 h 300037"/>
                  <a:gd name="connsiteX3" fmla="*/ 28074 w 1295658"/>
                  <a:gd name="connsiteY3" fmla="*/ 300037 h 300037"/>
                  <a:gd name="connsiteX4" fmla="*/ 11149 w 1295658"/>
                  <a:gd name="connsiteY4" fmla="*/ 247650 h 300037"/>
                  <a:gd name="connsiteX5" fmla="*/ 0 w 1295658"/>
                  <a:gd name="connsiteY5" fmla="*/ 226219 h 300037"/>
                  <a:gd name="connsiteX6" fmla="*/ 11871 w 1295658"/>
                  <a:gd name="connsiteY6" fmla="*/ 252413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658" h="300037">
                    <a:moveTo>
                      <a:pt x="11871" y="252413"/>
                    </a:moveTo>
                    <a:cubicBezTo>
                      <a:pt x="213880" y="214710"/>
                      <a:pt x="1001317" y="30163"/>
                      <a:pt x="1212057" y="0"/>
                    </a:cubicBezTo>
                    <a:lnTo>
                      <a:pt x="1295658" y="28575"/>
                    </a:lnTo>
                    <a:cubicBezTo>
                      <a:pt x="871518" y="100012"/>
                      <a:pt x="452214" y="228600"/>
                      <a:pt x="28074" y="300037"/>
                    </a:cubicBezTo>
                    <a:lnTo>
                      <a:pt x="11149" y="247650"/>
                    </a:lnTo>
                    <a:lnTo>
                      <a:pt x="0" y="226219"/>
                    </a:lnTo>
                    <a:lnTo>
                      <a:pt x="11871" y="252413"/>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pic>
            <p:nvPicPr>
              <p:cNvPr id="44" name="Picture 2"/>
              <p:cNvPicPr>
                <a:picLocks noChangeAspect="1" noChangeArrowheads="1"/>
              </p:cNvPicPr>
              <p:nvPr/>
            </p:nvPicPr>
            <p:blipFill>
              <a:blip r:embed="rId3">
                <a:duotone>
                  <a:schemeClr val="accent3">
                    <a:shade val="45000"/>
                    <a:satMod val="135000"/>
                  </a:schemeClr>
                  <a:prstClr val="white"/>
                </a:duoton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rot="2700000">
                <a:off x="8833361" y="2830957"/>
                <a:ext cx="1405964" cy="14999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5" name="Group 44"/>
              <p:cNvGrpSpPr/>
              <p:nvPr/>
            </p:nvGrpSpPr>
            <p:grpSpPr>
              <a:xfrm>
                <a:off x="7851229" y="2573740"/>
                <a:ext cx="3326453" cy="1591802"/>
                <a:chOff x="1337814" y="2757837"/>
                <a:chExt cx="3325587" cy="1591802"/>
              </a:xfrm>
            </p:grpSpPr>
            <p:grpSp>
              <p:nvGrpSpPr>
                <p:cNvPr id="52" name="Group 51"/>
                <p:cNvGrpSpPr/>
                <p:nvPr/>
              </p:nvGrpSpPr>
              <p:grpSpPr>
                <a:xfrm>
                  <a:off x="1337814" y="2757837"/>
                  <a:ext cx="3325587" cy="1591802"/>
                  <a:chOff x="1337814" y="2757837"/>
                  <a:chExt cx="3325587" cy="1591802"/>
                </a:xfrm>
              </p:grpSpPr>
              <p:sp>
                <p:nvSpPr>
                  <p:cNvPr id="55" name="Rectangle 54"/>
                  <p:cNvSpPr/>
                  <p:nvPr/>
                </p:nvSpPr>
                <p:spPr>
                  <a:xfrm>
                    <a:off x="2941591" y="2757837"/>
                    <a:ext cx="1095313" cy="249334"/>
                  </a:xfrm>
                  <a:prstGeom prst="rect">
                    <a:avLst/>
                  </a:prstGeom>
                </p:spPr>
                <p:txBody>
                  <a:bodyPr wrap="square">
                    <a:spAutoFit/>
                  </a:bodyPr>
                  <a:lstStyle/>
                  <a:p>
                    <a:pPr algn="ctr" defTabSz="932208" fontAlgn="base">
                      <a:lnSpc>
                        <a:spcPct val="85000"/>
                      </a:lnSpc>
                      <a:spcBef>
                        <a:spcPct val="0"/>
                      </a:spcBef>
                      <a:spcAft>
                        <a:spcPct val="0"/>
                      </a:spcAft>
                    </a:pPr>
                    <a:r>
                      <a:rPr lang="en-US" sz="1200" dirty="0">
                        <a:gradFill>
                          <a:gsLst>
                            <a:gs pos="60177">
                              <a:srgbClr val="FFFFFF"/>
                            </a:gs>
                            <a:gs pos="49000">
                              <a:srgbClr val="FFFFFF"/>
                            </a:gs>
                          </a:gsLst>
                          <a:lin ang="5400000" scaled="0"/>
                        </a:gradFill>
                        <a:ea typeface="Segoe UI" pitchFamily="34" charset="0"/>
                        <a:cs typeface="Segoe UI" pitchFamily="34" charset="0"/>
                      </a:rPr>
                      <a:t>CUSTOMER</a:t>
                    </a:r>
                  </a:p>
                </p:txBody>
              </p:sp>
              <p:sp>
                <p:nvSpPr>
                  <p:cNvPr id="56" name="Rectangle 55"/>
                  <p:cNvSpPr/>
                  <p:nvPr/>
                </p:nvSpPr>
                <p:spPr>
                  <a:xfrm>
                    <a:off x="3674981" y="3943316"/>
                    <a:ext cx="988420" cy="406323"/>
                  </a:xfrm>
                  <a:prstGeom prst="rect">
                    <a:avLst/>
                  </a:prstGeom>
                </p:spPr>
                <p:txBody>
                  <a:bodyPr wrap="square">
                    <a:spAutoFit/>
                  </a:bodyPr>
                  <a:lstStyle/>
                  <a:p>
                    <a:pPr defTabSz="932208" fontAlgn="base">
                      <a:lnSpc>
                        <a:spcPct val="85000"/>
                      </a:lnSpc>
                      <a:spcBef>
                        <a:spcPct val="0"/>
                      </a:spcBef>
                      <a:spcAft>
                        <a:spcPct val="0"/>
                      </a:spcAft>
                    </a:pPr>
                    <a:r>
                      <a:rPr lang="en-US" sz="1200" dirty="0">
                        <a:gradFill>
                          <a:gsLst>
                            <a:gs pos="60177">
                              <a:srgbClr val="FFFFFF"/>
                            </a:gs>
                            <a:gs pos="49000">
                              <a:srgbClr val="FFFFFF"/>
                            </a:gs>
                          </a:gsLst>
                          <a:lin ang="5400000" scaled="0"/>
                        </a:gradFill>
                        <a:ea typeface="Segoe UI" pitchFamily="34" charset="0"/>
                        <a:cs typeface="Segoe UI" pitchFamily="34" charset="0"/>
                      </a:rPr>
                      <a:t>SERVICE PROVIDER</a:t>
                    </a:r>
                  </a:p>
                </p:txBody>
              </p:sp>
              <p:sp>
                <p:nvSpPr>
                  <p:cNvPr id="57" name="Rectangle 56"/>
                  <p:cNvSpPr/>
                  <p:nvPr/>
                </p:nvSpPr>
                <p:spPr>
                  <a:xfrm>
                    <a:off x="1337814" y="3943316"/>
                    <a:ext cx="1013400" cy="406323"/>
                  </a:xfrm>
                  <a:prstGeom prst="rect">
                    <a:avLst/>
                  </a:prstGeom>
                </p:spPr>
                <p:txBody>
                  <a:bodyPr wrap="square">
                    <a:spAutoFit/>
                  </a:bodyPr>
                  <a:lstStyle/>
                  <a:p>
                    <a:pPr algn="r" defTabSz="932208" fontAlgn="base">
                      <a:lnSpc>
                        <a:spcPct val="85000"/>
                      </a:lnSpc>
                      <a:spcBef>
                        <a:spcPct val="0"/>
                      </a:spcBef>
                      <a:spcAft>
                        <a:spcPct val="0"/>
                      </a:spcAft>
                    </a:pPr>
                    <a:r>
                      <a:rPr lang="en-US" sz="1200" dirty="0">
                        <a:gradFill>
                          <a:gsLst>
                            <a:gs pos="60177">
                              <a:srgbClr val="FFFFFF"/>
                            </a:gs>
                            <a:gs pos="49000">
                              <a:srgbClr val="FFFFFF"/>
                            </a:gs>
                          </a:gsLst>
                          <a:lin ang="5400000" scaled="0"/>
                        </a:gradFill>
                        <a:ea typeface="Segoe UI" pitchFamily="34" charset="0"/>
                        <a:cs typeface="Segoe UI" pitchFamily="34" charset="0"/>
                      </a:rPr>
                      <a:t>WINDOWS AZURE</a:t>
                    </a:r>
                  </a:p>
                </p:txBody>
              </p:sp>
            </p:grpSp>
            <p:sp>
              <p:nvSpPr>
                <p:cNvPr id="53" name="TextBox 52"/>
                <p:cNvSpPr txBox="1"/>
                <p:nvPr/>
              </p:nvSpPr>
              <p:spPr>
                <a:xfrm>
                  <a:off x="2459865" y="3355922"/>
                  <a:ext cx="188344" cy="847403"/>
                </a:xfrm>
                <a:prstGeom prst="rect">
                  <a:avLst/>
                </a:prstGeom>
                <a:noFill/>
              </p:spPr>
              <p:txBody>
                <a:bodyPr wrap="square" lIns="0" tIns="0" rIns="0" bIns="0" rtlCol="0">
                  <a:spAutoFit/>
                </a:bodyPr>
                <a:lstStyle/>
                <a:p>
                  <a:pPr defTabSz="932515"/>
                  <a:r>
                    <a:rPr lang="en-US" sz="5506" b="1" dirty="0">
                      <a:gradFill>
                        <a:gsLst>
                          <a:gs pos="90265">
                            <a:srgbClr val="44546A"/>
                          </a:gs>
                          <a:gs pos="69027">
                            <a:srgbClr val="44546A"/>
                          </a:gs>
                        </a:gsLst>
                        <a:lin ang="5400000" scaled="0"/>
                      </a:gradFill>
                      <a:latin typeface="Segoe UI Light" pitchFamily="34" charset="0"/>
                    </a:rPr>
                    <a:t>1</a:t>
                  </a:r>
                </a:p>
              </p:txBody>
            </p:sp>
            <p:sp>
              <p:nvSpPr>
                <p:cNvPr id="54" name="Rectangle 53"/>
                <p:cNvSpPr/>
                <p:nvPr/>
              </p:nvSpPr>
              <p:spPr>
                <a:xfrm>
                  <a:off x="2624046" y="3558954"/>
                  <a:ext cx="1168387" cy="437684"/>
                </a:xfrm>
                <a:prstGeom prst="rect">
                  <a:avLst/>
                </a:prstGeom>
              </p:spPr>
              <p:txBody>
                <a:bodyPr wrap="square">
                  <a:spAutoFit/>
                </a:bodyPr>
                <a:lstStyle/>
                <a:p>
                  <a:pPr defTabSz="932208" fontAlgn="base">
                    <a:spcBef>
                      <a:spcPct val="0"/>
                    </a:spcBef>
                    <a:spcAft>
                      <a:spcPct val="0"/>
                    </a:spcAft>
                  </a:pPr>
                  <a:r>
                    <a:rPr lang="en-US" sz="1122" dirty="0">
                      <a:gradFill>
                        <a:gsLst>
                          <a:gs pos="69027">
                            <a:prstClr val="black"/>
                          </a:gs>
                          <a:gs pos="60177">
                            <a:prstClr val="black"/>
                          </a:gs>
                        </a:gsLst>
                        <a:lin ang="5400000" scaled="0"/>
                      </a:gradFill>
                      <a:ea typeface="Segoe UI" pitchFamily="34" charset="0"/>
                      <a:cs typeface="Segoe UI" pitchFamily="34" charset="0"/>
                    </a:rPr>
                    <a:t>CONSISTENT</a:t>
                  </a:r>
                  <a:br>
                    <a:rPr lang="en-US" sz="1122" dirty="0">
                      <a:gradFill>
                        <a:gsLst>
                          <a:gs pos="69027">
                            <a:prstClr val="black"/>
                          </a:gs>
                          <a:gs pos="60177">
                            <a:prstClr val="black"/>
                          </a:gs>
                        </a:gsLst>
                        <a:lin ang="5400000" scaled="0"/>
                      </a:gradFill>
                      <a:ea typeface="Segoe UI" pitchFamily="34" charset="0"/>
                      <a:cs typeface="Segoe UI" pitchFamily="34" charset="0"/>
                    </a:rPr>
                  </a:br>
                  <a:r>
                    <a:rPr lang="en-US" sz="1122" dirty="0">
                      <a:gradFill>
                        <a:gsLst>
                          <a:gs pos="69027">
                            <a:prstClr val="black"/>
                          </a:gs>
                          <a:gs pos="60177">
                            <a:prstClr val="black"/>
                          </a:gs>
                        </a:gsLst>
                        <a:lin ang="5400000" scaled="0"/>
                      </a:gradFill>
                      <a:ea typeface="Segoe UI" pitchFamily="34" charset="0"/>
                      <a:cs typeface="Segoe UI" pitchFamily="34" charset="0"/>
                    </a:rPr>
                    <a:t>PLATFORM</a:t>
                  </a:r>
                </a:p>
              </p:txBody>
            </p:sp>
          </p:grpSp>
        </p:grpSp>
        <p:grpSp>
          <p:nvGrpSpPr>
            <p:cNvPr id="58" name="Group 57"/>
            <p:cNvGrpSpPr/>
            <p:nvPr/>
          </p:nvGrpSpPr>
          <p:grpSpPr>
            <a:xfrm>
              <a:off x="278849" y="1473954"/>
              <a:ext cx="4798544" cy="4260681"/>
              <a:chOff x="5625793" y="1599766"/>
              <a:chExt cx="4594903" cy="4080928"/>
            </a:xfrm>
          </p:grpSpPr>
          <p:grpSp>
            <p:nvGrpSpPr>
              <p:cNvPr id="59" name="Group 58"/>
              <p:cNvGrpSpPr/>
              <p:nvPr/>
            </p:nvGrpSpPr>
            <p:grpSpPr>
              <a:xfrm>
                <a:off x="6191250" y="1599766"/>
                <a:ext cx="3473482" cy="1069614"/>
                <a:chOff x="6191250" y="1599766"/>
                <a:chExt cx="3473482" cy="1069614"/>
              </a:xfrm>
              <a:solidFill>
                <a:schemeClr val="tx1"/>
              </a:solidFill>
            </p:grpSpPr>
            <p:sp>
              <p:nvSpPr>
                <p:cNvPr id="65" name="Freeform 64"/>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66" name="Freeform 65"/>
                <p:cNvSpPr/>
                <p:nvPr/>
              </p:nvSpPr>
              <p:spPr bwMode="auto">
                <a:xfrm flipH="1">
                  <a:off x="8043101"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0" name="Group 59"/>
              <p:cNvGrpSpPr/>
              <p:nvPr/>
            </p:nvGrpSpPr>
            <p:grpSpPr>
              <a:xfrm flipV="1">
                <a:off x="6191251" y="4611080"/>
                <a:ext cx="3473482" cy="1069614"/>
                <a:chOff x="6191251" y="1599766"/>
                <a:chExt cx="3473482" cy="1069614"/>
              </a:xfrm>
              <a:solidFill>
                <a:schemeClr val="tx1"/>
              </a:solidFill>
            </p:grpSpPr>
            <p:sp>
              <p:nvSpPr>
                <p:cNvPr id="63" name="Freeform 62"/>
                <p:cNvSpPr/>
                <p:nvPr/>
              </p:nvSpPr>
              <p:spPr bwMode="auto">
                <a:xfrm>
                  <a:off x="6191251"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64" name="Freeform 63"/>
                <p:cNvSpPr/>
                <p:nvPr/>
              </p:nvSpPr>
              <p:spPr bwMode="auto">
                <a:xfrm flipH="1">
                  <a:off x="8043102"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sp>
            <p:nvSpPr>
              <p:cNvPr id="61" name="Freeform 60"/>
              <p:cNvSpPr/>
              <p:nvPr/>
            </p:nvSpPr>
            <p:spPr bwMode="auto">
              <a:xfrm rot="17954294">
                <a:off x="5349784"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62" name="Freeform 61"/>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67" name="TextBox 66"/>
          <p:cNvSpPr txBox="1"/>
          <p:nvPr/>
        </p:nvSpPr>
        <p:spPr>
          <a:xfrm>
            <a:off x="6735783" y="2404287"/>
            <a:ext cx="2108179" cy="678031"/>
          </a:xfrm>
          <a:prstGeom prst="rect">
            <a:avLst/>
          </a:prstGeom>
          <a:noFill/>
        </p:spPr>
        <p:txBody>
          <a:bodyPr wrap="square" lIns="0" tIns="0" rIns="0" bIns="0" rtlCol="0" anchor="ctr">
            <a:spAutoFit/>
          </a:bodyPr>
          <a:lstStyle/>
          <a:p>
            <a:pPr defTabSz="932025" fontAlgn="base">
              <a:lnSpc>
                <a:spcPct val="90000"/>
              </a:lnSpc>
              <a:spcBef>
                <a:spcPct val="0"/>
              </a:spcBef>
              <a:spcAft>
                <a:spcPts val="612"/>
              </a:spcAft>
              <a:buClr>
                <a:srgbClr val="FFFFFF"/>
              </a:buClr>
            </a:pPr>
            <a:r>
              <a:rPr lang="en-US" sz="2400" spc="-51" dirty="0">
                <a:ea typeface="Segoe UI" pitchFamily="34" charset="0"/>
                <a:cs typeface="Segoe UI" pitchFamily="34" charset="0"/>
                <a:sym typeface="Wingdings" pitchFamily="2" charset="2"/>
              </a:rPr>
              <a:t>Transforms </a:t>
            </a:r>
            <a:br>
              <a:rPr lang="en-US" sz="2400" spc="-51" dirty="0">
                <a:ea typeface="Segoe UI" pitchFamily="34" charset="0"/>
                <a:cs typeface="Segoe UI" pitchFamily="34" charset="0"/>
                <a:sym typeface="Wingdings" pitchFamily="2" charset="2"/>
              </a:rPr>
            </a:br>
            <a:r>
              <a:rPr lang="en-US" sz="2400" spc="-51" dirty="0">
                <a:ea typeface="Segoe UI" pitchFamily="34" charset="0"/>
                <a:cs typeface="Segoe UI" pitchFamily="34" charset="0"/>
                <a:sym typeface="Wingdings" pitchFamily="2" charset="2"/>
              </a:rPr>
              <a:t>the datacenter</a:t>
            </a:r>
          </a:p>
        </p:txBody>
      </p:sp>
      <p:sp>
        <p:nvSpPr>
          <p:cNvPr id="68" name="TextBox 67"/>
          <p:cNvSpPr txBox="1"/>
          <p:nvPr/>
        </p:nvSpPr>
        <p:spPr>
          <a:xfrm>
            <a:off x="6735783" y="3730494"/>
            <a:ext cx="2329569" cy="678031"/>
          </a:xfrm>
          <a:prstGeom prst="rect">
            <a:avLst/>
          </a:prstGeom>
          <a:noFill/>
        </p:spPr>
        <p:txBody>
          <a:bodyPr wrap="square" lIns="0" tIns="0" rIns="0" bIns="0" rtlCol="0" anchor="ctr">
            <a:spAutoFit/>
          </a:bodyPr>
          <a:lstStyle/>
          <a:p>
            <a:pPr defTabSz="932332">
              <a:lnSpc>
                <a:spcPct val="90000"/>
              </a:lnSpc>
              <a:spcBef>
                <a:spcPct val="0"/>
              </a:spcBef>
            </a:pPr>
            <a:r>
              <a:rPr lang="en-US" sz="2400" spc="-51" dirty="0">
                <a:ea typeface="Segoe UI" pitchFamily="34" charset="0"/>
                <a:cs typeface="Segoe UI" pitchFamily="34" charset="0"/>
                <a:sym typeface="Wingdings" pitchFamily="2" charset="2"/>
              </a:rPr>
              <a:t>Unlocks insights</a:t>
            </a:r>
            <a:br>
              <a:rPr lang="en-US" sz="2400" spc="-51" dirty="0">
                <a:ea typeface="Segoe UI" pitchFamily="34" charset="0"/>
                <a:cs typeface="Segoe UI" pitchFamily="34" charset="0"/>
                <a:sym typeface="Wingdings" pitchFamily="2" charset="2"/>
              </a:rPr>
            </a:br>
            <a:r>
              <a:rPr lang="en-US" sz="2400" spc="-51" dirty="0">
                <a:ea typeface="Segoe UI" pitchFamily="34" charset="0"/>
                <a:cs typeface="Segoe UI" pitchFamily="34" charset="0"/>
                <a:sym typeface="Wingdings" pitchFamily="2" charset="2"/>
              </a:rPr>
              <a:t>on any data</a:t>
            </a:r>
            <a:endParaRPr lang="en-US" sz="2400" kern="0" dirty="0"/>
          </a:p>
        </p:txBody>
      </p:sp>
      <p:sp>
        <p:nvSpPr>
          <p:cNvPr id="78" name="TextBox 77"/>
          <p:cNvSpPr txBox="1"/>
          <p:nvPr/>
        </p:nvSpPr>
        <p:spPr>
          <a:xfrm>
            <a:off x="9951049" y="2404287"/>
            <a:ext cx="2335838" cy="678031"/>
          </a:xfrm>
          <a:prstGeom prst="rect">
            <a:avLst/>
          </a:prstGeom>
          <a:noFill/>
        </p:spPr>
        <p:txBody>
          <a:bodyPr wrap="square" lIns="0" tIns="0" rIns="0" bIns="0" rtlCol="0" anchor="ctr">
            <a:spAutoFit/>
          </a:bodyPr>
          <a:lstStyle/>
          <a:p>
            <a:pPr defTabSz="932332">
              <a:lnSpc>
                <a:spcPct val="90000"/>
              </a:lnSpc>
              <a:spcBef>
                <a:spcPct val="0"/>
              </a:spcBef>
            </a:pPr>
            <a:r>
              <a:rPr lang="en-US" sz="2400" spc="-51" dirty="0" smtClean="0">
                <a:ea typeface="Segoe UI" pitchFamily="34" charset="0"/>
                <a:cs typeface="Segoe UI" pitchFamily="34" charset="0"/>
                <a:sym typeface="Wingdings" pitchFamily="2" charset="2"/>
              </a:rPr>
              <a:t>Empowers </a:t>
            </a:r>
            <a:r>
              <a:rPr lang="en-US" sz="2400" spc="-51" dirty="0">
                <a:ea typeface="Segoe UI" pitchFamily="34" charset="0"/>
                <a:cs typeface="Segoe UI" pitchFamily="34" charset="0"/>
                <a:sym typeface="Wingdings" pitchFamily="2" charset="2"/>
              </a:rPr>
              <a:t/>
            </a:r>
            <a:br>
              <a:rPr lang="en-US" sz="2400" spc="-51" dirty="0">
                <a:ea typeface="Segoe UI" pitchFamily="34" charset="0"/>
                <a:cs typeface="Segoe UI" pitchFamily="34" charset="0"/>
                <a:sym typeface="Wingdings" pitchFamily="2" charset="2"/>
              </a:rPr>
            </a:br>
            <a:r>
              <a:rPr lang="en-US" sz="2400" spc="-51" dirty="0">
                <a:ea typeface="Segoe UI" pitchFamily="34" charset="0"/>
                <a:cs typeface="Segoe UI" pitchFamily="34" charset="0"/>
                <a:sym typeface="Wingdings" pitchFamily="2" charset="2"/>
              </a:rPr>
              <a:t>people-centric IT</a:t>
            </a:r>
            <a:endParaRPr lang="en-US" sz="2400" kern="0" dirty="0"/>
          </a:p>
        </p:txBody>
      </p:sp>
      <p:sp>
        <p:nvSpPr>
          <p:cNvPr id="79" name="TextBox 78"/>
          <p:cNvSpPr txBox="1"/>
          <p:nvPr/>
        </p:nvSpPr>
        <p:spPr>
          <a:xfrm>
            <a:off x="9951048" y="3730494"/>
            <a:ext cx="1908318" cy="678031"/>
          </a:xfrm>
          <a:prstGeom prst="rect">
            <a:avLst/>
          </a:prstGeom>
          <a:noFill/>
        </p:spPr>
        <p:txBody>
          <a:bodyPr wrap="square" lIns="0" tIns="0" rIns="0" bIns="0" rtlCol="0" anchor="ctr">
            <a:spAutoFit/>
          </a:bodyPr>
          <a:lstStyle/>
          <a:p>
            <a:pPr defTabSz="932025" fontAlgn="base">
              <a:lnSpc>
                <a:spcPct val="90000"/>
              </a:lnSpc>
              <a:spcBef>
                <a:spcPct val="0"/>
              </a:spcBef>
              <a:spcAft>
                <a:spcPts val="612"/>
              </a:spcAft>
              <a:buClr>
                <a:srgbClr val="FFFFFF"/>
              </a:buClr>
            </a:pPr>
            <a:r>
              <a:rPr lang="en-US" sz="2400" spc="-51" dirty="0">
                <a:ea typeface="Segoe UI" pitchFamily="34" charset="0"/>
                <a:cs typeface="Segoe UI" pitchFamily="34" charset="0"/>
                <a:sym typeface="Wingdings" pitchFamily="2" charset="2"/>
              </a:rPr>
              <a:t>Enables </a:t>
            </a:r>
            <a:br>
              <a:rPr lang="en-US" sz="2400" spc="-51" dirty="0">
                <a:ea typeface="Segoe UI" pitchFamily="34" charset="0"/>
                <a:cs typeface="Segoe UI" pitchFamily="34" charset="0"/>
                <a:sym typeface="Wingdings" pitchFamily="2" charset="2"/>
              </a:rPr>
            </a:br>
            <a:r>
              <a:rPr lang="en-US" sz="2400" spc="-51" dirty="0">
                <a:ea typeface="Segoe UI" pitchFamily="34" charset="0"/>
                <a:cs typeface="Segoe UI" pitchFamily="34" charset="0"/>
                <a:sym typeface="Wingdings" pitchFamily="2" charset="2"/>
              </a:rPr>
              <a:t>modern apps</a:t>
            </a:r>
          </a:p>
        </p:txBody>
      </p:sp>
      <p:grpSp>
        <p:nvGrpSpPr>
          <p:cNvPr id="80" name="Group 79"/>
          <p:cNvGrpSpPr/>
          <p:nvPr/>
        </p:nvGrpSpPr>
        <p:grpSpPr>
          <a:xfrm>
            <a:off x="5787605" y="3694209"/>
            <a:ext cx="845128" cy="750596"/>
            <a:chOff x="5213294" y="3979675"/>
            <a:chExt cx="828966" cy="736049"/>
          </a:xfrm>
          <a:solidFill>
            <a:schemeClr val="tx1"/>
          </a:solidFill>
        </p:grpSpPr>
        <p:grpSp>
          <p:nvGrpSpPr>
            <p:cNvPr id="81" name="Group 80"/>
            <p:cNvGrpSpPr/>
            <p:nvPr/>
          </p:nvGrpSpPr>
          <p:grpSpPr>
            <a:xfrm>
              <a:off x="5213294" y="3979675"/>
              <a:ext cx="828966" cy="736049"/>
              <a:chOff x="5625794" y="1599766"/>
              <a:chExt cx="4594902" cy="4080930"/>
            </a:xfrm>
            <a:grpFill/>
          </p:grpSpPr>
          <p:grpSp>
            <p:nvGrpSpPr>
              <p:cNvPr id="83" name="Group 82"/>
              <p:cNvGrpSpPr/>
              <p:nvPr/>
            </p:nvGrpSpPr>
            <p:grpSpPr>
              <a:xfrm>
                <a:off x="6191250" y="1599766"/>
                <a:ext cx="3473485" cy="1069614"/>
                <a:chOff x="6191250" y="1599766"/>
                <a:chExt cx="3473485" cy="1069614"/>
              </a:xfrm>
              <a:grpFill/>
            </p:grpSpPr>
            <p:sp>
              <p:nvSpPr>
                <p:cNvPr id="89" name="Freeform 88"/>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90" name="Freeform 89"/>
                <p:cNvSpPr/>
                <p:nvPr/>
              </p:nvSpPr>
              <p:spPr bwMode="auto">
                <a:xfrm flipH="1">
                  <a:off x="8043104"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84" name="Group 83"/>
              <p:cNvGrpSpPr/>
              <p:nvPr/>
            </p:nvGrpSpPr>
            <p:grpSpPr>
              <a:xfrm flipV="1">
                <a:off x="6191250" y="4611080"/>
                <a:ext cx="3473483" cy="1069616"/>
                <a:chOff x="6191250" y="1599764"/>
                <a:chExt cx="3473483" cy="1069616"/>
              </a:xfrm>
              <a:grpFill/>
            </p:grpSpPr>
            <p:sp>
              <p:nvSpPr>
                <p:cNvPr id="87" name="Freeform 86"/>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87"/>
                <p:cNvSpPr/>
                <p:nvPr/>
              </p:nvSpPr>
              <p:spPr bwMode="auto">
                <a:xfrm flipH="1">
                  <a:off x="8043102" y="1599764"/>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sp>
            <p:nvSpPr>
              <p:cNvPr id="85" name="Freeform 84"/>
              <p:cNvSpPr/>
              <p:nvPr/>
            </p:nvSpPr>
            <p:spPr bwMode="auto">
              <a:xfrm rot="17954294">
                <a:off x="5349785"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86" name="Freeform 85"/>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sp>
          <p:nvSpPr>
            <p:cNvPr id="82" name="Freeform 81"/>
            <p:cNvSpPr>
              <a:spLocks noEditPoints="1"/>
            </p:cNvSpPr>
            <p:nvPr/>
          </p:nvSpPr>
          <p:spPr bwMode="black">
            <a:xfrm>
              <a:off x="5369368" y="4184446"/>
              <a:ext cx="547323" cy="334102"/>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spc="-51">
                <a:gradFill>
                  <a:gsLst>
                    <a:gs pos="0">
                      <a:srgbClr val="FFFFFF"/>
                    </a:gs>
                    <a:gs pos="100000">
                      <a:srgbClr val="FFFFFF"/>
                    </a:gs>
                  </a:gsLst>
                  <a:lin ang="5400000" scaled="0"/>
                </a:gradFill>
                <a:ea typeface="Segoe UI" pitchFamily="34" charset="0"/>
                <a:cs typeface="Segoe UI" pitchFamily="34" charset="0"/>
              </a:endParaRPr>
            </a:p>
          </p:txBody>
        </p:sp>
      </p:grpSp>
      <p:grpSp>
        <p:nvGrpSpPr>
          <p:cNvPr id="91" name="Group 90"/>
          <p:cNvGrpSpPr/>
          <p:nvPr/>
        </p:nvGrpSpPr>
        <p:grpSpPr>
          <a:xfrm>
            <a:off x="9002688" y="2368003"/>
            <a:ext cx="845128" cy="750596"/>
            <a:chOff x="8698531" y="2391463"/>
            <a:chExt cx="828966" cy="736049"/>
          </a:xfrm>
          <a:solidFill>
            <a:schemeClr val="tx1"/>
          </a:solidFill>
        </p:grpSpPr>
        <p:sp>
          <p:nvSpPr>
            <p:cNvPr id="92" name="Freeform 237"/>
            <p:cNvSpPr>
              <a:spLocks noChangeAspect="1"/>
            </p:cNvSpPr>
            <p:nvPr/>
          </p:nvSpPr>
          <p:spPr bwMode="auto">
            <a:xfrm>
              <a:off x="8933547" y="2599629"/>
              <a:ext cx="358934" cy="319717"/>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b="1" spc="-51">
                <a:gradFill>
                  <a:gsLst>
                    <a:gs pos="0">
                      <a:srgbClr val="FFFFFF"/>
                    </a:gs>
                    <a:gs pos="100000">
                      <a:srgbClr val="FFFFFF"/>
                    </a:gs>
                  </a:gsLst>
                  <a:lin ang="5400000" scaled="0"/>
                </a:gradFill>
                <a:ea typeface="Segoe UI" pitchFamily="34" charset="0"/>
                <a:cs typeface="Segoe UI" pitchFamily="34" charset="0"/>
              </a:endParaRPr>
            </a:p>
          </p:txBody>
        </p:sp>
        <p:grpSp>
          <p:nvGrpSpPr>
            <p:cNvPr id="93" name="Group 92"/>
            <p:cNvGrpSpPr/>
            <p:nvPr/>
          </p:nvGrpSpPr>
          <p:grpSpPr>
            <a:xfrm>
              <a:off x="8698531" y="2391463"/>
              <a:ext cx="828966" cy="736049"/>
              <a:chOff x="5625794" y="1599766"/>
              <a:chExt cx="4594902" cy="4080930"/>
            </a:xfrm>
            <a:grpFill/>
          </p:grpSpPr>
          <p:grpSp>
            <p:nvGrpSpPr>
              <p:cNvPr id="94" name="Group 93"/>
              <p:cNvGrpSpPr/>
              <p:nvPr/>
            </p:nvGrpSpPr>
            <p:grpSpPr>
              <a:xfrm>
                <a:off x="6191250" y="1599766"/>
                <a:ext cx="3473485" cy="1069614"/>
                <a:chOff x="6191250" y="1599766"/>
                <a:chExt cx="3473485" cy="1069614"/>
              </a:xfrm>
              <a:grpFill/>
            </p:grpSpPr>
            <p:sp>
              <p:nvSpPr>
                <p:cNvPr id="100" name="Freeform 99"/>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b="1" spc="-51" dirty="0">
                    <a:gradFill>
                      <a:gsLst>
                        <a:gs pos="0">
                          <a:srgbClr val="FFFFFF"/>
                        </a:gs>
                        <a:gs pos="100000">
                          <a:srgbClr val="FFFFFF"/>
                        </a:gs>
                      </a:gsLst>
                      <a:lin ang="5400000" scaled="0"/>
                    </a:gradFill>
                    <a:ea typeface="Segoe UI" pitchFamily="34" charset="0"/>
                    <a:cs typeface="Segoe UI" pitchFamily="34" charset="0"/>
                  </a:endParaRPr>
                </a:p>
              </p:txBody>
            </p:sp>
            <p:sp>
              <p:nvSpPr>
                <p:cNvPr id="101" name="Freeform 100"/>
                <p:cNvSpPr/>
                <p:nvPr/>
              </p:nvSpPr>
              <p:spPr bwMode="auto">
                <a:xfrm flipH="1">
                  <a:off x="8043104"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b="1" spc="-5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5" name="Group 94"/>
              <p:cNvGrpSpPr/>
              <p:nvPr/>
            </p:nvGrpSpPr>
            <p:grpSpPr>
              <a:xfrm flipV="1">
                <a:off x="6191250" y="4611080"/>
                <a:ext cx="3473483" cy="1069616"/>
                <a:chOff x="6191250" y="1599764"/>
                <a:chExt cx="3473483" cy="1069616"/>
              </a:xfrm>
              <a:grpFill/>
            </p:grpSpPr>
            <p:sp>
              <p:nvSpPr>
                <p:cNvPr id="98" name="Freeform 97"/>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b="1" spc="-51" dirty="0">
                    <a:gradFill>
                      <a:gsLst>
                        <a:gs pos="0">
                          <a:srgbClr val="FFFFFF"/>
                        </a:gs>
                        <a:gs pos="100000">
                          <a:srgbClr val="FFFFFF"/>
                        </a:gs>
                      </a:gsLst>
                      <a:lin ang="5400000" scaled="0"/>
                    </a:gradFill>
                    <a:ea typeface="Segoe UI" pitchFamily="34" charset="0"/>
                    <a:cs typeface="Segoe UI" pitchFamily="34" charset="0"/>
                  </a:endParaRPr>
                </a:p>
              </p:txBody>
            </p:sp>
            <p:sp>
              <p:nvSpPr>
                <p:cNvPr id="99" name="Freeform 98"/>
                <p:cNvSpPr/>
                <p:nvPr/>
              </p:nvSpPr>
              <p:spPr bwMode="auto">
                <a:xfrm flipH="1">
                  <a:off x="8043102" y="1599764"/>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b="1" spc="-51" dirty="0">
                    <a:gradFill>
                      <a:gsLst>
                        <a:gs pos="0">
                          <a:srgbClr val="FFFFFF"/>
                        </a:gs>
                        <a:gs pos="100000">
                          <a:srgbClr val="FFFFFF"/>
                        </a:gs>
                      </a:gsLst>
                      <a:lin ang="5400000" scaled="0"/>
                    </a:gradFill>
                    <a:ea typeface="Segoe UI" pitchFamily="34" charset="0"/>
                    <a:cs typeface="Segoe UI" pitchFamily="34" charset="0"/>
                  </a:endParaRPr>
                </a:p>
              </p:txBody>
            </p:sp>
          </p:grpSp>
          <p:sp>
            <p:nvSpPr>
              <p:cNvPr id="96" name="Freeform 95"/>
              <p:cNvSpPr/>
              <p:nvPr/>
            </p:nvSpPr>
            <p:spPr bwMode="auto">
              <a:xfrm rot="17954294">
                <a:off x="5349785"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b="1" spc="-51" dirty="0">
                  <a:gradFill>
                    <a:gsLst>
                      <a:gs pos="0">
                        <a:srgbClr val="FFFFFF"/>
                      </a:gs>
                      <a:gs pos="100000">
                        <a:srgbClr val="FFFFFF"/>
                      </a:gs>
                    </a:gsLst>
                    <a:lin ang="5400000" scaled="0"/>
                  </a:gradFill>
                  <a:ea typeface="Segoe UI" pitchFamily="34" charset="0"/>
                  <a:cs typeface="Segoe UI" pitchFamily="34" charset="0"/>
                </a:endParaRPr>
              </a:p>
            </p:txBody>
          </p:sp>
          <p:sp>
            <p:nvSpPr>
              <p:cNvPr id="97" name="Freeform 96"/>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b="1" spc="-51"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02" name="Group 101"/>
          <p:cNvGrpSpPr/>
          <p:nvPr/>
        </p:nvGrpSpPr>
        <p:grpSpPr>
          <a:xfrm>
            <a:off x="9002688" y="3694209"/>
            <a:ext cx="845128" cy="750596"/>
            <a:chOff x="8698531" y="3979675"/>
            <a:chExt cx="828966" cy="736049"/>
          </a:xfrm>
          <a:solidFill>
            <a:schemeClr val="tx1"/>
          </a:solidFill>
        </p:grpSpPr>
        <p:sp>
          <p:nvSpPr>
            <p:cNvPr id="103" name="Freeform 100"/>
            <p:cNvSpPr>
              <a:spLocks noEditPoints="1"/>
            </p:cNvSpPr>
            <p:nvPr/>
          </p:nvSpPr>
          <p:spPr bwMode="black">
            <a:xfrm>
              <a:off x="8957393" y="4225167"/>
              <a:ext cx="371203" cy="245065"/>
            </a:xfrm>
            <a:custGeom>
              <a:avLst/>
              <a:gdLst>
                <a:gd name="T0" fmla="*/ 103 w 103"/>
                <a:gd name="T1" fmla="*/ 33 h 68"/>
                <a:gd name="T2" fmla="*/ 56 w 103"/>
                <a:gd name="T3" fmla="*/ 68 h 68"/>
                <a:gd name="T4" fmla="*/ 56 w 103"/>
                <a:gd name="T5" fmla="*/ 0 h 68"/>
                <a:gd name="T6" fmla="*/ 103 w 103"/>
                <a:gd name="T7" fmla="*/ 33 h 68"/>
                <a:gd name="T8" fmla="*/ 0 w 103"/>
                <a:gd name="T9" fmla="*/ 0 h 68"/>
                <a:gd name="T10" fmla="*/ 0 w 103"/>
                <a:gd name="T11" fmla="*/ 68 h 68"/>
                <a:gd name="T12" fmla="*/ 47 w 103"/>
                <a:gd name="T13" fmla="*/ 33 h 68"/>
                <a:gd name="T14" fmla="*/ 0 w 103"/>
                <a:gd name="T15" fmla="*/ 0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68">
                  <a:moveTo>
                    <a:pt x="103" y="33"/>
                  </a:moveTo>
                  <a:lnTo>
                    <a:pt x="56" y="68"/>
                  </a:lnTo>
                  <a:lnTo>
                    <a:pt x="56" y="0"/>
                  </a:lnTo>
                  <a:lnTo>
                    <a:pt x="103" y="33"/>
                  </a:lnTo>
                  <a:close/>
                  <a:moveTo>
                    <a:pt x="0" y="0"/>
                  </a:moveTo>
                  <a:lnTo>
                    <a:pt x="0" y="68"/>
                  </a:lnTo>
                  <a:lnTo>
                    <a:pt x="47" y="33"/>
                  </a:lnTo>
                  <a:lnTo>
                    <a:pt x="0" y="0"/>
                  </a:ln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b="1" spc="-51">
                <a:gradFill>
                  <a:gsLst>
                    <a:gs pos="0">
                      <a:srgbClr val="FFFFFF"/>
                    </a:gs>
                    <a:gs pos="100000">
                      <a:srgbClr val="FFFFFF"/>
                    </a:gs>
                  </a:gsLst>
                  <a:lin ang="5400000" scaled="0"/>
                </a:gradFill>
                <a:ea typeface="Segoe UI" pitchFamily="34" charset="0"/>
                <a:cs typeface="Segoe UI" pitchFamily="34" charset="0"/>
              </a:endParaRPr>
            </a:p>
          </p:txBody>
        </p:sp>
        <p:grpSp>
          <p:nvGrpSpPr>
            <p:cNvPr id="104" name="Group 103"/>
            <p:cNvGrpSpPr/>
            <p:nvPr/>
          </p:nvGrpSpPr>
          <p:grpSpPr>
            <a:xfrm>
              <a:off x="8698531" y="3979675"/>
              <a:ext cx="828966" cy="736049"/>
              <a:chOff x="5625794" y="1599766"/>
              <a:chExt cx="4594902" cy="4080930"/>
            </a:xfrm>
            <a:grpFill/>
          </p:grpSpPr>
          <p:grpSp>
            <p:nvGrpSpPr>
              <p:cNvPr id="105" name="Group 104"/>
              <p:cNvGrpSpPr/>
              <p:nvPr/>
            </p:nvGrpSpPr>
            <p:grpSpPr>
              <a:xfrm>
                <a:off x="6191250" y="1599766"/>
                <a:ext cx="3473485" cy="1069614"/>
                <a:chOff x="6191250" y="1599766"/>
                <a:chExt cx="3473485" cy="1069614"/>
              </a:xfrm>
              <a:grpFill/>
            </p:grpSpPr>
            <p:sp>
              <p:nvSpPr>
                <p:cNvPr id="111" name="Freeform 110"/>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b="1" spc="-51" dirty="0">
                    <a:gradFill>
                      <a:gsLst>
                        <a:gs pos="0">
                          <a:srgbClr val="FFFFFF"/>
                        </a:gs>
                        <a:gs pos="100000">
                          <a:srgbClr val="FFFFFF"/>
                        </a:gs>
                      </a:gsLst>
                      <a:lin ang="5400000" scaled="0"/>
                    </a:gradFill>
                    <a:ea typeface="Segoe UI" pitchFamily="34" charset="0"/>
                    <a:cs typeface="Segoe UI" pitchFamily="34" charset="0"/>
                  </a:endParaRPr>
                </a:p>
              </p:txBody>
            </p:sp>
            <p:sp>
              <p:nvSpPr>
                <p:cNvPr id="112" name="Freeform 111"/>
                <p:cNvSpPr/>
                <p:nvPr/>
              </p:nvSpPr>
              <p:spPr bwMode="auto">
                <a:xfrm flipH="1">
                  <a:off x="8043104"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b="1" spc="-5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6" name="Group 105"/>
              <p:cNvGrpSpPr/>
              <p:nvPr/>
            </p:nvGrpSpPr>
            <p:grpSpPr>
              <a:xfrm flipV="1">
                <a:off x="6191250" y="4611080"/>
                <a:ext cx="3473483" cy="1069616"/>
                <a:chOff x="6191250" y="1599764"/>
                <a:chExt cx="3473483" cy="1069616"/>
              </a:xfrm>
              <a:grpFill/>
            </p:grpSpPr>
            <p:sp>
              <p:nvSpPr>
                <p:cNvPr id="109" name="Freeform 108"/>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b="1" spc="-51" dirty="0">
                    <a:gradFill>
                      <a:gsLst>
                        <a:gs pos="0">
                          <a:srgbClr val="FFFFFF"/>
                        </a:gs>
                        <a:gs pos="100000">
                          <a:srgbClr val="FFFFFF"/>
                        </a:gs>
                      </a:gsLst>
                      <a:lin ang="5400000" scaled="0"/>
                    </a:gradFill>
                    <a:ea typeface="Segoe UI" pitchFamily="34" charset="0"/>
                    <a:cs typeface="Segoe UI" pitchFamily="34" charset="0"/>
                  </a:endParaRPr>
                </a:p>
              </p:txBody>
            </p:sp>
            <p:sp>
              <p:nvSpPr>
                <p:cNvPr id="110" name="Freeform 109"/>
                <p:cNvSpPr/>
                <p:nvPr/>
              </p:nvSpPr>
              <p:spPr bwMode="auto">
                <a:xfrm flipH="1">
                  <a:off x="8043102" y="1599764"/>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b="1" spc="-5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7" name="Freeform 106"/>
              <p:cNvSpPr/>
              <p:nvPr/>
            </p:nvSpPr>
            <p:spPr bwMode="auto">
              <a:xfrm rot="17954294">
                <a:off x="5349785"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b="1" spc="-51" dirty="0">
                  <a:gradFill>
                    <a:gsLst>
                      <a:gs pos="0">
                        <a:srgbClr val="FFFFFF"/>
                      </a:gs>
                      <a:gs pos="100000">
                        <a:srgbClr val="FFFFFF"/>
                      </a:gs>
                    </a:gsLst>
                    <a:lin ang="5400000" scaled="0"/>
                  </a:gradFill>
                  <a:ea typeface="Segoe UI" pitchFamily="34" charset="0"/>
                  <a:cs typeface="Segoe UI" pitchFamily="34" charset="0"/>
                </a:endParaRPr>
              </a:p>
            </p:txBody>
          </p:sp>
          <p:sp>
            <p:nvSpPr>
              <p:cNvPr id="108" name="Freeform 107"/>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b="1" spc="-51" dirty="0">
                  <a:gradFill>
                    <a:gsLst>
                      <a:gs pos="0">
                        <a:srgbClr val="FFFFFF"/>
                      </a:gs>
                      <a:gs pos="100000">
                        <a:srgbClr val="FFFFFF"/>
                      </a:gs>
                    </a:gsLst>
                    <a:lin ang="5400000" scaled="0"/>
                  </a:gradFill>
                  <a:ea typeface="Segoe UI" pitchFamily="34" charset="0"/>
                  <a:cs typeface="Segoe UI" pitchFamily="34" charset="0"/>
                </a:endParaRPr>
              </a:p>
            </p:txBody>
          </p:sp>
        </p:grpSp>
      </p:grpSp>
      <p:sp>
        <p:nvSpPr>
          <p:cNvPr id="113" name="Right Brace 112"/>
          <p:cNvSpPr/>
          <p:nvPr/>
        </p:nvSpPr>
        <p:spPr>
          <a:xfrm rot="10800000">
            <a:off x="5031031" y="1900616"/>
            <a:ext cx="570060" cy="3011425"/>
          </a:xfrm>
          <a:prstGeom prst="rightBrace">
            <a:avLst>
              <a:gd name="adj1" fmla="val 47292"/>
              <a:gd name="adj2" fmla="val 50110"/>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lIns="93229" tIns="46615" rIns="93229" bIns="46615" rtlCol="0" anchor="ctr"/>
          <a:lstStyle/>
          <a:p>
            <a:pPr algn="ctr" defTabSz="932660"/>
            <a:endParaRPr lang="en-US" sz="1836">
              <a:solidFill>
                <a:srgbClr val="505050"/>
              </a:solidFill>
            </a:endParaRPr>
          </a:p>
        </p:txBody>
      </p:sp>
      <p:grpSp>
        <p:nvGrpSpPr>
          <p:cNvPr id="114" name="Group 113"/>
          <p:cNvGrpSpPr/>
          <p:nvPr/>
        </p:nvGrpSpPr>
        <p:grpSpPr>
          <a:xfrm>
            <a:off x="5783021" y="2368003"/>
            <a:ext cx="845128" cy="750596"/>
            <a:chOff x="2393096" y="3314046"/>
            <a:chExt cx="828750" cy="736049"/>
          </a:xfrm>
          <a:solidFill>
            <a:schemeClr val="tx1"/>
          </a:solidFill>
        </p:grpSpPr>
        <p:sp>
          <p:nvSpPr>
            <p:cNvPr id="115" name="Donut 1"/>
            <p:cNvSpPr/>
            <p:nvPr/>
          </p:nvSpPr>
          <p:spPr bwMode="auto">
            <a:xfrm>
              <a:off x="2627474" y="3511580"/>
              <a:ext cx="359995" cy="358073"/>
            </a:xfrm>
            <a:custGeom>
              <a:avLst/>
              <a:gdLst/>
              <a:ahLst/>
              <a:cxnLst/>
              <a:rect l="l" t="t" r="r" b="b"/>
              <a:pathLst>
                <a:path w="359995" h="358073">
                  <a:moveTo>
                    <a:pt x="1123" y="199707"/>
                  </a:moveTo>
                  <a:lnTo>
                    <a:pt x="124671" y="200830"/>
                  </a:lnTo>
                  <a:lnTo>
                    <a:pt x="166228" y="236771"/>
                  </a:lnTo>
                  <a:cubicBezTo>
                    <a:pt x="147787" y="236941"/>
                    <a:pt x="129346" y="237110"/>
                    <a:pt x="110905" y="237279"/>
                  </a:cubicBezTo>
                  <a:cubicBezTo>
                    <a:pt x="126331" y="262471"/>
                    <a:pt x="154567" y="277062"/>
                    <a:pt x="186212" y="277062"/>
                  </a:cubicBezTo>
                  <a:cubicBezTo>
                    <a:pt x="225799" y="277062"/>
                    <a:pt x="260053" y="254227"/>
                    <a:pt x="276157" y="220830"/>
                  </a:cubicBezTo>
                  <a:lnTo>
                    <a:pt x="356653" y="220830"/>
                  </a:lnTo>
                  <a:cubicBezTo>
                    <a:pt x="337124" y="296696"/>
                    <a:pt x="268203" y="352658"/>
                    <a:pt x="186212" y="352658"/>
                  </a:cubicBezTo>
                  <a:cubicBezTo>
                    <a:pt x="127185" y="352658"/>
                    <a:pt x="74933" y="323655"/>
                    <a:pt x="43803" y="278531"/>
                  </a:cubicBezTo>
                  <a:lnTo>
                    <a:pt x="43803" y="289560"/>
                  </a:lnTo>
                  <a:lnTo>
                    <a:pt x="38188" y="358073"/>
                  </a:lnTo>
                  <a:lnTo>
                    <a:pt x="0" y="326625"/>
                  </a:lnTo>
                  <a:close/>
                  <a:moveTo>
                    <a:pt x="186212" y="0"/>
                  </a:moveTo>
                  <a:cubicBezTo>
                    <a:pt x="241995" y="0"/>
                    <a:pt x="291729" y="25904"/>
                    <a:pt x="321951" y="67970"/>
                  </a:cubicBezTo>
                  <a:cubicBezTo>
                    <a:pt x="322151" y="46267"/>
                    <a:pt x="322350" y="24565"/>
                    <a:pt x="322549" y="2862"/>
                  </a:cubicBezTo>
                  <a:lnTo>
                    <a:pt x="358490" y="44419"/>
                  </a:lnTo>
                  <a:lnTo>
                    <a:pt x="359413" y="145933"/>
                  </a:lnTo>
                  <a:cubicBezTo>
                    <a:pt x="359808" y="146450"/>
                    <a:pt x="359903" y="147019"/>
                    <a:pt x="359995" y="147588"/>
                  </a:cubicBezTo>
                  <a:lnTo>
                    <a:pt x="359428" y="147588"/>
                  </a:lnTo>
                  <a:lnTo>
                    <a:pt x="359613" y="167968"/>
                  </a:lnTo>
                  <a:lnTo>
                    <a:pt x="232696" y="169091"/>
                  </a:lnTo>
                  <a:lnTo>
                    <a:pt x="201247" y="130903"/>
                  </a:lnTo>
                  <a:lnTo>
                    <a:pt x="269760" y="125288"/>
                  </a:lnTo>
                  <a:lnTo>
                    <a:pt x="271731" y="125288"/>
                  </a:lnTo>
                  <a:cubicBezTo>
                    <a:pt x="255176" y="95313"/>
                    <a:pt x="222996" y="75596"/>
                    <a:pt x="186212" y="75596"/>
                  </a:cubicBezTo>
                  <a:cubicBezTo>
                    <a:pt x="140615" y="75596"/>
                    <a:pt x="102095" y="105890"/>
                    <a:pt x="90145" y="147588"/>
                  </a:cubicBezTo>
                  <a:lnTo>
                    <a:pt x="12428" y="147588"/>
                  </a:lnTo>
                  <a:cubicBezTo>
                    <a:pt x="25957" y="63857"/>
                    <a:pt x="98627" y="0"/>
                    <a:pt x="1862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nvGrpSpPr>
            <p:cNvPr id="116" name="Group 115"/>
            <p:cNvGrpSpPr/>
            <p:nvPr/>
          </p:nvGrpSpPr>
          <p:grpSpPr>
            <a:xfrm>
              <a:off x="2393096" y="3314046"/>
              <a:ext cx="828750" cy="736049"/>
              <a:chOff x="5625794" y="1599766"/>
              <a:chExt cx="4594902" cy="4080930"/>
            </a:xfrm>
            <a:grpFill/>
          </p:grpSpPr>
          <p:grpSp>
            <p:nvGrpSpPr>
              <p:cNvPr id="117" name="Group 116"/>
              <p:cNvGrpSpPr/>
              <p:nvPr/>
            </p:nvGrpSpPr>
            <p:grpSpPr>
              <a:xfrm>
                <a:off x="6191250" y="1599766"/>
                <a:ext cx="3473485" cy="1069614"/>
                <a:chOff x="6191250" y="1599766"/>
                <a:chExt cx="3473485" cy="1069614"/>
              </a:xfrm>
              <a:grpFill/>
            </p:grpSpPr>
            <p:sp>
              <p:nvSpPr>
                <p:cNvPr id="123" name="Freeform 122"/>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123"/>
                <p:cNvSpPr/>
                <p:nvPr/>
              </p:nvSpPr>
              <p:spPr bwMode="auto">
                <a:xfrm flipH="1">
                  <a:off x="8043104"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8" name="Group 117"/>
              <p:cNvGrpSpPr/>
              <p:nvPr/>
            </p:nvGrpSpPr>
            <p:grpSpPr>
              <a:xfrm flipV="1">
                <a:off x="6191250" y="4611080"/>
                <a:ext cx="3473483" cy="1069616"/>
                <a:chOff x="6191250" y="1599764"/>
                <a:chExt cx="3473483" cy="1069616"/>
              </a:xfrm>
              <a:grpFill/>
            </p:grpSpPr>
            <p:sp>
              <p:nvSpPr>
                <p:cNvPr id="121" name="Freeform 120"/>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122" name="Freeform 121"/>
                <p:cNvSpPr/>
                <p:nvPr/>
              </p:nvSpPr>
              <p:spPr bwMode="auto">
                <a:xfrm flipH="1">
                  <a:off x="8043102" y="1599764"/>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19" name="Freeform 118"/>
              <p:cNvSpPr/>
              <p:nvPr/>
            </p:nvSpPr>
            <p:spPr bwMode="auto">
              <a:xfrm rot="17954294">
                <a:off x="5349785"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120" name="Freeform 119"/>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208"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17271077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13"/>
                                        </p:tgtEl>
                                        <p:attrNameLst>
                                          <p:attrName>style.visibility</p:attrName>
                                        </p:attrNameLst>
                                      </p:cBhvr>
                                      <p:to>
                                        <p:strVal val="visible"/>
                                      </p:to>
                                    </p:set>
                                    <p:animEffect transition="in" filter="wipe(left)">
                                      <p:cBhvr>
                                        <p:cTn id="7" dur="500"/>
                                        <p:tgtEl>
                                          <p:spTgt spid="113"/>
                                        </p:tgtEl>
                                      </p:cBhvr>
                                    </p:animEffect>
                                  </p:childTnLst>
                                </p:cTn>
                              </p:par>
                              <p:par>
                                <p:cTn id="8" presetID="10" presetClass="entr" presetSubtype="0" fill="hold" nodeType="withEffect">
                                  <p:stCondLst>
                                    <p:cond delay="750"/>
                                  </p:stCondLst>
                                  <p:childTnLst>
                                    <p:set>
                                      <p:cBhvr>
                                        <p:cTn id="9" dur="1" fill="hold">
                                          <p:stCondLst>
                                            <p:cond delay="0"/>
                                          </p:stCondLst>
                                        </p:cTn>
                                        <p:tgtEl>
                                          <p:spTgt spid="114"/>
                                        </p:tgtEl>
                                        <p:attrNameLst>
                                          <p:attrName>style.visibility</p:attrName>
                                        </p:attrNameLst>
                                      </p:cBhvr>
                                      <p:to>
                                        <p:strVal val="visible"/>
                                      </p:to>
                                    </p:set>
                                    <p:animEffect transition="in" filter="fade">
                                      <p:cBhvr>
                                        <p:cTn id="10" dur="750"/>
                                        <p:tgtEl>
                                          <p:spTgt spid="114"/>
                                        </p:tgtEl>
                                      </p:cBhvr>
                                    </p:animEffect>
                                  </p:childTnLst>
                                </p:cTn>
                              </p:par>
                              <p:par>
                                <p:cTn id="11" presetID="63" presetClass="path" presetSubtype="0" decel="100000" fill="hold" nodeType="withEffect">
                                  <p:stCondLst>
                                    <p:cond delay="750"/>
                                  </p:stCondLst>
                                  <p:childTnLst>
                                    <p:animMotion origin="layout" path="M -0.02412 1.91103E-6 L -2.91805E-6 1.91103E-6 " pathEditMode="relative" rAng="0" ptsTypes="AA">
                                      <p:cBhvr>
                                        <p:cTn id="12" dur="500" fill="hold"/>
                                        <p:tgtEl>
                                          <p:spTgt spid="114"/>
                                        </p:tgtEl>
                                        <p:attrNameLst>
                                          <p:attrName>ppt_x</p:attrName>
                                          <p:attrName>ppt_y</p:attrName>
                                        </p:attrNameLst>
                                      </p:cBhvr>
                                      <p:rCtr x="1200" y="0"/>
                                    </p:animMotion>
                                  </p:childTnLst>
                                </p:cTn>
                              </p:par>
                              <p:par>
                                <p:cTn id="13" presetID="6" presetClass="emph" presetSubtype="0" accel="100000" autoRev="1" fill="hold" nodeType="withEffect">
                                  <p:stCondLst>
                                    <p:cond delay="250"/>
                                  </p:stCondLst>
                                  <p:childTnLst>
                                    <p:animScale>
                                      <p:cBhvr>
                                        <p:cTn id="14" dur="500" fill="hold"/>
                                        <p:tgtEl>
                                          <p:spTgt spid="114"/>
                                        </p:tgtEl>
                                      </p:cBhvr>
                                      <p:by x="92000" y="92000"/>
                                    </p:animScale>
                                  </p:childTnLst>
                                </p:cTn>
                              </p:par>
                              <p:par>
                                <p:cTn id="15" presetID="10" presetClass="entr" presetSubtype="0" fill="hold" grpId="0" nodeType="withEffect">
                                  <p:stCondLst>
                                    <p:cond delay="55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600"/>
                                  </p:stCondLst>
                                  <p:childTnLst>
                                    <p:animMotion origin="layout" path="M -0.02413 1.91103E-6 L 7.50574E-7 1.91103E-6 " pathEditMode="relative" rAng="0" ptsTypes="AA">
                                      <p:cBhvr>
                                        <p:cTn id="19" dur="500" fill="hold"/>
                                        <p:tgtEl>
                                          <p:spTgt spid="67"/>
                                        </p:tgtEl>
                                        <p:attrNameLst>
                                          <p:attrName>ppt_x</p:attrName>
                                          <p:attrName>ppt_y</p:attrName>
                                        </p:attrNameLst>
                                      </p:cBhvr>
                                      <p:rCtr x="1200" y="0"/>
                                    </p:animMotion>
                                  </p:childTnLst>
                                </p:cTn>
                              </p:par>
                              <p:par>
                                <p:cTn id="20" presetID="6" presetClass="emph" presetSubtype="0" accel="100000" autoRev="1" fill="hold" grpId="2" nodeType="withEffect">
                                  <p:stCondLst>
                                    <p:cond delay="50"/>
                                  </p:stCondLst>
                                  <p:childTnLst>
                                    <p:animScale>
                                      <p:cBhvr>
                                        <p:cTn id="21" dur="500" fill="hold"/>
                                        <p:tgtEl>
                                          <p:spTgt spid="67"/>
                                        </p:tgtEl>
                                      </p:cBhvr>
                                      <p:by x="92000" y="92000"/>
                                    </p:animScale>
                                  </p:childTnLst>
                                </p:cTn>
                              </p:par>
                              <p:par>
                                <p:cTn id="22" presetID="10" presetClass="entr" presetSubtype="0" fill="hold" nodeType="withEffect">
                                  <p:stCondLst>
                                    <p:cond delay="750"/>
                                  </p:stCondLst>
                                  <p:childTnLst>
                                    <p:set>
                                      <p:cBhvr>
                                        <p:cTn id="23" dur="1" fill="hold">
                                          <p:stCondLst>
                                            <p:cond delay="0"/>
                                          </p:stCondLst>
                                        </p:cTn>
                                        <p:tgtEl>
                                          <p:spTgt spid="91"/>
                                        </p:tgtEl>
                                        <p:attrNameLst>
                                          <p:attrName>style.visibility</p:attrName>
                                        </p:attrNameLst>
                                      </p:cBhvr>
                                      <p:to>
                                        <p:strVal val="visible"/>
                                      </p:to>
                                    </p:set>
                                    <p:animEffect transition="in" filter="fade">
                                      <p:cBhvr>
                                        <p:cTn id="24" dur="750"/>
                                        <p:tgtEl>
                                          <p:spTgt spid="91"/>
                                        </p:tgtEl>
                                      </p:cBhvr>
                                    </p:animEffect>
                                  </p:childTnLst>
                                </p:cTn>
                              </p:par>
                              <p:par>
                                <p:cTn id="25" presetID="63" presetClass="path" presetSubtype="0" decel="100000" fill="hold" nodeType="withEffect">
                                  <p:stCondLst>
                                    <p:cond delay="750"/>
                                  </p:stCondLst>
                                  <p:childTnLst>
                                    <p:animMotion origin="layout" path="M -0.02412 1.91103E-6 L -2.15216E-6 1.91103E-6 " pathEditMode="relative" rAng="0" ptsTypes="AA">
                                      <p:cBhvr>
                                        <p:cTn id="26" dur="500" fill="hold"/>
                                        <p:tgtEl>
                                          <p:spTgt spid="91"/>
                                        </p:tgtEl>
                                        <p:attrNameLst>
                                          <p:attrName>ppt_x</p:attrName>
                                          <p:attrName>ppt_y</p:attrName>
                                        </p:attrNameLst>
                                      </p:cBhvr>
                                      <p:rCtr x="1200" y="0"/>
                                    </p:animMotion>
                                  </p:childTnLst>
                                </p:cTn>
                              </p:par>
                              <p:par>
                                <p:cTn id="27" presetID="6" presetClass="emph" presetSubtype="0" accel="100000" autoRev="1" fill="hold" nodeType="withEffect">
                                  <p:stCondLst>
                                    <p:cond delay="250"/>
                                  </p:stCondLst>
                                  <p:childTnLst>
                                    <p:animScale>
                                      <p:cBhvr>
                                        <p:cTn id="28" dur="500" fill="hold"/>
                                        <p:tgtEl>
                                          <p:spTgt spid="91"/>
                                        </p:tgtEl>
                                      </p:cBhvr>
                                      <p:by x="92000" y="92000"/>
                                    </p:animScale>
                                  </p:childTnLst>
                                </p:cTn>
                              </p:par>
                              <p:par>
                                <p:cTn id="29" presetID="10" presetClass="entr" presetSubtype="0" fill="hold" grpId="0" nodeType="withEffect">
                                  <p:stCondLst>
                                    <p:cond delay="800"/>
                                  </p:stCondLst>
                                  <p:childTnLst>
                                    <p:set>
                                      <p:cBhvr>
                                        <p:cTn id="30" dur="1" fill="hold">
                                          <p:stCondLst>
                                            <p:cond delay="0"/>
                                          </p:stCondLst>
                                        </p:cTn>
                                        <p:tgtEl>
                                          <p:spTgt spid="78"/>
                                        </p:tgtEl>
                                        <p:attrNameLst>
                                          <p:attrName>style.visibility</p:attrName>
                                        </p:attrNameLst>
                                      </p:cBhvr>
                                      <p:to>
                                        <p:strVal val="visible"/>
                                      </p:to>
                                    </p:set>
                                    <p:animEffect transition="in" filter="fade">
                                      <p:cBhvr>
                                        <p:cTn id="31" dur="750"/>
                                        <p:tgtEl>
                                          <p:spTgt spid="78"/>
                                        </p:tgtEl>
                                      </p:cBhvr>
                                    </p:animEffect>
                                  </p:childTnLst>
                                </p:cTn>
                              </p:par>
                              <p:par>
                                <p:cTn id="32" presetID="63" presetClass="path" presetSubtype="0" decel="100000" fill="hold" grpId="1" nodeType="withEffect">
                                  <p:stCondLst>
                                    <p:cond delay="800"/>
                                  </p:stCondLst>
                                  <p:childTnLst>
                                    <p:animMotion origin="layout" path="M -0.02412 1.91103E-6 L -3.32653E-6 1.91103E-6 " pathEditMode="relative" rAng="0" ptsTypes="AA">
                                      <p:cBhvr>
                                        <p:cTn id="33" dur="500" fill="hold"/>
                                        <p:tgtEl>
                                          <p:spTgt spid="78"/>
                                        </p:tgtEl>
                                        <p:attrNameLst>
                                          <p:attrName>ppt_x</p:attrName>
                                          <p:attrName>ppt_y</p:attrName>
                                        </p:attrNameLst>
                                      </p:cBhvr>
                                      <p:rCtr x="1200" y="0"/>
                                    </p:animMotion>
                                  </p:childTnLst>
                                </p:cTn>
                              </p:par>
                              <p:par>
                                <p:cTn id="34" presetID="6" presetClass="emph" presetSubtype="0" accel="100000" autoRev="1" fill="hold" grpId="2" nodeType="withEffect">
                                  <p:stCondLst>
                                    <p:cond delay="300"/>
                                  </p:stCondLst>
                                  <p:childTnLst>
                                    <p:animScale>
                                      <p:cBhvr>
                                        <p:cTn id="35" dur="500" fill="hold"/>
                                        <p:tgtEl>
                                          <p:spTgt spid="78"/>
                                        </p:tgtEl>
                                      </p:cBhvr>
                                      <p:by x="92000" y="92000"/>
                                    </p:animScale>
                                  </p:childTnLst>
                                </p:cTn>
                              </p:par>
                              <p:par>
                                <p:cTn id="36" presetID="10" presetClass="entr" presetSubtype="0" fill="hold" nodeType="withEffect">
                                  <p:stCondLst>
                                    <p:cond delay="1000"/>
                                  </p:stCondLst>
                                  <p:childTnLst>
                                    <p:set>
                                      <p:cBhvr>
                                        <p:cTn id="37" dur="1" fill="hold">
                                          <p:stCondLst>
                                            <p:cond delay="0"/>
                                          </p:stCondLst>
                                        </p:cTn>
                                        <p:tgtEl>
                                          <p:spTgt spid="80"/>
                                        </p:tgtEl>
                                        <p:attrNameLst>
                                          <p:attrName>style.visibility</p:attrName>
                                        </p:attrNameLst>
                                      </p:cBhvr>
                                      <p:to>
                                        <p:strVal val="visible"/>
                                      </p:to>
                                    </p:set>
                                    <p:animEffect transition="in" filter="fade">
                                      <p:cBhvr>
                                        <p:cTn id="38" dur="750"/>
                                        <p:tgtEl>
                                          <p:spTgt spid="80"/>
                                        </p:tgtEl>
                                      </p:cBhvr>
                                    </p:animEffect>
                                  </p:childTnLst>
                                </p:cTn>
                              </p:par>
                              <p:par>
                                <p:cTn id="39" presetID="63" presetClass="path" presetSubtype="0" decel="100000" fill="hold" nodeType="withEffect">
                                  <p:stCondLst>
                                    <p:cond delay="1000"/>
                                  </p:stCondLst>
                                  <p:childTnLst>
                                    <p:animMotion origin="layout" path="M -0.02413 -2.38765E-6 L 4.13582E-6 -2.38765E-6 " pathEditMode="relative" rAng="0" ptsTypes="AA">
                                      <p:cBhvr>
                                        <p:cTn id="40" dur="500" fill="hold"/>
                                        <p:tgtEl>
                                          <p:spTgt spid="80"/>
                                        </p:tgtEl>
                                        <p:attrNameLst>
                                          <p:attrName>ppt_x</p:attrName>
                                          <p:attrName>ppt_y</p:attrName>
                                        </p:attrNameLst>
                                      </p:cBhvr>
                                      <p:rCtr x="1200" y="0"/>
                                    </p:animMotion>
                                  </p:childTnLst>
                                </p:cTn>
                              </p:par>
                              <p:par>
                                <p:cTn id="41" presetID="6" presetClass="emph" presetSubtype="0" accel="100000" autoRev="1" fill="hold" nodeType="withEffect">
                                  <p:stCondLst>
                                    <p:cond delay="500"/>
                                  </p:stCondLst>
                                  <p:childTnLst>
                                    <p:animScale>
                                      <p:cBhvr>
                                        <p:cTn id="42" dur="500" fill="hold"/>
                                        <p:tgtEl>
                                          <p:spTgt spid="80"/>
                                        </p:tgtEl>
                                      </p:cBhvr>
                                      <p:by x="92000" y="92000"/>
                                    </p:animScale>
                                  </p:childTnLst>
                                </p:cTn>
                              </p:par>
                              <p:par>
                                <p:cTn id="43" presetID="10" presetClass="entr" presetSubtype="0" fill="hold" grpId="0" nodeType="withEffect">
                                  <p:stCondLst>
                                    <p:cond delay="1050"/>
                                  </p:stCondLst>
                                  <p:childTnLst>
                                    <p:set>
                                      <p:cBhvr>
                                        <p:cTn id="44" dur="1" fill="hold">
                                          <p:stCondLst>
                                            <p:cond delay="0"/>
                                          </p:stCondLst>
                                        </p:cTn>
                                        <p:tgtEl>
                                          <p:spTgt spid="68"/>
                                        </p:tgtEl>
                                        <p:attrNameLst>
                                          <p:attrName>style.visibility</p:attrName>
                                        </p:attrNameLst>
                                      </p:cBhvr>
                                      <p:to>
                                        <p:strVal val="visible"/>
                                      </p:to>
                                    </p:set>
                                    <p:animEffect transition="in" filter="fade">
                                      <p:cBhvr>
                                        <p:cTn id="45" dur="750"/>
                                        <p:tgtEl>
                                          <p:spTgt spid="68"/>
                                        </p:tgtEl>
                                      </p:cBhvr>
                                    </p:animEffect>
                                  </p:childTnLst>
                                </p:cTn>
                              </p:par>
                              <p:par>
                                <p:cTn id="46" presetID="63" presetClass="path" presetSubtype="0" decel="100000" fill="hold" grpId="1" nodeType="withEffect">
                                  <p:stCondLst>
                                    <p:cond delay="1050"/>
                                  </p:stCondLst>
                                  <p:childTnLst>
                                    <p:animMotion origin="layout" path="M -0.02413 6.49115E-7 L 2.98953E-6 6.49115E-7 " pathEditMode="relative" rAng="0" ptsTypes="AA">
                                      <p:cBhvr>
                                        <p:cTn id="47" dur="500" fill="hold"/>
                                        <p:tgtEl>
                                          <p:spTgt spid="68"/>
                                        </p:tgtEl>
                                        <p:attrNameLst>
                                          <p:attrName>ppt_x</p:attrName>
                                          <p:attrName>ppt_y</p:attrName>
                                        </p:attrNameLst>
                                      </p:cBhvr>
                                      <p:rCtr x="1200" y="0"/>
                                    </p:animMotion>
                                  </p:childTnLst>
                                </p:cTn>
                              </p:par>
                              <p:par>
                                <p:cTn id="48" presetID="6" presetClass="emph" presetSubtype="0" accel="100000" autoRev="1" fill="hold" grpId="2" nodeType="withEffect">
                                  <p:stCondLst>
                                    <p:cond delay="550"/>
                                  </p:stCondLst>
                                  <p:childTnLst>
                                    <p:animScale>
                                      <p:cBhvr>
                                        <p:cTn id="49" dur="500" fill="hold"/>
                                        <p:tgtEl>
                                          <p:spTgt spid="68"/>
                                        </p:tgtEl>
                                      </p:cBhvr>
                                      <p:by x="92000" y="92000"/>
                                    </p:animScale>
                                  </p:childTnLst>
                                </p:cTn>
                              </p:par>
                              <p:par>
                                <p:cTn id="50" presetID="10" presetClass="entr" presetSubtype="0" fill="hold" nodeType="withEffect">
                                  <p:stCondLst>
                                    <p:cond delay="1250"/>
                                  </p:stCondLst>
                                  <p:childTnLst>
                                    <p:set>
                                      <p:cBhvr>
                                        <p:cTn id="51" dur="1" fill="hold">
                                          <p:stCondLst>
                                            <p:cond delay="0"/>
                                          </p:stCondLst>
                                        </p:cTn>
                                        <p:tgtEl>
                                          <p:spTgt spid="102"/>
                                        </p:tgtEl>
                                        <p:attrNameLst>
                                          <p:attrName>style.visibility</p:attrName>
                                        </p:attrNameLst>
                                      </p:cBhvr>
                                      <p:to>
                                        <p:strVal val="visible"/>
                                      </p:to>
                                    </p:set>
                                    <p:animEffect transition="in" filter="fade">
                                      <p:cBhvr>
                                        <p:cTn id="52" dur="750"/>
                                        <p:tgtEl>
                                          <p:spTgt spid="102"/>
                                        </p:tgtEl>
                                      </p:cBhvr>
                                    </p:animEffect>
                                  </p:childTnLst>
                                </p:cTn>
                              </p:par>
                              <p:par>
                                <p:cTn id="53" presetID="63" presetClass="path" presetSubtype="0" decel="100000" fill="hold" nodeType="withEffect">
                                  <p:stCondLst>
                                    <p:cond delay="1250"/>
                                  </p:stCondLst>
                                  <p:childTnLst>
                                    <p:animMotion origin="layout" path="M -0.02412 -2.38765E-6 L -2.15216E-6 -2.38765E-6 " pathEditMode="relative" rAng="0" ptsTypes="AA">
                                      <p:cBhvr>
                                        <p:cTn id="54" dur="500" fill="hold"/>
                                        <p:tgtEl>
                                          <p:spTgt spid="102"/>
                                        </p:tgtEl>
                                        <p:attrNameLst>
                                          <p:attrName>ppt_x</p:attrName>
                                          <p:attrName>ppt_y</p:attrName>
                                        </p:attrNameLst>
                                      </p:cBhvr>
                                      <p:rCtr x="1200" y="0"/>
                                    </p:animMotion>
                                  </p:childTnLst>
                                </p:cTn>
                              </p:par>
                              <p:par>
                                <p:cTn id="55" presetID="6" presetClass="emph" presetSubtype="0" accel="100000" autoRev="1" fill="hold" nodeType="withEffect">
                                  <p:stCondLst>
                                    <p:cond delay="750"/>
                                  </p:stCondLst>
                                  <p:childTnLst>
                                    <p:animScale>
                                      <p:cBhvr>
                                        <p:cTn id="56" dur="500" fill="hold"/>
                                        <p:tgtEl>
                                          <p:spTgt spid="102"/>
                                        </p:tgtEl>
                                      </p:cBhvr>
                                      <p:by x="92000" y="92000"/>
                                    </p:animScale>
                                  </p:childTnLst>
                                </p:cTn>
                              </p:par>
                              <p:par>
                                <p:cTn id="57" presetID="10" presetClass="entr" presetSubtype="0" fill="hold" grpId="0" nodeType="withEffect">
                                  <p:stCondLst>
                                    <p:cond delay="1300"/>
                                  </p:stCondLst>
                                  <p:childTnLst>
                                    <p:set>
                                      <p:cBhvr>
                                        <p:cTn id="58" dur="1" fill="hold">
                                          <p:stCondLst>
                                            <p:cond delay="0"/>
                                          </p:stCondLst>
                                        </p:cTn>
                                        <p:tgtEl>
                                          <p:spTgt spid="79"/>
                                        </p:tgtEl>
                                        <p:attrNameLst>
                                          <p:attrName>style.visibility</p:attrName>
                                        </p:attrNameLst>
                                      </p:cBhvr>
                                      <p:to>
                                        <p:strVal val="visible"/>
                                      </p:to>
                                    </p:set>
                                    <p:animEffect transition="in" filter="fade">
                                      <p:cBhvr>
                                        <p:cTn id="59" dur="750"/>
                                        <p:tgtEl>
                                          <p:spTgt spid="79"/>
                                        </p:tgtEl>
                                      </p:cBhvr>
                                    </p:animEffect>
                                  </p:childTnLst>
                                </p:cTn>
                              </p:par>
                              <p:par>
                                <p:cTn id="60" presetID="63" presetClass="path" presetSubtype="0" decel="100000" fill="hold" grpId="1" nodeType="withEffect">
                                  <p:stCondLst>
                                    <p:cond delay="1300"/>
                                  </p:stCondLst>
                                  <p:childTnLst>
                                    <p:animMotion origin="layout" path="M -0.02412 6.49115E-7 L -7.50574E-7 6.49115E-7 " pathEditMode="relative" rAng="0" ptsTypes="AA">
                                      <p:cBhvr>
                                        <p:cTn id="61" dur="500" fill="hold"/>
                                        <p:tgtEl>
                                          <p:spTgt spid="79"/>
                                        </p:tgtEl>
                                        <p:attrNameLst>
                                          <p:attrName>ppt_x</p:attrName>
                                          <p:attrName>ppt_y</p:attrName>
                                        </p:attrNameLst>
                                      </p:cBhvr>
                                      <p:rCtr x="1200" y="0"/>
                                    </p:animMotion>
                                  </p:childTnLst>
                                </p:cTn>
                              </p:par>
                              <p:par>
                                <p:cTn id="62" presetID="6" presetClass="emph" presetSubtype="0" accel="100000" autoRev="1" fill="hold" grpId="2" nodeType="withEffect">
                                  <p:stCondLst>
                                    <p:cond delay="800"/>
                                  </p:stCondLst>
                                  <p:childTnLst>
                                    <p:animScale>
                                      <p:cBhvr>
                                        <p:cTn id="63" dur="500" fill="hold"/>
                                        <p:tgtEl>
                                          <p:spTgt spid="79"/>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67" grpId="1"/>
      <p:bldP spid="67" grpId="2"/>
      <p:bldP spid="68" grpId="0"/>
      <p:bldP spid="68" grpId="1"/>
      <p:bldP spid="68" grpId="2"/>
      <p:bldP spid="78" grpId="0"/>
      <p:bldP spid="78" grpId="1"/>
      <p:bldP spid="78" grpId="2"/>
      <p:bldP spid="79" grpId="0"/>
      <p:bldP spid="79" grpId="1"/>
      <p:bldP spid="79" grpId="2"/>
      <p:bldP spid="11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aves of Innovation</a:t>
            </a:r>
            <a:endParaRPr lang="en-US" dirty="0"/>
          </a:p>
        </p:txBody>
      </p:sp>
      <p:grpSp>
        <p:nvGrpSpPr>
          <p:cNvPr id="12" name="Group 11"/>
          <p:cNvGrpSpPr/>
          <p:nvPr/>
        </p:nvGrpSpPr>
        <p:grpSpPr>
          <a:xfrm>
            <a:off x="280987" y="1432314"/>
            <a:ext cx="1911837" cy="691234"/>
            <a:chOff x="274638" y="1704975"/>
            <a:chExt cx="1874520" cy="677742"/>
          </a:xfrm>
        </p:grpSpPr>
        <p:sp>
          <p:nvSpPr>
            <p:cNvPr id="3" name="Rectangle 2"/>
            <p:cNvSpPr/>
            <p:nvPr/>
          </p:nvSpPr>
          <p:spPr bwMode="auto">
            <a:xfrm>
              <a:off x="274638" y="2253520"/>
              <a:ext cx="1211186" cy="12919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0" name="Right Triangle 9"/>
            <p:cNvSpPr/>
            <p:nvPr>
              <p:custDataLst>
                <p:tags r:id="rId7"/>
              </p:custDataLst>
            </p:nvPr>
          </p:nvSpPr>
          <p:spPr bwMode="auto">
            <a:xfrm rot="10800000" flipH="1" flipV="1">
              <a:off x="1485825" y="1714500"/>
              <a:ext cx="663333" cy="668216"/>
            </a:xfrm>
            <a:prstGeom prst="r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5131" tIns="47565" rIns="95131" bIns="47565" numCol="1" rtlCol="0" anchor="ctr" anchorCtr="0" compatLnSpc="1">
              <a:prstTxWarp prst="textNoShape">
                <a:avLst/>
              </a:prstTxWarp>
            </a:bodyPr>
            <a:lstStyle/>
            <a:p>
              <a:pPr algn="ctr" defTabSz="951028"/>
              <a:endParaRPr lang="en-US" sz="1836"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 name="Rectangle 10"/>
            <p:cNvSpPr/>
            <p:nvPr/>
          </p:nvSpPr>
          <p:spPr>
            <a:xfrm>
              <a:off x="274638" y="1704975"/>
              <a:ext cx="1344168" cy="523928"/>
            </a:xfrm>
            <a:prstGeom prst="rect">
              <a:avLst/>
            </a:prstGeom>
          </p:spPr>
          <p:txBody>
            <a:bodyPr wrap="square" lIns="0" tIns="0" rIns="0" bIns="0">
              <a:noAutofit/>
            </a:bodyPr>
            <a:lstStyle/>
            <a:p>
              <a:pPr defTabSz="725214">
                <a:lnSpc>
                  <a:spcPct val="90000"/>
                </a:lnSpc>
                <a:spcBef>
                  <a:spcPct val="0"/>
                </a:spcBef>
                <a:spcAft>
                  <a:spcPct val="35000"/>
                </a:spcAft>
              </a:pPr>
              <a:r>
                <a:rPr lang="en-US" sz="1836" dirty="0">
                  <a:gradFill>
                    <a:gsLst>
                      <a:gs pos="0">
                        <a:schemeClr val="tx1"/>
                      </a:gs>
                      <a:gs pos="100000">
                        <a:schemeClr val="tx2"/>
                      </a:gs>
                    </a:gsLst>
                    <a:lin ang="5400000" scaled="1"/>
                  </a:gradFill>
                </a:rPr>
                <a:t>April </a:t>
              </a:r>
              <a:br>
                <a:rPr lang="en-US" sz="1836" dirty="0">
                  <a:gradFill>
                    <a:gsLst>
                      <a:gs pos="0">
                        <a:schemeClr val="tx1"/>
                      </a:gs>
                      <a:gs pos="100000">
                        <a:schemeClr val="tx2"/>
                      </a:gs>
                    </a:gsLst>
                    <a:lin ang="5400000" scaled="1"/>
                  </a:gradFill>
                </a:rPr>
              </a:br>
              <a:r>
                <a:rPr lang="en-US" sz="1836" dirty="0">
                  <a:gradFill>
                    <a:gsLst>
                      <a:gs pos="0">
                        <a:schemeClr val="tx1"/>
                      </a:gs>
                      <a:gs pos="100000">
                        <a:schemeClr val="tx2"/>
                      </a:gs>
                    </a:gsLst>
                    <a:lin ang="5400000" scaled="1"/>
                  </a:gradFill>
                </a:rPr>
                <a:t>2012</a:t>
              </a:r>
            </a:p>
          </p:txBody>
        </p:sp>
      </p:grpSp>
      <p:grpSp>
        <p:nvGrpSpPr>
          <p:cNvPr id="13" name="Group 12"/>
          <p:cNvGrpSpPr/>
          <p:nvPr/>
        </p:nvGrpSpPr>
        <p:grpSpPr>
          <a:xfrm>
            <a:off x="2342618" y="1432314"/>
            <a:ext cx="1911837" cy="691233"/>
            <a:chOff x="274638" y="1704975"/>
            <a:chExt cx="1874520" cy="677741"/>
          </a:xfrm>
        </p:grpSpPr>
        <p:sp>
          <p:nvSpPr>
            <p:cNvPr id="14" name="Rectangle 13"/>
            <p:cNvSpPr/>
            <p:nvPr/>
          </p:nvSpPr>
          <p:spPr bwMode="auto">
            <a:xfrm>
              <a:off x="274638" y="2253518"/>
              <a:ext cx="1211186" cy="12919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 name="Right Triangle 14"/>
            <p:cNvSpPr/>
            <p:nvPr>
              <p:custDataLst>
                <p:tags r:id="rId6"/>
              </p:custDataLst>
            </p:nvPr>
          </p:nvSpPr>
          <p:spPr bwMode="auto">
            <a:xfrm rot="10800000" flipH="1" flipV="1">
              <a:off x="1485825" y="1714500"/>
              <a:ext cx="663333" cy="668216"/>
            </a:xfrm>
            <a:prstGeom prst="r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5131" tIns="47565" rIns="95131" bIns="47565" numCol="1" rtlCol="0" anchor="ctr" anchorCtr="0" compatLnSpc="1">
              <a:prstTxWarp prst="textNoShape">
                <a:avLst/>
              </a:prstTxWarp>
            </a:bodyPr>
            <a:lstStyle/>
            <a:p>
              <a:pPr algn="ctr" defTabSz="951028"/>
              <a:endParaRPr lang="en-US" sz="1836"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6" name="Rectangle 15"/>
            <p:cNvSpPr/>
            <p:nvPr/>
          </p:nvSpPr>
          <p:spPr>
            <a:xfrm>
              <a:off x="274638" y="1704975"/>
              <a:ext cx="1344168" cy="523928"/>
            </a:xfrm>
            <a:prstGeom prst="rect">
              <a:avLst/>
            </a:prstGeom>
          </p:spPr>
          <p:txBody>
            <a:bodyPr wrap="square" lIns="0" tIns="0" rIns="0" bIns="0">
              <a:noAutofit/>
            </a:bodyPr>
            <a:lstStyle/>
            <a:p>
              <a:pPr defTabSz="725214">
                <a:lnSpc>
                  <a:spcPct val="90000"/>
                </a:lnSpc>
                <a:spcBef>
                  <a:spcPct val="0"/>
                </a:spcBef>
                <a:spcAft>
                  <a:spcPct val="35000"/>
                </a:spcAft>
              </a:pPr>
              <a:r>
                <a:rPr lang="en-US" sz="1836" dirty="0">
                  <a:gradFill>
                    <a:gsLst>
                      <a:gs pos="0">
                        <a:schemeClr val="tx1"/>
                      </a:gs>
                      <a:gs pos="100000">
                        <a:schemeClr val="tx2"/>
                      </a:gs>
                    </a:gsLst>
                    <a:lin ang="5400000" scaled="1"/>
                  </a:gradFill>
                </a:rPr>
                <a:t>June </a:t>
              </a:r>
              <a:br>
                <a:rPr lang="en-US" sz="1836" dirty="0">
                  <a:gradFill>
                    <a:gsLst>
                      <a:gs pos="0">
                        <a:schemeClr val="tx1"/>
                      </a:gs>
                      <a:gs pos="100000">
                        <a:schemeClr val="tx2"/>
                      </a:gs>
                    </a:gsLst>
                    <a:lin ang="5400000" scaled="1"/>
                  </a:gradFill>
                </a:rPr>
              </a:br>
              <a:r>
                <a:rPr lang="en-US" sz="1836" dirty="0">
                  <a:gradFill>
                    <a:gsLst>
                      <a:gs pos="0">
                        <a:schemeClr val="tx1"/>
                      </a:gs>
                      <a:gs pos="100000">
                        <a:schemeClr val="tx2"/>
                      </a:gs>
                    </a:gsLst>
                    <a:lin ang="5400000" scaled="1"/>
                  </a:gradFill>
                </a:rPr>
                <a:t>2012</a:t>
              </a:r>
            </a:p>
          </p:txBody>
        </p:sp>
      </p:grpSp>
      <p:grpSp>
        <p:nvGrpSpPr>
          <p:cNvPr id="17" name="Group 16"/>
          <p:cNvGrpSpPr/>
          <p:nvPr/>
        </p:nvGrpSpPr>
        <p:grpSpPr>
          <a:xfrm>
            <a:off x="4404250" y="1432314"/>
            <a:ext cx="1911837" cy="691233"/>
            <a:chOff x="274638" y="1704975"/>
            <a:chExt cx="1874520" cy="677741"/>
          </a:xfrm>
        </p:grpSpPr>
        <p:sp>
          <p:nvSpPr>
            <p:cNvPr id="18" name="Rectangle 17"/>
            <p:cNvSpPr/>
            <p:nvPr/>
          </p:nvSpPr>
          <p:spPr bwMode="auto">
            <a:xfrm>
              <a:off x="274638" y="2253519"/>
              <a:ext cx="1211186" cy="12919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9" name="Right Triangle 18"/>
            <p:cNvSpPr/>
            <p:nvPr>
              <p:custDataLst>
                <p:tags r:id="rId5"/>
              </p:custDataLst>
            </p:nvPr>
          </p:nvSpPr>
          <p:spPr bwMode="auto">
            <a:xfrm rot="10800000" flipH="1" flipV="1">
              <a:off x="1485825" y="1714500"/>
              <a:ext cx="663333" cy="668216"/>
            </a:xfrm>
            <a:prstGeom prst="r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5131" tIns="47565" rIns="95131" bIns="47565" numCol="1" rtlCol="0" anchor="ctr" anchorCtr="0" compatLnSpc="1">
              <a:prstTxWarp prst="textNoShape">
                <a:avLst/>
              </a:prstTxWarp>
            </a:bodyPr>
            <a:lstStyle/>
            <a:p>
              <a:pPr algn="ctr" defTabSz="951028"/>
              <a:endParaRPr lang="en-US" sz="1836"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0" name="Rectangle 19"/>
            <p:cNvSpPr/>
            <p:nvPr/>
          </p:nvSpPr>
          <p:spPr>
            <a:xfrm>
              <a:off x="274638" y="1704975"/>
              <a:ext cx="1344168" cy="523928"/>
            </a:xfrm>
            <a:prstGeom prst="rect">
              <a:avLst/>
            </a:prstGeom>
          </p:spPr>
          <p:txBody>
            <a:bodyPr wrap="square" lIns="0" tIns="0" rIns="0" bIns="0">
              <a:noAutofit/>
            </a:bodyPr>
            <a:lstStyle/>
            <a:p>
              <a:pPr defTabSz="725214">
                <a:lnSpc>
                  <a:spcPct val="90000"/>
                </a:lnSpc>
                <a:spcBef>
                  <a:spcPct val="0"/>
                </a:spcBef>
                <a:spcAft>
                  <a:spcPct val="35000"/>
                </a:spcAft>
              </a:pPr>
              <a:r>
                <a:rPr lang="en-US" sz="1836" dirty="0">
                  <a:gradFill>
                    <a:gsLst>
                      <a:gs pos="0">
                        <a:schemeClr val="tx1"/>
                      </a:gs>
                      <a:gs pos="100000">
                        <a:schemeClr val="tx2"/>
                      </a:gs>
                    </a:gsLst>
                    <a:lin ang="5400000" scaled="1"/>
                  </a:gradFill>
                </a:rPr>
                <a:t>September </a:t>
              </a:r>
              <a:br>
                <a:rPr lang="en-US" sz="1836" dirty="0">
                  <a:gradFill>
                    <a:gsLst>
                      <a:gs pos="0">
                        <a:schemeClr val="tx1"/>
                      </a:gs>
                      <a:gs pos="100000">
                        <a:schemeClr val="tx2"/>
                      </a:gs>
                    </a:gsLst>
                    <a:lin ang="5400000" scaled="1"/>
                  </a:gradFill>
                </a:rPr>
              </a:br>
              <a:r>
                <a:rPr lang="en-US" sz="1836" dirty="0">
                  <a:gradFill>
                    <a:gsLst>
                      <a:gs pos="0">
                        <a:schemeClr val="tx1"/>
                      </a:gs>
                      <a:gs pos="100000">
                        <a:schemeClr val="tx2"/>
                      </a:gs>
                    </a:gsLst>
                    <a:lin ang="5400000" scaled="1"/>
                  </a:gradFill>
                </a:rPr>
                <a:t>2012</a:t>
              </a:r>
            </a:p>
          </p:txBody>
        </p:sp>
      </p:grpSp>
      <p:grpSp>
        <p:nvGrpSpPr>
          <p:cNvPr id="21" name="Group 20"/>
          <p:cNvGrpSpPr/>
          <p:nvPr/>
        </p:nvGrpSpPr>
        <p:grpSpPr>
          <a:xfrm>
            <a:off x="7292215" y="1432314"/>
            <a:ext cx="1911837" cy="691234"/>
            <a:chOff x="274638" y="1704975"/>
            <a:chExt cx="1874520" cy="677742"/>
          </a:xfrm>
        </p:grpSpPr>
        <p:sp>
          <p:nvSpPr>
            <p:cNvPr id="22" name="Rectangle 21"/>
            <p:cNvSpPr/>
            <p:nvPr/>
          </p:nvSpPr>
          <p:spPr bwMode="auto">
            <a:xfrm>
              <a:off x="274638" y="2253519"/>
              <a:ext cx="1211187" cy="12919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3" name="Right Triangle 22"/>
            <p:cNvSpPr/>
            <p:nvPr>
              <p:custDataLst>
                <p:tags r:id="rId4"/>
              </p:custDataLst>
            </p:nvPr>
          </p:nvSpPr>
          <p:spPr bwMode="auto">
            <a:xfrm rot="10800000" flipH="1" flipV="1">
              <a:off x="1485825" y="1714500"/>
              <a:ext cx="663333" cy="668216"/>
            </a:xfrm>
            <a:prstGeom prst="r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5131" tIns="47565" rIns="95131" bIns="47565" numCol="1" rtlCol="0" anchor="ctr" anchorCtr="0" compatLnSpc="1">
              <a:prstTxWarp prst="textNoShape">
                <a:avLst/>
              </a:prstTxWarp>
            </a:bodyPr>
            <a:lstStyle/>
            <a:p>
              <a:pPr algn="ctr" defTabSz="951028"/>
              <a:endParaRPr lang="en-US" sz="1836"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4" name="Rectangle 23"/>
            <p:cNvSpPr/>
            <p:nvPr/>
          </p:nvSpPr>
          <p:spPr>
            <a:xfrm>
              <a:off x="274638" y="1704975"/>
              <a:ext cx="1344168" cy="523928"/>
            </a:xfrm>
            <a:prstGeom prst="rect">
              <a:avLst/>
            </a:prstGeom>
          </p:spPr>
          <p:txBody>
            <a:bodyPr wrap="square" lIns="0" tIns="0" rIns="0" bIns="0">
              <a:noAutofit/>
            </a:bodyPr>
            <a:lstStyle/>
            <a:p>
              <a:pPr defTabSz="725214">
                <a:lnSpc>
                  <a:spcPct val="90000"/>
                </a:lnSpc>
                <a:spcBef>
                  <a:spcPct val="0"/>
                </a:spcBef>
                <a:spcAft>
                  <a:spcPct val="35000"/>
                </a:spcAft>
              </a:pPr>
              <a:r>
                <a:rPr lang="en-US" sz="1836" dirty="0">
                  <a:gradFill>
                    <a:gsLst>
                      <a:gs pos="0">
                        <a:schemeClr val="tx1"/>
                      </a:gs>
                      <a:gs pos="100000">
                        <a:schemeClr val="tx2"/>
                      </a:gs>
                    </a:gsLst>
                    <a:lin ang="5400000" scaled="1"/>
                  </a:gradFill>
                </a:rPr>
                <a:t>December </a:t>
              </a:r>
              <a:br>
                <a:rPr lang="en-US" sz="1836" dirty="0">
                  <a:gradFill>
                    <a:gsLst>
                      <a:gs pos="0">
                        <a:schemeClr val="tx1"/>
                      </a:gs>
                      <a:gs pos="100000">
                        <a:schemeClr val="tx2"/>
                      </a:gs>
                    </a:gsLst>
                    <a:lin ang="5400000" scaled="1"/>
                  </a:gradFill>
                </a:rPr>
              </a:br>
              <a:r>
                <a:rPr lang="en-US" sz="1836" dirty="0">
                  <a:gradFill>
                    <a:gsLst>
                      <a:gs pos="0">
                        <a:schemeClr val="tx1"/>
                      </a:gs>
                      <a:gs pos="100000">
                        <a:schemeClr val="tx2"/>
                      </a:gs>
                    </a:gsLst>
                    <a:lin ang="5400000" scaled="1"/>
                  </a:gradFill>
                </a:rPr>
                <a:t>2012</a:t>
              </a:r>
            </a:p>
          </p:txBody>
        </p:sp>
      </p:grpSp>
      <p:grpSp>
        <p:nvGrpSpPr>
          <p:cNvPr id="25" name="Group 24"/>
          <p:cNvGrpSpPr/>
          <p:nvPr/>
        </p:nvGrpSpPr>
        <p:grpSpPr>
          <a:xfrm>
            <a:off x="10180182" y="1432314"/>
            <a:ext cx="2071340" cy="691234"/>
            <a:chOff x="274638" y="1704975"/>
            <a:chExt cx="2030903" cy="677742"/>
          </a:xfrm>
        </p:grpSpPr>
        <p:sp>
          <p:nvSpPr>
            <p:cNvPr id="26" name="Rectangle 25"/>
            <p:cNvSpPr/>
            <p:nvPr/>
          </p:nvSpPr>
          <p:spPr bwMode="auto">
            <a:xfrm>
              <a:off x="285063" y="2238429"/>
              <a:ext cx="1357144" cy="14428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7" name="Right Triangle 26"/>
            <p:cNvSpPr/>
            <p:nvPr>
              <p:custDataLst>
                <p:tags r:id="rId3"/>
              </p:custDataLst>
            </p:nvPr>
          </p:nvSpPr>
          <p:spPr bwMode="auto">
            <a:xfrm rot="10800000" flipH="1" flipV="1">
              <a:off x="1642208" y="1714500"/>
              <a:ext cx="663333" cy="668216"/>
            </a:xfrm>
            <a:prstGeom prst="r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5131" tIns="47565" rIns="95131" bIns="47565" numCol="1" rtlCol="0" anchor="ctr" anchorCtr="0" compatLnSpc="1">
              <a:prstTxWarp prst="textNoShape">
                <a:avLst/>
              </a:prstTxWarp>
            </a:bodyPr>
            <a:lstStyle/>
            <a:p>
              <a:pPr algn="ctr" defTabSz="951028"/>
              <a:endParaRPr lang="en-US" sz="1836"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8" name="Rectangle 27"/>
            <p:cNvSpPr/>
            <p:nvPr/>
          </p:nvSpPr>
          <p:spPr>
            <a:xfrm>
              <a:off x="274638" y="1704975"/>
              <a:ext cx="1433160" cy="523928"/>
            </a:xfrm>
            <a:prstGeom prst="rect">
              <a:avLst/>
            </a:prstGeom>
          </p:spPr>
          <p:txBody>
            <a:bodyPr wrap="square" lIns="0" tIns="0" rIns="0" bIns="0">
              <a:noAutofit/>
            </a:bodyPr>
            <a:lstStyle/>
            <a:p>
              <a:pPr defTabSz="725214">
                <a:lnSpc>
                  <a:spcPct val="90000"/>
                </a:lnSpc>
                <a:spcBef>
                  <a:spcPct val="0"/>
                </a:spcBef>
                <a:spcAft>
                  <a:spcPct val="35000"/>
                </a:spcAft>
              </a:pPr>
              <a:r>
                <a:rPr lang="en-US" sz="1836" dirty="0">
                  <a:gradFill>
                    <a:gsLst>
                      <a:gs pos="0">
                        <a:schemeClr val="tx1"/>
                      </a:gs>
                      <a:gs pos="100000">
                        <a:schemeClr val="tx2"/>
                      </a:gs>
                    </a:gsLst>
                    <a:lin ang="5400000" scaled="1"/>
                  </a:gradFill>
                </a:rPr>
                <a:t>June </a:t>
              </a:r>
              <a:br>
                <a:rPr lang="en-US" sz="1836" dirty="0">
                  <a:gradFill>
                    <a:gsLst>
                      <a:gs pos="0">
                        <a:schemeClr val="tx1"/>
                      </a:gs>
                      <a:gs pos="100000">
                        <a:schemeClr val="tx2"/>
                      </a:gs>
                    </a:gsLst>
                    <a:lin ang="5400000" scaled="1"/>
                  </a:gradFill>
                </a:rPr>
              </a:br>
              <a:r>
                <a:rPr lang="en-US" sz="1836" dirty="0" smtClean="0">
                  <a:gradFill>
                    <a:gsLst>
                      <a:gs pos="0">
                        <a:schemeClr val="tx1"/>
                      </a:gs>
                      <a:gs pos="100000">
                        <a:schemeClr val="tx2"/>
                      </a:gs>
                    </a:gsLst>
                    <a:lin ang="5400000" scaled="1"/>
                  </a:gradFill>
                </a:rPr>
                <a:t>2013 </a:t>
              </a:r>
              <a:r>
                <a:rPr lang="en-US" sz="1836" i="1" dirty="0" smtClean="0">
                  <a:gradFill>
                    <a:gsLst>
                      <a:gs pos="0">
                        <a:schemeClr val="tx1"/>
                      </a:gs>
                      <a:gs pos="100000">
                        <a:schemeClr val="tx2"/>
                      </a:gs>
                    </a:gsLst>
                    <a:lin ang="5400000" scaled="1"/>
                  </a:gradFill>
                </a:rPr>
                <a:t>Preview</a:t>
              </a:r>
              <a:endParaRPr lang="en-US" sz="1836" i="1" dirty="0">
                <a:gradFill>
                  <a:gsLst>
                    <a:gs pos="0">
                      <a:schemeClr val="tx1"/>
                    </a:gs>
                    <a:gs pos="100000">
                      <a:schemeClr val="tx2"/>
                    </a:gs>
                  </a:gsLst>
                  <a:lin ang="5400000" scaled="1"/>
                </a:gradFill>
              </a:endParaRPr>
            </a:p>
          </p:txBody>
        </p:sp>
      </p:grpSp>
      <p:sp>
        <p:nvSpPr>
          <p:cNvPr id="29" name="Chevron 28"/>
          <p:cNvSpPr/>
          <p:nvPr>
            <p:custDataLst>
              <p:tags r:id="rId1"/>
            </p:custDataLst>
          </p:nvPr>
        </p:nvSpPr>
        <p:spPr bwMode="auto">
          <a:xfrm rot="10800000" flipH="1" flipV="1">
            <a:off x="6465882" y="1437171"/>
            <a:ext cx="676538" cy="681518"/>
          </a:xfrm>
          <a:prstGeom prst="chevron">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5131" tIns="47565" rIns="95131" bIns="47565" numCol="1" rtlCol="0" anchor="ctr" anchorCtr="0" compatLnSpc="1">
            <a:prstTxWarp prst="textNoShape">
              <a:avLst/>
            </a:prstTxWarp>
          </a:bodyPr>
          <a:lstStyle/>
          <a:p>
            <a:pPr algn="ctr" defTabSz="951028"/>
            <a:endParaRPr lang="en-US" sz="1836"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0" name="Chevron 29"/>
          <p:cNvSpPr/>
          <p:nvPr>
            <p:custDataLst>
              <p:tags r:id="rId2"/>
            </p:custDataLst>
          </p:nvPr>
        </p:nvSpPr>
        <p:spPr bwMode="auto">
          <a:xfrm rot="10800000" flipH="1" flipV="1">
            <a:off x="9353847" y="1437171"/>
            <a:ext cx="676538" cy="681518"/>
          </a:xfrm>
          <a:prstGeom prst="chevron">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5131" tIns="47565" rIns="95131" bIns="47565" numCol="1" rtlCol="0" anchor="ctr" anchorCtr="0" compatLnSpc="1">
            <a:prstTxWarp prst="textNoShape">
              <a:avLst/>
            </a:prstTxWarp>
          </a:bodyPr>
          <a:lstStyle/>
          <a:p>
            <a:pPr algn="ctr" defTabSz="951028"/>
            <a:endParaRPr lang="en-US" sz="1836"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88" name="Group 87"/>
          <p:cNvGrpSpPr/>
          <p:nvPr/>
        </p:nvGrpSpPr>
        <p:grpSpPr>
          <a:xfrm>
            <a:off x="2081887" y="3619082"/>
            <a:ext cx="2211426" cy="1059738"/>
            <a:chOff x="2040387" y="3548442"/>
            <a:chExt cx="2168262" cy="1039053"/>
          </a:xfrm>
        </p:grpSpPr>
        <p:sp>
          <p:nvSpPr>
            <p:cNvPr id="35" name="Rectangle 34"/>
            <p:cNvSpPr/>
            <p:nvPr/>
          </p:nvSpPr>
          <p:spPr bwMode="auto">
            <a:xfrm>
              <a:off x="2040387" y="3548442"/>
              <a:ext cx="2168262" cy="103905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marL="121432" indent="-121432" defTabSz="951028" fontAlgn="base">
                <a:lnSpc>
                  <a:spcPct val="90000"/>
                </a:lnSpc>
                <a:spcBef>
                  <a:spcPct val="0"/>
                </a:spcBef>
                <a:spcAft>
                  <a:spcPts val="612"/>
                </a:spcAft>
                <a:buFont typeface="Arial" panose="020B0604020202020204" pitchFamily="34" charset="0"/>
                <a:buChar char="•"/>
              </a:pPr>
              <a:r>
                <a:rPr lang="en-US" sz="1428" dirty="0">
                  <a:gradFill>
                    <a:gsLst>
                      <a:gs pos="0">
                        <a:srgbClr val="FFFFFF"/>
                      </a:gs>
                      <a:gs pos="100000">
                        <a:srgbClr val="FFFFFF"/>
                      </a:gs>
                    </a:gsLst>
                    <a:lin ang="5400000" scaled="0"/>
                  </a:gradFill>
                  <a:ea typeface="Segoe UI" pitchFamily="34" charset="0"/>
                  <a:cs typeface="Segoe UI" pitchFamily="34" charset="0"/>
                </a:rPr>
                <a:t>App </a:t>
              </a:r>
              <a:r>
                <a:rPr lang="en-US" sz="1428" dirty="0" err="1">
                  <a:gradFill>
                    <a:gsLst>
                      <a:gs pos="0">
                        <a:srgbClr val="FFFFFF"/>
                      </a:gs>
                      <a:gs pos="100000">
                        <a:srgbClr val="FFFFFF"/>
                      </a:gs>
                    </a:gsLst>
                    <a:lin ang="5400000" scaled="0"/>
                  </a:gradFill>
                  <a:ea typeface="Segoe UI" pitchFamily="34" charset="0"/>
                  <a:cs typeface="Segoe UI" pitchFamily="34" charset="0"/>
                </a:rPr>
                <a:t>sideloading</a:t>
              </a:r>
              <a:r>
                <a:rPr lang="en-US" sz="1428" dirty="0">
                  <a:gradFill>
                    <a:gsLst>
                      <a:gs pos="0">
                        <a:srgbClr val="FFFFFF"/>
                      </a:gs>
                      <a:gs pos="100000">
                        <a:srgbClr val="FFFFFF"/>
                      </a:gs>
                    </a:gsLst>
                    <a:lin ang="5400000" scaled="0"/>
                  </a:gradFill>
                  <a:ea typeface="Segoe UI" pitchFamily="34" charset="0"/>
                  <a:cs typeface="Segoe UI" pitchFamily="34" charset="0"/>
                </a:rPr>
                <a:t>  </a:t>
              </a:r>
              <a:br>
                <a:rPr lang="en-US" sz="1428" dirty="0">
                  <a:gradFill>
                    <a:gsLst>
                      <a:gs pos="0">
                        <a:srgbClr val="FFFFFF"/>
                      </a:gs>
                      <a:gs pos="100000">
                        <a:srgbClr val="FFFFFF"/>
                      </a:gs>
                    </a:gsLst>
                    <a:lin ang="5400000" scaled="0"/>
                  </a:gradFill>
                  <a:ea typeface="Segoe UI" pitchFamily="34" charset="0"/>
                  <a:cs typeface="Segoe UI" pitchFamily="34" charset="0"/>
                </a:rPr>
              </a:br>
              <a:r>
                <a:rPr lang="en-US" sz="1428" dirty="0">
                  <a:gradFill>
                    <a:gsLst>
                      <a:gs pos="0">
                        <a:srgbClr val="FFFFFF"/>
                      </a:gs>
                      <a:gs pos="100000">
                        <a:srgbClr val="FFFFFF"/>
                      </a:gs>
                    </a:gsLst>
                    <a:lin ang="5400000" scaled="0"/>
                  </a:gradFill>
                  <a:ea typeface="Segoe UI" pitchFamily="34" charset="0"/>
                  <a:cs typeface="Segoe UI" pitchFamily="34" charset="0"/>
                </a:rPr>
                <a:t>for </a:t>
              </a:r>
              <a:r>
                <a:rPr lang="en-US" sz="1428" dirty="0" err="1">
                  <a:gradFill>
                    <a:gsLst>
                      <a:gs pos="0">
                        <a:srgbClr val="FFFFFF"/>
                      </a:gs>
                      <a:gs pos="100000">
                        <a:srgbClr val="FFFFFF"/>
                      </a:gs>
                    </a:gsLst>
                    <a:lin ang="5400000" scaled="0"/>
                  </a:gradFill>
                  <a:ea typeface="Segoe UI" pitchFamily="34" charset="0"/>
                  <a:cs typeface="Segoe UI" pitchFamily="34" charset="0"/>
                </a:rPr>
                <a:t>iOS</a:t>
              </a:r>
              <a:r>
                <a:rPr lang="en-US" sz="1428" dirty="0">
                  <a:gradFill>
                    <a:gsLst>
                      <a:gs pos="0">
                        <a:srgbClr val="FFFFFF"/>
                      </a:gs>
                      <a:gs pos="100000">
                        <a:srgbClr val="FFFFFF"/>
                      </a:gs>
                    </a:gsLst>
                    <a:lin ang="5400000" scaled="0"/>
                  </a:gradFill>
                  <a:ea typeface="Segoe UI" pitchFamily="34" charset="0"/>
                  <a:cs typeface="Segoe UI" pitchFamily="34" charset="0"/>
                </a:rPr>
                <a:t>, EAS support</a:t>
              </a:r>
            </a:p>
          </p:txBody>
        </p:sp>
        <p:sp>
          <p:nvSpPr>
            <p:cNvPr id="46" name="Rectangle 45"/>
            <p:cNvSpPr/>
            <p:nvPr/>
          </p:nvSpPr>
          <p:spPr bwMode="auto">
            <a:xfrm>
              <a:off x="2040387" y="3556253"/>
              <a:ext cx="2168262" cy="4782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defTabSz="951028" fontAlgn="base">
                <a:lnSpc>
                  <a:spcPct val="90000"/>
                </a:lnSpc>
                <a:spcBef>
                  <a:spcPct val="0"/>
                </a:spcBef>
                <a:spcAft>
                  <a:spcPts val="612"/>
                </a:spcAft>
              </a:pPr>
              <a:endParaRPr lang="en-US" sz="1428" dirty="0">
                <a:gradFill>
                  <a:gsLst>
                    <a:gs pos="0">
                      <a:srgbClr val="FFFFFF"/>
                    </a:gs>
                    <a:gs pos="100000">
                      <a:srgbClr val="FFFFFF"/>
                    </a:gs>
                  </a:gsLst>
                  <a:lin ang="5400000" scaled="0"/>
                </a:gradFill>
                <a:ea typeface="Segoe UI" pitchFamily="34" charset="0"/>
                <a:cs typeface="Segoe UI" pitchFamily="34" charset="0"/>
              </a:endParaRPr>
            </a:p>
          </p:txBody>
        </p:sp>
        <p:sp>
          <p:nvSpPr>
            <p:cNvPr id="37" name="Freeform 5"/>
            <p:cNvSpPr>
              <a:spLocks noChangeAspect="1" noEditPoints="1"/>
            </p:cNvSpPr>
            <p:nvPr/>
          </p:nvSpPr>
          <p:spPr bwMode="auto">
            <a:xfrm>
              <a:off x="2223278" y="3664493"/>
              <a:ext cx="1802481" cy="261803"/>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chemeClr val="tx1"/>
            </a:solidFill>
            <a:ln>
              <a:noFill/>
            </a:ln>
          </p:spPr>
          <p:txBody>
            <a:bodyPr vert="horz" wrap="square" lIns="91390" tIns="45696" rIns="91390" bIns="45696" numCol="1" anchor="t" anchorCtr="0" compatLnSpc="1">
              <a:prstTxWarp prst="textNoShape">
                <a:avLst/>
              </a:prstTxWarp>
            </a:bodyPr>
            <a:lstStyle/>
            <a:p>
              <a:pPr defTabSz="932193"/>
              <a:endParaRPr lang="en-US" sz="1799">
                <a:solidFill>
                  <a:srgbClr val="505050"/>
                </a:solidFill>
              </a:endParaRPr>
            </a:p>
          </p:txBody>
        </p:sp>
      </p:grpSp>
      <p:grpSp>
        <p:nvGrpSpPr>
          <p:cNvPr id="85" name="Group 84"/>
          <p:cNvGrpSpPr/>
          <p:nvPr/>
        </p:nvGrpSpPr>
        <p:grpSpPr>
          <a:xfrm>
            <a:off x="10027165" y="2219943"/>
            <a:ext cx="2214647" cy="2458877"/>
            <a:chOff x="9830581" y="2176613"/>
            <a:chExt cx="2171420" cy="1841352"/>
          </a:xfrm>
        </p:grpSpPr>
        <p:sp>
          <p:nvSpPr>
            <p:cNvPr id="61" name="Rectangle 60"/>
            <p:cNvSpPr/>
            <p:nvPr/>
          </p:nvSpPr>
          <p:spPr bwMode="auto">
            <a:xfrm>
              <a:off x="9830581" y="2820220"/>
              <a:ext cx="2168262" cy="119774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marL="121432" indent="-121432" defTabSz="951028" fontAlgn="base">
                <a:lnSpc>
                  <a:spcPct val="90000"/>
                </a:lnSpc>
                <a:spcBef>
                  <a:spcPct val="0"/>
                </a:spcBef>
                <a:spcAft>
                  <a:spcPts val="612"/>
                </a:spcAft>
                <a:buFont typeface="Arial" panose="020B0604020202020204" pitchFamily="34" charset="0"/>
                <a:buChar char="•"/>
              </a:pPr>
              <a:r>
                <a:rPr lang="en-US" sz="1428" dirty="0" smtClean="0">
                  <a:gradFill>
                    <a:gsLst>
                      <a:gs pos="0">
                        <a:srgbClr val="FFFFFF"/>
                      </a:gs>
                      <a:gs pos="100000">
                        <a:srgbClr val="FFFFFF"/>
                      </a:gs>
                    </a:gsLst>
                    <a:lin ang="5400000" scaled="0"/>
                  </a:gradFill>
                  <a:ea typeface="Segoe UI" pitchFamily="34" charset="0"/>
                  <a:cs typeface="Segoe UI" pitchFamily="34" charset="0"/>
                </a:rPr>
                <a:t>Comprehensive Settings Mgmt.</a:t>
              </a:r>
              <a:endParaRPr lang="en-US" sz="1428" dirty="0">
                <a:gradFill>
                  <a:gsLst>
                    <a:gs pos="0">
                      <a:srgbClr val="FFFFFF"/>
                    </a:gs>
                    <a:gs pos="100000">
                      <a:srgbClr val="FFFFFF"/>
                    </a:gs>
                  </a:gsLst>
                  <a:lin ang="5400000" scaled="0"/>
                </a:gradFill>
                <a:ea typeface="Segoe UI" pitchFamily="34" charset="0"/>
                <a:cs typeface="Segoe UI" pitchFamily="34" charset="0"/>
              </a:endParaRPr>
            </a:p>
            <a:p>
              <a:pPr marL="121432" indent="-121432" defTabSz="951028" fontAlgn="base">
                <a:lnSpc>
                  <a:spcPct val="90000"/>
                </a:lnSpc>
                <a:spcBef>
                  <a:spcPct val="0"/>
                </a:spcBef>
                <a:spcAft>
                  <a:spcPts val="612"/>
                </a:spcAft>
                <a:buFont typeface="Arial" panose="020B0604020202020204" pitchFamily="34" charset="0"/>
                <a:buChar char="•"/>
              </a:pPr>
              <a:r>
                <a:rPr lang="en-US" sz="1428" dirty="0" smtClean="0">
                  <a:gradFill>
                    <a:gsLst>
                      <a:gs pos="0">
                        <a:srgbClr val="FFFFFF"/>
                      </a:gs>
                      <a:gs pos="100000">
                        <a:srgbClr val="FFFFFF"/>
                      </a:gs>
                    </a:gsLst>
                    <a:lin ang="5400000" scaled="0"/>
                  </a:gradFill>
                  <a:ea typeface="Segoe UI" pitchFamily="34" charset="0"/>
                  <a:cs typeface="Segoe UI" pitchFamily="34" charset="0"/>
                </a:rPr>
                <a:t>Company Portals</a:t>
              </a:r>
              <a:endParaRPr lang="en-US" sz="1428" dirty="0">
                <a:gradFill>
                  <a:gsLst>
                    <a:gs pos="0">
                      <a:srgbClr val="FFFFFF"/>
                    </a:gs>
                    <a:gs pos="100000">
                      <a:srgbClr val="FFFFFF"/>
                    </a:gs>
                  </a:gsLst>
                  <a:lin ang="5400000" scaled="0"/>
                </a:gradFill>
                <a:ea typeface="Segoe UI" pitchFamily="34" charset="0"/>
                <a:cs typeface="Segoe UI" pitchFamily="34" charset="0"/>
              </a:endParaRPr>
            </a:p>
            <a:p>
              <a:pPr marL="121432" indent="-121432" defTabSz="951028" fontAlgn="base">
                <a:lnSpc>
                  <a:spcPct val="90000"/>
                </a:lnSpc>
                <a:spcBef>
                  <a:spcPct val="0"/>
                </a:spcBef>
                <a:spcAft>
                  <a:spcPts val="612"/>
                </a:spcAft>
                <a:buFont typeface="Arial" panose="020B0604020202020204" pitchFamily="34" charset="0"/>
                <a:buChar char="•"/>
              </a:pPr>
              <a:r>
                <a:rPr lang="en-US" sz="1428" dirty="0">
                  <a:gradFill>
                    <a:gsLst>
                      <a:gs pos="0">
                        <a:srgbClr val="FFFFFF"/>
                      </a:gs>
                      <a:gs pos="100000">
                        <a:srgbClr val="FFFFFF"/>
                      </a:gs>
                    </a:gsLst>
                    <a:lin ang="5400000" scaled="0"/>
                  </a:gradFill>
                  <a:ea typeface="Segoe UI" pitchFamily="34" charset="0"/>
                  <a:cs typeface="Segoe UI" pitchFamily="34" charset="0"/>
                </a:rPr>
                <a:t>Certificate, VPN, Wi-Fi </a:t>
              </a:r>
              <a:r>
                <a:rPr lang="en-US" sz="1428" dirty="0" smtClean="0">
                  <a:gradFill>
                    <a:gsLst>
                      <a:gs pos="0">
                        <a:srgbClr val="FFFFFF"/>
                      </a:gs>
                      <a:gs pos="100000">
                        <a:srgbClr val="FFFFFF"/>
                      </a:gs>
                    </a:gsLst>
                    <a:lin ang="5400000" scaled="0"/>
                  </a:gradFill>
                  <a:ea typeface="Segoe UI" pitchFamily="34" charset="0"/>
                  <a:cs typeface="Segoe UI" pitchFamily="34" charset="0"/>
                </a:rPr>
                <a:t>Provisioning</a:t>
              </a:r>
            </a:p>
            <a:p>
              <a:pPr marL="121432" indent="-121432" defTabSz="951028" fontAlgn="base">
                <a:lnSpc>
                  <a:spcPct val="90000"/>
                </a:lnSpc>
                <a:spcBef>
                  <a:spcPct val="0"/>
                </a:spcBef>
                <a:spcAft>
                  <a:spcPts val="612"/>
                </a:spcAft>
                <a:buFont typeface="Arial" panose="020B0604020202020204" pitchFamily="34" charset="0"/>
                <a:buChar char="•"/>
              </a:pPr>
              <a:r>
                <a:rPr lang="en-US" sz="1428" dirty="0" smtClean="0">
                  <a:gradFill>
                    <a:gsLst>
                      <a:gs pos="0">
                        <a:srgbClr val="FFFFFF"/>
                      </a:gs>
                      <a:gs pos="100000">
                        <a:srgbClr val="FFFFFF"/>
                      </a:gs>
                    </a:gsLst>
                    <a:lin ang="5400000" scaled="0"/>
                  </a:gradFill>
                  <a:ea typeface="Segoe UI" pitchFamily="34" charset="0"/>
                  <a:cs typeface="Segoe UI" pitchFamily="34" charset="0"/>
                </a:rPr>
                <a:t>Selective </a:t>
              </a:r>
              <a:r>
                <a:rPr lang="en-US" sz="1428" dirty="0">
                  <a:gradFill>
                    <a:gsLst>
                      <a:gs pos="0">
                        <a:srgbClr val="FFFFFF"/>
                      </a:gs>
                      <a:gs pos="100000">
                        <a:srgbClr val="FFFFFF"/>
                      </a:gs>
                    </a:gsLst>
                    <a:lin ang="5400000" scaled="0"/>
                  </a:gradFill>
                  <a:ea typeface="Segoe UI" pitchFamily="34" charset="0"/>
                  <a:cs typeface="Segoe UI" pitchFamily="34" charset="0"/>
                </a:rPr>
                <a:t>Wipe</a:t>
              </a:r>
            </a:p>
            <a:p>
              <a:pPr marL="121432" indent="-121432" defTabSz="951028" fontAlgn="base">
                <a:lnSpc>
                  <a:spcPct val="90000"/>
                </a:lnSpc>
                <a:spcBef>
                  <a:spcPct val="0"/>
                </a:spcBef>
                <a:spcAft>
                  <a:spcPts val="612"/>
                </a:spcAft>
                <a:buFont typeface="Arial" panose="020B0604020202020204" pitchFamily="34" charset="0"/>
                <a:buChar char="•"/>
              </a:pPr>
              <a:endParaRPr lang="en-US" sz="1428" dirty="0">
                <a:gradFill>
                  <a:gsLst>
                    <a:gs pos="0">
                      <a:srgbClr val="FFFFFF"/>
                    </a:gs>
                    <a:gs pos="100000">
                      <a:srgbClr val="FFFFFF"/>
                    </a:gs>
                  </a:gsLst>
                  <a:lin ang="5400000" scaled="0"/>
                </a:gradFill>
                <a:ea typeface="Segoe UI" pitchFamily="34" charset="0"/>
                <a:cs typeface="Segoe UI" pitchFamily="34" charset="0"/>
              </a:endParaRPr>
            </a:p>
          </p:txBody>
        </p:sp>
        <p:sp>
          <p:nvSpPr>
            <p:cNvPr id="62" name="Rectangle 61"/>
            <p:cNvSpPr/>
            <p:nvPr/>
          </p:nvSpPr>
          <p:spPr bwMode="auto">
            <a:xfrm>
              <a:off x="9833739" y="2176613"/>
              <a:ext cx="2168262" cy="66167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139891" numCol="1" spcCol="0" rtlCol="0" fromWordArt="0" anchor="b" anchorCtr="0" forceAA="0" compatLnSpc="1">
              <a:prstTxWarp prst="textNoShape">
                <a:avLst/>
              </a:prstTxWarp>
              <a:noAutofit/>
            </a:bodyPr>
            <a:lstStyle/>
            <a:p>
              <a:pPr defTabSz="951028" fontAlgn="base">
                <a:lnSpc>
                  <a:spcPct val="90000"/>
                </a:lnSpc>
                <a:spcBef>
                  <a:spcPct val="0"/>
                </a:spcBef>
                <a:spcAft>
                  <a:spcPts val="612"/>
                </a:spcAft>
              </a:pPr>
              <a:endParaRPr lang="en-US" sz="1122" dirty="0">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21"/>
            <p:cNvSpPr>
              <a:spLocks noEditPoints="1"/>
            </p:cNvSpPr>
            <p:nvPr/>
          </p:nvSpPr>
          <p:spPr bwMode="auto">
            <a:xfrm>
              <a:off x="9956611" y="2237757"/>
              <a:ext cx="1935428" cy="297804"/>
            </a:xfrm>
            <a:custGeom>
              <a:avLst/>
              <a:gdLst>
                <a:gd name="T0" fmla="*/ 81 w 1381"/>
                <a:gd name="T1" fmla="*/ 8 h 210"/>
                <a:gd name="T2" fmla="*/ 695 w 1381"/>
                <a:gd name="T3" fmla="*/ 114 h 210"/>
                <a:gd name="T4" fmla="*/ 630 w 1381"/>
                <a:gd name="T5" fmla="*/ 127 h 210"/>
                <a:gd name="T6" fmla="*/ 256 w 1381"/>
                <a:gd name="T7" fmla="*/ 201 h 210"/>
                <a:gd name="T8" fmla="*/ 870 w 1381"/>
                <a:gd name="T9" fmla="*/ 136 h 210"/>
                <a:gd name="T10" fmla="*/ 909 w 1381"/>
                <a:gd name="T11" fmla="*/ 132 h 210"/>
                <a:gd name="T12" fmla="*/ 357 w 1381"/>
                <a:gd name="T13" fmla="*/ 37 h 210"/>
                <a:gd name="T14" fmla="*/ 395 w 1381"/>
                <a:gd name="T15" fmla="*/ 34 h 210"/>
                <a:gd name="T16" fmla="*/ 371 w 1381"/>
                <a:gd name="T17" fmla="*/ 2 h 210"/>
                <a:gd name="T18" fmla="*/ 688 w 1381"/>
                <a:gd name="T19" fmla="*/ 45 h 210"/>
                <a:gd name="T20" fmla="*/ 1313 w 1381"/>
                <a:gd name="T21" fmla="*/ 7 h 210"/>
                <a:gd name="T22" fmla="*/ 1316 w 1381"/>
                <a:gd name="T23" fmla="*/ 52 h 210"/>
                <a:gd name="T24" fmla="*/ 13 w 1381"/>
                <a:gd name="T25" fmla="*/ 133 h 210"/>
                <a:gd name="T26" fmla="*/ 760 w 1381"/>
                <a:gd name="T27" fmla="*/ 40 h 210"/>
                <a:gd name="T28" fmla="*/ 603 w 1381"/>
                <a:gd name="T29" fmla="*/ 55 h 210"/>
                <a:gd name="T30" fmla="*/ 467 w 1381"/>
                <a:gd name="T31" fmla="*/ 63 h 210"/>
                <a:gd name="T32" fmla="*/ 449 w 1381"/>
                <a:gd name="T33" fmla="*/ 72 h 210"/>
                <a:gd name="T34" fmla="*/ 831 w 1381"/>
                <a:gd name="T35" fmla="*/ 80 h 210"/>
                <a:gd name="T36" fmla="*/ 938 w 1381"/>
                <a:gd name="T37" fmla="*/ 185 h 210"/>
                <a:gd name="T38" fmla="*/ 989 w 1381"/>
                <a:gd name="T39" fmla="*/ 78 h 210"/>
                <a:gd name="T40" fmla="*/ 843 w 1381"/>
                <a:gd name="T41" fmla="*/ 142 h 210"/>
                <a:gd name="T42" fmla="*/ 408 w 1381"/>
                <a:gd name="T43" fmla="*/ 183 h 210"/>
                <a:gd name="T44" fmla="*/ 376 w 1381"/>
                <a:gd name="T45" fmla="*/ 166 h 210"/>
                <a:gd name="T46" fmla="*/ 314 w 1381"/>
                <a:gd name="T47" fmla="*/ 80 h 210"/>
                <a:gd name="T48" fmla="*/ 1215 w 1381"/>
                <a:gd name="T49" fmla="*/ 72 h 210"/>
                <a:gd name="T50" fmla="*/ 530 w 1381"/>
                <a:gd name="T51" fmla="*/ 169 h 210"/>
                <a:gd name="T52" fmla="*/ 1067 w 1381"/>
                <a:gd name="T53" fmla="*/ 70 h 210"/>
                <a:gd name="T54" fmla="*/ 1337 w 1381"/>
                <a:gd name="T55" fmla="*/ 79 h 210"/>
                <a:gd name="T56" fmla="*/ 738 w 1381"/>
                <a:gd name="T57" fmla="*/ 151 h 210"/>
                <a:gd name="T58" fmla="*/ 712 w 1381"/>
                <a:gd name="T59" fmla="*/ 135 h 210"/>
                <a:gd name="T60" fmla="*/ 495 w 1381"/>
                <a:gd name="T61" fmla="*/ 70 h 210"/>
                <a:gd name="T62" fmla="*/ 148 w 1381"/>
                <a:gd name="T63" fmla="*/ 138 h 210"/>
                <a:gd name="T64" fmla="*/ 760 w 1381"/>
                <a:gd name="T65" fmla="*/ 133 h 210"/>
                <a:gd name="T66" fmla="*/ 803 w 1381"/>
                <a:gd name="T67" fmla="*/ 148 h 210"/>
                <a:gd name="T68" fmla="*/ 902 w 1381"/>
                <a:gd name="T69" fmla="*/ 41 h 210"/>
                <a:gd name="T70" fmla="*/ 325 w 1381"/>
                <a:gd name="T71" fmla="*/ 132 h 210"/>
                <a:gd name="T72" fmla="*/ 324 w 1381"/>
                <a:gd name="T73" fmla="*/ 177 h 210"/>
                <a:gd name="T74" fmla="*/ 583 w 1381"/>
                <a:gd name="T75" fmla="*/ 184 h 210"/>
                <a:gd name="T76" fmla="*/ 176 w 1381"/>
                <a:gd name="T77" fmla="*/ 139 h 210"/>
                <a:gd name="T78" fmla="*/ 206 w 1381"/>
                <a:gd name="T79" fmla="*/ 107 h 210"/>
                <a:gd name="T80" fmla="*/ 540 w 1381"/>
                <a:gd name="T81" fmla="*/ 59 h 210"/>
                <a:gd name="T82" fmla="*/ 277 w 1381"/>
                <a:gd name="T83" fmla="*/ 27 h 210"/>
                <a:gd name="T84" fmla="*/ 926 w 1381"/>
                <a:gd name="T85" fmla="*/ 35 h 210"/>
                <a:gd name="T86" fmla="*/ 935 w 1381"/>
                <a:gd name="T87" fmla="*/ 11 h 210"/>
                <a:gd name="T88" fmla="*/ 431 w 1381"/>
                <a:gd name="T89" fmla="*/ 132 h 210"/>
                <a:gd name="T90" fmla="*/ 153 w 1381"/>
                <a:gd name="T91" fmla="*/ 30 h 210"/>
                <a:gd name="T92" fmla="*/ 586 w 1381"/>
                <a:gd name="T93" fmla="*/ 26 h 210"/>
                <a:gd name="T94" fmla="*/ 586 w 1381"/>
                <a:gd name="T95" fmla="*/ 72 h 210"/>
                <a:gd name="T96" fmla="*/ 983 w 1381"/>
                <a:gd name="T97" fmla="*/ 133 h 210"/>
                <a:gd name="T98" fmla="*/ 163 w 1381"/>
                <a:gd name="T99" fmla="*/ 76 h 210"/>
                <a:gd name="T100" fmla="*/ 355 w 1381"/>
                <a:gd name="T101" fmla="*/ 133 h 210"/>
                <a:gd name="T102" fmla="*/ 1015 w 1381"/>
                <a:gd name="T103" fmla="*/ 33 h 210"/>
                <a:gd name="T104" fmla="*/ 462 w 1381"/>
                <a:gd name="T105" fmla="*/ 178 h 210"/>
                <a:gd name="T106" fmla="*/ 210 w 1381"/>
                <a:gd name="T107" fmla="*/ 132 h 210"/>
                <a:gd name="T108" fmla="*/ 220 w 1381"/>
                <a:gd name="T109" fmla="*/ 113 h 210"/>
                <a:gd name="T110" fmla="*/ 872 w 1381"/>
                <a:gd name="T111" fmla="*/ 150 h 210"/>
                <a:gd name="T112" fmla="*/ 1145 w 1381"/>
                <a:gd name="T113" fmla="*/ 17 h 210"/>
                <a:gd name="T114" fmla="*/ 821 w 1381"/>
                <a:gd name="T115" fmla="*/ 47 h 210"/>
                <a:gd name="T116" fmla="*/ 844 w 1381"/>
                <a:gd name="T117" fmla="*/ 158 h 210"/>
                <a:gd name="T118" fmla="*/ 408 w 1381"/>
                <a:gd name="T119" fmla="*/ 159 h 210"/>
                <a:gd name="T120" fmla="*/ 325 w 1381"/>
                <a:gd name="T121" fmla="*/ 67 h 210"/>
                <a:gd name="T122" fmla="*/ 726 w 1381"/>
                <a:gd name="T123" fmla="*/ 17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81" h="210">
                  <a:moveTo>
                    <a:pt x="14" y="20"/>
                  </a:moveTo>
                  <a:cubicBezTo>
                    <a:pt x="14" y="21"/>
                    <a:pt x="14" y="22"/>
                    <a:pt x="14" y="22"/>
                  </a:cubicBezTo>
                  <a:cubicBezTo>
                    <a:pt x="14" y="40"/>
                    <a:pt x="14" y="58"/>
                    <a:pt x="14" y="76"/>
                  </a:cubicBezTo>
                  <a:cubicBezTo>
                    <a:pt x="14" y="80"/>
                    <a:pt x="14" y="79"/>
                    <a:pt x="11" y="79"/>
                  </a:cubicBezTo>
                  <a:cubicBezTo>
                    <a:pt x="9" y="79"/>
                    <a:pt x="8" y="79"/>
                    <a:pt x="6" y="79"/>
                  </a:cubicBezTo>
                  <a:cubicBezTo>
                    <a:pt x="6" y="79"/>
                    <a:pt x="6" y="79"/>
                    <a:pt x="6" y="78"/>
                  </a:cubicBezTo>
                  <a:cubicBezTo>
                    <a:pt x="6" y="78"/>
                    <a:pt x="6" y="77"/>
                    <a:pt x="6" y="77"/>
                  </a:cubicBezTo>
                  <a:cubicBezTo>
                    <a:pt x="6" y="54"/>
                    <a:pt x="6" y="31"/>
                    <a:pt x="6" y="7"/>
                  </a:cubicBezTo>
                  <a:cubicBezTo>
                    <a:pt x="6" y="7"/>
                    <a:pt x="6" y="7"/>
                    <a:pt x="6" y="7"/>
                  </a:cubicBezTo>
                  <a:cubicBezTo>
                    <a:pt x="6" y="5"/>
                    <a:pt x="6" y="5"/>
                    <a:pt x="7" y="5"/>
                  </a:cubicBezTo>
                  <a:cubicBezTo>
                    <a:pt x="9" y="5"/>
                    <a:pt x="10" y="5"/>
                    <a:pt x="12" y="5"/>
                  </a:cubicBezTo>
                  <a:cubicBezTo>
                    <a:pt x="13" y="5"/>
                    <a:pt x="15" y="5"/>
                    <a:pt x="16" y="5"/>
                  </a:cubicBezTo>
                  <a:cubicBezTo>
                    <a:pt x="17" y="5"/>
                    <a:pt x="17" y="6"/>
                    <a:pt x="17" y="6"/>
                  </a:cubicBezTo>
                  <a:cubicBezTo>
                    <a:pt x="18" y="7"/>
                    <a:pt x="18" y="7"/>
                    <a:pt x="18" y="8"/>
                  </a:cubicBezTo>
                  <a:cubicBezTo>
                    <a:pt x="26" y="26"/>
                    <a:pt x="34" y="44"/>
                    <a:pt x="42" y="62"/>
                  </a:cubicBezTo>
                  <a:cubicBezTo>
                    <a:pt x="42" y="62"/>
                    <a:pt x="42" y="63"/>
                    <a:pt x="43" y="64"/>
                  </a:cubicBezTo>
                  <a:cubicBezTo>
                    <a:pt x="44" y="63"/>
                    <a:pt x="44" y="63"/>
                    <a:pt x="44" y="62"/>
                  </a:cubicBezTo>
                  <a:cubicBezTo>
                    <a:pt x="53" y="44"/>
                    <a:pt x="61" y="26"/>
                    <a:pt x="69" y="8"/>
                  </a:cubicBezTo>
                  <a:cubicBezTo>
                    <a:pt x="69" y="8"/>
                    <a:pt x="69" y="8"/>
                    <a:pt x="69" y="7"/>
                  </a:cubicBezTo>
                  <a:cubicBezTo>
                    <a:pt x="69" y="6"/>
                    <a:pt x="70" y="5"/>
                    <a:pt x="72" y="5"/>
                  </a:cubicBezTo>
                  <a:cubicBezTo>
                    <a:pt x="75" y="5"/>
                    <a:pt x="77" y="5"/>
                    <a:pt x="80" y="5"/>
                  </a:cubicBezTo>
                  <a:cubicBezTo>
                    <a:pt x="81" y="5"/>
                    <a:pt x="81" y="6"/>
                    <a:pt x="81" y="6"/>
                  </a:cubicBezTo>
                  <a:cubicBezTo>
                    <a:pt x="81" y="7"/>
                    <a:pt x="81" y="8"/>
                    <a:pt x="81" y="8"/>
                  </a:cubicBezTo>
                  <a:cubicBezTo>
                    <a:pt x="81" y="31"/>
                    <a:pt x="81" y="54"/>
                    <a:pt x="81" y="76"/>
                  </a:cubicBezTo>
                  <a:cubicBezTo>
                    <a:pt x="81" y="80"/>
                    <a:pt x="81" y="79"/>
                    <a:pt x="78" y="79"/>
                  </a:cubicBezTo>
                  <a:cubicBezTo>
                    <a:pt x="76" y="79"/>
                    <a:pt x="75" y="79"/>
                    <a:pt x="73" y="79"/>
                  </a:cubicBezTo>
                  <a:cubicBezTo>
                    <a:pt x="73" y="79"/>
                    <a:pt x="72" y="79"/>
                    <a:pt x="72" y="78"/>
                  </a:cubicBezTo>
                  <a:cubicBezTo>
                    <a:pt x="72" y="77"/>
                    <a:pt x="72" y="77"/>
                    <a:pt x="72" y="76"/>
                  </a:cubicBezTo>
                  <a:cubicBezTo>
                    <a:pt x="72" y="58"/>
                    <a:pt x="72" y="41"/>
                    <a:pt x="72" y="23"/>
                  </a:cubicBezTo>
                  <a:cubicBezTo>
                    <a:pt x="72" y="22"/>
                    <a:pt x="72" y="21"/>
                    <a:pt x="72" y="21"/>
                  </a:cubicBezTo>
                  <a:cubicBezTo>
                    <a:pt x="72" y="20"/>
                    <a:pt x="72" y="20"/>
                    <a:pt x="72" y="20"/>
                  </a:cubicBezTo>
                  <a:cubicBezTo>
                    <a:pt x="72" y="20"/>
                    <a:pt x="71" y="20"/>
                    <a:pt x="71" y="21"/>
                  </a:cubicBezTo>
                  <a:cubicBezTo>
                    <a:pt x="71" y="21"/>
                    <a:pt x="71" y="22"/>
                    <a:pt x="71" y="22"/>
                  </a:cubicBezTo>
                  <a:cubicBezTo>
                    <a:pt x="64" y="37"/>
                    <a:pt x="57" y="53"/>
                    <a:pt x="50" y="68"/>
                  </a:cubicBezTo>
                  <a:cubicBezTo>
                    <a:pt x="49" y="71"/>
                    <a:pt x="47" y="75"/>
                    <a:pt x="46" y="78"/>
                  </a:cubicBezTo>
                  <a:cubicBezTo>
                    <a:pt x="45" y="79"/>
                    <a:pt x="45" y="79"/>
                    <a:pt x="44" y="79"/>
                  </a:cubicBezTo>
                  <a:cubicBezTo>
                    <a:pt x="41" y="79"/>
                    <a:pt x="41" y="80"/>
                    <a:pt x="40" y="77"/>
                  </a:cubicBezTo>
                  <a:cubicBezTo>
                    <a:pt x="32" y="58"/>
                    <a:pt x="24" y="40"/>
                    <a:pt x="16" y="22"/>
                  </a:cubicBezTo>
                  <a:cubicBezTo>
                    <a:pt x="15" y="21"/>
                    <a:pt x="15" y="21"/>
                    <a:pt x="14" y="20"/>
                  </a:cubicBezTo>
                  <a:cubicBezTo>
                    <a:pt x="14" y="20"/>
                    <a:pt x="14" y="20"/>
                    <a:pt x="14" y="20"/>
                  </a:cubicBezTo>
                  <a:close/>
                  <a:moveTo>
                    <a:pt x="687" y="128"/>
                  </a:moveTo>
                  <a:cubicBezTo>
                    <a:pt x="687" y="145"/>
                    <a:pt x="686" y="162"/>
                    <a:pt x="687" y="179"/>
                  </a:cubicBezTo>
                  <a:cubicBezTo>
                    <a:pt x="687" y="181"/>
                    <a:pt x="686" y="182"/>
                    <a:pt x="687" y="184"/>
                  </a:cubicBezTo>
                  <a:cubicBezTo>
                    <a:pt x="688" y="185"/>
                    <a:pt x="690" y="184"/>
                    <a:pt x="692" y="184"/>
                  </a:cubicBezTo>
                  <a:cubicBezTo>
                    <a:pt x="696" y="184"/>
                    <a:pt x="695" y="185"/>
                    <a:pt x="695" y="181"/>
                  </a:cubicBezTo>
                  <a:cubicBezTo>
                    <a:pt x="695" y="159"/>
                    <a:pt x="695" y="136"/>
                    <a:pt x="695" y="114"/>
                  </a:cubicBezTo>
                  <a:cubicBezTo>
                    <a:pt x="695" y="113"/>
                    <a:pt x="695" y="112"/>
                    <a:pt x="695" y="112"/>
                  </a:cubicBezTo>
                  <a:cubicBezTo>
                    <a:pt x="695" y="111"/>
                    <a:pt x="695" y="111"/>
                    <a:pt x="694" y="111"/>
                  </a:cubicBezTo>
                  <a:cubicBezTo>
                    <a:pt x="692" y="111"/>
                    <a:pt x="689" y="111"/>
                    <a:pt x="686" y="111"/>
                  </a:cubicBezTo>
                  <a:cubicBezTo>
                    <a:pt x="685" y="111"/>
                    <a:pt x="684" y="111"/>
                    <a:pt x="683" y="113"/>
                  </a:cubicBezTo>
                  <a:cubicBezTo>
                    <a:pt x="683" y="113"/>
                    <a:pt x="683" y="113"/>
                    <a:pt x="683" y="113"/>
                  </a:cubicBezTo>
                  <a:cubicBezTo>
                    <a:pt x="678" y="124"/>
                    <a:pt x="674" y="134"/>
                    <a:pt x="669" y="145"/>
                  </a:cubicBezTo>
                  <a:cubicBezTo>
                    <a:pt x="666" y="152"/>
                    <a:pt x="662" y="160"/>
                    <a:pt x="659" y="167"/>
                  </a:cubicBezTo>
                  <a:cubicBezTo>
                    <a:pt x="658" y="168"/>
                    <a:pt x="658" y="168"/>
                    <a:pt x="658" y="169"/>
                  </a:cubicBezTo>
                  <a:cubicBezTo>
                    <a:pt x="658" y="169"/>
                    <a:pt x="658" y="169"/>
                    <a:pt x="658" y="169"/>
                  </a:cubicBezTo>
                  <a:cubicBezTo>
                    <a:pt x="657" y="169"/>
                    <a:pt x="657" y="169"/>
                    <a:pt x="657" y="169"/>
                  </a:cubicBezTo>
                  <a:cubicBezTo>
                    <a:pt x="657" y="168"/>
                    <a:pt x="656" y="168"/>
                    <a:pt x="656" y="167"/>
                  </a:cubicBezTo>
                  <a:cubicBezTo>
                    <a:pt x="652" y="156"/>
                    <a:pt x="647" y="146"/>
                    <a:pt x="642" y="135"/>
                  </a:cubicBezTo>
                  <a:cubicBezTo>
                    <a:pt x="639" y="128"/>
                    <a:pt x="636" y="120"/>
                    <a:pt x="632" y="112"/>
                  </a:cubicBezTo>
                  <a:cubicBezTo>
                    <a:pt x="632" y="111"/>
                    <a:pt x="631" y="111"/>
                    <a:pt x="630" y="111"/>
                  </a:cubicBezTo>
                  <a:cubicBezTo>
                    <a:pt x="627" y="111"/>
                    <a:pt x="625" y="111"/>
                    <a:pt x="623" y="111"/>
                  </a:cubicBezTo>
                  <a:cubicBezTo>
                    <a:pt x="620" y="111"/>
                    <a:pt x="620" y="110"/>
                    <a:pt x="620" y="114"/>
                  </a:cubicBezTo>
                  <a:cubicBezTo>
                    <a:pt x="620" y="136"/>
                    <a:pt x="620" y="157"/>
                    <a:pt x="620" y="179"/>
                  </a:cubicBezTo>
                  <a:cubicBezTo>
                    <a:pt x="620" y="181"/>
                    <a:pt x="620" y="182"/>
                    <a:pt x="620" y="184"/>
                  </a:cubicBezTo>
                  <a:cubicBezTo>
                    <a:pt x="622" y="185"/>
                    <a:pt x="623" y="184"/>
                    <a:pt x="625" y="184"/>
                  </a:cubicBezTo>
                  <a:cubicBezTo>
                    <a:pt x="629" y="184"/>
                    <a:pt x="628" y="185"/>
                    <a:pt x="628" y="181"/>
                  </a:cubicBezTo>
                  <a:cubicBezTo>
                    <a:pt x="628" y="163"/>
                    <a:pt x="628" y="145"/>
                    <a:pt x="628" y="127"/>
                  </a:cubicBezTo>
                  <a:cubicBezTo>
                    <a:pt x="628" y="126"/>
                    <a:pt x="628" y="126"/>
                    <a:pt x="629" y="125"/>
                  </a:cubicBezTo>
                  <a:cubicBezTo>
                    <a:pt x="629" y="125"/>
                    <a:pt x="629" y="126"/>
                    <a:pt x="630" y="127"/>
                  </a:cubicBezTo>
                  <a:cubicBezTo>
                    <a:pt x="636" y="142"/>
                    <a:pt x="643" y="156"/>
                    <a:pt x="649" y="171"/>
                  </a:cubicBezTo>
                  <a:cubicBezTo>
                    <a:pt x="651" y="175"/>
                    <a:pt x="653" y="179"/>
                    <a:pt x="655" y="183"/>
                  </a:cubicBezTo>
                  <a:cubicBezTo>
                    <a:pt x="655" y="184"/>
                    <a:pt x="656" y="184"/>
                    <a:pt x="657" y="184"/>
                  </a:cubicBezTo>
                  <a:cubicBezTo>
                    <a:pt x="660" y="184"/>
                    <a:pt x="660" y="185"/>
                    <a:pt x="661" y="182"/>
                  </a:cubicBezTo>
                  <a:cubicBezTo>
                    <a:pt x="669" y="164"/>
                    <a:pt x="677" y="146"/>
                    <a:pt x="685" y="128"/>
                  </a:cubicBezTo>
                  <a:cubicBezTo>
                    <a:pt x="685" y="127"/>
                    <a:pt x="685" y="126"/>
                    <a:pt x="687" y="125"/>
                  </a:cubicBezTo>
                  <a:cubicBezTo>
                    <a:pt x="687" y="126"/>
                    <a:pt x="687" y="127"/>
                    <a:pt x="687" y="128"/>
                  </a:cubicBezTo>
                  <a:close/>
                  <a:moveTo>
                    <a:pt x="267" y="138"/>
                  </a:moveTo>
                  <a:cubicBezTo>
                    <a:pt x="267" y="138"/>
                    <a:pt x="267" y="137"/>
                    <a:pt x="266" y="137"/>
                  </a:cubicBezTo>
                  <a:cubicBezTo>
                    <a:pt x="264" y="134"/>
                    <a:pt x="260" y="132"/>
                    <a:pt x="256" y="131"/>
                  </a:cubicBezTo>
                  <a:cubicBezTo>
                    <a:pt x="254" y="130"/>
                    <a:pt x="252" y="130"/>
                    <a:pt x="250" y="131"/>
                  </a:cubicBezTo>
                  <a:cubicBezTo>
                    <a:pt x="244" y="131"/>
                    <a:pt x="239" y="133"/>
                    <a:pt x="235" y="138"/>
                  </a:cubicBezTo>
                  <a:cubicBezTo>
                    <a:pt x="232" y="140"/>
                    <a:pt x="231" y="144"/>
                    <a:pt x="230" y="147"/>
                  </a:cubicBezTo>
                  <a:cubicBezTo>
                    <a:pt x="228" y="153"/>
                    <a:pt x="227" y="159"/>
                    <a:pt x="228" y="165"/>
                  </a:cubicBezTo>
                  <a:cubicBezTo>
                    <a:pt x="228" y="169"/>
                    <a:pt x="230" y="172"/>
                    <a:pt x="232" y="176"/>
                  </a:cubicBezTo>
                  <a:cubicBezTo>
                    <a:pt x="235" y="180"/>
                    <a:pt x="239" y="184"/>
                    <a:pt x="244" y="185"/>
                  </a:cubicBezTo>
                  <a:cubicBezTo>
                    <a:pt x="248" y="186"/>
                    <a:pt x="252" y="186"/>
                    <a:pt x="256" y="185"/>
                  </a:cubicBezTo>
                  <a:cubicBezTo>
                    <a:pt x="260" y="184"/>
                    <a:pt x="263" y="181"/>
                    <a:pt x="266" y="178"/>
                  </a:cubicBezTo>
                  <a:cubicBezTo>
                    <a:pt x="266" y="178"/>
                    <a:pt x="266" y="177"/>
                    <a:pt x="267" y="177"/>
                  </a:cubicBezTo>
                  <a:cubicBezTo>
                    <a:pt x="267" y="177"/>
                    <a:pt x="267" y="176"/>
                    <a:pt x="268" y="176"/>
                  </a:cubicBezTo>
                  <a:cubicBezTo>
                    <a:pt x="268" y="179"/>
                    <a:pt x="268" y="181"/>
                    <a:pt x="268" y="183"/>
                  </a:cubicBezTo>
                  <a:cubicBezTo>
                    <a:pt x="268" y="185"/>
                    <a:pt x="268" y="187"/>
                    <a:pt x="267" y="189"/>
                  </a:cubicBezTo>
                  <a:cubicBezTo>
                    <a:pt x="266" y="195"/>
                    <a:pt x="262" y="199"/>
                    <a:pt x="256" y="201"/>
                  </a:cubicBezTo>
                  <a:cubicBezTo>
                    <a:pt x="253" y="202"/>
                    <a:pt x="249" y="202"/>
                    <a:pt x="246" y="202"/>
                  </a:cubicBezTo>
                  <a:cubicBezTo>
                    <a:pt x="242" y="201"/>
                    <a:pt x="238" y="200"/>
                    <a:pt x="234" y="198"/>
                  </a:cubicBezTo>
                  <a:cubicBezTo>
                    <a:pt x="233" y="198"/>
                    <a:pt x="233" y="197"/>
                    <a:pt x="232" y="197"/>
                  </a:cubicBezTo>
                  <a:cubicBezTo>
                    <a:pt x="232" y="198"/>
                    <a:pt x="231" y="198"/>
                    <a:pt x="231" y="198"/>
                  </a:cubicBezTo>
                  <a:cubicBezTo>
                    <a:pt x="231" y="200"/>
                    <a:pt x="231" y="202"/>
                    <a:pt x="231" y="204"/>
                  </a:cubicBezTo>
                  <a:cubicBezTo>
                    <a:pt x="231" y="205"/>
                    <a:pt x="232" y="206"/>
                    <a:pt x="233" y="206"/>
                  </a:cubicBezTo>
                  <a:cubicBezTo>
                    <a:pt x="233" y="206"/>
                    <a:pt x="233" y="206"/>
                    <a:pt x="233" y="206"/>
                  </a:cubicBezTo>
                  <a:cubicBezTo>
                    <a:pt x="242" y="210"/>
                    <a:pt x="251" y="210"/>
                    <a:pt x="260" y="208"/>
                  </a:cubicBezTo>
                  <a:cubicBezTo>
                    <a:pt x="265" y="206"/>
                    <a:pt x="269" y="203"/>
                    <a:pt x="271" y="199"/>
                  </a:cubicBezTo>
                  <a:cubicBezTo>
                    <a:pt x="273" y="197"/>
                    <a:pt x="274" y="195"/>
                    <a:pt x="275" y="192"/>
                  </a:cubicBezTo>
                  <a:cubicBezTo>
                    <a:pt x="276" y="188"/>
                    <a:pt x="276" y="183"/>
                    <a:pt x="276" y="179"/>
                  </a:cubicBezTo>
                  <a:cubicBezTo>
                    <a:pt x="276" y="164"/>
                    <a:pt x="276" y="149"/>
                    <a:pt x="276" y="135"/>
                  </a:cubicBezTo>
                  <a:cubicBezTo>
                    <a:pt x="276" y="134"/>
                    <a:pt x="276" y="134"/>
                    <a:pt x="276" y="133"/>
                  </a:cubicBezTo>
                  <a:cubicBezTo>
                    <a:pt x="276" y="132"/>
                    <a:pt x="276" y="132"/>
                    <a:pt x="275" y="132"/>
                  </a:cubicBezTo>
                  <a:cubicBezTo>
                    <a:pt x="273" y="132"/>
                    <a:pt x="271" y="132"/>
                    <a:pt x="269" y="132"/>
                  </a:cubicBezTo>
                  <a:cubicBezTo>
                    <a:pt x="268" y="132"/>
                    <a:pt x="268" y="132"/>
                    <a:pt x="268" y="133"/>
                  </a:cubicBezTo>
                  <a:cubicBezTo>
                    <a:pt x="268" y="135"/>
                    <a:pt x="268" y="136"/>
                    <a:pt x="268" y="138"/>
                  </a:cubicBezTo>
                  <a:cubicBezTo>
                    <a:pt x="267" y="138"/>
                    <a:pt x="267" y="138"/>
                    <a:pt x="267" y="138"/>
                  </a:cubicBezTo>
                  <a:close/>
                  <a:moveTo>
                    <a:pt x="901" y="138"/>
                  </a:moveTo>
                  <a:cubicBezTo>
                    <a:pt x="901" y="138"/>
                    <a:pt x="901" y="137"/>
                    <a:pt x="900" y="137"/>
                  </a:cubicBezTo>
                  <a:cubicBezTo>
                    <a:pt x="898" y="134"/>
                    <a:pt x="895" y="132"/>
                    <a:pt x="891" y="131"/>
                  </a:cubicBezTo>
                  <a:cubicBezTo>
                    <a:pt x="888" y="130"/>
                    <a:pt x="885" y="130"/>
                    <a:pt x="883" y="131"/>
                  </a:cubicBezTo>
                  <a:cubicBezTo>
                    <a:pt x="878" y="131"/>
                    <a:pt x="874" y="133"/>
                    <a:pt x="870" y="136"/>
                  </a:cubicBezTo>
                  <a:cubicBezTo>
                    <a:pt x="867" y="139"/>
                    <a:pt x="865" y="143"/>
                    <a:pt x="864" y="146"/>
                  </a:cubicBezTo>
                  <a:cubicBezTo>
                    <a:pt x="862" y="153"/>
                    <a:pt x="861" y="160"/>
                    <a:pt x="862" y="167"/>
                  </a:cubicBezTo>
                  <a:cubicBezTo>
                    <a:pt x="863" y="170"/>
                    <a:pt x="864" y="173"/>
                    <a:pt x="866" y="176"/>
                  </a:cubicBezTo>
                  <a:cubicBezTo>
                    <a:pt x="869" y="180"/>
                    <a:pt x="872" y="183"/>
                    <a:pt x="877" y="185"/>
                  </a:cubicBezTo>
                  <a:cubicBezTo>
                    <a:pt x="880" y="186"/>
                    <a:pt x="883" y="186"/>
                    <a:pt x="886" y="186"/>
                  </a:cubicBezTo>
                  <a:cubicBezTo>
                    <a:pt x="892" y="185"/>
                    <a:pt x="897" y="182"/>
                    <a:pt x="900" y="178"/>
                  </a:cubicBezTo>
                  <a:cubicBezTo>
                    <a:pt x="901" y="177"/>
                    <a:pt x="901" y="177"/>
                    <a:pt x="901" y="177"/>
                  </a:cubicBezTo>
                  <a:cubicBezTo>
                    <a:pt x="901" y="176"/>
                    <a:pt x="901" y="176"/>
                    <a:pt x="902" y="176"/>
                  </a:cubicBezTo>
                  <a:cubicBezTo>
                    <a:pt x="902" y="179"/>
                    <a:pt x="902" y="181"/>
                    <a:pt x="902" y="183"/>
                  </a:cubicBezTo>
                  <a:cubicBezTo>
                    <a:pt x="902" y="186"/>
                    <a:pt x="901" y="188"/>
                    <a:pt x="900" y="191"/>
                  </a:cubicBezTo>
                  <a:cubicBezTo>
                    <a:pt x="899" y="196"/>
                    <a:pt x="896" y="199"/>
                    <a:pt x="891" y="201"/>
                  </a:cubicBezTo>
                  <a:cubicBezTo>
                    <a:pt x="887" y="202"/>
                    <a:pt x="884" y="202"/>
                    <a:pt x="880" y="202"/>
                  </a:cubicBezTo>
                  <a:cubicBezTo>
                    <a:pt x="876" y="201"/>
                    <a:pt x="872" y="200"/>
                    <a:pt x="868" y="198"/>
                  </a:cubicBezTo>
                  <a:cubicBezTo>
                    <a:pt x="867" y="198"/>
                    <a:pt x="867" y="197"/>
                    <a:pt x="866" y="197"/>
                  </a:cubicBezTo>
                  <a:cubicBezTo>
                    <a:pt x="866" y="200"/>
                    <a:pt x="866" y="202"/>
                    <a:pt x="866" y="204"/>
                  </a:cubicBezTo>
                  <a:cubicBezTo>
                    <a:pt x="866" y="205"/>
                    <a:pt x="866" y="206"/>
                    <a:pt x="867" y="206"/>
                  </a:cubicBezTo>
                  <a:cubicBezTo>
                    <a:pt x="868" y="206"/>
                    <a:pt x="868" y="207"/>
                    <a:pt x="869" y="207"/>
                  </a:cubicBezTo>
                  <a:cubicBezTo>
                    <a:pt x="877" y="209"/>
                    <a:pt x="884" y="210"/>
                    <a:pt x="892" y="208"/>
                  </a:cubicBezTo>
                  <a:cubicBezTo>
                    <a:pt x="901" y="206"/>
                    <a:pt x="906" y="201"/>
                    <a:pt x="909" y="192"/>
                  </a:cubicBezTo>
                  <a:cubicBezTo>
                    <a:pt x="910" y="188"/>
                    <a:pt x="910" y="184"/>
                    <a:pt x="910" y="180"/>
                  </a:cubicBezTo>
                  <a:cubicBezTo>
                    <a:pt x="910" y="165"/>
                    <a:pt x="910" y="150"/>
                    <a:pt x="910" y="134"/>
                  </a:cubicBezTo>
                  <a:cubicBezTo>
                    <a:pt x="910" y="134"/>
                    <a:pt x="910" y="133"/>
                    <a:pt x="910" y="133"/>
                  </a:cubicBezTo>
                  <a:cubicBezTo>
                    <a:pt x="910" y="132"/>
                    <a:pt x="910" y="132"/>
                    <a:pt x="909" y="132"/>
                  </a:cubicBezTo>
                  <a:cubicBezTo>
                    <a:pt x="907" y="132"/>
                    <a:pt x="905" y="132"/>
                    <a:pt x="903" y="132"/>
                  </a:cubicBezTo>
                  <a:cubicBezTo>
                    <a:pt x="902" y="132"/>
                    <a:pt x="902" y="132"/>
                    <a:pt x="902" y="133"/>
                  </a:cubicBezTo>
                  <a:cubicBezTo>
                    <a:pt x="902" y="134"/>
                    <a:pt x="902" y="136"/>
                    <a:pt x="902" y="138"/>
                  </a:cubicBezTo>
                  <a:cubicBezTo>
                    <a:pt x="902" y="138"/>
                    <a:pt x="902" y="138"/>
                    <a:pt x="901" y="138"/>
                  </a:cubicBezTo>
                  <a:close/>
                  <a:moveTo>
                    <a:pt x="371" y="2"/>
                  </a:moveTo>
                  <a:cubicBezTo>
                    <a:pt x="371" y="1"/>
                    <a:pt x="371" y="1"/>
                    <a:pt x="370" y="1"/>
                  </a:cubicBezTo>
                  <a:cubicBezTo>
                    <a:pt x="368" y="0"/>
                    <a:pt x="366" y="0"/>
                    <a:pt x="364" y="0"/>
                  </a:cubicBezTo>
                  <a:cubicBezTo>
                    <a:pt x="358" y="0"/>
                    <a:pt x="352" y="4"/>
                    <a:pt x="350" y="11"/>
                  </a:cubicBezTo>
                  <a:cubicBezTo>
                    <a:pt x="349" y="13"/>
                    <a:pt x="349" y="15"/>
                    <a:pt x="349" y="17"/>
                  </a:cubicBezTo>
                  <a:cubicBezTo>
                    <a:pt x="349" y="20"/>
                    <a:pt x="349" y="23"/>
                    <a:pt x="349" y="25"/>
                  </a:cubicBezTo>
                  <a:cubicBezTo>
                    <a:pt x="349" y="26"/>
                    <a:pt x="348" y="26"/>
                    <a:pt x="347" y="26"/>
                  </a:cubicBezTo>
                  <a:cubicBezTo>
                    <a:pt x="347" y="26"/>
                    <a:pt x="346" y="26"/>
                    <a:pt x="345" y="26"/>
                  </a:cubicBezTo>
                  <a:cubicBezTo>
                    <a:pt x="344" y="27"/>
                    <a:pt x="342" y="26"/>
                    <a:pt x="340" y="27"/>
                  </a:cubicBezTo>
                  <a:cubicBezTo>
                    <a:pt x="340" y="29"/>
                    <a:pt x="340" y="31"/>
                    <a:pt x="340" y="32"/>
                  </a:cubicBezTo>
                  <a:cubicBezTo>
                    <a:pt x="340" y="33"/>
                    <a:pt x="340" y="33"/>
                    <a:pt x="340" y="33"/>
                  </a:cubicBezTo>
                  <a:cubicBezTo>
                    <a:pt x="340" y="33"/>
                    <a:pt x="340" y="34"/>
                    <a:pt x="340" y="34"/>
                  </a:cubicBezTo>
                  <a:cubicBezTo>
                    <a:pt x="342" y="34"/>
                    <a:pt x="344" y="34"/>
                    <a:pt x="346" y="34"/>
                  </a:cubicBezTo>
                  <a:cubicBezTo>
                    <a:pt x="349" y="34"/>
                    <a:pt x="349" y="34"/>
                    <a:pt x="349" y="36"/>
                  </a:cubicBezTo>
                  <a:cubicBezTo>
                    <a:pt x="349" y="49"/>
                    <a:pt x="349" y="61"/>
                    <a:pt x="349" y="74"/>
                  </a:cubicBezTo>
                  <a:cubicBezTo>
                    <a:pt x="349" y="75"/>
                    <a:pt x="348" y="77"/>
                    <a:pt x="349" y="79"/>
                  </a:cubicBezTo>
                  <a:cubicBezTo>
                    <a:pt x="350" y="80"/>
                    <a:pt x="352" y="79"/>
                    <a:pt x="354" y="79"/>
                  </a:cubicBezTo>
                  <a:cubicBezTo>
                    <a:pt x="357" y="79"/>
                    <a:pt x="357" y="79"/>
                    <a:pt x="357" y="76"/>
                  </a:cubicBezTo>
                  <a:cubicBezTo>
                    <a:pt x="357" y="63"/>
                    <a:pt x="357" y="50"/>
                    <a:pt x="357" y="37"/>
                  </a:cubicBezTo>
                  <a:cubicBezTo>
                    <a:pt x="357" y="36"/>
                    <a:pt x="357" y="35"/>
                    <a:pt x="357" y="34"/>
                  </a:cubicBezTo>
                  <a:cubicBezTo>
                    <a:pt x="357" y="34"/>
                    <a:pt x="357" y="34"/>
                    <a:pt x="358" y="34"/>
                  </a:cubicBezTo>
                  <a:cubicBezTo>
                    <a:pt x="358" y="34"/>
                    <a:pt x="358" y="34"/>
                    <a:pt x="359" y="34"/>
                  </a:cubicBezTo>
                  <a:cubicBezTo>
                    <a:pt x="364" y="34"/>
                    <a:pt x="370" y="34"/>
                    <a:pt x="376" y="34"/>
                  </a:cubicBezTo>
                  <a:cubicBezTo>
                    <a:pt x="376" y="34"/>
                    <a:pt x="376" y="34"/>
                    <a:pt x="377" y="34"/>
                  </a:cubicBezTo>
                  <a:cubicBezTo>
                    <a:pt x="377" y="34"/>
                    <a:pt x="378" y="34"/>
                    <a:pt x="378" y="35"/>
                  </a:cubicBezTo>
                  <a:cubicBezTo>
                    <a:pt x="378" y="35"/>
                    <a:pt x="378" y="36"/>
                    <a:pt x="378" y="36"/>
                  </a:cubicBezTo>
                  <a:cubicBezTo>
                    <a:pt x="378" y="43"/>
                    <a:pt x="378" y="50"/>
                    <a:pt x="378" y="56"/>
                  </a:cubicBezTo>
                  <a:cubicBezTo>
                    <a:pt x="378" y="59"/>
                    <a:pt x="378" y="62"/>
                    <a:pt x="378" y="65"/>
                  </a:cubicBezTo>
                  <a:cubicBezTo>
                    <a:pt x="378" y="68"/>
                    <a:pt x="378" y="70"/>
                    <a:pt x="379" y="73"/>
                  </a:cubicBezTo>
                  <a:cubicBezTo>
                    <a:pt x="380" y="76"/>
                    <a:pt x="383" y="78"/>
                    <a:pt x="386" y="79"/>
                  </a:cubicBezTo>
                  <a:cubicBezTo>
                    <a:pt x="387" y="80"/>
                    <a:pt x="388" y="80"/>
                    <a:pt x="389" y="80"/>
                  </a:cubicBezTo>
                  <a:cubicBezTo>
                    <a:pt x="392" y="81"/>
                    <a:pt x="395" y="80"/>
                    <a:pt x="398" y="79"/>
                  </a:cubicBezTo>
                  <a:cubicBezTo>
                    <a:pt x="399" y="79"/>
                    <a:pt x="399" y="78"/>
                    <a:pt x="399" y="78"/>
                  </a:cubicBezTo>
                  <a:cubicBezTo>
                    <a:pt x="399" y="76"/>
                    <a:pt x="399" y="74"/>
                    <a:pt x="399" y="72"/>
                  </a:cubicBezTo>
                  <a:cubicBezTo>
                    <a:pt x="399" y="72"/>
                    <a:pt x="398" y="72"/>
                    <a:pt x="398" y="72"/>
                  </a:cubicBezTo>
                  <a:cubicBezTo>
                    <a:pt x="396" y="73"/>
                    <a:pt x="394" y="73"/>
                    <a:pt x="392" y="73"/>
                  </a:cubicBezTo>
                  <a:cubicBezTo>
                    <a:pt x="389" y="72"/>
                    <a:pt x="387" y="71"/>
                    <a:pt x="387" y="68"/>
                  </a:cubicBezTo>
                  <a:cubicBezTo>
                    <a:pt x="386" y="66"/>
                    <a:pt x="386" y="65"/>
                    <a:pt x="386" y="63"/>
                  </a:cubicBezTo>
                  <a:cubicBezTo>
                    <a:pt x="386" y="54"/>
                    <a:pt x="386" y="45"/>
                    <a:pt x="386" y="36"/>
                  </a:cubicBezTo>
                  <a:cubicBezTo>
                    <a:pt x="386" y="36"/>
                    <a:pt x="386" y="35"/>
                    <a:pt x="386" y="35"/>
                  </a:cubicBezTo>
                  <a:cubicBezTo>
                    <a:pt x="386" y="34"/>
                    <a:pt x="386" y="34"/>
                    <a:pt x="387" y="34"/>
                  </a:cubicBezTo>
                  <a:cubicBezTo>
                    <a:pt x="390" y="34"/>
                    <a:pt x="392" y="34"/>
                    <a:pt x="395" y="34"/>
                  </a:cubicBezTo>
                  <a:cubicBezTo>
                    <a:pt x="396" y="33"/>
                    <a:pt x="398" y="34"/>
                    <a:pt x="399" y="33"/>
                  </a:cubicBezTo>
                  <a:cubicBezTo>
                    <a:pt x="400" y="32"/>
                    <a:pt x="399" y="31"/>
                    <a:pt x="399" y="29"/>
                  </a:cubicBezTo>
                  <a:cubicBezTo>
                    <a:pt x="399" y="26"/>
                    <a:pt x="400" y="26"/>
                    <a:pt x="397" y="26"/>
                  </a:cubicBezTo>
                  <a:cubicBezTo>
                    <a:pt x="394" y="26"/>
                    <a:pt x="391" y="26"/>
                    <a:pt x="388" y="26"/>
                  </a:cubicBezTo>
                  <a:cubicBezTo>
                    <a:pt x="386" y="26"/>
                    <a:pt x="386" y="26"/>
                    <a:pt x="386" y="24"/>
                  </a:cubicBezTo>
                  <a:cubicBezTo>
                    <a:pt x="386" y="21"/>
                    <a:pt x="386" y="17"/>
                    <a:pt x="386" y="14"/>
                  </a:cubicBezTo>
                  <a:cubicBezTo>
                    <a:pt x="386" y="13"/>
                    <a:pt x="386" y="12"/>
                    <a:pt x="386" y="11"/>
                  </a:cubicBezTo>
                  <a:cubicBezTo>
                    <a:pt x="386" y="11"/>
                    <a:pt x="385" y="11"/>
                    <a:pt x="385" y="11"/>
                  </a:cubicBezTo>
                  <a:cubicBezTo>
                    <a:pt x="383" y="12"/>
                    <a:pt x="381" y="12"/>
                    <a:pt x="379" y="13"/>
                  </a:cubicBezTo>
                  <a:cubicBezTo>
                    <a:pt x="378" y="14"/>
                    <a:pt x="378" y="14"/>
                    <a:pt x="378" y="15"/>
                  </a:cubicBezTo>
                  <a:cubicBezTo>
                    <a:pt x="378" y="18"/>
                    <a:pt x="378" y="20"/>
                    <a:pt x="378" y="23"/>
                  </a:cubicBezTo>
                  <a:cubicBezTo>
                    <a:pt x="378" y="24"/>
                    <a:pt x="378" y="25"/>
                    <a:pt x="378" y="25"/>
                  </a:cubicBezTo>
                  <a:cubicBezTo>
                    <a:pt x="378" y="26"/>
                    <a:pt x="378" y="26"/>
                    <a:pt x="377" y="26"/>
                  </a:cubicBezTo>
                  <a:cubicBezTo>
                    <a:pt x="376" y="26"/>
                    <a:pt x="375" y="26"/>
                    <a:pt x="375" y="26"/>
                  </a:cubicBezTo>
                  <a:cubicBezTo>
                    <a:pt x="370" y="26"/>
                    <a:pt x="365" y="26"/>
                    <a:pt x="360" y="26"/>
                  </a:cubicBezTo>
                  <a:cubicBezTo>
                    <a:pt x="359" y="26"/>
                    <a:pt x="359" y="26"/>
                    <a:pt x="358" y="26"/>
                  </a:cubicBezTo>
                  <a:cubicBezTo>
                    <a:pt x="357" y="26"/>
                    <a:pt x="357" y="26"/>
                    <a:pt x="357" y="25"/>
                  </a:cubicBezTo>
                  <a:cubicBezTo>
                    <a:pt x="357" y="22"/>
                    <a:pt x="357" y="18"/>
                    <a:pt x="357" y="15"/>
                  </a:cubicBezTo>
                  <a:cubicBezTo>
                    <a:pt x="357" y="14"/>
                    <a:pt x="358" y="12"/>
                    <a:pt x="358" y="11"/>
                  </a:cubicBezTo>
                  <a:cubicBezTo>
                    <a:pt x="359" y="9"/>
                    <a:pt x="361" y="8"/>
                    <a:pt x="363" y="8"/>
                  </a:cubicBezTo>
                  <a:cubicBezTo>
                    <a:pt x="365" y="7"/>
                    <a:pt x="367" y="7"/>
                    <a:pt x="369" y="7"/>
                  </a:cubicBezTo>
                  <a:cubicBezTo>
                    <a:pt x="370" y="8"/>
                    <a:pt x="370" y="8"/>
                    <a:pt x="371" y="8"/>
                  </a:cubicBezTo>
                  <a:cubicBezTo>
                    <a:pt x="371" y="6"/>
                    <a:pt x="371" y="4"/>
                    <a:pt x="371" y="2"/>
                  </a:cubicBezTo>
                  <a:close/>
                  <a:moveTo>
                    <a:pt x="655" y="33"/>
                  </a:moveTo>
                  <a:cubicBezTo>
                    <a:pt x="655" y="31"/>
                    <a:pt x="655" y="30"/>
                    <a:pt x="655" y="28"/>
                  </a:cubicBezTo>
                  <a:cubicBezTo>
                    <a:pt x="655" y="27"/>
                    <a:pt x="654" y="26"/>
                    <a:pt x="653" y="26"/>
                  </a:cubicBezTo>
                  <a:cubicBezTo>
                    <a:pt x="652" y="26"/>
                    <a:pt x="650" y="26"/>
                    <a:pt x="649" y="26"/>
                  </a:cubicBezTo>
                  <a:cubicBezTo>
                    <a:pt x="646" y="26"/>
                    <a:pt x="646" y="26"/>
                    <a:pt x="646" y="29"/>
                  </a:cubicBezTo>
                  <a:cubicBezTo>
                    <a:pt x="646" y="45"/>
                    <a:pt x="646" y="61"/>
                    <a:pt x="646" y="77"/>
                  </a:cubicBezTo>
                  <a:cubicBezTo>
                    <a:pt x="646" y="77"/>
                    <a:pt x="646" y="77"/>
                    <a:pt x="646" y="78"/>
                  </a:cubicBezTo>
                  <a:cubicBezTo>
                    <a:pt x="646" y="79"/>
                    <a:pt x="646" y="79"/>
                    <a:pt x="647" y="79"/>
                  </a:cubicBezTo>
                  <a:cubicBezTo>
                    <a:pt x="649" y="79"/>
                    <a:pt x="651" y="79"/>
                    <a:pt x="653" y="79"/>
                  </a:cubicBezTo>
                  <a:cubicBezTo>
                    <a:pt x="654" y="79"/>
                    <a:pt x="654" y="79"/>
                    <a:pt x="655" y="78"/>
                  </a:cubicBezTo>
                  <a:cubicBezTo>
                    <a:pt x="655" y="77"/>
                    <a:pt x="655" y="76"/>
                    <a:pt x="655" y="76"/>
                  </a:cubicBezTo>
                  <a:cubicBezTo>
                    <a:pt x="655" y="67"/>
                    <a:pt x="655" y="59"/>
                    <a:pt x="655" y="51"/>
                  </a:cubicBezTo>
                  <a:cubicBezTo>
                    <a:pt x="655" y="49"/>
                    <a:pt x="655" y="47"/>
                    <a:pt x="655" y="45"/>
                  </a:cubicBezTo>
                  <a:cubicBezTo>
                    <a:pt x="655" y="42"/>
                    <a:pt x="657" y="38"/>
                    <a:pt x="659" y="36"/>
                  </a:cubicBezTo>
                  <a:cubicBezTo>
                    <a:pt x="664" y="30"/>
                    <a:pt x="676" y="31"/>
                    <a:pt x="678" y="40"/>
                  </a:cubicBezTo>
                  <a:cubicBezTo>
                    <a:pt x="679" y="43"/>
                    <a:pt x="679" y="45"/>
                    <a:pt x="679" y="48"/>
                  </a:cubicBezTo>
                  <a:cubicBezTo>
                    <a:pt x="679" y="57"/>
                    <a:pt x="679" y="67"/>
                    <a:pt x="679" y="76"/>
                  </a:cubicBezTo>
                  <a:cubicBezTo>
                    <a:pt x="679" y="77"/>
                    <a:pt x="679" y="78"/>
                    <a:pt x="679" y="78"/>
                  </a:cubicBezTo>
                  <a:cubicBezTo>
                    <a:pt x="679" y="79"/>
                    <a:pt x="680" y="79"/>
                    <a:pt x="680" y="79"/>
                  </a:cubicBezTo>
                  <a:cubicBezTo>
                    <a:pt x="682" y="79"/>
                    <a:pt x="683" y="79"/>
                    <a:pt x="685" y="79"/>
                  </a:cubicBezTo>
                  <a:cubicBezTo>
                    <a:pt x="688" y="79"/>
                    <a:pt x="688" y="79"/>
                    <a:pt x="688" y="77"/>
                  </a:cubicBezTo>
                  <a:cubicBezTo>
                    <a:pt x="688" y="68"/>
                    <a:pt x="688" y="59"/>
                    <a:pt x="688" y="50"/>
                  </a:cubicBezTo>
                  <a:cubicBezTo>
                    <a:pt x="688" y="49"/>
                    <a:pt x="688" y="47"/>
                    <a:pt x="688" y="45"/>
                  </a:cubicBezTo>
                  <a:cubicBezTo>
                    <a:pt x="689" y="41"/>
                    <a:pt x="690" y="38"/>
                    <a:pt x="693" y="36"/>
                  </a:cubicBezTo>
                  <a:cubicBezTo>
                    <a:pt x="695" y="33"/>
                    <a:pt x="698" y="32"/>
                    <a:pt x="701" y="32"/>
                  </a:cubicBezTo>
                  <a:cubicBezTo>
                    <a:pt x="708" y="33"/>
                    <a:pt x="711" y="36"/>
                    <a:pt x="712" y="41"/>
                  </a:cubicBezTo>
                  <a:cubicBezTo>
                    <a:pt x="712" y="44"/>
                    <a:pt x="712" y="46"/>
                    <a:pt x="712" y="49"/>
                  </a:cubicBezTo>
                  <a:cubicBezTo>
                    <a:pt x="712" y="58"/>
                    <a:pt x="712" y="67"/>
                    <a:pt x="712" y="76"/>
                  </a:cubicBezTo>
                  <a:cubicBezTo>
                    <a:pt x="712" y="76"/>
                    <a:pt x="712" y="77"/>
                    <a:pt x="712" y="78"/>
                  </a:cubicBezTo>
                  <a:cubicBezTo>
                    <a:pt x="712" y="79"/>
                    <a:pt x="713" y="79"/>
                    <a:pt x="714" y="79"/>
                  </a:cubicBezTo>
                  <a:cubicBezTo>
                    <a:pt x="716" y="79"/>
                    <a:pt x="718" y="79"/>
                    <a:pt x="720" y="79"/>
                  </a:cubicBezTo>
                  <a:cubicBezTo>
                    <a:pt x="720" y="79"/>
                    <a:pt x="721" y="79"/>
                    <a:pt x="721" y="78"/>
                  </a:cubicBezTo>
                  <a:cubicBezTo>
                    <a:pt x="721" y="78"/>
                    <a:pt x="721" y="77"/>
                    <a:pt x="721" y="76"/>
                  </a:cubicBezTo>
                  <a:cubicBezTo>
                    <a:pt x="721" y="66"/>
                    <a:pt x="721" y="56"/>
                    <a:pt x="721" y="46"/>
                  </a:cubicBezTo>
                  <a:cubicBezTo>
                    <a:pt x="721" y="45"/>
                    <a:pt x="721" y="44"/>
                    <a:pt x="721" y="43"/>
                  </a:cubicBezTo>
                  <a:cubicBezTo>
                    <a:pt x="721" y="40"/>
                    <a:pt x="720" y="37"/>
                    <a:pt x="719" y="34"/>
                  </a:cubicBezTo>
                  <a:cubicBezTo>
                    <a:pt x="717" y="30"/>
                    <a:pt x="714" y="27"/>
                    <a:pt x="710" y="26"/>
                  </a:cubicBezTo>
                  <a:cubicBezTo>
                    <a:pt x="706" y="25"/>
                    <a:pt x="703" y="25"/>
                    <a:pt x="700" y="25"/>
                  </a:cubicBezTo>
                  <a:cubicBezTo>
                    <a:pt x="695" y="26"/>
                    <a:pt x="691" y="29"/>
                    <a:pt x="688" y="33"/>
                  </a:cubicBezTo>
                  <a:cubicBezTo>
                    <a:pt x="687" y="34"/>
                    <a:pt x="687" y="35"/>
                    <a:pt x="686" y="36"/>
                  </a:cubicBezTo>
                  <a:cubicBezTo>
                    <a:pt x="683" y="29"/>
                    <a:pt x="678" y="25"/>
                    <a:pt x="671" y="25"/>
                  </a:cubicBezTo>
                  <a:cubicBezTo>
                    <a:pt x="664" y="25"/>
                    <a:pt x="659" y="28"/>
                    <a:pt x="655" y="34"/>
                  </a:cubicBezTo>
                  <a:cubicBezTo>
                    <a:pt x="654" y="34"/>
                    <a:pt x="655" y="33"/>
                    <a:pt x="655" y="33"/>
                  </a:cubicBezTo>
                  <a:close/>
                  <a:moveTo>
                    <a:pt x="1312" y="45"/>
                  </a:moveTo>
                  <a:cubicBezTo>
                    <a:pt x="1326" y="40"/>
                    <a:pt x="1328" y="27"/>
                    <a:pt x="1325" y="17"/>
                  </a:cubicBezTo>
                  <a:cubicBezTo>
                    <a:pt x="1323" y="12"/>
                    <a:pt x="1318" y="8"/>
                    <a:pt x="1313" y="7"/>
                  </a:cubicBezTo>
                  <a:cubicBezTo>
                    <a:pt x="1310" y="6"/>
                    <a:pt x="1306" y="5"/>
                    <a:pt x="1303" y="5"/>
                  </a:cubicBezTo>
                  <a:cubicBezTo>
                    <a:pt x="1296" y="5"/>
                    <a:pt x="1290" y="5"/>
                    <a:pt x="1284" y="5"/>
                  </a:cubicBezTo>
                  <a:cubicBezTo>
                    <a:pt x="1281" y="5"/>
                    <a:pt x="1282" y="5"/>
                    <a:pt x="1282" y="8"/>
                  </a:cubicBezTo>
                  <a:cubicBezTo>
                    <a:pt x="1282" y="29"/>
                    <a:pt x="1282" y="51"/>
                    <a:pt x="1282" y="72"/>
                  </a:cubicBezTo>
                  <a:cubicBezTo>
                    <a:pt x="1282" y="74"/>
                    <a:pt x="1281" y="77"/>
                    <a:pt x="1282" y="79"/>
                  </a:cubicBezTo>
                  <a:cubicBezTo>
                    <a:pt x="1284" y="79"/>
                    <a:pt x="1286" y="79"/>
                    <a:pt x="1289" y="79"/>
                  </a:cubicBezTo>
                  <a:cubicBezTo>
                    <a:pt x="1289" y="79"/>
                    <a:pt x="1289" y="79"/>
                    <a:pt x="1289" y="79"/>
                  </a:cubicBezTo>
                  <a:cubicBezTo>
                    <a:pt x="1290" y="79"/>
                    <a:pt x="1290" y="79"/>
                    <a:pt x="1290" y="78"/>
                  </a:cubicBezTo>
                  <a:cubicBezTo>
                    <a:pt x="1290" y="78"/>
                    <a:pt x="1290" y="77"/>
                    <a:pt x="1290" y="76"/>
                  </a:cubicBezTo>
                  <a:cubicBezTo>
                    <a:pt x="1290" y="68"/>
                    <a:pt x="1290" y="59"/>
                    <a:pt x="1290" y="51"/>
                  </a:cubicBezTo>
                  <a:cubicBezTo>
                    <a:pt x="1290" y="50"/>
                    <a:pt x="1290" y="49"/>
                    <a:pt x="1290" y="49"/>
                  </a:cubicBezTo>
                  <a:cubicBezTo>
                    <a:pt x="1290" y="48"/>
                    <a:pt x="1291" y="48"/>
                    <a:pt x="1291" y="48"/>
                  </a:cubicBezTo>
                  <a:cubicBezTo>
                    <a:pt x="1293" y="48"/>
                    <a:pt x="1295" y="48"/>
                    <a:pt x="1297" y="48"/>
                  </a:cubicBezTo>
                  <a:cubicBezTo>
                    <a:pt x="1301" y="48"/>
                    <a:pt x="1304" y="49"/>
                    <a:pt x="1306" y="52"/>
                  </a:cubicBezTo>
                  <a:cubicBezTo>
                    <a:pt x="1308" y="54"/>
                    <a:pt x="1309" y="56"/>
                    <a:pt x="1309" y="58"/>
                  </a:cubicBezTo>
                  <a:cubicBezTo>
                    <a:pt x="1312" y="64"/>
                    <a:pt x="1315" y="70"/>
                    <a:pt x="1318" y="77"/>
                  </a:cubicBezTo>
                  <a:cubicBezTo>
                    <a:pt x="1318" y="77"/>
                    <a:pt x="1318" y="78"/>
                    <a:pt x="1318" y="78"/>
                  </a:cubicBezTo>
                  <a:cubicBezTo>
                    <a:pt x="1319" y="79"/>
                    <a:pt x="1319" y="79"/>
                    <a:pt x="1319" y="79"/>
                  </a:cubicBezTo>
                  <a:cubicBezTo>
                    <a:pt x="1322" y="79"/>
                    <a:pt x="1325" y="79"/>
                    <a:pt x="1328" y="79"/>
                  </a:cubicBezTo>
                  <a:cubicBezTo>
                    <a:pt x="1329" y="79"/>
                    <a:pt x="1329" y="79"/>
                    <a:pt x="1329" y="78"/>
                  </a:cubicBezTo>
                  <a:cubicBezTo>
                    <a:pt x="1328" y="78"/>
                    <a:pt x="1328" y="77"/>
                    <a:pt x="1328" y="76"/>
                  </a:cubicBezTo>
                  <a:cubicBezTo>
                    <a:pt x="1324" y="69"/>
                    <a:pt x="1321" y="62"/>
                    <a:pt x="1318" y="55"/>
                  </a:cubicBezTo>
                  <a:cubicBezTo>
                    <a:pt x="1317" y="54"/>
                    <a:pt x="1317" y="53"/>
                    <a:pt x="1316" y="52"/>
                  </a:cubicBezTo>
                  <a:cubicBezTo>
                    <a:pt x="1315" y="50"/>
                    <a:pt x="1313" y="47"/>
                    <a:pt x="1310" y="46"/>
                  </a:cubicBezTo>
                  <a:cubicBezTo>
                    <a:pt x="1311" y="45"/>
                    <a:pt x="1311" y="45"/>
                    <a:pt x="1312" y="45"/>
                  </a:cubicBezTo>
                  <a:close/>
                  <a:moveTo>
                    <a:pt x="1111" y="49"/>
                  </a:moveTo>
                  <a:cubicBezTo>
                    <a:pt x="1111" y="53"/>
                    <a:pt x="1112" y="58"/>
                    <a:pt x="1113" y="62"/>
                  </a:cubicBezTo>
                  <a:cubicBezTo>
                    <a:pt x="1114" y="66"/>
                    <a:pt x="1116" y="70"/>
                    <a:pt x="1119" y="74"/>
                  </a:cubicBezTo>
                  <a:cubicBezTo>
                    <a:pt x="1121" y="77"/>
                    <a:pt x="1124" y="79"/>
                    <a:pt x="1128" y="80"/>
                  </a:cubicBezTo>
                  <a:cubicBezTo>
                    <a:pt x="1132" y="81"/>
                    <a:pt x="1136" y="81"/>
                    <a:pt x="1141" y="79"/>
                  </a:cubicBezTo>
                  <a:cubicBezTo>
                    <a:pt x="1145" y="78"/>
                    <a:pt x="1149" y="75"/>
                    <a:pt x="1152" y="71"/>
                  </a:cubicBezTo>
                  <a:cubicBezTo>
                    <a:pt x="1154" y="67"/>
                    <a:pt x="1156" y="63"/>
                    <a:pt x="1157" y="58"/>
                  </a:cubicBezTo>
                  <a:cubicBezTo>
                    <a:pt x="1159" y="51"/>
                    <a:pt x="1159" y="43"/>
                    <a:pt x="1158" y="36"/>
                  </a:cubicBezTo>
                  <a:cubicBezTo>
                    <a:pt x="1158" y="31"/>
                    <a:pt x="1158" y="27"/>
                    <a:pt x="1157" y="22"/>
                  </a:cubicBezTo>
                  <a:cubicBezTo>
                    <a:pt x="1155" y="19"/>
                    <a:pt x="1154" y="15"/>
                    <a:pt x="1152" y="12"/>
                  </a:cubicBezTo>
                  <a:cubicBezTo>
                    <a:pt x="1149" y="8"/>
                    <a:pt x="1145" y="6"/>
                    <a:pt x="1141" y="5"/>
                  </a:cubicBezTo>
                  <a:cubicBezTo>
                    <a:pt x="1137" y="4"/>
                    <a:pt x="1133" y="4"/>
                    <a:pt x="1130" y="5"/>
                  </a:cubicBezTo>
                  <a:cubicBezTo>
                    <a:pt x="1124" y="6"/>
                    <a:pt x="1120" y="9"/>
                    <a:pt x="1117" y="14"/>
                  </a:cubicBezTo>
                  <a:cubicBezTo>
                    <a:pt x="1115" y="17"/>
                    <a:pt x="1114" y="20"/>
                    <a:pt x="1113" y="24"/>
                  </a:cubicBezTo>
                  <a:cubicBezTo>
                    <a:pt x="1111" y="30"/>
                    <a:pt x="1111" y="37"/>
                    <a:pt x="1111" y="43"/>
                  </a:cubicBezTo>
                  <a:cubicBezTo>
                    <a:pt x="1111" y="45"/>
                    <a:pt x="1111" y="47"/>
                    <a:pt x="1111" y="49"/>
                  </a:cubicBezTo>
                  <a:close/>
                  <a:moveTo>
                    <a:pt x="55" y="174"/>
                  </a:moveTo>
                  <a:cubicBezTo>
                    <a:pt x="49" y="177"/>
                    <a:pt x="43" y="178"/>
                    <a:pt x="37" y="178"/>
                  </a:cubicBezTo>
                  <a:cubicBezTo>
                    <a:pt x="35" y="178"/>
                    <a:pt x="33" y="178"/>
                    <a:pt x="31" y="177"/>
                  </a:cubicBezTo>
                  <a:cubicBezTo>
                    <a:pt x="22" y="175"/>
                    <a:pt x="16" y="170"/>
                    <a:pt x="12" y="162"/>
                  </a:cubicBezTo>
                  <a:cubicBezTo>
                    <a:pt x="9" y="152"/>
                    <a:pt x="9" y="142"/>
                    <a:pt x="13" y="133"/>
                  </a:cubicBezTo>
                  <a:cubicBezTo>
                    <a:pt x="16" y="125"/>
                    <a:pt x="22" y="120"/>
                    <a:pt x="30" y="118"/>
                  </a:cubicBezTo>
                  <a:cubicBezTo>
                    <a:pt x="35" y="117"/>
                    <a:pt x="40" y="117"/>
                    <a:pt x="45" y="118"/>
                  </a:cubicBezTo>
                  <a:cubicBezTo>
                    <a:pt x="48" y="118"/>
                    <a:pt x="52" y="119"/>
                    <a:pt x="55" y="121"/>
                  </a:cubicBezTo>
                  <a:cubicBezTo>
                    <a:pt x="55" y="121"/>
                    <a:pt x="56" y="121"/>
                    <a:pt x="56" y="120"/>
                  </a:cubicBezTo>
                  <a:cubicBezTo>
                    <a:pt x="56" y="118"/>
                    <a:pt x="56" y="116"/>
                    <a:pt x="56" y="114"/>
                  </a:cubicBezTo>
                  <a:cubicBezTo>
                    <a:pt x="56" y="113"/>
                    <a:pt x="56" y="112"/>
                    <a:pt x="55" y="112"/>
                  </a:cubicBezTo>
                  <a:cubicBezTo>
                    <a:pt x="54" y="112"/>
                    <a:pt x="52" y="111"/>
                    <a:pt x="51" y="111"/>
                  </a:cubicBezTo>
                  <a:cubicBezTo>
                    <a:pt x="45" y="109"/>
                    <a:pt x="39" y="109"/>
                    <a:pt x="33" y="110"/>
                  </a:cubicBezTo>
                  <a:cubicBezTo>
                    <a:pt x="20" y="111"/>
                    <a:pt x="11" y="118"/>
                    <a:pt x="5" y="129"/>
                  </a:cubicBezTo>
                  <a:cubicBezTo>
                    <a:pt x="3" y="134"/>
                    <a:pt x="2" y="138"/>
                    <a:pt x="1" y="143"/>
                  </a:cubicBezTo>
                  <a:cubicBezTo>
                    <a:pt x="0" y="150"/>
                    <a:pt x="1" y="157"/>
                    <a:pt x="3" y="164"/>
                  </a:cubicBezTo>
                  <a:cubicBezTo>
                    <a:pt x="7" y="175"/>
                    <a:pt x="15" y="182"/>
                    <a:pt x="27" y="185"/>
                  </a:cubicBezTo>
                  <a:cubicBezTo>
                    <a:pt x="34" y="186"/>
                    <a:pt x="41" y="186"/>
                    <a:pt x="48" y="184"/>
                  </a:cubicBezTo>
                  <a:cubicBezTo>
                    <a:pt x="50" y="184"/>
                    <a:pt x="53" y="183"/>
                    <a:pt x="55" y="182"/>
                  </a:cubicBezTo>
                  <a:cubicBezTo>
                    <a:pt x="55" y="182"/>
                    <a:pt x="56" y="181"/>
                    <a:pt x="56" y="180"/>
                  </a:cubicBezTo>
                  <a:cubicBezTo>
                    <a:pt x="56" y="178"/>
                    <a:pt x="56" y="176"/>
                    <a:pt x="56" y="173"/>
                  </a:cubicBezTo>
                  <a:cubicBezTo>
                    <a:pt x="55" y="173"/>
                    <a:pt x="55" y="173"/>
                    <a:pt x="55" y="174"/>
                  </a:cubicBezTo>
                  <a:close/>
                  <a:moveTo>
                    <a:pt x="806" y="68"/>
                  </a:moveTo>
                  <a:cubicBezTo>
                    <a:pt x="805" y="68"/>
                    <a:pt x="805" y="68"/>
                    <a:pt x="805" y="68"/>
                  </a:cubicBezTo>
                  <a:cubicBezTo>
                    <a:pt x="800" y="71"/>
                    <a:pt x="795" y="72"/>
                    <a:pt x="789" y="72"/>
                  </a:cubicBezTo>
                  <a:cubicBezTo>
                    <a:pt x="785" y="73"/>
                    <a:pt x="782" y="72"/>
                    <a:pt x="778" y="71"/>
                  </a:cubicBezTo>
                  <a:cubicBezTo>
                    <a:pt x="770" y="69"/>
                    <a:pt x="765" y="63"/>
                    <a:pt x="762" y="55"/>
                  </a:cubicBezTo>
                  <a:cubicBezTo>
                    <a:pt x="760" y="50"/>
                    <a:pt x="760" y="45"/>
                    <a:pt x="760" y="40"/>
                  </a:cubicBezTo>
                  <a:cubicBezTo>
                    <a:pt x="760" y="35"/>
                    <a:pt x="761" y="31"/>
                    <a:pt x="763" y="27"/>
                  </a:cubicBezTo>
                  <a:cubicBezTo>
                    <a:pt x="768" y="18"/>
                    <a:pt x="776" y="13"/>
                    <a:pt x="786" y="12"/>
                  </a:cubicBezTo>
                  <a:cubicBezTo>
                    <a:pt x="792" y="12"/>
                    <a:pt x="798" y="13"/>
                    <a:pt x="804" y="15"/>
                  </a:cubicBezTo>
                  <a:cubicBezTo>
                    <a:pt x="805" y="16"/>
                    <a:pt x="805" y="16"/>
                    <a:pt x="806" y="16"/>
                  </a:cubicBezTo>
                  <a:cubicBezTo>
                    <a:pt x="806" y="16"/>
                    <a:pt x="806" y="16"/>
                    <a:pt x="806" y="16"/>
                  </a:cubicBezTo>
                  <a:cubicBezTo>
                    <a:pt x="806" y="14"/>
                    <a:pt x="806" y="12"/>
                    <a:pt x="806" y="10"/>
                  </a:cubicBezTo>
                  <a:cubicBezTo>
                    <a:pt x="806" y="7"/>
                    <a:pt x="807" y="7"/>
                    <a:pt x="803" y="6"/>
                  </a:cubicBezTo>
                  <a:cubicBezTo>
                    <a:pt x="797" y="4"/>
                    <a:pt x="791" y="4"/>
                    <a:pt x="784" y="4"/>
                  </a:cubicBezTo>
                  <a:cubicBezTo>
                    <a:pt x="770" y="6"/>
                    <a:pt x="760" y="13"/>
                    <a:pt x="754" y="26"/>
                  </a:cubicBezTo>
                  <a:cubicBezTo>
                    <a:pt x="750" y="37"/>
                    <a:pt x="750" y="47"/>
                    <a:pt x="753" y="58"/>
                  </a:cubicBezTo>
                  <a:cubicBezTo>
                    <a:pt x="756" y="67"/>
                    <a:pt x="762" y="73"/>
                    <a:pt x="770" y="77"/>
                  </a:cubicBezTo>
                  <a:cubicBezTo>
                    <a:pt x="774" y="79"/>
                    <a:pt x="779" y="80"/>
                    <a:pt x="783" y="80"/>
                  </a:cubicBezTo>
                  <a:cubicBezTo>
                    <a:pt x="787" y="80"/>
                    <a:pt x="791" y="80"/>
                    <a:pt x="794" y="80"/>
                  </a:cubicBezTo>
                  <a:cubicBezTo>
                    <a:pt x="798" y="79"/>
                    <a:pt x="801" y="78"/>
                    <a:pt x="805" y="77"/>
                  </a:cubicBezTo>
                  <a:cubicBezTo>
                    <a:pt x="806" y="76"/>
                    <a:pt x="806" y="76"/>
                    <a:pt x="806" y="75"/>
                  </a:cubicBezTo>
                  <a:cubicBezTo>
                    <a:pt x="806" y="73"/>
                    <a:pt x="806" y="70"/>
                    <a:pt x="806" y="68"/>
                  </a:cubicBezTo>
                  <a:cubicBezTo>
                    <a:pt x="806" y="68"/>
                    <a:pt x="806" y="68"/>
                    <a:pt x="806" y="68"/>
                  </a:cubicBezTo>
                  <a:close/>
                  <a:moveTo>
                    <a:pt x="631" y="69"/>
                  </a:moveTo>
                  <a:cubicBezTo>
                    <a:pt x="625" y="73"/>
                    <a:pt x="619" y="74"/>
                    <a:pt x="613" y="73"/>
                  </a:cubicBezTo>
                  <a:cubicBezTo>
                    <a:pt x="609" y="72"/>
                    <a:pt x="606" y="70"/>
                    <a:pt x="604" y="67"/>
                  </a:cubicBezTo>
                  <a:cubicBezTo>
                    <a:pt x="601" y="64"/>
                    <a:pt x="600" y="60"/>
                    <a:pt x="600" y="56"/>
                  </a:cubicBezTo>
                  <a:cubicBezTo>
                    <a:pt x="600" y="55"/>
                    <a:pt x="600" y="55"/>
                    <a:pt x="601" y="55"/>
                  </a:cubicBezTo>
                  <a:cubicBezTo>
                    <a:pt x="602" y="55"/>
                    <a:pt x="602" y="55"/>
                    <a:pt x="603" y="55"/>
                  </a:cubicBezTo>
                  <a:cubicBezTo>
                    <a:pt x="613" y="55"/>
                    <a:pt x="624" y="55"/>
                    <a:pt x="634" y="55"/>
                  </a:cubicBezTo>
                  <a:cubicBezTo>
                    <a:pt x="635" y="55"/>
                    <a:pt x="635" y="55"/>
                    <a:pt x="636" y="55"/>
                  </a:cubicBezTo>
                  <a:cubicBezTo>
                    <a:pt x="637" y="55"/>
                    <a:pt x="637" y="55"/>
                    <a:pt x="637" y="54"/>
                  </a:cubicBezTo>
                  <a:cubicBezTo>
                    <a:pt x="637" y="50"/>
                    <a:pt x="637" y="47"/>
                    <a:pt x="637" y="44"/>
                  </a:cubicBezTo>
                  <a:cubicBezTo>
                    <a:pt x="636" y="42"/>
                    <a:pt x="636" y="39"/>
                    <a:pt x="635" y="37"/>
                  </a:cubicBezTo>
                  <a:cubicBezTo>
                    <a:pt x="632" y="32"/>
                    <a:pt x="629" y="28"/>
                    <a:pt x="624" y="26"/>
                  </a:cubicBezTo>
                  <a:cubicBezTo>
                    <a:pt x="621" y="25"/>
                    <a:pt x="618" y="25"/>
                    <a:pt x="615" y="25"/>
                  </a:cubicBezTo>
                  <a:cubicBezTo>
                    <a:pt x="607" y="25"/>
                    <a:pt x="601" y="29"/>
                    <a:pt x="596" y="35"/>
                  </a:cubicBezTo>
                  <a:cubicBezTo>
                    <a:pt x="594" y="38"/>
                    <a:pt x="593" y="42"/>
                    <a:pt x="592" y="45"/>
                  </a:cubicBezTo>
                  <a:cubicBezTo>
                    <a:pt x="591" y="49"/>
                    <a:pt x="591" y="53"/>
                    <a:pt x="591" y="58"/>
                  </a:cubicBezTo>
                  <a:cubicBezTo>
                    <a:pt x="592" y="61"/>
                    <a:pt x="592" y="64"/>
                    <a:pt x="594" y="67"/>
                  </a:cubicBezTo>
                  <a:cubicBezTo>
                    <a:pt x="597" y="74"/>
                    <a:pt x="602" y="79"/>
                    <a:pt x="610" y="80"/>
                  </a:cubicBezTo>
                  <a:cubicBezTo>
                    <a:pt x="615" y="81"/>
                    <a:pt x="619" y="80"/>
                    <a:pt x="623" y="80"/>
                  </a:cubicBezTo>
                  <a:cubicBezTo>
                    <a:pt x="627" y="79"/>
                    <a:pt x="630" y="78"/>
                    <a:pt x="632" y="76"/>
                  </a:cubicBezTo>
                  <a:cubicBezTo>
                    <a:pt x="633" y="76"/>
                    <a:pt x="634" y="75"/>
                    <a:pt x="633" y="74"/>
                  </a:cubicBezTo>
                  <a:cubicBezTo>
                    <a:pt x="633" y="72"/>
                    <a:pt x="633" y="70"/>
                    <a:pt x="633" y="68"/>
                  </a:cubicBezTo>
                  <a:cubicBezTo>
                    <a:pt x="632" y="68"/>
                    <a:pt x="632" y="69"/>
                    <a:pt x="631" y="69"/>
                  </a:cubicBezTo>
                  <a:close/>
                  <a:moveTo>
                    <a:pt x="426" y="75"/>
                  </a:moveTo>
                  <a:cubicBezTo>
                    <a:pt x="426" y="76"/>
                    <a:pt x="427" y="77"/>
                    <a:pt x="428" y="77"/>
                  </a:cubicBezTo>
                  <a:cubicBezTo>
                    <a:pt x="429" y="77"/>
                    <a:pt x="430" y="78"/>
                    <a:pt x="431" y="78"/>
                  </a:cubicBezTo>
                  <a:cubicBezTo>
                    <a:pt x="433" y="79"/>
                    <a:pt x="436" y="80"/>
                    <a:pt x="439" y="80"/>
                  </a:cubicBezTo>
                  <a:cubicBezTo>
                    <a:pt x="445" y="81"/>
                    <a:pt x="450" y="80"/>
                    <a:pt x="456" y="78"/>
                  </a:cubicBezTo>
                  <a:cubicBezTo>
                    <a:pt x="462" y="75"/>
                    <a:pt x="466" y="70"/>
                    <a:pt x="467" y="63"/>
                  </a:cubicBezTo>
                  <a:cubicBezTo>
                    <a:pt x="468" y="57"/>
                    <a:pt x="466" y="53"/>
                    <a:pt x="463" y="48"/>
                  </a:cubicBezTo>
                  <a:cubicBezTo>
                    <a:pt x="461" y="47"/>
                    <a:pt x="460" y="46"/>
                    <a:pt x="459" y="45"/>
                  </a:cubicBezTo>
                  <a:cubicBezTo>
                    <a:pt x="456" y="43"/>
                    <a:pt x="453" y="41"/>
                    <a:pt x="450" y="39"/>
                  </a:cubicBezTo>
                  <a:cubicBezTo>
                    <a:pt x="448" y="38"/>
                    <a:pt x="445" y="36"/>
                    <a:pt x="443" y="35"/>
                  </a:cubicBezTo>
                  <a:cubicBezTo>
                    <a:pt x="441" y="34"/>
                    <a:pt x="440" y="33"/>
                    <a:pt x="438" y="31"/>
                  </a:cubicBezTo>
                  <a:cubicBezTo>
                    <a:pt x="437" y="30"/>
                    <a:pt x="437" y="29"/>
                    <a:pt x="436" y="28"/>
                  </a:cubicBezTo>
                  <a:cubicBezTo>
                    <a:pt x="434" y="21"/>
                    <a:pt x="436" y="15"/>
                    <a:pt x="443" y="13"/>
                  </a:cubicBezTo>
                  <a:cubicBezTo>
                    <a:pt x="444" y="13"/>
                    <a:pt x="445" y="12"/>
                    <a:pt x="446" y="12"/>
                  </a:cubicBezTo>
                  <a:cubicBezTo>
                    <a:pt x="452" y="12"/>
                    <a:pt x="457" y="12"/>
                    <a:pt x="463" y="15"/>
                  </a:cubicBezTo>
                  <a:cubicBezTo>
                    <a:pt x="463" y="16"/>
                    <a:pt x="463" y="16"/>
                    <a:pt x="464" y="16"/>
                  </a:cubicBezTo>
                  <a:cubicBezTo>
                    <a:pt x="464" y="14"/>
                    <a:pt x="464" y="12"/>
                    <a:pt x="464" y="10"/>
                  </a:cubicBezTo>
                  <a:cubicBezTo>
                    <a:pt x="464" y="6"/>
                    <a:pt x="464" y="6"/>
                    <a:pt x="461" y="5"/>
                  </a:cubicBezTo>
                  <a:cubicBezTo>
                    <a:pt x="460" y="5"/>
                    <a:pt x="460" y="5"/>
                    <a:pt x="459" y="5"/>
                  </a:cubicBezTo>
                  <a:cubicBezTo>
                    <a:pt x="454" y="4"/>
                    <a:pt x="449" y="4"/>
                    <a:pt x="444" y="5"/>
                  </a:cubicBezTo>
                  <a:cubicBezTo>
                    <a:pt x="440" y="5"/>
                    <a:pt x="436" y="7"/>
                    <a:pt x="433" y="10"/>
                  </a:cubicBezTo>
                  <a:cubicBezTo>
                    <a:pt x="430" y="12"/>
                    <a:pt x="428" y="16"/>
                    <a:pt x="427" y="19"/>
                  </a:cubicBezTo>
                  <a:cubicBezTo>
                    <a:pt x="426" y="21"/>
                    <a:pt x="426" y="24"/>
                    <a:pt x="426" y="26"/>
                  </a:cubicBezTo>
                  <a:cubicBezTo>
                    <a:pt x="427" y="30"/>
                    <a:pt x="428" y="34"/>
                    <a:pt x="431" y="37"/>
                  </a:cubicBezTo>
                  <a:cubicBezTo>
                    <a:pt x="433" y="38"/>
                    <a:pt x="434" y="39"/>
                    <a:pt x="436" y="40"/>
                  </a:cubicBezTo>
                  <a:cubicBezTo>
                    <a:pt x="438" y="42"/>
                    <a:pt x="441" y="44"/>
                    <a:pt x="443" y="45"/>
                  </a:cubicBezTo>
                  <a:cubicBezTo>
                    <a:pt x="446" y="47"/>
                    <a:pt x="450" y="49"/>
                    <a:pt x="453" y="51"/>
                  </a:cubicBezTo>
                  <a:cubicBezTo>
                    <a:pt x="454" y="52"/>
                    <a:pt x="455" y="54"/>
                    <a:pt x="456" y="55"/>
                  </a:cubicBezTo>
                  <a:cubicBezTo>
                    <a:pt x="461" y="62"/>
                    <a:pt x="457" y="70"/>
                    <a:pt x="449" y="72"/>
                  </a:cubicBezTo>
                  <a:cubicBezTo>
                    <a:pt x="449" y="72"/>
                    <a:pt x="449" y="72"/>
                    <a:pt x="449" y="72"/>
                  </a:cubicBezTo>
                  <a:cubicBezTo>
                    <a:pt x="445" y="73"/>
                    <a:pt x="441" y="73"/>
                    <a:pt x="436" y="71"/>
                  </a:cubicBezTo>
                  <a:cubicBezTo>
                    <a:pt x="433" y="70"/>
                    <a:pt x="430" y="69"/>
                    <a:pt x="426" y="66"/>
                  </a:cubicBezTo>
                  <a:cubicBezTo>
                    <a:pt x="426" y="69"/>
                    <a:pt x="426" y="72"/>
                    <a:pt x="426" y="75"/>
                  </a:cubicBezTo>
                  <a:close/>
                  <a:moveTo>
                    <a:pt x="854" y="68"/>
                  </a:moveTo>
                  <a:cubicBezTo>
                    <a:pt x="853" y="68"/>
                    <a:pt x="853" y="69"/>
                    <a:pt x="852" y="69"/>
                  </a:cubicBezTo>
                  <a:cubicBezTo>
                    <a:pt x="846" y="73"/>
                    <a:pt x="840" y="74"/>
                    <a:pt x="834" y="73"/>
                  </a:cubicBezTo>
                  <a:cubicBezTo>
                    <a:pt x="830" y="72"/>
                    <a:pt x="826" y="70"/>
                    <a:pt x="824" y="66"/>
                  </a:cubicBezTo>
                  <a:cubicBezTo>
                    <a:pt x="822" y="63"/>
                    <a:pt x="821" y="59"/>
                    <a:pt x="821" y="56"/>
                  </a:cubicBezTo>
                  <a:cubicBezTo>
                    <a:pt x="821" y="55"/>
                    <a:pt x="822" y="55"/>
                    <a:pt x="822" y="55"/>
                  </a:cubicBezTo>
                  <a:cubicBezTo>
                    <a:pt x="823" y="55"/>
                    <a:pt x="824" y="55"/>
                    <a:pt x="824" y="55"/>
                  </a:cubicBezTo>
                  <a:cubicBezTo>
                    <a:pt x="835" y="55"/>
                    <a:pt x="845" y="55"/>
                    <a:pt x="855" y="55"/>
                  </a:cubicBezTo>
                  <a:cubicBezTo>
                    <a:pt x="856" y="55"/>
                    <a:pt x="857" y="55"/>
                    <a:pt x="857" y="55"/>
                  </a:cubicBezTo>
                  <a:cubicBezTo>
                    <a:pt x="858" y="55"/>
                    <a:pt x="858" y="55"/>
                    <a:pt x="858" y="54"/>
                  </a:cubicBezTo>
                  <a:cubicBezTo>
                    <a:pt x="858" y="52"/>
                    <a:pt x="858" y="49"/>
                    <a:pt x="858" y="47"/>
                  </a:cubicBezTo>
                  <a:cubicBezTo>
                    <a:pt x="858" y="44"/>
                    <a:pt x="857" y="40"/>
                    <a:pt x="856" y="36"/>
                  </a:cubicBezTo>
                  <a:cubicBezTo>
                    <a:pt x="853" y="31"/>
                    <a:pt x="849" y="28"/>
                    <a:pt x="843" y="26"/>
                  </a:cubicBezTo>
                  <a:cubicBezTo>
                    <a:pt x="841" y="25"/>
                    <a:pt x="839" y="25"/>
                    <a:pt x="836" y="25"/>
                  </a:cubicBezTo>
                  <a:cubicBezTo>
                    <a:pt x="829" y="25"/>
                    <a:pt x="823" y="28"/>
                    <a:pt x="818" y="34"/>
                  </a:cubicBezTo>
                  <a:cubicBezTo>
                    <a:pt x="816" y="37"/>
                    <a:pt x="815" y="39"/>
                    <a:pt x="814" y="42"/>
                  </a:cubicBezTo>
                  <a:cubicBezTo>
                    <a:pt x="812" y="48"/>
                    <a:pt x="812" y="53"/>
                    <a:pt x="813" y="59"/>
                  </a:cubicBezTo>
                  <a:cubicBezTo>
                    <a:pt x="813" y="62"/>
                    <a:pt x="814" y="65"/>
                    <a:pt x="815" y="68"/>
                  </a:cubicBezTo>
                  <a:cubicBezTo>
                    <a:pt x="819" y="74"/>
                    <a:pt x="824" y="79"/>
                    <a:pt x="831" y="80"/>
                  </a:cubicBezTo>
                  <a:cubicBezTo>
                    <a:pt x="837" y="81"/>
                    <a:pt x="843" y="80"/>
                    <a:pt x="848" y="79"/>
                  </a:cubicBezTo>
                  <a:cubicBezTo>
                    <a:pt x="850" y="78"/>
                    <a:pt x="852" y="77"/>
                    <a:pt x="854" y="76"/>
                  </a:cubicBezTo>
                  <a:cubicBezTo>
                    <a:pt x="854" y="76"/>
                    <a:pt x="855" y="75"/>
                    <a:pt x="855" y="74"/>
                  </a:cubicBezTo>
                  <a:cubicBezTo>
                    <a:pt x="855" y="72"/>
                    <a:pt x="855" y="70"/>
                    <a:pt x="855" y="68"/>
                  </a:cubicBezTo>
                  <a:cubicBezTo>
                    <a:pt x="854" y="68"/>
                    <a:pt x="854" y="68"/>
                    <a:pt x="854" y="68"/>
                  </a:cubicBezTo>
                  <a:close/>
                  <a:moveTo>
                    <a:pt x="960" y="175"/>
                  </a:moveTo>
                  <a:cubicBezTo>
                    <a:pt x="955" y="177"/>
                    <a:pt x="951" y="179"/>
                    <a:pt x="946" y="178"/>
                  </a:cubicBezTo>
                  <a:cubicBezTo>
                    <a:pt x="936" y="178"/>
                    <a:pt x="932" y="173"/>
                    <a:pt x="930" y="166"/>
                  </a:cubicBezTo>
                  <a:cubicBezTo>
                    <a:pt x="929" y="165"/>
                    <a:pt x="929" y="163"/>
                    <a:pt x="929" y="161"/>
                  </a:cubicBezTo>
                  <a:cubicBezTo>
                    <a:pt x="929" y="161"/>
                    <a:pt x="929" y="160"/>
                    <a:pt x="930" y="160"/>
                  </a:cubicBezTo>
                  <a:cubicBezTo>
                    <a:pt x="930" y="160"/>
                    <a:pt x="931" y="160"/>
                    <a:pt x="932" y="160"/>
                  </a:cubicBezTo>
                  <a:cubicBezTo>
                    <a:pt x="942" y="160"/>
                    <a:pt x="952" y="160"/>
                    <a:pt x="963" y="160"/>
                  </a:cubicBezTo>
                  <a:cubicBezTo>
                    <a:pt x="963" y="160"/>
                    <a:pt x="964" y="160"/>
                    <a:pt x="965" y="160"/>
                  </a:cubicBezTo>
                  <a:cubicBezTo>
                    <a:pt x="966" y="160"/>
                    <a:pt x="966" y="160"/>
                    <a:pt x="966" y="159"/>
                  </a:cubicBezTo>
                  <a:cubicBezTo>
                    <a:pt x="966" y="157"/>
                    <a:pt x="966" y="154"/>
                    <a:pt x="966" y="152"/>
                  </a:cubicBezTo>
                  <a:cubicBezTo>
                    <a:pt x="966" y="148"/>
                    <a:pt x="965" y="144"/>
                    <a:pt x="963" y="141"/>
                  </a:cubicBezTo>
                  <a:cubicBezTo>
                    <a:pt x="960" y="136"/>
                    <a:pt x="956" y="132"/>
                    <a:pt x="950" y="131"/>
                  </a:cubicBezTo>
                  <a:cubicBezTo>
                    <a:pt x="948" y="131"/>
                    <a:pt x="946" y="130"/>
                    <a:pt x="944" y="130"/>
                  </a:cubicBezTo>
                  <a:cubicBezTo>
                    <a:pt x="937" y="131"/>
                    <a:pt x="931" y="134"/>
                    <a:pt x="926" y="139"/>
                  </a:cubicBezTo>
                  <a:cubicBezTo>
                    <a:pt x="924" y="142"/>
                    <a:pt x="923" y="144"/>
                    <a:pt x="922" y="148"/>
                  </a:cubicBezTo>
                  <a:cubicBezTo>
                    <a:pt x="920" y="153"/>
                    <a:pt x="920" y="158"/>
                    <a:pt x="920" y="164"/>
                  </a:cubicBezTo>
                  <a:cubicBezTo>
                    <a:pt x="921" y="167"/>
                    <a:pt x="922" y="171"/>
                    <a:pt x="923" y="174"/>
                  </a:cubicBezTo>
                  <a:cubicBezTo>
                    <a:pt x="927" y="180"/>
                    <a:pt x="931" y="184"/>
                    <a:pt x="938" y="185"/>
                  </a:cubicBezTo>
                  <a:cubicBezTo>
                    <a:pt x="944" y="186"/>
                    <a:pt x="951" y="186"/>
                    <a:pt x="957" y="183"/>
                  </a:cubicBezTo>
                  <a:cubicBezTo>
                    <a:pt x="959" y="183"/>
                    <a:pt x="960" y="182"/>
                    <a:pt x="962" y="181"/>
                  </a:cubicBezTo>
                  <a:cubicBezTo>
                    <a:pt x="962" y="181"/>
                    <a:pt x="962" y="181"/>
                    <a:pt x="962" y="180"/>
                  </a:cubicBezTo>
                  <a:cubicBezTo>
                    <a:pt x="962" y="178"/>
                    <a:pt x="962" y="176"/>
                    <a:pt x="962" y="173"/>
                  </a:cubicBezTo>
                  <a:cubicBezTo>
                    <a:pt x="961" y="174"/>
                    <a:pt x="960" y="174"/>
                    <a:pt x="960" y="175"/>
                  </a:cubicBezTo>
                  <a:close/>
                  <a:moveTo>
                    <a:pt x="992" y="69"/>
                  </a:moveTo>
                  <a:cubicBezTo>
                    <a:pt x="992" y="69"/>
                    <a:pt x="992" y="69"/>
                    <a:pt x="991" y="69"/>
                  </a:cubicBezTo>
                  <a:cubicBezTo>
                    <a:pt x="986" y="73"/>
                    <a:pt x="980" y="74"/>
                    <a:pt x="974" y="73"/>
                  </a:cubicBezTo>
                  <a:cubicBezTo>
                    <a:pt x="968" y="72"/>
                    <a:pt x="964" y="69"/>
                    <a:pt x="962" y="64"/>
                  </a:cubicBezTo>
                  <a:cubicBezTo>
                    <a:pt x="961" y="62"/>
                    <a:pt x="961" y="60"/>
                    <a:pt x="961" y="57"/>
                  </a:cubicBezTo>
                  <a:cubicBezTo>
                    <a:pt x="961" y="55"/>
                    <a:pt x="960" y="55"/>
                    <a:pt x="963" y="55"/>
                  </a:cubicBezTo>
                  <a:cubicBezTo>
                    <a:pt x="974" y="55"/>
                    <a:pt x="984" y="55"/>
                    <a:pt x="994" y="55"/>
                  </a:cubicBezTo>
                  <a:cubicBezTo>
                    <a:pt x="995" y="55"/>
                    <a:pt x="996" y="55"/>
                    <a:pt x="997" y="55"/>
                  </a:cubicBezTo>
                  <a:cubicBezTo>
                    <a:pt x="998" y="55"/>
                    <a:pt x="998" y="55"/>
                    <a:pt x="998" y="54"/>
                  </a:cubicBezTo>
                  <a:cubicBezTo>
                    <a:pt x="998" y="51"/>
                    <a:pt x="998" y="48"/>
                    <a:pt x="998" y="46"/>
                  </a:cubicBezTo>
                  <a:cubicBezTo>
                    <a:pt x="997" y="42"/>
                    <a:pt x="996" y="38"/>
                    <a:pt x="994" y="35"/>
                  </a:cubicBezTo>
                  <a:cubicBezTo>
                    <a:pt x="992" y="31"/>
                    <a:pt x="989" y="28"/>
                    <a:pt x="985" y="27"/>
                  </a:cubicBezTo>
                  <a:cubicBezTo>
                    <a:pt x="981" y="25"/>
                    <a:pt x="976" y="25"/>
                    <a:pt x="972" y="25"/>
                  </a:cubicBezTo>
                  <a:cubicBezTo>
                    <a:pt x="965" y="27"/>
                    <a:pt x="959" y="31"/>
                    <a:pt x="956" y="37"/>
                  </a:cubicBezTo>
                  <a:cubicBezTo>
                    <a:pt x="954" y="41"/>
                    <a:pt x="952" y="45"/>
                    <a:pt x="952" y="49"/>
                  </a:cubicBezTo>
                  <a:cubicBezTo>
                    <a:pt x="951" y="55"/>
                    <a:pt x="952" y="62"/>
                    <a:pt x="955" y="67"/>
                  </a:cubicBezTo>
                  <a:cubicBezTo>
                    <a:pt x="957" y="74"/>
                    <a:pt x="962" y="78"/>
                    <a:pt x="969" y="80"/>
                  </a:cubicBezTo>
                  <a:cubicBezTo>
                    <a:pt x="976" y="81"/>
                    <a:pt x="983" y="81"/>
                    <a:pt x="989" y="78"/>
                  </a:cubicBezTo>
                  <a:cubicBezTo>
                    <a:pt x="991" y="77"/>
                    <a:pt x="992" y="77"/>
                    <a:pt x="993" y="76"/>
                  </a:cubicBezTo>
                  <a:cubicBezTo>
                    <a:pt x="994" y="76"/>
                    <a:pt x="994" y="75"/>
                    <a:pt x="994" y="74"/>
                  </a:cubicBezTo>
                  <a:cubicBezTo>
                    <a:pt x="994" y="72"/>
                    <a:pt x="994" y="70"/>
                    <a:pt x="994" y="67"/>
                  </a:cubicBezTo>
                  <a:cubicBezTo>
                    <a:pt x="993" y="68"/>
                    <a:pt x="993" y="68"/>
                    <a:pt x="992" y="69"/>
                  </a:cubicBezTo>
                  <a:close/>
                  <a:moveTo>
                    <a:pt x="845" y="177"/>
                  </a:moveTo>
                  <a:cubicBezTo>
                    <a:pt x="845" y="177"/>
                    <a:pt x="845" y="178"/>
                    <a:pt x="845" y="178"/>
                  </a:cubicBezTo>
                  <a:cubicBezTo>
                    <a:pt x="845" y="180"/>
                    <a:pt x="844" y="182"/>
                    <a:pt x="845" y="184"/>
                  </a:cubicBezTo>
                  <a:cubicBezTo>
                    <a:pt x="847" y="185"/>
                    <a:pt x="849" y="184"/>
                    <a:pt x="851" y="184"/>
                  </a:cubicBezTo>
                  <a:cubicBezTo>
                    <a:pt x="852" y="184"/>
                    <a:pt x="852" y="184"/>
                    <a:pt x="853" y="184"/>
                  </a:cubicBezTo>
                  <a:cubicBezTo>
                    <a:pt x="853" y="184"/>
                    <a:pt x="853" y="184"/>
                    <a:pt x="853" y="183"/>
                  </a:cubicBezTo>
                  <a:cubicBezTo>
                    <a:pt x="853" y="183"/>
                    <a:pt x="853" y="183"/>
                    <a:pt x="853" y="183"/>
                  </a:cubicBezTo>
                  <a:cubicBezTo>
                    <a:pt x="853" y="172"/>
                    <a:pt x="853" y="161"/>
                    <a:pt x="853" y="150"/>
                  </a:cubicBezTo>
                  <a:cubicBezTo>
                    <a:pt x="853" y="147"/>
                    <a:pt x="853" y="144"/>
                    <a:pt x="852" y="141"/>
                  </a:cubicBezTo>
                  <a:cubicBezTo>
                    <a:pt x="850" y="136"/>
                    <a:pt x="847" y="133"/>
                    <a:pt x="842" y="131"/>
                  </a:cubicBezTo>
                  <a:cubicBezTo>
                    <a:pt x="841" y="131"/>
                    <a:pt x="839" y="131"/>
                    <a:pt x="838" y="131"/>
                  </a:cubicBezTo>
                  <a:cubicBezTo>
                    <a:pt x="831" y="130"/>
                    <a:pt x="825" y="132"/>
                    <a:pt x="819" y="134"/>
                  </a:cubicBezTo>
                  <a:cubicBezTo>
                    <a:pt x="818" y="135"/>
                    <a:pt x="817" y="136"/>
                    <a:pt x="817" y="138"/>
                  </a:cubicBezTo>
                  <a:cubicBezTo>
                    <a:pt x="817" y="139"/>
                    <a:pt x="817" y="141"/>
                    <a:pt x="817" y="142"/>
                  </a:cubicBezTo>
                  <a:cubicBezTo>
                    <a:pt x="817" y="143"/>
                    <a:pt x="817" y="143"/>
                    <a:pt x="817" y="143"/>
                  </a:cubicBezTo>
                  <a:cubicBezTo>
                    <a:pt x="817" y="144"/>
                    <a:pt x="817" y="144"/>
                    <a:pt x="817" y="144"/>
                  </a:cubicBezTo>
                  <a:cubicBezTo>
                    <a:pt x="818" y="143"/>
                    <a:pt x="819" y="143"/>
                    <a:pt x="819" y="142"/>
                  </a:cubicBezTo>
                  <a:cubicBezTo>
                    <a:pt x="824" y="139"/>
                    <a:pt x="829" y="137"/>
                    <a:pt x="835" y="138"/>
                  </a:cubicBezTo>
                  <a:cubicBezTo>
                    <a:pt x="838" y="138"/>
                    <a:pt x="841" y="139"/>
                    <a:pt x="843" y="142"/>
                  </a:cubicBezTo>
                  <a:cubicBezTo>
                    <a:pt x="844" y="144"/>
                    <a:pt x="845" y="147"/>
                    <a:pt x="845" y="150"/>
                  </a:cubicBezTo>
                  <a:cubicBezTo>
                    <a:pt x="845" y="151"/>
                    <a:pt x="844" y="151"/>
                    <a:pt x="844" y="151"/>
                  </a:cubicBezTo>
                  <a:cubicBezTo>
                    <a:pt x="844" y="151"/>
                    <a:pt x="843" y="151"/>
                    <a:pt x="843" y="151"/>
                  </a:cubicBezTo>
                  <a:cubicBezTo>
                    <a:pt x="838" y="152"/>
                    <a:pt x="833" y="153"/>
                    <a:pt x="828" y="153"/>
                  </a:cubicBezTo>
                  <a:cubicBezTo>
                    <a:pt x="825" y="154"/>
                    <a:pt x="822" y="155"/>
                    <a:pt x="819" y="156"/>
                  </a:cubicBezTo>
                  <a:cubicBezTo>
                    <a:pt x="816" y="158"/>
                    <a:pt x="813" y="161"/>
                    <a:pt x="812" y="166"/>
                  </a:cubicBezTo>
                  <a:cubicBezTo>
                    <a:pt x="812" y="167"/>
                    <a:pt x="812" y="169"/>
                    <a:pt x="812" y="171"/>
                  </a:cubicBezTo>
                  <a:cubicBezTo>
                    <a:pt x="812" y="179"/>
                    <a:pt x="817" y="184"/>
                    <a:pt x="824" y="185"/>
                  </a:cubicBezTo>
                  <a:cubicBezTo>
                    <a:pt x="826" y="186"/>
                    <a:pt x="828" y="186"/>
                    <a:pt x="830" y="186"/>
                  </a:cubicBezTo>
                  <a:cubicBezTo>
                    <a:pt x="835" y="185"/>
                    <a:pt x="839" y="183"/>
                    <a:pt x="843" y="179"/>
                  </a:cubicBezTo>
                  <a:cubicBezTo>
                    <a:pt x="843" y="178"/>
                    <a:pt x="844" y="178"/>
                    <a:pt x="844" y="177"/>
                  </a:cubicBezTo>
                  <a:cubicBezTo>
                    <a:pt x="845" y="177"/>
                    <a:pt x="845" y="177"/>
                    <a:pt x="845" y="177"/>
                  </a:cubicBezTo>
                  <a:close/>
                  <a:moveTo>
                    <a:pt x="241" y="42"/>
                  </a:moveTo>
                  <a:cubicBezTo>
                    <a:pt x="238" y="33"/>
                    <a:pt x="232" y="27"/>
                    <a:pt x="223" y="26"/>
                  </a:cubicBezTo>
                  <a:cubicBezTo>
                    <a:pt x="219" y="25"/>
                    <a:pt x="215" y="25"/>
                    <a:pt x="211" y="26"/>
                  </a:cubicBezTo>
                  <a:cubicBezTo>
                    <a:pt x="202" y="27"/>
                    <a:pt x="195" y="33"/>
                    <a:pt x="192" y="42"/>
                  </a:cubicBezTo>
                  <a:cubicBezTo>
                    <a:pt x="190" y="49"/>
                    <a:pt x="190" y="56"/>
                    <a:pt x="192" y="63"/>
                  </a:cubicBezTo>
                  <a:cubicBezTo>
                    <a:pt x="195" y="72"/>
                    <a:pt x="200" y="77"/>
                    <a:pt x="209" y="80"/>
                  </a:cubicBezTo>
                  <a:cubicBezTo>
                    <a:pt x="212" y="80"/>
                    <a:pt x="216" y="81"/>
                    <a:pt x="219" y="80"/>
                  </a:cubicBezTo>
                  <a:cubicBezTo>
                    <a:pt x="230" y="80"/>
                    <a:pt x="238" y="73"/>
                    <a:pt x="241" y="63"/>
                  </a:cubicBezTo>
                  <a:cubicBezTo>
                    <a:pt x="242" y="59"/>
                    <a:pt x="242" y="56"/>
                    <a:pt x="242" y="52"/>
                  </a:cubicBezTo>
                  <a:cubicBezTo>
                    <a:pt x="242" y="49"/>
                    <a:pt x="242" y="45"/>
                    <a:pt x="241" y="42"/>
                  </a:cubicBezTo>
                  <a:close/>
                  <a:moveTo>
                    <a:pt x="408" y="183"/>
                  </a:moveTo>
                  <a:cubicBezTo>
                    <a:pt x="408" y="184"/>
                    <a:pt x="409" y="184"/>
                    <a:pt x="410" y="184"/>
                  </a:cubicBezTo>
                  <a:cubicBezTo>
                    <a:pt x="411" y="184"/>
                    <a:pt x="413" y="184"/>
                    <a:pt x="415" y="184"/>
                  </a:cubicBezTo>
                  <a:cubicBezTo>
                    <a:pt x="417" y="184"/>
                    <a:pt x="417" y="184"/>
                    <a:pt x="417" y="182"/>
                  </a:cubicBezTo>
                  <a:cubicBezTo>
                    <a:pt x="417" y="182"/>
                    <a:pt x="417" y="182"/>
                    <a:pt x="417" y="181"/>
                  </a:cubicBezTo>
                  <a:cubicBezTo>
                    <a:pt x="417" y="171"/>
                    <a:pt x="417" y="161"/>
                    <a:pt x="417" y="151"/>
                  </a:cubicBezTo>
                  <a:cubicBezTo>
                    <a:pt x="417" y="150"/>
                    <a:pt x="417" y="149"/>
                    <a:pt x="417" y="147"/>
                  </a:cubicBezTo>
                  <a:cubicBezTo>
                    <a:pt x="417" y="145"/>
                    <a:pt x="416" y="142"/>
                    <a:pt x="415" y="140"/>
                  </a:cubicBezTo>
                  <a:cubicBezTo>
                    <a:pt x="413" y="136"/>
                    <a:pt x="411" y="133"/>
                    <a:pt x="406" y="132"/>
                  </a:cubicBezTo>
                  <a:cubicBezTo>
                    <a:pt x="405" y="131"/>
                    <a:pt x="403" y="131"/>
                    <a:pt x="401" y="131"/>
                  </a:cubicBezTo>
                  <a:cubicBezTo>
                    <a:pt x="395" y="130"/>
                    <a:pt x="389" y="132"/>
                    <a:pt x="383" y="134"/>
                  </a:cubicBezTo>
                  <a:cubicBezTo>
                    <a:pt x="382" y="134"/>
                    <a:pt x="382" y="135"/>
                    <a:pt x="381" y="135"/>
                  </a:cubicBezTo>
                  <a:cubicBezTo>
                    <a:pt x="381" y="135"/>
                    <a:pt x="380" y="136"/>
                    <a:pt x="380" y="136"/>
                  </a:cubicBezTo>
                  <a:cubicBezTo>
                    <a:pt x="380" y="138"/>
                    <a:pt x="380" y="139"/>
                    <a:pt x="380" y="140"/>
                  </a:cubicBezTo>
                  <a:cubicBezTo>
                    <a:pt x="380" y="141"/>
                    <a:pt x="380" y="142"/>
                    <a:pt x="381" y="143"/>
                  </a:cubicBezTo>
                  <a:cubicBezTo>
                    <a:pt x="382" y="144"/>
                    <a:pt x="382" y="142"/>
                    <a:pt x="383" y="142"/>
                  </a:cubicBezTo>
                  <a:cubicBezTo>
                    <a:pt x="388" y="139"/>
                    <a:pt x="393" y="138"/>
                    <a:pt x="398" y="138"/>
                  </a:cubicBezTo>
                  <a:cubicBezTo>
                    <a:pt x="403" y="138"/>
                    <a:pt x="406" y="140"/>
                    <a:pt x="408" y="145"/>
                  </a:cubicBezTo>
                  <a:cubicBezTo>
                    <a:pt x="408" y="147"/>
                    <a:pt x="408" y="148"/>
                    <a:pt x="408" y="150"/>
                  </a:cubicBezTo>
                  <a:cubicBezTo>
                    <a:pt x="408" y="151"/>
                    <a:pt x="408" y="151"/>
                    <a:pt x="407" y="151"/>
                  </a:cubicBezTo>
                  <a:cubicBezTo>
                    <a:pt x="407" y="151"/>
                    <a:pt x="407" y="151"/>
                    <a:pt x="406" y="151"/>
                  </a:cubicBezTo>
                  <a:cubicBezTo>
                    <a:pt x="401" y="152"/>
                    <a:pt x="396" y="153"/>
                    <a:pt x="391" y="153"/>
                  </a:cubicBezTo>
                  <a:cubicBezTo>
                    <a:pt x="388" y="154"/>
                    <a:pt x="385" y="155"/>
                    <a:pt x="383" y="156"/>
                  </a:cubicBezTo>
                  <a:cubicBezTo>
                    <a:pt x="379" y="158"/>
                    <a:pt x="377" y="162"/>
                    <a:pt x="376" y="166"/>
                  </a:cubicBezTo>
                  <a:cubicBezTo>
                    <a:pt x="375" y="168"/>
                    <a:pt x="375" y="170"/>
                    <a:pt x="375" y="172"/>
                  </a:cubicBezTo>
                  <a:cubicBezTo>
                    <a:pt x="376" y="177"/>
                    <a:pt x="378" y="181"/>
                    <a:pt x="383" y="184"/>
                  </a:cubicBezTo>
                  <a:cubicBezTo>
                    <a:pt x="385" y="185"/>
                    <a:pt x="387" y="185"/>
                    <a:pt x="389" y="185"/>
                  </a:cubicBezTo>
                  <a:cubicBezTo>
                    <a:pt x="396" y="186"/>
                    <a:pt x="402" y="184"/>
                    <a:pt x="407" y="178"/>
                  </a:cubicBezTo>
                  <a:cubicBezTo>
                    <a:pt x="407" y="178"/>
                    <a:pt x="407" y="177"/>
                    <a:pt x="408" y="177"/>
                  </a:cubicBezTo>
                  <a:cubicBezTo>
                    <a:pt x="408" y="179"/>
                    <a:pt x="408" y="181"/>
                    <a:pt x="408" y="183"/>
                  </a:cubicBezTo>
                  <a:close/>
                  <a:moveTo>
                    <a:pt x="64" y="168"/>
                  </a:moveTo>
                  <a:cubicBezTo>
                    <a:pt x="66" y="177"/>
                    <a:pt x="72" y="183"/>
                    <a:pt x="81" y="185"/>
                  </a:cubicBezTo>
                  <a:cubicBezTo>
                    <a:pt x="85" y="186"/>
                    <a:pt x="89" y="186"/>
                    <a:pt x="93" y="185"/>
                  </a:cubicBezTo>
                  <a:cubicBezTo>
                    <a:pt x="102" y="184"/>
                    <a:pt x="109" y="179"/>
                    <a:pt x="112" y="170"/>
                  </a:cubicBezTo>
                  <a:cubicBezTo>
                    <a:pt x="115" y="162"/>
                    <a:pt x="115" y="153"/>
                    <a:pt x="112" y="144"/>
                  </a:cubicBezTo>
                  <a:cubicBezTo>
                    <a:pt x="109" y="137"/>
                    <a:pt x="103" y="133"/>
                    <a:pt x="95" y="131"/>
                  </a:cubicBezTo>
                  <a:cubicBezTo>
                    <a:pt x="91" y="130"/>
                    <a:pt x="87" y="130"/>
                    <a:pt x="82" y="131"/>
                  </a:cubicBezTo>
                  <a:cubicBezTo>
                    <a:pt x="74" y="133"/>
                    <a:pt x="68" y="138"/>
                    <a:pt x="65" y="146"/>
                  </a:cubicBezTo>
                  <a:cubicBezTo>
                    <a:pt x="63" y="150"/>
                    <a:pt x="62" y="154"/>
                    <a:pt x="62" y="158"/>
                  </a:cubicBezTo>
                  <a:cubicBezTo>
                    <a:pt x="62" y="162"/>
                    <a:pt x="63" y="165"/>
                    <a:pt x="64" y="168"/>
                  </a:cubicBezTo>
                  <a:close/>
                  <a:moveTo>
                    <a:pt x="335" y="40"/>
                  </a:moveTo>
                  <a:cubicBezTo>
                    <a:pt x="332" y="32"/>
                    <a:pt x="327" y="27"/>
                    <a:pt x="318" y="26"/>
                  </a:cubicBezTo>
                  <a:cubicBezTo>
                    <a:pt x="314" y="25"/>
                    <a:pt x="310" y="25"/>
                    <a:pt x="306" y="26"/>
                  </a:cubicBezTo>
                  <a:cubicBezTo>
                    <a:pt x="297" y="27"/>
                    <a:pt x="290" y="33"/>
                    <a:pt x="287" y="42"/>
                  </a:cubicBezTo>
                  <a:cubicBezTo>
                    <a:pt x="285" y="49"/>
                    <a:pt x="285" y="56"/>
                    <a:pt x="287" y="62"/>
                  </a:cubicBezTo>
                  <a:cubicBezTo>
                    <a:pt x="289" y="71"/>
                    <a:pt x="295" y="77"/>
                    <a:pt x="304" y="80"/>
                  </a:cubicBezTo>
                  <a:cubicBezTo>
                    <a:pt x="307" y="80"/>
                    <a:pt x="311" y="81"/>
                    <a:pt x="314" y="80"/>
                  </a:cubicBezTo>
                  <a:cubicBezTo>
                    <a:pt x="325" y="80"/>
                    <a:pt x="333" y="73"/>
                    <a:pt x="336" y="63"/>
                  </a:cubicBezTo>
                  <a:cubicBezTo>
                    <a:pt x="337" y="60"/>
                    <a:pt x="338" y="56"/>
                    <a:pt x="338" y="52"/>
                  </a:cubicBezTo>
                  <a:cubicBezTo>
                    <a:pt x="338" y="48"/>
                    <a:pt x="337" y="44"/>
                    <a:pt x="335" y="40"/>
                  </a:cubicBezTo>
                  <a:close/>
                  <a:moveTo>
                    <a:pt x="1208" y="18"/>
                  </a:moveTo>
                  <a:cubicBezTo>
                    <a:pt x="1210" y="16"/>
                    <a:pt x="1213" y="14"/>
                    <a:pt x="1216" y="13"/>
                  </a:cubicBezTo>
                  <a:cubicBezTo>
                    <a:pt x="1219" y="11"/>
                    <a:pt x="1223" y="11"/>
                    <a:pt x="1227" y="12"/>
                  </a:cubicBezTo>
                  <a:cubicBezTo>
                    <a:pt x="1232" y="12"/>
                    <a:pt x="1235" y="15"/>
                    <a:pt x="1236" y="20"/>
                  </a:cubicBezTo>
                  <a:cubicBezTo>
                    <a:pt x="1237" y="23"/>
                    <a:pt x="1237" y="26"/>
                    <a:pt x="1237" y="29"/>
                  </a:cubicBezTo>
                  <a:cubicBezTo>
                    <a:pt x="1236" y="33"/>
                    <a:pt x="1234" y="36"/>
                    <a:pt x="1231" y="39"/>
                  </a:cubicBezTo>
                  <a:cubicBezTo>
                    <a:pt x="1229" y="42"/>
                    <a:pt x="1226" y="44"/>
                    <a:pt x="1224" y="46"/>
                  </a:cubicBezTo>
                  <a:cubicBezTo>
                    <a:pt x="1220" y="48"/>
                    <a:pt x="1217" y="51"/>
                    <a:pt x="1214" y="53"/>
                  </a:cubicBezTo>
                  <a:cubicBezTo>
                    <a:pt x="1212" y="55"/>
                    <a:pt x="1210" y="56"/>
                    <a:pt x="1209" y="58"/>
                  </a:cubicBezTo>
                  <a:cubicBezTo>
                    <a:pt x="1206" y="61"/>
                    <a:pt x="1205" y="64"/>
                    <a:pt x="1204" y="67"/>
                  </a:cubicBezTo>
                  <a:cubicBezTo>
                    <a:pt x="1203" y="71"/>
                    <a:pt x="1203" y="75"/>
                    <a:pt x="1203" y="78"/>
                  </a:cubicBezTo>
                  <a:cubicBezTo>
                    <a:pt x="1203" y="79"/>
                    <a:pt x="1203" y="79"/>
                    <a:pt x="1204" y="79"/>
                  </a:cubicBezTo>
                  <a:cubicBezTo>
                    <a:pt x="1204" y="79"/>
                    <a:pt x="1205" y="79"/>
                    <a:pt x="1205" y="79"/>
                  </a:cubicBezTo>
                  <a:cubicBezTo>
                    <a:pt x="1219" y="79"/>
                    <a:pt x="1232" y="79"/>
                    <a:pt x="1246" y="79"/>
                  </a:cubicBezTo>
                  <a:cubicBezTo>
                    <a:pt x="1246" y="79"/>
                    <a:pt x="1247" y="79"/>
                    <a:pt x="1247" y="79"/>
                  </a:cubicBezTo>
                  <a:cubicBezTo>
                    <a:pt x="1248" y="79"/>
                    <a:pt x="1248" y="79"/>
                    <a:pt x="1248" y="78"/>
                  </a:cubicBezTo>
                  <a:cubicBezTo>
                    <a:pt x="1248" y="76"/>
                    <a:pt x="1248" y="74"/>
                    <a:pt x="1248" y="72"/>
                  </a:cubicBezTo>
                  <a:cubicBezTo>
                    <a:pt x="1248" y="72"/>
                    <a:pt x="1248" y="72"/>
                    <a:pt x="1248" y="72"/>
                  </a:cubicBezTo>
                  <a:cubicBezTo>
                    <a:pt x="1247" y="72"/>
                    <a:pt x="1246" y="72"/>
                    <a:pt x="1245" y="72"/>
                  </a:cubicBezTo>
                  <a:cubicBezTo>
                    <a:pt x="1235" y="72"/>
                    <a:pt x="1225" y="72"/>
                    <a:pt x="1215" y="72"/>
                  </a:cubicBezTo>
                  <a:cubicBezTo>
                    <a:pt x="1214" y="72"/>
                    <a:pt x="1213" y="72"/>
                    <a:pt x="1213" y="72"/>
                  </a:cubicBezTo>
                  <a:cubicBezTo>
                    <a:pt x="1212" y="71"/>
                    <a:pt x="1212" y="71"/>
                    <a:pt x="1212" y="70"/>
                  </a:cubicBezTo>
                  <a:cubicBezTo>
                    <a:pt x="1212" y="67"/>
                    <a:pt x="1213" y="65"/>
                    <a:pt x="1215" y="63"/>
                  </a:cubicBezTo>
                  <a:cubicBezTo>
                    <a:pt x="1216" y="61"/>
                    <a:pt x="1218" y="59"/>
                    <a:pt x="1219" y="58"/>
                  </a:cubicBezTo>
                  <a:cubicBezTo>
                    <a:pt x="1223" y="55"/>
                    <a:pt x="1226" y="53"/>
                    <a:pt x="1229" y="51"/>
                  </a:cubicBezTo>
                  <a:cubicBezTo>
                    <a:pt x="1232" y="48"/>
                    <a:pt x="1236" y="45"/>
                    <a:pt x="1239" y="42"/>
                  </a:cubicBezTo>
                  <a:cubicBezTo>
                    <a:pt x="1242" y="39"/>
                    <a:pt x="1244" y="35"/>
                    <a:pt x="1245" y="31"/>
                  </a:cubicBezTo>
                  <a:cubicBezTo>
                    <a:pt x="1245" y="28"/>
                    <a:pt x="1246" y="25"/>
                    <a:pt x="1246" y="22"/>
                  </a:cubicBezTo>
                  <a:cubicBezTo>
                    <a:pt x="1245" y="14"/>
                    <a:pt x="1240" y="7"/>
                    <a:pt x="1232" y="5"/>
                  </a:cubicBezTo>
                  <a:cubicBezTo>
                    <a:pt x="1227" y="4"/>
                    <a:pt x="1222" y="4"/>
                    <a:pt x="1217" y="5"/>
                  </a:cubicBezTo>
                  <a:cubicBezTo>
                    <a:pt x="1213" y="6"/>
                    <a:pt x="1210" y="8"/>
                    <a:pt x="1207" y="10"/>
                  </a:cubicBezTo>
                  <a:cubicBezTo>
                    <a:pt x="1206" y="11"/>
                    <a:pt x="1206" y="11"/>
                    <a:pt x="1206" y="12"/>
                  </a:cubicBezTo>
                  <a:cubicBezTo>
                    <a:pt x="1206" y="15"/>
                    <a:pt x="1206" y="17"/>
                    <a:pt x="1206" y="20"/>
                  </a:cubicBezTo>
                  <a:cubicBezTo>
                    <a:pt x="1207" y="19"/>
                    <a:pt x="1207" y="19"/>
                    <a:pt x="1208" y="18"/>
                  </a:cubicBezTo>
                  <a:close/>
                  <a:moveTo>
                    <a:pt x="529" y="145"/>
                  </a:moveTo>
                  <a:cubicBezTo>
                    <a:pt x="526" y="137"/>
                    <a:pt x="521" y="133"/>
                    <a:pt x="513" y="131"/>
                  </a:cubicBezTo>
                  <a:cubicBezTo>
                    <a:pt x="508" y="130"/>
                    <a:pt x="504" y="130"/>
                    <a:pt x="500" y="131"/>
                  </a:cubicBezTo>
                  <a:cubicBezTo>
                    <a:pt x="491" y="133"/>
                    <a:pt x="486" y="138"/>
                    <a:pt x="482" y="146"/>
                  </a:cubicBezTo>
                  <a:cubicBezTo>
                    <a:pt x="480" y="150"/>
                    <a:pt x="480" y="155"/>
                    <a:pt x="480" y="160"/>
                  </a:cubicBezTo>
                  <a:cubicBezTo>
                    <a:pt x="480" y="163"/>
                    <a:pt x="480" y="166"/>
                    <a:pt x="481" y="169"/>
                  </a:cubicBezTo>
                  <a:cubicBezTo>
                    <a:pt x="484" y="177"/>
                    <a:pt x="490" y="183"/>
                    <a:pt x="499" y="185"/>
                  </a:cubicBezTo>
                  <a:cubicBezTo>
                    <a:pt x="502" y="186"/>
                    <a:pt x="506" y="186"/>
                    <a:pt x="510" y="185"/>
                  </a:cubicBezTo>
                  <a:cubicBezTo>
                    <a:pt x="520" y="184"/>
                    <a:pt x="526" y="178"/>
                    <a:pt x="530" y="169"/>
                  </a:cubicBezTo>
                  <a:cubicBezTo>
                    <a:pt x="531" y="166"/>
                    <a:pt x="532" y="162"/>
                    <a:pt x="532" y="158"/>
                  </a:cubicBezTo>
                  <a:cubicBezTo>
                    <a:pt x="532" y="153"/>
                    <a:pt x="531" y="149"/>
                    <a:pt x="529" y="145"/>
                  </a:cubicBezTo>
                  <a:close/>
                  <a:moveTo>
                    <a:pt x="1064" y="18"/>
                  </a:moveTo>
                  <a:cubicBezTo>
                    <a:pt x="1066" y="16"/>
                    <a:pt x="1068" y="14"/>
                    <a:pt x="1071" y="13"/>
                  </a:cubicBezTo>
                  <a:cubicBezTo>
                    <a:pt x="1075" y="11"/>
                    <a:pt x="1078" y="11"/>
                    <a:pt x="1082" y="12"/>
                  </a:cubicBezTo>
                  <a:cubicBezTo>
                    <a:pt x="1087" y="12"/>
                    <a:pt x="1091" y="16"/>
                    <a:pt x="1092" y="21"/>
                  </a:cubicBezTo>
                  <a:cubicBezTo>
                    <a:pt x="1093" y="24"/>
                    <a:pt x="1092" y="28"/>
                    <a:pt x="1092" y="31"/>
                  </a:cubicBezTo>
                  <a:cubicBezTo>
                    <a:pt x="1091" y="34"/>
                    <a:pt x="1089" y="36"/>
                    <a:pt x="1087" y="38"/>
                  </a:cubicBezTo>
                  <a:cubicBezTo>
                    <a:pt x="1085" y="41"/>
                    <a:pt x="1082" y="44"/>
                    <a:pt x="1079" y="46"/>
                  </a:cubicBezTo>
                  <a:cubicBezTo>
                    <a:pt x="1075" y="49"/>
                    <a:pt x="1072" y="51"/>
                    <a:pt x="1068" y="54"/>
                  </a:cubicBezTo>
                  <a:cubicBezTo>
                    <a:pt x="1066" y="56"/>
                    <a:pt x="1064" y="58"/>
                    <a:pt x="1063" y="60"/>
                  </a:cubicBezTo>
                  <a:cubicBezTo>
                    <a:pt x="1061" y="63"/>
                    <a:pt x="1059" y="67"/>
                    <a:pt x="1059" y="70"/>
                  </a:cubicBezTo>
                  <a:cubicBezTo>
                    <a:pt x="1058" y="73"/>
                    <a:pt x="1058" y="75"/>
                    <a:pt x="1058" y="77"/>
                  </a:cubicBezTo>
                  <a:cubicBezTo>
                    <a:pt x="1058" y="79"/>
                    <a:pt x="1058" y="79"/>
                    <a:pt x="1061" y="79"/>
                  </a:cubicBezTo>
                  <a:cubicBezTo>
                    <a:pt x="1074" y="79"/>
                    <a:pt x="1088" y="79"/>
                    <a:pt x="1102" y="79"/>
                  </a:cubicBezTo>
                  <a:cubicBezTo>
                    <a:pt x="1102" y="79"/>
                    <a:pt x="1102" y="79"/>
                    <a:pt x="1102" y="79"/>
                  </a:cubicBezTo>
                  <a:cubicBezTo>
                    <a:pt x="1104" y="79"/>
                    <a:pt x="1104" y="79"/>
                    <a:pt x="1104" y="78"/>
                  </a:cubicBezTo>
                  <a:cubicBezTo>
                    <a:pt x="1104" y="76"/>
                    <a:pt x="1104" y="75"/>
                    <a:pt x="1104" y="73"/>
                  </a:cubicBezTo>
                  <a:cubicBezTo>
                    <a:pt x="1104" y="72"/>
                    <a:pt x="1104" y="72"/>
                    <a:pt x="1102" y="72"/>
                  </a:cubicBezTo>
                  <a:cubicBezTo>
                    <a:pt x="1102" y="72"/>
                    <a:pt x="1101" y="72"/>
                    <a:pt x="1101" y="72"/>
                  </a:cubicBezTo>
                  <a:cubicBezTo>
                    <a:pt x="1091" y="72"/>
                    <a:pt x="1080" y="72"/>
                    <a:pt x="1070" y="72"/>
                  </a:cubicBezTo>
                  <a:cubicBezTo>
                    <a:pt x="1070" y="72"/>
                    <a:pt x="1069" y="72"/>
                    <a:pt x="1068" y="72"/>
                  </a:cubicBezTo>
                  <a:cubicBezTo>
                    <a:pt x="1067" y="71"/>
                    <a:pt x="1067" y="71"/>
                    <a:pt x="1067" y="70"/>
                  </a:cubicBezTo>
                  <a:cubicBezTo>
                    <a:pt x="1067" y="67"/>
                    <a:pt x="1069" y="64"/>
                    <a:pt x="1071" y="62"/>
                  </a:cubicBezTo>
                  <a:cubicBezTo>
                    <a:pt x="1072" y="60"/>
                    <a:pt x="1073" y="59"/>
                    <a:pt x="1075" y="58"/>
                  </a:cubicBezTo>
                  <a:cubicBezTo>
                    <a:pt x="1078" y="56"/>
                    <a:pt x="1081" y="53"/>
                    <a:pt x="1084" y="51"/>
                  </a:cubicBezTo>
                  <a:cubicBezTo>
                    <a:pt x="1087" y="48"/>
                    <a:pt x="1090" y="46"/>
                    <a:pt x="1093" y="43"/>
                  </a:cubicBezTo>
                  <a:cubicBezTo>
                    <a:pt x="1099" y="37"/>
                    <a:pt x="1102" y="30"/>
                    <a:pt x="1101" y="22"/>
                  </a:cubicBezTo>
                  <a:cubicBezTo>
                    <a:pt x="1100" y="13"/>
                    <a:pt x="1094" y="7"/>
                    <a:pt x="1087" y="5"/>
                  </a:cubicBezTo>
                  <a:cubicBezTo>
                    <a:pt x="1082" y="4"/>
                    <a:pt x="1076" y="4"/>
                    <a:pt x="1071" y="5"/>
                  </a:cubicBezTo>
                  <a:cubicBezTo>
                    <a:pt x="1068" y="6"/>
                    <a:pt x="1065" y="8"/>
                    <a:pt x="1062" y="10"/>
                  </a:cubicBezTo>
                  <a:cubicBezTo>
                    <a:pt x="1062" y="11"/>
                    <a:pt x="1061" y="11"/>
                    <a:pt x="1061" y="12"/>
                  </a:cubicBezTo>
                  <a:cubicBezTo>
                    <a:pt x="1061" y="15"/>
                    <a:pt x="1061" y="17"/>
                    <a:pt x="1061" y="20"/>
                  </a:cubicBezTo>
                  <a:cubicBezTo>
                    <a:pt x="1062" y="19"/>
                    <a:pt x="1063" y="19"/>
                    <a:pt x="1064" y="18"/>
                  </a:cubicBezTo>
                  <a:close/>
                  <a:moveTo>
                    <a:pt x="1340" y="18"/>
                  </a:moveTo>
                  <a:cubicBezTo>
                    <a:pt x="1342" y="16"/>
                    <a:pt x="1345" y="14"/>
                    <a:pt x="1347" y="13"/>
                  </a:cubicBezTo>
                  <a:cubicBezTo>
                    <a:pt x="1351" y="11"/>
                    <a:pt x="1355" y="11"/>
                    <a:pt x="1358" y="12"/>
                  </a:cubicBezTo>
                  <a:cubicBezTo>
                    <a:pt x="1363" y="12"/>
                    <a:pt x="1367" y="15"/>
                    <a:pt x="1368" y="20"/>
                  </a:cubicBezTo>
                  <a:cubicBezTo>
                    <a:pt x="1369" y="22"/>
                    <a:pt x="1369" y="25"/>
                    <a:pt x="1369" y="27"/>
                  </a:cubicBezTo>
                  <a:cubicBezTo>
                    <a:pt x="1368" y="32"/>
                    <a:pt x="1366" y="36"/>
                    <a:pt x="1363" y="39"/>
                  </a:cubicBezTo>
                  <a:cubicBezTo>
                    <a:pt x="1361" y="42"/>
                    <a:pt x="1358" y="44"/>
                    <a:pt x="1355" y="46"/>
                  </a:cubicBezTo>
                  <a:cubicBezTo>
                    <a:pt x="1352" y="49"/>
                    <a:pt x="1348" y="51"/>
                    <a:pt x="1345" y="54"/>
                  </a:cubicBezTo>
                  <a:cubicBezTo>
                    <a:pt x="1343" y="56"/>
                    <a:pt x="1341" y="58"/>
                    <a:pt x="1339" y="60"/>
                  </a:cubicBezTo>
                  <a:cubicBezTo>
                    <a:pt x="1337" y="63"/>
                    <a:pt x="1336" y="66"/>
                    <a:pt x="1335" y="70"/>
                  </a:cubicBezTo>
                  <a:cubicBezTo>
                    <a:pt x="1335" y="72"/>
                    <a:pt x="1335" y="74"/>
                    <a:pt x="1335" y="77"/>
                  </a:cubicBezTo>
                  <a:cubicBezTo>
                    <a:pt x="1335" y="79"/>
                    <a:pt x="1335" y="79"/>
                    <a:pt x="1337" y="79"/>
                  </a:cubicBezTo>
                  <a:cubicBezTo>
                    <a:pt x="1350" y="79"/>
                    <a:pt x="1363" y="79"/>
                    <a:pt x="1376" y="79"/>
                  </a:cubicBezTo>
                  <a:cubicBezTo>
                    <a:pt x="1377" y="79"/>
                    <a:pt x="1379" y="79"/>
                    <a:pt x="1380" y="79"/>
                  </a:cubicBezTo>
                  <a:cubicBezTo>
                    <a:pt x="1381" y="78"/>
                    <a:pt x="1380" y="76"/>
                    <a:pt x="1380" y="75"/>
                  </a:cubicBezTo>
                  <a:cubicBezTo>
                    <a:pt x="1380" y="71"/>
                    <a:pt x="1381" y="72"/>
                    <a:pt x="1377" y="72"/>
                  </a:cubicBezTo>
                  <a:cubicBezTo>
                    <a:pt x="1367" y="72"/>
                    <a:pt x="1357" y="72"/>
                    <a:pt x="1346" y="72"/>
                  </a:cubicBezTo>
                  <a:cubicBezTo>
                    <a:pt x="1346" y="72"/>
                    <a:pt x="1345" y="72"/>
                    <a:pt x="1344" y="71"/>
                  </a:cubicBezTo>
                  <a:cubicBezTo>
                    <a:pt x="1343" y="68"/>
                    <a:pt x="1344" y="65"/>
                    <a:pt x="1346" y="63"/>
                  </a:cubicBezTo>
                  <a:cubicBezTo>
                    <a:pt x="1347" y="61"/>
                    <a:pt x="1349" y="60"/>
                    <a:pt x="1351" y="58"/>
                  </a:cubicBezTo>
                  <a:cubicBezTo>
                    <a:pt x="1354" y="55"/>
                    <a:pt x="1358" y="53"/>
                    <a:pt x="1361" y="50"/>
                  </a:cubicBezTo>
                  <a:cubicBezTo>
                    <a:pt x="1365" y="48"/>
                    <a:pt x="1368" y="45"/>
                    <a:pt x="1370" y="42"/>
                  </a:cubicBezTo>
                  <a:cubicBezTo>
                    <a:pt x="1376" y="36"/>
                    <a:pt x="1378" y="29"/>
                    <a:pt x="1377" y="21"/>
                  </a:cubicBezTo>
                  <a:cubicBezTo>
                    <a:pt x="1376" y="12"/>
                    <a:pt x="1370" y="7"/>
                    <a:pt x="1363" y="5"/>
                  </a:cubicBezTo>
                  <a:cubicBezTo>
                    <a:pt x="1358" y="4"/>
                    <a:pt x="1353" y="4"/>
                    <a:pt x="1348" y="5"/>
                  </a:cubicBezTo>
                  <a:cubicBezTo>
                    <a:pt x="1344" y="6"/>
                    <a:pt x="1341" y="8"/>
                    <a:pt x="1338" y="10"/>
                  </a:cubicBezTo>
                  <a:cubicBezTo>
                    <a:pt x="1338" y="11"/>
                    <a:pt x="1338" y="11"/>
                    <a:pt x="1338" y="12"/>
                  </a:cubicBezTo>
                  <a:cubicBezTo>
                    <a:pt x="1338" y="14"/>
                    <a:pt x="1338" y="16"/>
                    <a:pt x="1338" y="17"/>
                  </a:cubicBezTo>
                  <a:cubicBezTo>
                    <a:pt x="1338" y="18"/>
                    <a:pt x="1337" y="19"/>
                    <a:pt x="1338" y="20"/>
                  </a:cubicBezTo>
                  <a:cubicBezTo>
                    <a:pt x="1339" y="19"/>
                    <a:pt x="1339" y="18"/>
                    <a:pt x="1340" y="18"/>
                  </a:cubicBezTo>
                  <a:close/>
                  <a:moveTo>
                    <a:pt x="714" y="142"/>
                  </a:moveTo>
                  <a:cubicBezTo>
                    <a:pt x="718" y="139"/>
                    <a:pt x="723" y="137"/>
                    <a:pt x="729" y="138"/>
                  </a:cubicBezTo>
                  <a:cubicBezTo>
                    <a:pt x="734" y="138"/>
                    <a:pt x="737" y="140"/>
                    <a:pt x="738" y="145"/>
                  </a:cubicBezTo>
                  <a:cubicBezTo>
                    <a:pt x="739" y="147"/>
                    <a:pt x="739" y="148"/>
                    <a:pt x="739" y="150"/>
                  </a:cubicBezTo>
                  <a:cubicBezTo>
                    <a:pt x="739" y="151"/>
                    <a:pt x="739" y="151"/>
                    <a:pt x="738" y="151"/>
                  </a:cubicBezTo>
                  <a:cubicBezTo>
                    <a:pt x="736" y="151"/>
                    <a:pt x="735" y="152"/>
                    <a:pt x="733" y="152"/>
                  </a:cubicBezTo>
                  <a:cubicBezTo>
                    <a:pt x="729" y="152"/>
                    <a:pt x="725" y="153"/>
                    <a:pt x="721" y="153"/>
                  </a:cubicBezTo>
                  <a:cubicBezTo>
                    <a:pt x="718" y="154"/>
                    <a:pt x="716" y="155"/>
                    <a:pt x="713" y="156"/>
                  </a:cubicBezTo>
                  <a:cubicBezTo>
                    <a:pt x="710" y="158"/>
                    <a:pt x="707" y="161"/>
                    <a:pt x="706" y="165"/>
                  </a:cubicBezTo>
                  <a:cubicBezTo>
                    <a:pt x="706" y="167"/>
                    <a:pt x="705" y="170"/>
                    <a:pt x="706" y="172"/>
                  </a:cubicBezTo>
                  <a:cubicBezTo>
                    <a:pt x="706" y="178"/>
                    <a:pt x="709" y="182"/>
                    <a:pt x="715" y="184"/>
                  </a:cubicBezTo>
                  <a:cubicBezTo>
                    <a:pt x="719" y="186"/>
                    <a:pt x="724" y="186"/>
                    <a:pt x="728" y="185"/>
                  </a:cubicBezTo>
                  <a:cubicBezTo>
                    <a:pt x="732" y="184"/>
                    <a:pt x="735" y="182"/>
                    <a:pt x="737" y="179"/>
                  </a:cubicBezTo>
                  <a:cubicBezTo>
                    <a:pt x="737" y="178"/>
                    <a:pt x="738" y="178"/>
                    <a:pt x="738" y="178"/>
                  </a:cubicBezTo>
                  <a:cubicBezTo>
                    <a:pt x="738" y="177"/>
                    <a:pt x="738" y="177"/>
                    <a:pt x="739" y="177"/>
                  </a:cubicBezTo>
                  <a:cubicBezTo>
                    <a:pt x="739" y="178"/>
                    <a:pt x="739" y="179"/>
                    <a:pt x="739" y="180"/>
                  </a:cubicBezTo>
                  <a:cubicBezTo>
                    <a:pt x="739" y="181"/>
                    <a:pt x="739" y="182"/>
                    <a:pt x="739" y="183"/>
                  </a:cubicBezTo>
                  <a:cubicBezTo>
                    <a:pt x="739" y="184"/>
                    <a:pt x="739" y="184"/>
                    <a:pt x="740" y="184"/>
                  </a:cubicBezTo>
                  <a:cubicBezTo>
                    <a:pt x="742" y="184"/>
                    <a:pt x="744" y="184"/>
                    <a:pt x="746" y="184"/>
                  </a:cubicBezTo>
                  <a:cubicBezTo>
                    <a:pt x="747" y="184"/>
                    <a:pt x="747" y="184"/>
                    <a:pt x="747" y="183"/>
                  </a:cubicBezTo>
                  <a:cubicBezTo>
                    <a:pt x="747" y="183"/>
                    <a:pt x="747" y="182"/>
                    <a:pt x="747" y="182"/>
                  </a:cubicBezTo>
                  <a:cubicBezTo>
                    <a:pt x="747" y="171"/>
                    <a:pt x="747" y="161"/>
                    <a:pt x="747" y="150"/>
                  </a:cubicBezTo>
                  <a:cubicBezTo>
                    <a:pt x="747" y="149"/>
                    <a:pt x="747" y="148"/>
                    <a:pt x="747" y="146"/>
                  </a:cubicBezTo>
                  <a:cubicBezTo>
                    <a:pt x="747" y="144"/>
                    <a:pt x="746" y="142"/>
                    <a:pt x="745" y="140"/>
                  </a:cubicBezTo>
                  <a:cubicBezTo>
                    <a:pt x="744" y="136"/>
                    <a:pt x="741" y="133"/>
                    <a:pt x="737" y="132"/>
                  </a:cubicBezTo>
                  <a:cubicBezTo>
                    <a:pt x="736" y="131"/>
                    <a:pt x="734" y="131"/>
                    <a:pt x="732" y="131"/>
                  </a:cubicBezTo>
                  <a:cubicBezTo>
                    <a:pt x="725" y="130"/>
                    <a:pt x="719" y="131"/>
                    <a:pt x="713" y="134"/>
                  </a:cubicBezTo>
                  <a:cubicBezTo>
                    <a:pt x="713" y="134"/>
                    <a:pt x="712" y="135"/>
                    <a:pt x="712" y="135"/>
                  </a:cubicBezTo>
                  <a:cubicBezTo>
                    <a:pt x="711" y="135"/>
                    <a:pt x="711" y="136"/>
                    <a:pt x="711" y="136"/>
                  </a:cubicBezTo>
                  <a:cubicBezTo>
                    <a:pt x="711" y="139"/>
                    <a:pt x="711" y="141"/>
                    <a:pt x="711" y="144"/>
                  </a:cubicBezTo>
                  <a:cubicBezTo>
                    <a:pt x="712" y="143"/>
                    <a:pt x="713" y="143"/>
                    <a:pt x="714" y="142"/>
                  </a:cubicBezTo>
                  <a:close/>
                  <a:moveTo>
                    <a:pt x="471" y="29"/>
                  </a:moveTo>
                  <a:cubicBezTo>
                    <a:pt x="473" y="36"/>
                    <a:pt x="476" y="43"/>
                    <a:pt x="479" y="49"/>
                  </a:cubicBezTo>
                  <a:cubicBezTo>
                    <a:pt x="482" y="59"/>
                    <a:pt x="486" y="68"/>
                    <a:pt x="490" y="77"/>
                  </a:cubicBezTo>
                  <a:cubicBezTo>
                    <a:pt x="490" y="78"/>
                    <a:pt x="490" y="79"/>
                    <a:pt x="490" y="81"/>
                  </a:cubicBezTo>
                  <a:cubicBezTo>
                    <a:pt x="488" y="83"/>
                    <a:pt x="487" y="86"/>
                    <a:pt x="486" y="89"/>
                  </a:cubicBezTo>
                  <a:cubicBezTo>
                    <a:pt x="486" y="90"/>
                    <a:pt x="485" y="91"/>
                    <a:pt x="484" y="92"/>
                  </a:cubicBezTo>
                  <a:cubicBezTo>
                    <a:pt x="482" y="96"/>
                    <a:pt x="479" y="97"/>
                    <a:pt x="475" y="96"/>
                  </a:cubicBezTo>
                  <a:cubicBezTo>
                    <a:pt x="474" y="96"/>
                    <a:pt x="472" y="95"/>
                    <a:pt x="472" y="96"/>
                  </a:cubicBezTo>
                  <a:cubicBezTo>
                    <a:pt x="471" y="97"/>
                    <a:pt x="472" y="98"/>
                    <a:pt x="472" y="99"/>
                  </a:cubicBezTo>
                  <a:cubicBezTo>
                    <a:pt x="471" y="100"/>
                    <a:pt x="471" y="101"/>
                    <a:pt x="472" y="102"/>
                  </a:cubicBezTo>
                  <a:cubicBezTo>
                    <a:pt x="472" y="103"/>
                    <a:pt x="472" y="103"/>
                    <a:pt x="473" y="103"/>
                  </a:cubicBezTo>
                  <a:cubicBezTo>
                    <a:pt x="478" y="104"/>
                    <a:pt x="483" y="104"/>
                    <a:pt x="487" y="100"/>
                  </a:cubicBezTo>
                  <a:cubicBezTo>
                    <a:pt x="489" y="98"/>
                    <a:pt x="490" y="97"/>
                    <a:pt x="492" y="95"/>
                  </a:cubicBezTo>
                  <a:cubicBezTo>
                    <a:pt x="493" y="92"/>
                    <a:pt x="494" y="90"/>
                    <a:pt x="495" y="87"/>
                  </a:cubicBezTo>
                  <a:cubicBezTo>
                    <a:pt x="499" y="79"/>
                    <a:pt x="502" y="70"/>
                    <a:pt x="506" y="62"/>
                  </a:cubicBezTo>
                  <a:cubicBezTo>
                    <a:pt x="510" y="51"/>
                    <a:pt x="514" y="40"/>
                    <a:pt x="519" y="29"/>
                  </a:cubicBezTo>
                  <a:cubicBezTo>
                    <a:pt x="519" y="28"/>
                    <a:pt x="519" y="27"/>
                    <a:pt x="519" y="26"/>
                  </a:cubicBezTo>
                  <a:cubicBezTo>
                    <a:pt x="516" y="26"/>
                    <a:pt x="514" y="26"/>
                    <a:pt x="511" y="26"/>
                  </a:cubicBezTo>
                  <a:cubicBezTo>
                    <a:pt x="508" y="34"/>
                    <a:pt x="505" y="41"/>
                    <a:pt x="503" y="48"/>
                  </a:cubicBezTo>
                  <a:cubicBezTo>
                    <a:pt x="500" y="55"/>
                    <a:pt x="498" y="63"/>
                    <a:pt x="495" y="70"/>
                  </a:cubicBezTo>
                  <a:cubicBezTo>
                    <a:pt x="494" y="69"/>
                    <a:pt x="494" y="68"/>
                    <a:pt x="493" y="67"/>
                  </a:cubicBezTo>
                  <a:cubicBezTo>
                    <a:pt x="489" y="54"/>
                    <a:pt x="485" y="42"/>
                    <a:pt x="480" y="30"/>
                  </a:cubicBezTo>
                  <a:cubicBezTo>
                    <a:pt x="479" y="26"/>
                    <a:pt x="480" y="26"/>
                    <a:pt x="475" y="26"/>
                  </a:cubicBezTo>
                  <a:cubicBezTo>
                    <a:pt x="474" y="26"/>
                    <a:pt x="472" y="26"/>
                    <a:pt x="470" y="26"/>
                  </a:cubicBezTo>
                  <a:cubicBezTo>
                    <a:pt x="470" y="26"/>
                    <a:pt x="470" y="27"/>
                    <a:pt x="470" y="27"/>
                  </a:cubicBezTo>
                  <a:cubicBezTo>
                    <a:pt x="470" y="27"/>
                    <a:pt x="470" y="28"/>
                    <a:pt x="471" y="29"/>
                  </a:cubicBezTo>
                  <a:close/>
                  <a:moveTo>
                    <a:pt x="132" y="140"/>
                  </a:moveTo>
                  <a:cubicBezTo>
                    <a:pt x="132" y="139"/>
                    <a:pt x="132" y="138"/>
                    <a:pt x="132" y="137"/>
                  </a:cubicBezTo>
                  <a:cubicBezTo>
                    <a:pt x="132" y="136"/>
                    <a:pt x="132" y="134"/>
                    <a:pt x="132" y="133"/>
                  </a:cubicBezTo>
                  <a:cubicBezTo>
                    <a:pt x="132" y="132"/>
                    <a:pt x="132" y="132"/>
                    <a:pt x="131" y="132"/>
                  </a:cubicBezTo>
                  <a:cubicBezTo>
                    <a:pt x="129" y="132"/>
                    <a:pt x="127" y="132"/>
                    <a:pt x="125" y="132"/>
                  </a:cubicBezTo>
                  <a:cubicBezTo>
                    <a:pt x="124" y="132"/>
                    <a:pt x="124" y="132"/>
                    <a:pt x="124" y="133"/>
                  </a:cubicBezTo>
                  <a:cubicBezTo>
                    <a:pt x="124" y="133"/>
                    <a:pt x="124" y="133"/>
                    <a:pt x="124" y="134"/>
                  </a:cubicBezTo>
                  <a:cubicBezTo>
                    <a:pt x="124" y="150"/>
                    <a:pt x="124" y="166"/>
                    <a:pt x="124" y="182"/>
                  </a:cubicBezTo>
                  <a:cubicBezTo>
                    <a:pt x="124" y="184"/>
                    <a:pt x="124" y="184"/>
                    <a:pt x="126" y="184"/>
                  </a:cubicBezTo>
                  <a:cubicBezTo>
                    <a:pt x="127" y="184"/>
                    <a:pt x="129" y="184"/>
                    <a:pt x="130" y="184"/>
                  </a:cubicBezTo>
                  <a:cubicBezTo>
                    <a:pt x="131" y="184"/>
                    <a:pt x="131" y="184"/>
                    <a:pt x="131" y="184"/>
                  </a:cubicBezTo>
                  <a:cubicBezTo>
                    <a:pt x="132" y="184"/>
                    <a:pt x="132" y="184"/>
                    <a:pt x="132" y="183"/>
                  </a:cubicBezTo>
                  <a:cubicBezTo>
                    <a:pt x="132" y="183"/>
                    <a:pt x="132" y="182"/>
                    <a:pt x="132" y="181"/>
                  </a:cubicBezTo>
                  <a:cubicBezTo>
                    <a:pt x="132" y="173"/>
                    <a:pt x="132" y="164"/>
                    <a:pt x="132" y="156"/>
                  </a:cubicBezTo>
                  <a:cubicBezTo>
                    <a:pt x="132" y="155"/>
                    <a:pt x="132" y="154"/>
                    <a:pt x="132" y="153"/>
                  </a:cubicBezTo>
                  <a:cubicBezTo>
                    <a:pt x="132" y="150"/>
                    <a:pt x="133" y="148"/>
                    <a:pt x="134" y="146"/>
                  </a:cubicBezTo>
                  <a:cubicBezTo>
                    <a:pt x="137" y="140"/>
                    <a:pt x="142" y="137"/>
                    <a:pt x="148" y="138"/>
                  </a:cubicBezTo>
                  <a:cubicBezTo>
                    <a:pt x="152" y="138"/>
                    <a:pt x="155" y="140"/>
                    <a:pt x="157" y="144"/>
                  </a:cubicBezTo>
                  <a:cubicBezTo>
                    <a:pt x="158" y="145"/>
                    <a:pt x="158" y="145"/>
                    <a:pt x="158" y="146"/>
                  </a:cubicBezTo>
                  <a:cubicBezTo>
                    <a:pt x="159" y="149"/>
                    <a:pt x="159" y="152"/>
                    <a:pt x="159" y="155"/>
                  </a:cubicBezTo>
                  <a:cubicBezTo>
                    <a:pt x="159" y="164"/>
                    <a:pt x="159" y="172"/>
                    <a:pt x="159" y="181"/>
                  </a:cubicBezTo>
                  <a:cubicBezTo>
                    <a:pt x="159" y="182"/>
                    <a:pt x="159" y="183"/>
                    <a:pt x="159" y="183"/>
                  </a:cubicBezTo>
                  <a:cubicBezTo>
                    <a:pt x="159" y="184"/>
                    <a:pt x="159" y="184"/>
                    <a:pt x="160" y="184"/>
                  </a:cubicBezTo>
                  <a:cubicBezTo>
                    <a:pt x="162" y="184"/>
                    <a:pt x="164" y="184"/>
                    <a:pt x="167" y="184"/>
                  </a:cubicBezTo>
                  <a:cubicBezTo>
                    <a:pt x="167" y="184"/>
                    <a:pt x="167" y="184"/>
                    <a:pt x="167" y="184"/>
                  </a:cubicBezTo>
                  <a:cubicBezTo>
                    <a:pt x="168" y="183"/>
                    <a:pt x="167" y="182"/>
                    <a:pt x="167" y="182"/>
                  </a:cubicBezTo>
                  <a:cubicBezTo>
                    <a:pt x="167" y="172"/>
                    <a:pt x="168" y="163"/>
                    <a:pt x="167" y="153"/>
                  </a:cubicBezTo>
                  <a:cubicBezTo>
                    <a:pt x="167" y="151"/>
                    <a:pt x="167" y="150"/>
                    <a:pt x="167" y="148"/>
                  </a:cubicBezTo>
                  <a:cubicBezTo>
                    <a:pt x="167" y="145"/>
                    <a:pt x="166" y="142"/>
                    <a:pt x="165" y="139"/>
                  </a:cubicBezTo>
                  <a:cubicBezTo>
                    <a:pt x="162" y="135"/>
                    <a:pt x="159" y="132"/>
                    <a:pt x="155" y="131"/>
                  </a:cubicBezTo>
                  <a:cubicBezTo>
                    <a:pt x="153" y="130"/>
                    <a:pt x="151" y="130"/>
                    <a:pt x="149" y="130"/>
                  </a:cubicBezTo>
                  <a:cubicBezTo>
                    <a:pt x="143" y="131"/>
                    <a:pt x="138" y="133"/>
                    <a:pt x="134" y="138"/>
                  </a:cubicBezTo>
                  <a:cubicBezTo>
                    <a:pt x="134" y="138"/>
                    <a:pt x="133" y="139"/>
                    <a:pt x="133" y="140"/>
                  </a:cubicBezTo>
                  <a:cubicBezTo>
                    <a:pt x="133" y="140"/>
                    <a:pt x="132" y="140"/>
                    <a:pt x="132" y="140"/>
                  </a:cubicBezTo>
                  <a:close/>
                  <a:moveTo>
                    <a:pt x="768" y="140"/>
                  </a:moveTo>
                  <a:cubicBezTo>
                    <a:pt x="768" y="139"/>
                    <a:pt x="768" y="139"/>
                    <a:pt x="768" y="138"/>
                  </a:cubicBezTo>
                  <a:cubicBezTo>
                    <a:pt x="768" y="136"/>
                    <a:pt x="768" y="135"/>
                    <a:pt x="768" y="133"/>
                  </a:cubicBezTo>
                  <a:cubicBezTo>
                    <a:pt x="768" y="132"/>
                    <a:pt x="768" y="132"/>
                    <a:pt x="767" y="132"/>
                  </a:cubicBezTo>
                  <a:cubicBezTo>
                    <a:pt x="765" y="132"/>
                    <a:pt x="763" y="132"/>
                    <a:pt x="761" y="132"/>
                  </a:cubicBezTo>
                  <a:cubicBezTo>
                    <a:pt x="760" y="132"/>
                    <a:pt x="760" y="132"/>
                    <a:pt x="760" y="133"/>
                  </a:cubicBezTo>
                  <a:cubicBezTo>
                    <a:pt x="760" y="133"/>
                    <a:pt x="760" y="134"/>
                    <a:pt x="760" y="134"/>
                  </a:cubicBezTo>
                  <a:cubicBezTo>
                    <a:pt x="760" y="150"/>
                    <a:pt x="760" y="166"/>
                    <a:pt x="760" y="182"/>
                  </a:cubicBezTo>
                  <a:cubicBezTo>
                    <a:pt x="760" y="183"/>
                    <a:pt x="760" y="183"/>
                    <a:pt x="760" y="184"/>
                  </a:cubicBezTo>
                  <a:cubicBezTo>
                    <a:pt x="760" y="184"/>
                    <a:pt x="760" y="184"/>
                    <a:pt x="761" y="184"/>
                  </a:cubicBezTo>
                  <a:cubicBezTo>
                    <a:pt x="761" y="184"/>
                    <a:pt x="762" y="184"/>
                    <a:pt x="763" y="184"/>
                  </a:cubicBezTo>
                  <a:cubicBezTo>
                    <a:pt x="764" y="184"/>
                    <a:pt x="766" y="184"/>
                    <a:pt x="767" y="184"/>
                  </a:cubicBezTo>
                  <a:cubicBezTo>
                    <a:pt x="768" y="184"/>
                    <a:pt x="768" y="184"/>
                    <a:pt x="768" y="183"/>
                  </a:cubicBezTo>
                  <a:cubicBezTo>
                    <a:pt x="768" y="183"/>
                    <a:pt x="768" y="182"/>
                    <a:pt x="768" y="182"/>
                  </a:cubicBezTo>
                  <a:cubicBezTo>
                    <a:pt x="768" y="173"/>
                    <a:pt x="768" y="165"/>
                    <a:pt x="768" y="156"/>
                  </a:cubicBezTo>
                  <a:cubicBezTo>
                    <a:pt x="768" y="155"/>
                    <a:pt x="768" y="153"/>
                    <a:pt x="768" y="152"/>
                  </a:cubicBezTo>
                  <a:cubicBezTo>
                    <a:pt x="769" y="150"/>
                    <a:pt x="769" y="147"/>
                    <a:pt x="771" y="145"/>
                  </a:cubicBezTo>
                  <a:cubicBezTo>
                    <a:pt x="774" y="140"/>
                    <a:pt x="778" y="137"/>
                    <a:pt x="784" y="138"/>
                  </a:cubicBezTo>
                  <a:cubicBezTo>
                    <a:pt x="788" y="138"/>
                    <a:pt x="791" y="140"/>
                    <a:pt x="793" y="143"/>
                  </a:cubicBezTo>
                  <a:cubicBezTo>
                    <a:pt x="793" y="144"/>
                    <a:pt x="794" y="145"/>
                    <a:pt x="794" y="146"/>
                  </a:cubicBezTo>
                  <a:cubicBezTo>
                    <a:pt x="795" y="149"/>
                    <a:pt x="795" y="152"/>
                    <a:pt x="795" y="154"/>
                  </a:cubicBezTo>
                  <a:cubicBezTo>
                    <a:pt x="795" y="163"/>
                    <a:pt x="795" y="172"/>
                    <a:pt x="795" y="181"/>
                  </a:cubicBezTo>
                  <a:cubicBezTo>
                    <a:pt x="795" y="182"/>
                    <a:pt x="795" y="183"/>
                    <a:pt x="795" y="184"/>
                  </a:cubicBezTo>
                  <a:cubicBezTo>
                    <a:pt x="795" y="184"/>
                    <a:pt x="795" y="184"/>
                    <a:pt x="796" y="184"/>
                  </a:cubicBezTo>
                  <a:cubicBezTo>
                    <a:pt x="798" y="184"/>
                    <a:pt x="800" y="184"/>
                    <a:pt x="803" y="184"/>
                  </a:cubicBezTo>
                  <a:cubicBezTo>
                    <a:pt x="803" y="184"/>
                    <a:pt x="803" y="184"/>
                    <a:pt x="803" y="184"/>
                  </a:cubicBezTo>
                  <a:cubicBezTo>
                    <a:pt x="804" y="183"/>
                    <a:pt x="804" y="182"/>
                    <a:pt x="804" y="182"/>
                  </a:cubicBezTo>
                  <a:cubicBezTo>
                    <a:pt x="804" y="172"/>
                    <a:pt x="804" y="162"/>
                    <a:pt x="804" y="152"/>
                  </a:cubicBezTo>
                  <a:cubicBezTo>
                    <a:pt x="804" y="151"/>
                    <a:pt x="803" y="149"/>
                    <a:pt x="803" y="148"/>
                  </a:cubicBezTo>
                  <a:cubicBezTo>
                    <a:pt x="803" y="144"/>
                    <a:pt x="802" y="141"/>
                    <a:pt x="801" y="138"/>
                  </a:cubicBezTo>
                  <a:cubicBezTo>
                    <a:pt x="798" y="135"/>
                    <a:pt x="795" y="132"/>
                    <a:pt x="791" y="131"/>
                  </a:cubicBezTo>
                  <a:cubicBezTo>
                    <a:pt x="789" y="131"/>
                    <a:pt x="787" y="130"/>
                    <a:pt x="785" y="130"/>
                  </a:cubicBezTo>
                  <a:cubicBezTo>
                    <a:pt x="779" y="131"/>
                    <a:pt x="774" y="133"/>
                    <a:pt x="770" y="138"/>
                  </a:cubicBezTo>
                  <a:cubicBezTo>
                    <a:pt x="770" y="139"/>
                    <a:pt x="769" y="139"/>
                    <a:pt x="769" y="140"/>
                  </a:cubicBezTo>
                  <a:cubicBezTo>
                    <a:pt x="769" y="140"/>
                    <a:pt x="768" y="140"/>
                    <a:pt x="768" y="140"/>
                  </a:cubicBezTo>
                  <a:close/>
                  <a:moveTo>
                    <a:pt x="876" y="33"/>
                  </a:moveTo>
                  <a:cubicBezTo>
                    <a:pt x="876" y="31"/>
                    <a:pt x="876" y="29"/>
                    <a:pt x="876" y="28"/>
                  </a:cubicBezTo>
                  <a:cubicBezTo>
                    <a:pt x="876" y="26"/>
                    <a:pt x="876" y="26"/>
                    <a:pt x="874" y="26"/>
                  </a:cubicBezTo>
                  <a:cubicBezTo>
                    <a:pt x="873" y="26"/>
                    <a:pt x="871" y="26"/>
                    <a:pt x="870" y="26"/>
                  </a:cubicBezTo>
                  <a:cubicBezTo>
                    <a:pt x="867" y="26"/>
                    <a:pt x="867" y="26"/>
                    <a:pt x="867" y="29"/>
                  </a:cubicBezTo>
                  <a:cubicBezTo>
                    <a:pt x="867" y="45"/>
                    <a:pt x="867" y="61"/>
                    <a:pt x="867" y="77"/>
                  </a:cubicBezTo>
                  <a:cubicBezTo>
                    <a:pt x="867" y="77"/>
                    <a:pt x="867" y="78"/>
                    <a:pt x="867" y="78"/>
                  </a:cubicBezTo>
                  <a:cubicBezTo>
                    <a:pt x="867" y="79"/>
                    <a:pt x="868" y="79"/>
                    <a:pt x="868" y="79"/>
                  </a:cubicBezTo>
                  <a:cubicBezTo>
                    <a:pt x="870" y="79"/>
                    <a:pt x="873" y="79"/>
                    <a:pt x="875" y="79"/>
                  </a:cubicBezTo>
                  <a:cubicBezTo>
                    <a:pt x="876" y="79"/>
                    <a:pt x="876" y="79"/>
                    <a:pt x="876" y="78"/>
                  </a:cubicBezTo>
                  <a:cubicBezTo>
                    <a:pt x="876" y="77"/>
                    <a:pt x="876" y="77"/>
                    <a:pt x="876" y="76"/>
                  </a:cubicBezTo>
                  <a:cubicBezTo>
                    <a:pt x="876" y="68"/>
                    <a:pt x="876" y="59"/>
                    <a:pt x="876" y="51"/>
                  </a:cubicBezTo>
                  <a:cubicBezTo>
                    <a:pt x="876" y="50"/>
                    <a:pt x="876" y="48"/>
                    <a:pt x="876" y="47"/>
                  </a:cubicBezTo>
                  <a:cubicBezTo>
                    <a:pt x="876" y="44"/>
                    <a:pt x="877" y="41"/>
                    <a:pt x="879" y="39"/>
                  </a:cubicBezTo>
                  <a:cubicBezTo>
                    <a:pt x="882" y="34"/>
                    <a:pt x="886" y="32"/>
                    <a:pt x="892" y="32"/>
                  </a:cubicBezTo>
                  <a:cubicBezTo>
                    <a:pt x="896" y="33"/>
                    <a:pt x="899" y="35"/>
                    <a:pt x="901" y="39"/>
                  </a:cubicBezTo>
                  <a:cubicBezTo>
                    <a:pt x="901" y="40"/>
                    <a:pt x="901" y="40"/>
                    <a:pt x="902" y="41"/>
                  </a:cubicBezTo>
                  <a:cubicBezTo>
                    <a:pt x="902" y="44"/>
                    <a:pt x="903" y="47"/>
                    <a:pt x="903" y="49"/>
                  </a:cubicBezTo>
                  <a:cubicBezTo>
                    <a:pt x="903" y="58"/>
                    <a:pt x="903" y="67"/>
                    <a:pt x="903" y="76"/>
                  </a:cubicBezTo>
                  <a:cubicBezTo>
                    <a:pt x="903" y="76"/>
                    <a:pt x="903" y="77"/>
                    <a:pt x="903" y="78"/>
                  </a:cubicBezTo>
                  <a:cubicBezTo>
                    <a:pt x="903" y="79"/>
                    <a:pt x="903" y="79"/>
                    <a:pt x="904" y="79"/>
                  </a:cubicBezTo>
                  <a:cubicBezTo>
                    <a:pt x="906" y="79"/>
                    <a:pt x="907" y="79"/>
                    <a:pt x="909" y="79"/>
                  </a:cubicBezTo>
                  <a:cubicBezTo>
                    <a:pt x="911" y="79"/>
                    <a:pt x="911" y="79"/>
                    <a:pt x="911" y="77"/>
                  </a:cubicBezTo>
                  <a:cubicBezTo>
                    <a:pt x="911" y="77"/>
                    <a:pt x="911" y="77"/>
                    <a:pt x="911" y="76"/>
                  </a:cubicBezTo>
                  <a:cubicBezTo>
                    <a:pt x="911" y="67"/>
                    <a:pt x="911" y="57"/>
                    <a:pt x="911" y="47"/>
                  </a:cubicBezTo>
                  <a:cubicBezTo>
                    <a:pt x="911" y="46"/>
                    <a:pt x="911" y="44"/>
                    <a:pt x="911" y="43"/>
                  </a:cubicBezTo>
                  <a:cubicBezTo>
                    <a:pt x="911" y="39"/>
                    <a:pt x="910" y="36"/>
                    <a:pt x="908" y="33"/>
                  </a:cubicBezTo>
                  <a:cubicBezTo>
                    <a:pt x="906" y="29"/>
                    <a:pt x="903" y="27"/>
                    <a:pt x="898" y="26"/>
                  </a:cubicBezTo>
                  <a:cubicBezTo>
                    <a:pt x="896" y="25"/>
                    <a:pt x="894" y="25"/>
                    <a:pt x="892" y="25"/>
                  </a:cubicBezTo>
                  <a:cubicBezTo>
                    <a:pt x="886" y="25"/>
                    <a:pt x="882" y="28"/>
                    <a:pt x="878" y="32"/>
                  </a:cubicBezTo>
                  <a:cubicBezTo>
                    <a:pt x="877" y="33"/>
                    <a:pt x="877" y="34"/>
                    <a:pt x="876" y="35"/>
                  </a:cubicBezTo>
                  <a:cubicBezTo>
                    <a:pt x="876" y="34"/>
                    <a:pt x="876" y="33"/>
                    <a:pt x="876" y="33"/>
                  </a:cubicBezTo>
                  <a:close/>
                  <a:moveTo>
                    <a:pt x="324" y="179"/>
                  </a:moveTo>
                  <a:cubicBezTo>
                    <a:pt x="324" y="181"/>
                    <a:pt x="324" y="182"/>
                    <a:pt x="324" y="183"/>
                  </a:cubicBezTo>
                  <a:cubicBezTo>
                    <a:pt x="324" y="184"/>
                    <a:pt x="324" y="184"/>
                    <a:pt x="325" y="184"/>
                  </a:cubicBezTo>
                  <a:cubicBezTo>
                    <a:pt x="327" y="184"/>
                    <a:pt x="328" y="184"/>
                    <a:pt x="330" y="184"/>
                  </a:cubicBezTo>
                  <a:cubicBezTo>
                    <a:pt x="333" y="184"/>
                    <a:pt x="333" y="185"/>
                    <a:pt x="333" y="181"/>
                  </a:cubicBezTo>
                  <a:cubicBezTo>
                    <a:pt x="333" y="166"/>
                    <a:pt x="333" y="150"/>
                    <a:pt x="333" y="135"/>
                  </a:cubicBezTo>
                  <a:cubicBezTo>
                    <a:pt x="333" y="131"/>
                    <a:pt x="333" y="132"/>
                    <a:pt x="329" y="132"/>
                  </a:cubicBezTo>
                  <a:cubicBezTo>
                    <a:pt x="328" y="132"/>
                    <a:pt x="326" y="132"/>
                    <a:pt x="325" y="132"/>
                  </a:cubicBezTo>
                  <a:cubicBezTo>
                    <a:pt x="324" y="132"/>
                    <a:pt x="324" y="132"/>
                    <a:pt x="324" y="132"/>
                  </a:cubicBezTo>
                  <a:cubicBezTo>
                    <a:pt x="324" y="133"/>
                    <a:pt x="324" y="134"/>
                    <a:pt x="324" y="135"/>
                  </a:cubicBezTo>
                  <a:cubicBezTo>
                    <a:pt x="324" y="143"/>
                    <a:pt x="324" y="151"/>
                    <a:pt x="324" y="160"/>
                  </a:cubicBezTo>
                  <a:cubicBezTo>
                    <a:pt x="324" y="161"/>
                    <a:pt x="324" y="163"/>
                    <a:pt x="324" y="164"/>
                  </a:cubicBezTo>
                  <a:cubicBezTo>
                    <a:pt x="324" y="166"/>
                    <a:pt x="323" y="169"/>
                    <a:pt x="322" y="171"/>
                  </a:cubicBezTo>
                  <a:cubicBezTo>
                    <a:pt x="319" y="178"/>
                    <a:pt x="312" y="180"/>
                    <a:pt x="306" y="178"/>
                  </a:cubicBezTo>
                  <a:cubicBezTo>
                    <a:pt x="303" y="177"/>
                    <a:pt x="301" y="176"/>
                    <a:pt x="300" y="173"/>
                  </a:cubicBezTo>
                  <a:cubicBezTo>
                    <a:pt x="299" y="172"/>
                    <a:pt x="299" y="171"/>
                    <a:pt x="298" y="170"/>
                  </a:cubicBezTo>
                  <a:cubicBezTo>
                    <a:pt x="298" y="167"/>
                    <a:pt x="297" y="165"/>
                    <a:pt x="297" y="162"/>
                  </a:cubicBezTo>
                  <a:cubicBezTo>
                    <a:pt x="297" y="153"/>
                    <a:pt x="297" y="144"/>
                    <a:pt x="297" y="135"/>
                  </a:cubicBezTo>
                  <a:cubicBezTo>
                    <a:pt x="297" y="134"/>
                    <a:pt x="297" y="133"/>
                    <a:pt x="297" y="132"/>
                  </a:cubicBezTo>
                  <a:cubicBezTo>
                    <a:pt x="297" y="132"/>
                    <a:pt x="297" y="132"/>
                    <a:pt x="297" y="132"/>
                  </a:cubicBezTo>
                  <a:cubicBezTo>
                    <a:pt x="296" y="132"/>
                    <a:pt x="296" y="132"/>
                    <a:pt x="296" y="132"/>
                  </a:cubicBezTo>
                  <a:cubicBezTo>
                    <a:pt x="294" y="132"/>
                    <a:pt x="292" y="132"/>
                    <a:pt x="290" y="132"/>
                  </a:cubicBezTo>
                  <a:cubicBezTo>
                    <a:pt x="289" y="132"/>
                    <a:pt x="289" y="132"/>
                    <a:pt x="289" y="133"/>
                  </a:cubicBezTo>
                  <a:cubicBezTo>
                    <a:pt x="289" y="133"/>
                    <a:pt x="289" y="134"/>
                    <a:pt x="289" y="134"/>
                  </a:cubicBezTo>
                  <a:cubicBezTo>
                    <a:pt x="289" y="144"/>
                    <a:pt x="289" y="154"/>
                    <a:pt x="289" y="163"/>
                  </a:cubicBezTo>
                  <a:cubicBezTo>
                    <a:pt x="289" y="165"/>
                    <a:pt x="289" y="166"/>
                    <a:pt x="289" y="168"/>
                  </a:cubicBezTo>
                  <a:cubicBezTo>
                    <a:pt x="289" y="171"/>
                    <a:pt x="290" y="174"/>
                    <a:pt x="291" y="176"/>
                  </a:cubicBezTo>
                  <a:cubicBezTo>
                    <a:pt x="293" y="181"/>
                    <a:pt x="296" y="183"/>
                    <a:pt x="301" y="185"/>
                  </a:cubicBezTo>
                  <a:cubicBezTo>
                    <a:pt x="304" y="186"/>
                    <a:pt x="307" y="186"/>
                    <a:pt x="310" y="186"/>
                  </a:cubicBezTo>
                  <a:cubicBezTo>
                    <a:pt x="315" y="185"/>
                    <a:pt x="319" y="183"/>
                    <a:pt x="322" y="178"/>
                  </a:cubicBezTo>
                  <a:cubicBezTo>
                    <a:pt x="323" y="178"/>
                    <a:pt x="323" y="177"/>
                    <a:pt x="324" y="177"/>
                  </a:cubicBezTo>
                  <a:cubicBezTo>
                    <a:pt x="324" y="178"/>
                    <a:pt x="324" y="178"/>
                    <a:pt x="324" y="179"/>
                  </a:cubicBezTo>
                  <a:close/>
                  <a:moveTo>
                    <a:pt x="550" y="140"/>
                  </a:moveTo>
                  <a:cubicBezTo>
                    <a:pt x="550" y="139"/>
                    <a:pt x="550" y="138"/>
                    <a:pt x="550" y="137"/>
                  </a:cubicBezTo>
                  <a:cubicBezTo>
                    <a:pt x="550" y="136"/>
                    <a:pt x="550" y="134"/>
                    <a:pt x="550" y="133"/>
                  </a:cubicBezTo>
                  <a:cubicBezTo>
                    <a:pt x="550" y="132"/>
                    <a:pt x="550" y="132"/>
                    <a:pt x="549" y="132"/>
                  </a:cubicBezTo>
                  <a:cubicBezTo>
                    <a:pt x="547" y="132"/>
                    <a:pt x="545" y="132"/>
                    <a:pt x="543" y="132"/>
                  </a:cubicBezTo>
                  <a:cubicBezTo>
                    <a:pt x="541" y="132"/>
                    <a:pt x="541" y="132"/>
                    <a:pt x="541" y="133"/>
                  </a:cubicBezTo>
                  <a:cubicBezTo>
                    <a:pt x="541" y="133"/>
                    <a:pt x="541" y="134"/>
                    <a:pt x="541" y="135"/>
                  </a:cubicBezTo>
                  <a:cubicBezTo>
                    <a:pt x="541" y="150"/>
                    <a:pt x="541" y="166"/>
                    <a:pt x="541" y="182"/>
                  </a:cubicBezTo>
                  <a:cubicBezTo>
                    <a:pt x="541" y="182"/>
                    <a:pt x="541" y="183"/>
                    <a:pt x="541" y="183"/>
                  </a:cubicBezTo>
                  <a:cubicBezTo>
                    <a:pt x="541" y="184"/>
                    <a:pt x="542" y="184"/>
                    <a:pt x="542" y="184"/>
                  </a:cubicBezTo>
                  <a:cubicBezTo>
                    <a:pt x="544" y="184"/>
                    <a:pt x="545" y="184"/>
                    <a:pt x="547" y="184"/>
                  </a:cubicBezTo>
                  <a:cubicBezTo>
                    <a:pt x="550" y="184"/>
                    <a:pt x="550" y="185"/>
                    <a:pt x="550" y="181"/>
                  </a:cubicBezTo>
                  <a:cubicBezTo>
                    <a:pt x="550" y="173"/>
                    <a:pt x="550" y="164"/>
                    <a:pt x="550" y="155"/>
                  </a:cubicBezTo>
                  <a:cubicBezTo>
                    <a:pt x="550" y="153"/>
                    <a:pt x="550" y="151"/>
                    <a:pt x="551" y="148"/>
                  </a:cubicBezTo>
                  <a:cubicBezTo>
                    <a:pt x="552" y="143"/>
                    <a:pt x="557" y="137"/>
                    <a:pt x="566" y="138"/>
                  </a:cubicBezTo>
                  <a:cubicBezTo>
                    <a:pt x="570" y="138"/>
                    <a:pt x="573" y="140"/>
                    <a:pt x="575" y="144"/>
                  </a:cubicBezTo>
                  <a:cubicBezTo>
                    <a:pt x="575" y="145"/>
                    <a:pt x="575" y="146"/>
                    <a:pt x="576" y="146"/>
                  </a:cubicBezTo>
                  <a:cubicBezTo>
                    <a:pt x="576" y="149"/>
                    <a:pt x="577" y="152"/>
                    <a:pt x="577" y="155"/>
                  </a:cubicBezTo>
                  <a:cubicBezTo>
                    <a:pt x="577" y="163"/>
                    <a:pt x="577" y="172"/>
                    <a:pt x="577" y="181"/>
                  </a:cubicBezTo>
                  <a:cubicBezTo>
                    <a:pt x="577" y="182"/>
                    <a:pt x="577" y="182"/>
                    <a:pt x="577" y="183"/>
                  </a:cubicBezTo>
                  <a:cubicBezTo>
                    <a:pt x="577" y="184"/>
                    <a:pt x="577" y="184"/>
                    <a:pt x="578" y="184"/>
                  </a:cubicBezTo>
                  <a:cubicBezTo>
                    <a:pt x="579" y="184"/>
                    <a:pt x="581" y="184"/>
                    <a:pt x="583" y="184"/>
                  </a:cubicBezTo>
                  <a:cubicBezTo>
                    <a:pt x="585" y="184"/>
                    <a:pt x="585" y="184"/>
                    <a:pt x="585" y="182"/>
                  </a:cubicBezTo>
                  <a:cubicBezTo>
                    <a:pt x="585" y="172"/>
                    <a:pt x="585" y="162"/>
                    <a:pt x="585" y="151"/>
                  </a:cubicBezTo>
                  <a:cubicBezTo>
                    <a:pt x="585" y="150"/>
                    <a:pt x="585" y="149"/>
                    <a:pt x="585" y="148"/>
                  </a:cubicBezTo>
                  <a:cubicBezTo>
                    <a:pt x="585" y="145"/>
                    <a:pt x="584" y="142"/>
                    <a:pt x="582" y="139"/>
                  </a:cubicBezTo>
                  <a:cubicBezTo>
                    <a:pt x="580" y="135"/>
                    <a:pt x="577" y="132"/>
                    <a:pt x="572" y="131"/>
                  </a:cubicBezTo>
                  <a:cubicBezTo>
                    <a:pt x="570" y="130"/>
                    <a:pt x="568" y="130"/>
                    <a:pt x="566" y="130"/>
                  </a:cubicBezTo>
                  <a:cubicBezTo>
                    <a:pt x="560" y="131"/>
                    <a:pt x="555" y="133"/>
                    <a:pt x="552" y="138"/>
                  </a:cubicBezTo>
                  <a:cubicBezTo>
                    <a:pt x="551" y="138"/>
                    <a:pt x="551" y="139"/>
                    <a:pt x="550" y="140"/>
                  </a:cubicBezTo>
                  <a:cubicBezTo>
                    <a:pt x="550" y="140"/>
                    <a:pt x="550" y="140"/>
                    <a:pt x="550" y="140"/>
                  </a:cubicBezTo>
                  <a:close/>
                  <a:moveTo>
                    <a:pt x="206" y="107"/>
                  </a:moveTo>
                  <a:cubicBezTo>
                    <a:pt x="206" y="106"/>
                    <a:pt x="206" y="106"/>
                    <a:pt x="205" y="106"/>
                  </a:cubicBezTo>
                  <a:cubicBezTo>
                    <a:pt x="203" y="105"/>
                    <a:pt x="201" y="105"/>
                    <a:pt x="199" y="105"/>
                  </a:cubicBezTo>
                  <a:cubicBezTo>
                    <a:pt x="192" y="106"/>
                    <a:pt x="188" y="109"/>
                    <a:pt x="185" y="115"/>
                  </a:cubicBezTo>
                  <a:cubicBezTo>
                    <a:pt x="184" y="117"/>
                    <a:pt x="183" y="120"/>
                    <a:pt x="183" y="122"/>
                  </a:cubicBezTo>
                  <a:cubicBezTo>
                    <a:pt x="183" y="124"/>
                    <a:pt x="183" y="126"/>
                    <a:pt x="183" y="128"/>
                  </a:cubicBezTo>
                  <a:cubicBezTo>
                    <a:pt x="183" y="129"/>
                    <a:pt x="183" y="130"/>
                    <a:pt x="183" y="130"/>
                  </a:cubicBezTo>
                  <a:cubicBezTo>
                    <a:pt x="183" y="132"/>
                    <a:pt x="183" y="132"/>
                    <a:pt x="182" y="132"/>
                  </a:cubicBezTo>
                  <a:cubicBezTo>
                    <a:pt x="181" y="132"/>
                    <a:pt x="181" y="132"/>
                    <a:pt x="181" y="132"/>
                  </a:cubicBezTo>
                  <a:cubicBezTo>
                    <a:pt x="179" y="132"/>
                    <a:pt x="177" y="132"/>
                    <a:pt x="175" y="132"/>
                  </a:cubicBezTo>
                  <a:cubicBezTo>
                    <a:pt x="175" y="132"/>
                    <a:pt x="174" y="132"/>
                    <a:pt x="174" y="133"/>
                  </a:cubicBezTo>
                  <a:cubicBezTo>
                    <a:pt x="174" y="134"/>
                    <a:pt x="174" y="136"/>
                    <a:pt x="174" y="138"/>
                  </a:cubicBezTo>
                  <a:cubicBezTo>
                    <a:pt x="174" y="139"/>
                    <a:pt x="175" y="139"/>
                    <a:pt x="175" y="139"/>
                  </a:cubicBezTo>
                  <a:cubicBezTo>
                    <a:pt x="175" y="139"/>
                    <a:pt x="176" y="139"/>
                    <a:pt x="176" y="139"/>
                  </a:cubicBezTo>
                  <a:cubicBezTo>
                    <a:pt x="178" y="139"/>
                    <a:pt x="180" y="139"/>
                    <a:pt x="182" y="139"/>
                  </a:cubicBezTo>
                  <a:cubicBezTo>
                    <a:pt x="183" y="139"/>
                    <a:pt x="183" y="139"/>
                    <a:pt x="183" y="140"/>
                  </a:cubicBezTo>
                  <a:cubicBezTo>
                    <a:pt x="183" y="141"/>
                    <a:pt x="183" y="141"/>
                    <a:pt x="183" y="142"/>
                  </a:cubicBezTo>
                  <a:cubicBezTo>
                    <a:pt x="183" y="155"/>
                    <a:pt x="183" y="168"/>
                    <a:pt x="183" y="181"/>
                  </a:cubicBezTo>
                  <a:cubicBezTo>
                    <a:pt x="183" y="182"/>
                    <a:pt x="183" y="183"/>
                    <a:pt x="183" y="183"/>
                  </a:cubicBezTo>
                  <a:cubicBezTo>
                    <a:pt x="183" y="184"/>
                    <a:pt x="183" y="184"/>
                    <a:pt x="184" y="184"/>
                  </a:cubicBezTo>
                  <a:cubicBezTo>
                    <a:pt x="186" y="184"/>
                    <a:pt x="188" y="184"/>
                    <a:pt x="191" y="184"/>
                  </a:cubicBezTo>
                  <a:cubicBezTo>
                    <a:pt x="191" y="184"/>
                    <a:pt x="192" y="184"/>
                    <a:pt x="192" y="184"/>
                  </a:cubicBezTo>
                  <a:cubicBezTo>
                    <a:pt x="192" y="183"/>
                    <a:pt x="192" y="182"/>
                    <a:pt x="192" y="181"/>
                  </a:cubicBezTo>
                  <a:cubicBezTo>
                    <a:pt x="192" y="168"/>
                    <a:pt x="192" y="155"/>
                    <a:pt x="192" y="142"/>
                  </a:cubicBezTo>
                  <a:cubicBezTo>
                    <a:pt x="192" y="141"/>
                    <a:pt x="192" y="141"/>
                    <a:pt x="192" y="140"/>
                  </a:cubicBezTo>
                  <a:cubicBezTo>
                    <a:pt x="192" y="139"/>
                    <a:pt x="192" y="139"/>
                    <a:pt x="193" y="139"/>
                  </a:cubicBezTo>
                  <a:cubicBezTo>
                    <a:pt x="195" y="139"/>
                    <a:pt x="198" y="139"/>
                    <a:pt x="200" y="139"/>
                  </a:cubicBezTo>
                  <a:cubicBezTo>
                    <a:pt x="201" y="139"/>
                    <a:pt x="203" y="139"/>
                    <a:pt x="204" y="139"/>
                  </a:cubicBezTo>
                  <a:cubicBezTo>
                    <a:pt x="204" y="137"/>
                    <a:pt x="204" y="136"/>
                    <a:pt x="204" y="135"/>
                  </a:cubicBezTo>
                  <a:cubicBezTo>
                    <a:pt x="204" y="131"/>
                    <a:pt x="204" y="132"/>
                    <a:pt x="201" y="132"/>
                  </a:cubicBezTo>
                  <a:cubicBezTo>
                    <a:pt x="198" y="132"/>
                    <a:pt x="195" y="132"/>
                    <a:pt x="193" y="132"/>
                  </a:cubicBezTo>
                  <a:cubicBezTo>
                    <a:pt x="192" y="132"/>
                    <a:pt x="192" y="131"/>
                    <a:pt x="192" y="131"/>
                  </a:cubicBezTo>
                  <a:cubicBezTo>
                    <a:pt x="192" y="128"/>
                    <a:pt x="192" y="125"/>
                    <a:pt x="192" y="122"/>
                  </a:cubicBezTo>
                  <a:cubicBezTo>
                    <a:pt x="192" y="121"/>
                    <a:pt x="192" y="120"/>
                    <a:pt x="192" y="118"/>
                  </a:cubicBezTo>
                  <a:cubicBezTo>
                    <a:pt x="194" y="115"/>
                    <a:pt x="196" y="113"/>
                    <a:pt x="200" y="112"/>
                  </a:cubicBezTo>
                  <a:cubicBezTo>
                    <a:pt x="202" y="112"/>
                    <a:pt x="204" y="113"/>
                    <a:pt x="206" y="114"/>
                  </a:cubicBezTo>
                  <a:cubicBezTo>
                    <a:pt x="206" y="111"/>
                    <a:pt x="206" y="109"/>
                    <a:pt x="206" y="107"/>
                  </a:cubicBezTo>
                  <a:close/>
                  <a:moveTo>
                    <a:pt x="522" y="69"/>
                  </a:moveTo>
                  <a:cubicBezTo>
                    <a:pt x="522" y="71"/>
                    <a:pt x="522" y="74"/>
                    <a:pt x="522" y="76"/>
                  </a:cubicBezTo>
                  <a:cubicBezTo>
                    <a:pt x="522" y="77"/>
                    <a:pt x="522" y="77"/>
                    <a:pt x="523" y="78"/>
                  </a:cubicBezTo>
                  <a:cubicBezTo>
                    <a:pt x="523" y="78"/>
                    <a:pt x="524" y="78"/>
                    <a:pt x="525" y="79"/>
                  </a:cubicBezTo>
                  <a:cubicBezTo>
                    <a:pt x="530" y="80"/>
                    <a:pt x="534" y="81"/>
                    <a:pt x="539" y="80"/>
                  </a:cubicBezTo>
                  <a:cubicBezTo>
                    <a:pt x="541" y="80"/>
                    <a:pt x="543" y="79"/>
                    <a:pt x="545" y="78"/>
                  </a:cubicBezTo>
                  <a:cubicBezTo>
                    <a:pt x="551" y="75"/>
                    <a:pt x="554" y="70"/>
                    <a:pt x="554" y="64"/>
                  </a:cubicBezTo>
                  <a:cubicBezTo>
                    <a:pt x="554" y="60"/>
                    <a:pt x="552" y="57"/>
                    <a:pt x="550" y="55"/>
                  </a:cubicBezTo>
                  <a:cubicBezTo>
                    <a:pt x="549" y="54"/>
                    <a:pt x="547" y="53"/>
                    <a:pt x="546" y="52"/>
                  </a:cubicBezTo>
                  <a:cubicBezTo>
                    <a:pt x="544" y="51"/>
                    <a:pt x="542" y="50"/>
                    <a:pt x="540" y="49"/>
                  </a:cubicBezTo>
                  <a:cubicBezTo>
                    <a:pt x="537" y="48"/>
                    <a:pt x="535" y="47"/>
                    <a:pt x="533" y="46"/>
                  </a:cubicBezTo>
                  <a:cubicBezTo>
                    <a:pt x="530" y="44"/>
                    <a:pt x="529" y="37"/>
                    <a:pt x="534" y="34"/>
                  </a:cubicBezTo>
                  <a:cubicBezTo>
                    <a:pt x="535" y="33"/>
                    <a:pt x="535" y="33"/>
                    <a:pt x="536" y="33"/>
                  </a:cubicBezTo>
                  <a:cubicBezTo>
                    <a:pt x="540" y="32"/>
                    <a:pt x="544" y="33"/>
                    <a:pt x="548" y="34"/>
                  </a:cubicBezTo>
                  <a:cubicBezTo>
                    <a:pt x="549" y="34"/>
                    <a:pt x="550" y="35"/>
                    <a:pt x="551" y="36"/>
                  </a:cubicBezTo>
                  <a:cubicBezTo>
                    <a:pt x="552" y="34"/>
                    <a:pt x="551" y="33"/>
                    <a:pt x="552" y="32"/>
                  </a:cubicBezTo>
                  <a:cubicBezTo>
                    <a:pt x="552" y="31"/>
                    <a:pt x="551" y="30"/>
                    <a:pt x="552" y="29"/>
                  </a:cubicBezTo>
                  <a:cubicBezTo>
                    <a:pt x="552" y="28"/>
                    <a:pt x="551" y="27"/>
                    <a:pt x="550" y="27"/>
                  </a:cubicBezTo>
                  <a:cubicBezTo>
                    <a:pt x="544" y="25"/>
                    <a:pt x="539" y="24"/>
                    <a:pt x="533" y="26"/>
                  </a:cubicBezTo>
                  <a:cubicBezTo>
                    <a:pt x="530" y="27"/>
                    <a:pt x="527" y="29"/>
                    <a:pt x="525" y="31"/>
                  </a:cubicBezTo>
                  <a:cubicBezTo>
                    <a:pt x="520" y="37"/>
                    <a:pt x="520" y="47"/>
                    <a:pt x="527" y="52"/>
                  </a:cubicBezTo>
                  <a:cubicBezTo>
                    <a:pt x="529" y="53"/>
                    <a:pt x="532" y="55"/>
                    <a:pt x="534" y="56"/>
                  </a:cubicBezTo>
                  <a:cubicBezTo>
                    <a:pt x="536" y="57"/>
                    <a:pt x="538" y="58"/>
                    <a:pt x="540" y="59"/>
                  </a:cubicBezTo>
                  <a:cubicBezTo>
                    <a:pt x="541" y="60"/>
                    <a:pt x="542" y="60"/>
                    <a:pt x="543" y="61"/>
                  </a:cubicBezTo>
                  <a:cubicBezTo>
                    <a:pt x="546" y="63"/>
                    <a:pt x="546" y="70"/>
                    <a:pt x="541" y="72"/>
                  </a:cubicBezTo>
                  <a:cubicBezTo>
                    <a:pt x="541" y="72"/>
                    <a:pt x="540" y="73"/>
                    <a:pt x="539" y="73"/>
                  </a:cubicBezTo>
                  <a:cubicBezTo>
                    <a:pt x="534" y="74"/>
                    <a:pt x="529" y="73"/>
                    <a:pt x="524" y="70"/>
                  </a:cubicBezTo>
                  <a:cubicBezTo>
                    <a:pt x="523" y="69"/>
                    <a:pt x="523" y="69"/>
                    <a:pt x="522" y="68"/>
                  </a:cubicBezTo>
                  <a:cubicBezTo>
                    <a:pt x="522" y="69"/>
                    <a:pt x="522" y="69"/>
                    <a:pt x="522" y="69"/>
                  </a:cubicBezTo>
                  <a:close/>
                  <a:moveTo>
                    <a:pt x="249" y="76"/>
                  </a:moveTo>
                  <a:cubicBezTo>
                    <a:pt x="249" y="77"/>
                    <a:pt x="249" y="77"/>
                    <a:pt x="250" y="78"/>
                  </a:cubicBezTo>
                  <a:cubicBezTo>
                    <a:pt x="250" y="78"/>
                    <a:pt x="251" y="78"/>
                    <a:pt x="252" y="79"/>
                  </a:cubicBezTo>
                  <a:cubicBezTo>
                    <a:pt x="256" y="80"/>
                    <a:pt x="261" y="81"/>
                    <a:pt x="266" y="80"/>
                  </a:cubicBezTo>
                  <a:cubicBezTo>
                    <a:pt x="269" y="80"/>
                    <a:pt x="272" y="79"/>
                    <a:pt x="274" y="77"/>
                  </a:cubicBezTo>
                  <a:cubicBezTo>
                    <a:pt x="278" y="75"/>
                    <a:pt x="280" y="72"/>
                    <a:pt x="281" y="68"/>
                  </a:cubicBezTo>
                  <a:cubicBezTo>
                    <a:pt x="282" y="62"/>
                    <a:pt x="280" y="57"/>
                    <a:pt x="275" y="54"/>
                  </a:cubicBezTo>
                  <a:cubicBezTo>
                    <a:pt x="274" y="53"/>
                    <a:pt x="273" y="52"/>
                    <a:pt x="272" y="52"/>
                  </a:cubicBezTo>
                  <a:cubicBezTo>
                    <a:pt x="270" y="51"/>
                    <a:pt x="268" y="50"/>
                    <a:pt x="267" y="49"/>
                  </a:cubicBezTo>
                  <a:cubicBezTo>
                    <a:pt x="264" y="48"/>
                    <a:pt x="262" y="47"/>
                    <a:pt x="260" y="46"/>
                  </a:cubicBezTo>
                  <a:cubicBezTo>
                    <a:pt x="257" y="43"/>
                    <a:pt x="256" y="37"/>
                    <a:pt x="260" y="34"/>
                  </a:cubicBezTo>
                  <a:cubicBezTo>
                    <a:pt x="261" y="33"/>
                    <a:pt x="262" y="33"/>
                    <a:pt x="263" y="33"/>
                  </a:cubicBezTo>
                  <a:cubicBezTo>
                    <a:pt x="265" y="32"/>
                    <a:pt x="267" y="32"/>
                    <a:pt x="269" y="33"/>
                  </a:cubicBezTo>
                  <a:cubicBezTo>
                    <a:pt x="272" y="33"/>
                    <a:pt x="275" y="34"/>
                    <a:pt x="277" y="35"/>
                  </a:cubicBezTo>
                  <a:cubicBezTo>
                    <a:pt x="278" y="36"/>
                    <a:pt x="278" y="36"/>
                    <a:pt x="278" y="35"/>
                  </a:cubicBezTo>
                  <a:cubicBezTo>
                    <a:pt x="278" y="33"/>
                    <a:pt x="278" y="31"/>
                    <a:pt x="278" y="29"/>
                  </a:cubicBezTo>
                  <a:cubicBezTo>
                    <a:pt x="279" y="28"/>
                    <a:pt x="278" y="27"/>
                    <a:pt x="277" y="27"/>
                  </a:cubicBezTo>
                  <a:cubicBezTo>
                    <a:pt x="272" y="25"/>
                    <a:pt x="268" y="25"/>
                    <a:pt x="263" y="25"/>
                  </a:cubicBezTo>
                  <a:cubicBezTo>
                    <a:pt x="260" y="26"/>
                    <a:pt x="258" y="27"/>
                    <a:pt x="256" y="28"/>
                  </a:cubicBezTo>
                  <a:cubicBezTo>
                    <a:pt x="251" y="31"/>
                    <a:pt x="248" y="36"/>
                    <a:pt x="249" y="42"/>
                  </a:cubicBezTo>
                  <a:cubicBezTo>
                    <a:pt x="249" y="46"/>
                    <a:pt x="250" y="49"/>
                    <a:pt x="254" y="52"/>
                  </a:cubicBezTo>
                  <a:cubicBezTo>
                    <a:pt x="256" y="53"/>
                    <a:pt x="258" y="54"/>
                    <a:pt x="260" y="55"/>
                  </a:cubicBezTo>
                  <a:cubicBezTo>
                    <a:pt x="262" y="56"/>
                    <a:pt x="264" y="57"/>
                    <a:pt x="267" y="59"/>
                  </a:cubicBezTo>
                  <a:cubicBezTo>
                    <a:pt x="268" y="59"/>
                    <a:pt x="269" y="60"/>
                    <a:pt x="270" y="60"/>
                  </a:cubicBezTo>
                  <a:cubicBezTo>
                    <a:pt x="272" y="62"/>
                    <a:pt x="272" y="65"/>
                    <a:pt x="272" y="67"/>
                  </a:cubicBezTo>
                  <a:cubicBezTo>
                    <a:pt x="272" y="70"/>
                    <a:pt x="270" y="71"/>
                    <a:pt x="268" y="72"/>
                  </a:cubicBezTo>
                  <a:cubicBezTo>
                    <a:pt x="267" y="72"/>
                    <a:pt x="267" y="73"/>
                    <a:pt x="266" y="73"/>
                  </a:cubicBezTo>
                  <a:cubicBezTo>
                    <a:pt x="261" y="74"/>
                    <a:pt x="256" y="73"/>
                    <a:pt x="251" y="70"/>
                  </a:cubicBezTo>
                  <a:cubicBezTo>
                    <a:pt x="250" y="70"/>
                    <a:pt x="250" y="69"/>
                    <a:pt x="249" y="68"/>
                  </a:cubicBezTo>
                  <a:cubicBezTo>
                    <a:pt x="249" y="71"/>
                    <a:pt x="249" y="74"/>
                    <a:pt x="249" y="76"/>
                  </a:cubicBezTo>
                  <a:close/>
                  <a:moveTo>
                    <a:pt x="934" y="11"/>
                  </a:moveTo>
                  <a:cubicBezTo>
                    <a:pt x="932" y="12"/>
                    <a:pt x="930" y="13"/>
                    <a:pt x="927" y="13"/>
                  </a:cubicBezTo>
                  <a:cubicBezTo>
                    <a:pt x="927" y="13"/>
                    <a:pt x="926" y="14"/>
                    <a:pt x="926" y="15"/>
                  </a:cubicBezTo>
                  <a:cubicBezTo>
                    <a:pt x="926" y="18"/>
                    <a:pt x="926" y="20"/>
                    <a:pt x="926" y="23"/>
                  </a:cubicBezTo>
                  <a:cubicBezTo>
                    <a:pt x="926" y="27"/>
                    <a:pt x="927" y="26"/>
                    <a:pt x="923" y="26"/>
                  </a:cubicBezTo>
                  <a:cubicBezTo>
                    <a:pt x="921" y="26"/>
                    <a:pt x="919" y="26"/>
                    <a:pt x="917" y="27"/>
                  </a:cubicBezTo>
                  <a:cubicBezTo>
                    <a:pt x="917" y="29"/>
                    <a:pt x="917" y="30"/>
                    <a:pt x="917" y="32"/>
                  </a:cubicBezTo>
                  <a:cubicBezTo>
                    <a:pt x="917" y="33"/>
                    <a:pt x="917" y="34"/>
                    <a:pt x="918" y="34"/>
                  </a:cubicBezTo>
                  <a:cubicBezTo>
                    <a:pt x="921" y="34"/>
                    <a:pt x="923" y="34"/>
                    <a:pt x="925" y="34"/>
                  </a:cubicBezTo>
                  <a:cubicBezTo>
                    <a:pt x="926" y="34"/>
                    <a:pt x="926" y="34"/>
                    <a:pt x="926" y="35"/>
                  </a:cubicBezTo>
                  <a:cubicBezTo>
                    <a:pt x="926" y="35"/>
                    <a:pt x="926" y="36"/>
                    <a:pt x="926" y="37"/>
                  </a:cubicBezTo>
                  <a:cubicBezTo>
                    <a:pt x="926" y="46"/>
                    <a:pt x="926" y="55"/>
                    <a:pt x="926" y="64"/>
                  </a:cubicBezTo>
                  <a:cubicBezTo>
                    <a:pt x="926" y="66"/>
                    <a:pt x="926" y="68"/>
                    <a:pt x="927" y="70"/>
                  </a:cubicBezTo>
                  <a:cubicBezTo>
                    <a:pt x="928" y="74"/>
                    <a:pt x="930" y="78"/>
                    <a:pt x="935" y="79"/>
                  </a:cubicBezTo>
                  <a:cubicBezTo>
                    <a:pt x="938" y="81"/>
                    <a:pt x="942" y="81"/>
                    <a:pt x="946" y="79"/>
                  </a:cubicBezTo>
                  <a:cubicBezTo>
                    <a:pt x="947" y="79"/>
                    <a:pt x="947" y="79"/>
                    <a:pt x="947" y="79"/>
                  </a:cubicBezTo>
                  <a:cubicBezTo>
                    <a:pt x="948" y="79"/>
                    <a:pt x="948" y="78"/>
                    <a:pt x="948" y="78"/>
                  </a:cubicBezTo>
                  <a:cubicBezTo>
                    <a:pt x="948" y="76"/>
                    <a:pt x="948" y="74"/>
                    <a:pt x="948" y="72"/>
                  </a:cubicBezTo>
                  <a:cubicBezTo>
                    <a:pt x="947" y="72"/>
                    <a:pt x="947" y="72"/>
                    <a:pt x="946" y="72"/>
                  </a:cubicBezTo>
                  <a:cubicBezTo>
                    <a:pt x="944" y="73"/>
                    <a:pt x="942" y="73"/>
                    <a:pt x="940" y="73"/>
                  </a:cubicBezTo>
                  <a:cubicBezTo>
                    <a:pt x="938" y="72"/>
                    <a:pt x="936" y="71"/>
                    <a:pt x="935" y="68"/>
                  </a:cubicBezTo>
                  <a:cubicBezTo>
                    <a:pt x="935" y="66"/>
                    <a:pt x="935" y="64"/>
                    <a:pt x="935" y="62"/>
                  </a:cubicBezTo>
                  <a:cubicBezTo>
                    <a:pt x="935" y="54"/>
                    <a:pt x="935" y="45"/>
                    <a:pt x="935" y="36"/>
                  </a:cubicBezTo>
                  <a:cubicBezTo>
                    <a:pt x="935" y="33"/>
                    <a:pt x="935" y="34"/>
                    <a:pt x="938" y="34"/>
                  </a:cubicBezTo>
                  <a:cubicBezTo>
                    <a:pt x="941" y="34"/>
                    <a:pt x="944" y="34"/>
                    <a:pt x="947" y="34"/>
                  </a:cubicBezTo>
                  <a:cubicBezTo>
                    <a:pt x="948" y="34"/>
                    <a:pt x="948" y="33"/>
                    <a:pt x="948" y="32"/>
                  </a:cubicBezTo>
                  <a:cubicBezTo>
                    <a:pt x="948" y="31"/>
                    <a:pt x="948" y="29"/>
                    <a:pt x="948" y="28"/>
                  </a:cubicBezTo>
                  <a:cubicBezTo>
                    <a:pt x="948" y="27"/>
                    <a:pt x="948" y="26"/>
                    <a:pt x="947" y="26"/>
                  </a:cubicBezTo>
                  <a:cubicBezTo>
                    <a:pt x="944" y="26"/>
                    <a:pt x="940" y="26"/>
                    <a:pt x="937" y="26"/>
                  </a:cubicBezTo>
                  <a:cubicBezTo>
                    <a:pt x="937" y="26"/>
                    <a:pt x="936" y="26"/>
                    <a:pt x="935" y="26"/>
                  </a:cubicBezTo>
                  <a:cubicBezTo>
                    <a:pt x="935" y="26"/>
                    <a:pt x="935" y="26"/>
                    <a:pt x="935" y="26"/>
                  </a:cubicBezTo>
                  <a:cubicBezTo>
                    <a:pt x="935" y="25"/>
                    <a:pt x="935" y="24"/>
                    <a:pt x="935" y="23"/>
                  </a:cubicBezTo>
                  <a:cubicBezTo>
                    <a:pt x="935" y="19"/>
                    <a:pt x="935" y="15"/>
                    <a:pt x="935" y="11"/>
                  </a:cubicBezTo>
                  <a:cubicBezTo>
                    <a:pt x="934" y="11"/>
                    <a:pt x="934" y="11"/>
                    <a:pt x="934" y="11"/>
                  </a:cubicBezTo>
                  <a:close/>
                  <a:moveTo>
                    <a:pt x="452" y="177"/>
                  </a:moveTo>
                  <a:cubicBezTo>
                    <a:pt x="450" y="178"/>
                    <a:pt x="448" y="178"/>
                    <a:pt x="446" y="178"/>
                  </a:cubicBezTo>
                  <a:cubicBezTo>
                    <a:pt x="444" y="178"/>
                    <a:pt x="442" y="176"/>
                    <a:pt x="441" y="174"/>
                  </a:cubicBezTo>
                  <a:cubicBezTo>
                    <a:pt x="441" y="174"/>
                    <a:pt x="441" y="173"/>
                    <a:pt x="441" y="172"/>
                  </a:cubicBezTo>
                  <a:cubicBezTo>
                    <a:pt x="441" y="170"/>
                    <a:pt x="441" y="169"/>
                    <a:pt x="441" y="167"/>
                  </a:cubicBezTo>
                  <a:cubicBezTo>
                    <a:pt x="441" y="159"/>
                    <a:pt x="441" y="150"/>
                    <a:pt x="441" y="142"/>
                  </a:cubicBezTo>
                  <a:cubicBezTo>
                    <a:pt x="441" y="141"/>
                    <a:pt x="441" y="140"/>
                    <a:pt x="441" y="140"/>
                  </a:cubicBezTo>
                  <a:cubicBezTo>
                    <a:pt x="441" y="139"/>
                    <a:pt x="441" y="139"/>
                    <a:pt x="442" y="139"/>
                  </a:cubicBezTo>
                  <a:cubicBezTo>
                    <a:pt x="444" y="139"/>
                    <a:pt x="446" y="139"/>
                    <a:pt x="448" y="139"/>
                  </a:cubicBezTo>
                  <a:cubicBezTo>
                    <a:pt x="450" y="139"/>
                    <a:pt x="452" y="139"/>
                    <a:pt x="454" y="139"/>
                  </a:cubicBezTo>
                  <a:cubicBezTo>
                    <a:pt x="454" y="137"/>
                    <a:pt x="454" y="135"/>
                    <a:pt x="454" y="133"/>
                  </a:cubicBezTo>
                  <a:cubicBezTo>
                    <a:pt x="454" y="132"/>
                    <a:pt x="454" y="132"/>
                    <a:pt x="452" y="132"/>
                  </a:cubicBezTo>
                  <a:cubicBezTo>
                    <a:pt x="449" y="132"/>
                    <a:pt x="446" y="132"/>
                    <a:pt x="443" y="132"/>
                  </a:cubicBezTo>
                  <a:cubicBezTo>
                    <a:pt x="442" y="132"/>
                    <a:pt x="442" y="132"/>
                    <a:pt x="441" y="132"/>
                  </a:cubicBezTo>
                  <a:cubicBezTo>
                    <a:pt x="441" y="132"/>
                    <a:pt x="441" y="131"/>
                    <a:pt x="441" y="131"/>
                  </a:cubicBezTo>
                  <a:cubicBezTo>
                    <a:pt x="441" y="131"/>
                    <a:pt x="441" y="130"/>
                    <a:pt x="441" y="129"/>
                  </a:cubicBezTo>
                  <a:cubicBezTo>
                    <a:pt x="441" y="126"/>
                    <a:pt x="441" y="122"/>
                    <a:pt x="441" y="119"/>
                  </a:cubicBezTo>
                  <a:cubicBezTo>
                    <a:pt x="441" y="118"/>
                    <a:pt x="441" y="117"/>
                    <a:pt x="440" y="116"/>
                  </a:cubicBezTo>
                  <a:cubicBezTo>
                    <a:pt x="438" y="117"/>
                    <a:pt x="436" y="118"/>
                    <a:pt x="433" y="118"/>
                  </a:cubicBezTo>
                  <a:cubicBezTo>
                    <a:pt x="432" y="119"/>
                    <a:pt x="432" y="119"/>
                    <a:pt x="432" y="120"/>
                  </a:cubicBezTo>
                  <a:cubicBezTo>
                    <a:pt x="432" y="124"/>
                    <a:pt x="432" y="127"/>
                    <a:pt x="432" y="130"/>
                  </a:cubicBezTo>
                  <a:cubicBezTo>
                    <a:pt x="432" y="132"/>
                    <a:pt x="432" y="132"/>
                    <a:pt x="431" y="132"/>
                  </a:cubicBezTo>
                  <a:cubicBezTo>
                    <a:pt x="429" y="132"/>
                    <a:pt x="426" y="132"/>
                    <a:pt x="424" y="132"/>
                  </a:cubicBezTo>
                  <a:cubicBezTo>
                    <a:pt x="423" y="132"/>
                    <a:pt x="423" y="132"/>
                    <a:pt x="423" y="133"/>
                  </a:cubicBezTo>
                  <a:cubicBezTo>
                    <a:pt x="423" y="135"/>
                    <a:pt x="423" y="136"/>
                    <a:pt x="423" y="138"/>
                  </a:cubicBezTo>
                  <a:cubicBezTo>
                    <a:pt x="423" y="139"/>
                    <a:pt x="423" y="139"/>
                    <a:pt x="424" y="139"/>
                  </a:cubicBezTo>
                  <a:cubicBezTo>
                    <a:pt x="426" y="139"/>
                    <a:pt x="428" y="139"/>
                    <a:pt x="430" y="139"/>
                  </a:cubicBezTo>
                  <a:cubicBezTo>
                    <a:pt x="432" y="139"/>
                    <a:pt x="432" y="139"/>
                    <a:pt x="432" y="141"/>
                  </a:cubicBezTo>
                  <a:cubicBezTo>
                    <a:pt x="432" y="151"/>
                    <a:pt x="432" y="160"/>
                    <a:pt x="432" y="169"/>
                  </a:cubicBezTo>
                  <a:cubicBezTo>
                    <a:pt x="432" y="171"/>
                    <a:pt x="432" y="173"/>
                    <a:pt x="432" y="175"/>
                  </a:cubicBezTo>
                  <a:cubicBezTo>
                    <a:pt x="434" y="181"/>
                    <a:pt x="437" y="185"/>
                    <a:pt x="444" y="185"/>
                  </a:cubicBezTo>
                  <a:cubicBezTo>
                    <a:pt x="447" y="186"/>
                    <a:pt x="450" y="186"/>
                    <a:pt x="453" y="184"/>
                  </a:cubicBezTo>
                  <a:cubicBezTo>
                    <a:pt x="454" y="184"/>
                    <a:pt x="454" y="184"/>
                    <a:pt x="454" y="183"/>
                  </a:cubicBezTo>
                  <a:cubicBezTo>
                    <a:pt x="454" y="181"/>
                    <a:pt x="454" y="179"/>
                    <a:pt x="454" y="177"/>
                  </a:cubicBezTo>
                  <a:cubicBezTo>
                    <a:pt x="453" y="177"/>
                    <a:pt x="453" y="177"/>
                    <a:pt x="452" y="177"/>
                  </a:cubicBezTo>
                  <a:close/>
                  <a:moveTo>
                    <a:pt x="151" y="70"/>
                  </a:moveTo>
                  <a:cubicBezTo>
                    <a:pt x="149" y="72"/>
                    <a:pt x="146" y="73"/>
                    <a:pt x="143" y="73"/>
                  </a:cubicBezTo>
                  <a:cubicBezTo>
                    <a:pt x="134" y="74"/>
                    <a:pt x="126" y="70"/>
                    <a:pt x="123" y="60"/>
                  </a:cubicBezTo>
                  <a:cubicBezTo>
                    <a:pt x="122" y="57"/>
                    <a:pt x="122" y="53"/>
                    <a:pt x="123" y="49"/>
                  </a:cubicBezTo>
                  <a:cubicBezTo>
                    <a:pt x="123" y="45"/>
                    <a:pt x="125" y="41"/>
                    <a:pt x="128" y="38"/>
                  </a:cubicBezTo>
                  <a:cubicBezTo>
                    <a:pt x="130" y="35"/>
                    <a:pt x="133" y="33"/>
                    <a:pt x="137" y="33"/>
                  </a:cubicBezTo>
                  <a:cubicBezTo>
                    <a:pt x="142" y="32"/>
                    <a:pt x="146" y="33"/>
                    <a:pt x="151" y="35"/>
                  </a:cubicBezTo>
                  <a:cubicBezTo>
                    <a:pt x="151" y="35"/>
                    <a:pt x="152" y="36"/>
                    <a:pt x="153" y="36"/>
                  </a:cubicBezTo>
                  <a:cubicBezTo>
                    <a:pt x="153" y="36"/>
                    <a:pt x="153" y="35"/>
                    <a:pt x="153" y="35"/>
                  </a:cubicBezTo>
                  <a:cubicBezTo>
                    <a:pt x="153" y="33"/>
                    <a:pt x="153" y="31"/>
                    <a:pt x="153" y="30"/>
                  </a:cubicBezTo>
                  <a:cubicBezTo>
                    <a:pt x="154" y="28"/>
                    <a:pt x="153" y="27"/>
                    <a:pt x="152" y="27"/>
                  </a:cubicBezTo>
                  <a:cubicBezTo>
                    <a:pt x="151" y="27"/>
                    <a:pt x="150" y="26"/>
                    <a:pt x="150" y="26"/>
                  </a:cubicBezTo>
                  <a:cubicBezTo>
                    <a:pt x="145" y="25"/>
                    <a:pt x="140" y="25"/>
                    <a:pt x="135" y="26"/>
                  </a:cubicBezTo>
                  <a:cubicBezTo>
                    <a:pt x="126" y="27"/>
                    <a:pt x="120" y="33"/>
                    <a:pt x="116" y="41"/>
                  </a:cubicBezTo>
                  <a:cubicBezTo>
                    <a:pt x="113" y="48"/>
                    <a:pt x="113" y="55"/>
                    <a:pt x="115" y="63"/>
                  </a:cubicBezTo>
                  <a:cubicBezTo>
                    <a:pt x="117" y="71"/>
                    <a:pt x="122" y="76"/>
                    <a:pt x="130" y="79"/>
                  </a:cubicBezTo>
                  <a:cubicBezTo>
                    <a:pt x="135" y="81"/>
                    <a:pt x="139" y="81"/>
                    <a:pt x="143" y="80"/>
                  </a:cubicBezTo>
                  <a:cubicBezTo>
                    <a:pt x="146" y="80"/>
                    <a:pt x="149" y="79"/>
                    <a:pt x="152" y="77"/>
                  </a:cubicBezTo>
                  <a:cubicBezTo>
                    <a:pt x="153" y="77"/>
                    <a:pt x="153" y="77"/>
                    <a:pt x="153" y="76"/>
                  </a:cubicBezTo>
                  <a:cubicBezTo>
                    <a:pt x="153" y="74"/>
                    <a:pt x="153" y="71"/>
                    <a:pt x="153" y="69"/>
                  </a:cubicBezTo>
                  <a:cubicBezTo>
                    <a:pt x="152" y="69"/>
                    <a:pt x="152" y="70"/>
                    <a:pt x="151" y="70"/>
                  </a:cubicBezTo>
                  <a:close/>
                  <a:moveTo>
                    <a:pt x="586" y="72"/>
                  </a:moveTo>
                  <a:cubicBezTo>
                    <a:pt x="584" y="73"/>
                    <a:pt x="582" y="73"/>
                    <a:pt x="580" y="73"/>
                  </a:cubicBezTo>
                  <a:cubicBezTo>
                    <a:pt x="577" y="72"/>
                    <a:pt x="575" y="71"/>
                    <a:pt x="575" y="68"/>
                  </a:cubicBezTo>
                  <a:cubicBezTo>
                    <a:pt x="574" y="66"/>
                    <a:pt x="574" y="65"/>
                    <a:pt x="574" y="63"/>
                  </a:cubicBezTo>
                  <a:cubicBezTo>
                    <a:pt x="574" y="55"/>
                    <a:pt x="574" y="47"/>
                    <a:pt x="574" y="39"/>
                  </a:cubicBezTo>
                  <a:cubicBezTo>
                    <a:pt x="574" y="38"/>
                    <a:pt x="574" y="37"/>
                    <a:pt x="574" y="35"/>
                  </a:cubicBezTo>
                  <a:cubicBezTo>
                    <a:pt x="574" y="34"/>
                    <a:pt x="574" y="34"/>
                    <a:pt x="576" y="34"/>
                  </a:cubicBezTo>
                  <a:cubicBezTo>
                    <a:pt x="578" y="34"/>
                    <a:pt x="581" y="34"/>
                    <a:pt x="583" y="34"/>
                  </a:cubicBezTo>
                  <a:cubicBezTo>
                    <a:pt x="584" y="34"/>
                    <a:pt x="585" y="34"/>
                    <a:pt x="586" y="34"/>
                  </a:cubicBezTo>
                  <a:cubicBezTo>
                    <a:pt x="587" y="34"/>
                    <a:pt x="587" y="33"/>
                    <a:pt x="587" y="33"/>
                  </a:cubicBezTo>
                  <a:cubicBezTo>
                    <a:pt x="587" y="31"/>
                    <a:pt x="587" y="29"/>
                    <a:pt x="587" y="28"/>
                  </a:cubicBezTo>
                  <a:cubicBezTo>
                    <a:pt x="587" y="27"/>
                    <a:pt x="587" y="26"/>
                    <a:pt x="586" y="26"/>
                  </a:cubicBezTo>
                  <a:cubicBezTo>
                    <a:pt x="582" y="26"/>
                    <a:pt x="579" y="26"/>
                    <a:pt x="575" y="26"/>
                  </a:cubicBezTo>
                  <a:cubicBezTo>
                    <a:pt x="574" y="26"/>
                    <a:pt x="574" y="26"/>
                    <a:pt x="574" y="25"/>
                  </a:cubicBezTo>
                  <a:cubicBezTo>
                    <a:pt x="574" y="21"/>
                    <a:pt x="574" y="17"/>
                    <a:pt x="574" y="13"/>
                  </a:cubicBezTo>
                  <a:cubicBezTo>
                    <a:pt x="574" y="12"/>
                    <a:pt x="574" y="11"/>
                    <a:pt x="574" y="11"/>
                  </a:cubicBezTo>
                  <a:cubicBezTo>
                    <a:pt x="571" y="12"/>
                    <a:pt x="569" y="12"/>
                    <a:pt x="567" y="13"/>
                  </a:cubicBezTo>
                  <a:cubicBezTo>
                    <a:pt x="566" y="14"/>
                    <a:pt x="566" y="14"/>
                    <a:pt x="566" y="15"/>
                  </a:cubicBezTo>
                  <a:cubicBezTo>
                    <a:pt x="566" y="18"/>
                    <a:pt x="566" y="20"/>
                    <a:pt x="566" y="23"/>
                  </a:cubicBezTo>
                  <a:cubicBezTo>
                    <a:pt x="566" y="27"/>
                    <a:pt x="566" y="26"/>
                    <a:pt x="562" y="26"/>
                  </a:cubicBezTo>
                  <a:cubicBezTo>
                    <a:pt x="560" y="26"/>
                    <a:pt x="559" y="26"/>
                    <a:pt x="557" y="27"/>
                  </a:cubicBezTo>
                  <a:cubicBezTo>
                    <a:pt x="556" y="29"/>
                    <a:pt x="557" y="31"/>
                    <a:pt x="557" y="32"/>
                  </a:cubicBezTo>
                  <a:cubicBezTo>
                    <a:pt x="557" y="33"/>
                    <a:pt x="557" y="34"/>
                    <a:pt x="558" y="34"/>
                  </a:cubicBezTo>
                  <a:cubicBezTo>
                    <a:pt x="560" y="34"/>
                    <a:pt x="562" y="34"/>
                    <a:pt x="564" y="34"/>
                  </a:cubicBezTo>
                  <a:cubicBezTo>
                    <a:pt x="566" y="34"/>
                    <a:pt x="566" y="34"/>
                    <a:pt x="566" y="36"/>
                  </a:cubicBezTo>
                  <a:cubicBezTo>
                    <a:pt x="566" y="36"/>
                    <a:pt x="566" y="37"/>
                    <a:pt x="566" y="37"/>
                  </a:cubicBezTo>
                  <a:cubicBezTo>
                    <a:pt x="566" y="46"/>
                    <a:pt x="566" y="54"/>
                    <a:pt x="566" y="63"/>
                  </a:cubicBezTo>
                  <a:cubicBezTo>
                    <a:pt x="566" y="65"/>
                    <a:pt x="566" y="66"/>
                    <a:pt x="566" y="68"/>
                  </a:cubicBezTo>
                  <a:cubicBezTo>
                    <a:pt x="566" y="70"/>
                    <a:pt x="566" y="72"/>
                    <a:pt x="567" y="74"/>
                  </a:cubicBezTo>
                  <a:cubicBezTo>
                    <a:pt x="569" y="76"/>
                    <a:pt x="571" y="78"/>
                    <a:pt x="573" y="79"/>
                  </a:cubicBezTo>
                  <a:cubicBezTo>
                    <a:pt x="574" y="80"/>
                    <a:pt x="576" y="80"/>
                    <a:pt x="577" y="80"/>
                  </a:cubicBezTo>
                  <a:cubicBezTo>
                    <a:pt x="580" y="81"/>
                    <a:pt x="583" y="80"/>
                    <a:pt x="586" y="79"/>
                  </a:cubicBezTo>
                  <a:cubicBezTo>
                    <a:pt x="587" y="79"/>
                    <a:pt x="587" y="78"/>
                    <a:pt x="587" y="77"/>
                  </a:cubicBezTo>
                  <a:cubicBezTo>
                    <a:pt x="587" y="76"/>
                    <a:pt x="587" y="74"/>
                    <a:pt x="587" y="72"/>
                  </a:cubicBezTo>
                  <a:cubicBezTo>
                    <a:pt x="587" y="72"/>
                    <a:pt x="586" y="72"/>
                    <a:pt x="586" y="72"/>
                  </a:cubicBezTo>
                  <a:close/>
                  <a:moveTo>
                    <a:pt x="1189" y="7"/>
                  </a:moveTo>
                  <a:cubicBezTo>
                    <a:pt x="1189" y="6"/>
                    <a:pt x="1189" y="5"/>
                    <a:pt x="1189" y="4"/>
                  </a:cubicBezTo>
                  <a:cubicBezTo>
                    <a:pt x="1189" y="4"/>
                    <a:pt x="1189" y="4"/>
                    <a:pt x="1189" y="4"/>
                  </a:cubicBezTo>
                  <a:cubicBezTo>
                    <a:pt x="1187" y="4"/>
                    <a:pt x="1186" y="4"/>
                    <a:pt x="1185" y="5"/>
                  </a:cubicBezTo>
                  <a:cubicBezTo>
                    <a:pt x="1184" y="6"/>
                    <a:pt x="1182" y="7"/>
                    <a:pt x="1181" y="8"/>
                  </a:cubicBezTo>
                  <a:cubicBezTo>
                    <a:pt x="1176" y="11"/>
                    <a:pt x="1171" y="13"/>
                    <a:pt x="1165" y="15"/>
                  </a:cubicBezTo>
                  <a:cubicBezTo>
                    <a:pt x="1164" y="15"/>
                    <a:pt x="1164" y="16"/>
                    <a:pt x="1164" y="17"/>
                  </a:cubicBezTo>
                  <a:cubicBezTo>
                    <a:pt x="1164" y="19"/>
                    <a:pt x="1164" y="21"/>
                    <a:pt x="1164" y="23"/>
                  </a:cubicBezTo>
                  <a:cubicBezTo>
                    <a:pt x="1164" y="24"/>
                    <a:pt x="1164" y="24"/>
                    <a:pt x="1165" y="24"/>
                  </a:cubicBezTo>
                  <a:cubicBezTo>
                    <a:pt x="1170" y="22"/>
                    <a:pt x="1175" y="20"/>
                    <a:pt x="1180" y="17"/>
                  </a:cubicBezTo>
                  <a:cubicBezTo>
                    <a:pt x="1180" y="16"/>
                    <a:pt x="1180" y="16"/>
                    <a:pt x="1181" y="16"/>
                  </a:cubicBezTo>
                  <a:cubicBezTo>
                    <a:pt x="1181" y="16"/>
                    <a:pt x="1181" y="17"/>
                    <a:pt x="1181" y="17"/>
                  </a:cubicBezTo>
                  <a:cubicBezTo>
                    <a:pt x="1181" y="18"/>
                    <a:pt x="1181" y="18"/>
                    <a:pt x="1181" y="19"/>
                  </a:cubicBezTo>
                  <a:cubicBezTo>
                    <a:pt x="1181" y="38"/>
                    <a:pt x="1181" y="57"/>
                    <a:pt x="1181" y="76"/>
                  </a:cubicBezTo>
                  <a:cubicBezTo>
                    <a:pt x="1181" y="76"/>
                    <a:pt x="1181" y="77"/>
                    <a:pt x="1181" y="78"/>
                  </a:cubicBezTo>
                  <a:cubicBezTo>
                    <a:pt x="1181" y="79"/>
                    <a:pt x="1181" y="79"/>
                    <a:pt x="1182" y="79"/>
                  </a:cubicBezTo>
                  <a:cubicBezTo>
                    <a:pt x="1184" y="79"/>
                    <a:pt x="1185" y="79"/>
                    <a:pt x="1187" y="79"/>
                  </a:cubicBezTo>
                  <a:cubicBezTo>
                    <a:pt x="1189" y="79"/>
                    <a:pt x="1189" y="79"/>
                    <a:pt x="1189" y="77"/>
                  </a:cubicBezTo>
                  <a:cubicBezTo>
                    <a:pt x="1189" y="65"/>
                    <a:pt x="1189" y="53"/>
                    <a:pt x="1189" y="41"/>
                  </a:cubicBezTo>
                  <a:cubicBezTo>
                    <a:pt x="1189" y="30"/>
                    <a:pt x="1189" y="18"/>
                    <a:pt x="1189" y="7"/>
                  </a:cubicBezTo>
                  <a:close/>
                  <a:moveTo>
                    <a:pt x="983" y="141"/>
                  </a:moveTo>
                  <a:cubicBezTo>
                    <a:pt x="983" y="139"/>
                    <a:pt x="983" y="137"/>
                    <a:pt x="983" y="135"/>
                  </a:cubicBezTo>
                  <a:cubicBezTo>
                    <a:pt x="983" y="134"/>
                    <a:pt x="983" y="133"/>
                    <a:pt x="983" y="133"/>
                  </a:cubicBezTo>
                  <a:cubicBezTo>
                    <a:pt x="983" y="132"/>
                    <a:pt x="983" y="132"/>
                    <a:pt x="982" y="132"/>
                  </a:cubicBezTo>
                  <a:cubicBezTo>
                    <a:pt x="981" y="132"/>
                    <a:pt x="979" y="132"/>
                    <a:pt x="978" y="132"/>
                  </a:cubicBezTo>
                  <a:cubicBezTo>
                    <a:pt x="975" y="132"/>
                    <a:pt x="975" y="131"/>
                    <a:pt x="975" y="134"/>
                  </a:cubicBezTo>
                  <a:cubicBezTo>
                    <a:pt x="975" y="150"/>
                    <a:pt x="975" y="166"/>
                    <a:pt x="975" y="182"/>
                  </a:cubicBezTo>
                  <a:cubicBezTo>
                    <a:pt x="975" y="182"/>
                    <a:pt x="975" y="183"/>
                    <a:pt x="975" y="183"/>
                  </a:cubicBezTo>
                  <a:cubicBezTo>
                    <a:pt x="975" y="184"/>
                    <a:pt x="975" y="184"/>
                    <a:pt x="976" y="184"/>
                  </a:cubicBezTo>
                  <a:cubicBezTo>
                    <a:pt x="978" y="184"/>
                    <a:pt x="980" y="184"/>
                    <a:pt x="983" y="184"/>
                  </a:cubicBezTo>
                  <a:cubicBezTo>
                    <a:pt x="983" y="184"/>
                    <a:pt x="983" y="184"/>
                    <a:pt x="983" y="183"/>
                  </a:cubicBezTo>
                  <a:cubicBezTo>
                    <a:pt x="983" y="183"/>
                    <a:pt x="983" y="182"/>
                    <a:pt x="983" y="181"/>
                  </a:cubicBezTo>
                  <a:cubicBezTo>
                    <a:pt x="983" y="174"/>
                    <a:pt x="983" y="166"/>
                    <a:pt x="983" y="159"/>
                  </a:cubicBezTo>
                  <a:cubicBezTo>
                    <a:pt x="983" y="156"/>
                    <a:pt x="984" y="154"/>
                    <a:pt x="984" y="151"/>
                  </a:cubicBezTo>
                  <a:cubicBezTo>
                    <a:pt x="985" y="148"/>
                    <a:pt x="986" y="145"/>
                    <a:pt x="988" y="142"/>
                  </a:cubicBezTo>
                  <a:cubicBezTo>
                    <a:pt x="990" y="140"/>
                    <a:pt x="992" y="139"/>
                    <a:pt x="994" y="139"/>
                  </a:cubicBezTo>
                  <a:cubicBezTo>
                    <a:pt x="997" y="138"/>
                    <a:pt x="999" y="139"/>
                    <a:pt x="1001" y="139"/>
                  </a:cubicBezTo>
                  <a:cubicBezTo>
                    <a:pt x="1002" y="140"/>
                    <a:pt x="1002" y="140"/>
                    <a:pt x="1002" y="140"/>
                  </a:cubicBezTo>
                  <a:cubicBezTo>
                    <a:pt x="1002" y="137"/>
                    <a:pt x="1002" y="135"/>
                    <a:pt x="1002" y="132"/>
                  </a:cubicBezTo>
                  <a:cubicBezTo>
                    <a:pt x="1002" y="132"/>
                    <a:pt x="1002" y="131"/>
                    <a:pt x="1002" y="131"/>
                  </a:cubicBezTo>
                  <a:cubicBezTo>
                    <a:pt x="996" y="130"/>
                    <a:pt x="992" y="131"/>
                    <a:pt x="988" y="135"/>
                  </a:cubicBezTo>
                  <a:cubicBezTo>
                    <a:pt x="987" y="136"/>
                    <a:pt x="986" y="138"/>
                    <a:pt x="985" y="139"/>
                  </a:cubicBezTo>
                  <a:cubicBezTo>
                    <a:pt x="985" y="140"/>
                    <a:pt x="984" y="141"/>
                    <a:pt x="984" y="141"/>
                  </a:cubicBezTo>
                  <a:cubicBezTo>
                    <a:pt x="984" y="141"/>
                    <a:pt x="984" y="141"/>
                    <a:pt x="983" y="141"/>
                  </a:cubicBezTo>
                  <a:close/>
                  <a:moveTo>
                    <a:pt x="163" y="29"/>
                  </a:moveTo>
                  <a:cubicBezTo>
                    <a:pt x="163" y="45"/>
                    <a:pt x="163" y="61"/>
                    <a:pt x="163" y="76"/>
                  </a:cubicBezTo>
                  <a:cubicBezTo>
                    <a:pt x="163" y="77"/>
                    <a:pt x="163" y="77"/>
                    <a:pt x="163" y="78"/>
                  </a:cubicBezTo>
                  <a:cubicBezTo>
                    <a:pt x="163" y="79"/>
                    <a:pt x="163" y="79"/>
                    <a:pt x="164" y="79"/>
                  </a:cubicBezTo>
                  <a:cubicBezTo>
                    <a:pt x="166" y="79"/>
                    <a:pt x="168" y="79"/>
                    <a:pt x="170" y="79"/>
                  </a:cubicBezTo>
                  <a:cubicBezTo>
                    <a:pt x="171" y="79"/>
                    <a:pt x="171" y="79"/>
                    <a:pt x="171" y="78"/>
                  </a:cubicBezTo>
                  <a:cubicBezTo>
                    <a:pt x="171" y="77"/>
                    <a:pt x="171" y="77"/>
                    <a:pt x="171" y="76"/>
                  </a:cubicBezTo>
                  <a:cubicBezTo>
                    <a:pt x="171" y="68"/>
                    <a:pt x="171" y="60"/>
                    <a:pt x="171" y="52"/>
                  </a:cubicBezTo>
                  <a:cubicBezTo>
                    <a:pt x="171" y="50"/>
                    <a:pt x="171" y="48"/>
                    <a:pt x="172" y="46"/>
                  </a:cubicBezTo>
                  <a:cubicBezTo>
                    <a:pt x="172" y="43"/>
                    <a:pt x="174" y="40"/>
                    <a:pt x="176" y="37"/>
                  </a:cubicBezTo>
                  <a:cubicBezTo>
                    <a:pt x="178" y="35"/>
                    <a:pt x="180" y="34"/>
                    <a:pt x="182" y="33"/>
                  </a:cubicBezTo>
                  <a:cubicBezTo>
                    <a:pt x="185" y="33"/>
                    <a:pt x="187" y="33"/>
                    <a:pt x="189" y="34"/>
                  </a:cubicBezTo>
                  <a:cubicBezTo>
                    <a:pt x="189" y="34"/>
                    <a:pt x="190" y="35"/>
                    <a:pt x="190" y="34"/>
                  </a:cubicBezTo>
                  <a:cubicBezTo>
                    <a:pt x="190" y="32"/>
                    <a:pt x="190" y="30"/>
                    <a:pt x="190" y="28"/>
                  </a:cubicBezTo>
                  <a:cubicBezTo>
                    <a:pt x="190" y="26"/>
                    <a:pt x="190" y="26"/>
                    <a:pt x="188" y="26"/>
                  </a:cubicBezTo>
                  <a:cubicBezTo>
                    <a:pt x="187" y="26"/>
                    <a:pt x="187" y="26"/>
                    <a:pt x="186" y="26"/>
                  </a:cubicBezTo>
                  <a:cubicBezTo>
                    <a:pt x="182" y="25"/>
                    <a:pt x="178" y="27"/>
                    <a:pt x="175" y="30"/>
                  </a:cubicBezTo>
                  <a:cubicBezTo>
                    <a:pt x="174" y="31"/>
                    <a:pt x="173" y="33"/>
                    <a:pt x="172" y="35"/>
                  </a:cubicBezTo>
                  <a:cubicBezTo>
                    <a:pt x="172" y="36"/>
                    <a:pt x="172" y="36"/>
                    <a:pt x="171" y="36"/>
                  </a:cubicBezTo>
                  <a:cubicBezTo>
                    <a:pt x="171" y="35"/>
                    <a:pt x="171" y="34"/>
                    <a:pt x="171" y="33"/>
                  </a:cubicBezTo>
                  <a:cubicBezTo>
                    <a:pt x="171" y="31"/>
                    <a:pt x="171" y="29"/>
                    <a:pt x="171" y="27"/>
                  </a:cubicBezTo>
                  <a:cubicBezTo>
                    <a:pt x="171" y="27"/>
                    <a:pt x="171" y="26"/>
                    <a:pt x="170" y="26"/>
                  </a:cubicBezTo>
                  <a:cubicBezTo>
                    <a:pt x="168" y="26"/>
                    <a:pt x="165" y="26"/>
                    <a:pt x="163" y="26"/>
                  </a:cubicBezTo>
                  <a:cubicBezTo>
                    <a:pt x="162" y="27"/>
                    <a:pt x="163" y="28"/>
                    <a:pt x="163" y="29"/>
                  </a:cubicBezTo>
                  <a:close/>
                  <a:moveTo>
                    <a:pt x="355" y="133"/>
                  </a:moveTo>
                  <a:cubicBezTo>
                    <a:pt x="355" y="132"/>
                    <a:pt x="354" y="132"/>
                    <a:pt x="354" y="132"/>
                  </a:cubicBezTo>
                  <a:cubicBezTo>
                    <a:pt x="352" y="132"/>
                    <a:pt x="350" y="132"/>
                    <a:pt x="348" y="132"/>
                  </a:cubicBezTo>
                  <a:cubicBezTo>
                    <a:pt x="346" y="132"/>
                    <a:pt x="346" y="132"/>
                    <a:pt x="346" y="133"/>
                  </a:cubicBezTo>
                  <a:cubicBezTo>
                    <a:pt x="346" y="133"/>
                    <a:pt x="346" y="134"/>
                    <a:pt x="346" y="134"/>
                  </a:cubicBezTo>
                  <a:cubicBezTo>
                    <a:pt x="346" y="150"/>
                    <a:pt x="346" y="166"/>
                    <a:pt x="346" y="182"/>
                  </a:cubicBezTo>
                  <a:cubicBezTo>
                    <a:pt x="346" y="183"/>
                    <a:pt x="346" y="183"/>
                    <a:pt x="346" y="184"/>
                  </a:cubicBezTo>
                  <a:cubicBezTo>
                    <a:pt x="346" y="184"/>
                    <a:pt x="347" y="184"/>
                    <a:pt x="347" y="184"/>
                  </a:cubicBezTo>
                  <a:cubicBezTo>
                    <a:pt x="349" y="184"/>
                    <a:pt x="352" y="184"/>
                    <a:pt x="354" y="184"/>
                  </a:cubicBezTo>
                  <a:cubicBezTo>
                    <a:pt x="354" y="184"/>
                    <a:pt x="355" y="184"/>
                    <a:pt x="355" y="183"/>
                  </a:cubicBezTo>
                  <a:cubicBezTo>
                    <a:pt x="355" y="183"/>
                    <a:pt x="355" y="182"/>
                    <a:pt x="355" y="181"/>
                  </a:cubicBezTo>
                  <a:cubicBezTo>
                    <a:pt x="355" y="174"/>
                    <a:pt x="355" y="166"/>
                    <a:pt x="355" y="158"/>
                  </a:cubicBezTo>
                  <a:cubicBezTo>
                    <a:pt x="355" y="156"/>
                    <a:pt x="355" y="154"/>
                    <a:pt x="355" y="152"/>
                  </a:cubicBezTo>
                  <a:cubicBezTo>
                    <a:pt x="356" y="149"/>
                    <a:pt x="357" y="145"/>
                    <a:pt x="359" y="143"/>
                  </a:cubicBezTo>
                  <a:cubicBezTo>
                    <a:pt x="361" y="140"/>
                    <a:pt x="364" y="138"/>
                    <a:pt x="368" y="139"/>
                  </a:cubicBezTo>
                  <a:cubicBezTo>
                    <a:pt x="369" y="139"/>
                    <a:pt x="371" y="139"/>
                    <a:pt x="372" y="139"/>
                  </a:cubicBezTo>
                  <a:cubicBezTo>
                    <a:pt x="373" y="140"/>
                    <a:pt x="373" y="140"/>
                    <a:pt x="374" y="140"/>
                  </a:cubicBezTo>
                  <a:cubicBezTo>
                    <a:pt x="374" y="137"/>
                    <a:pt x="374" y="135"/>
                    <a:pt x="374" y="132"/>
                  </a:cubicBezTo>
                  <a:cubicBezTo>
                    <a:pt x="374" y="132"/>
                    <a:pt x="373" y="131"/>
                    <a:pt x="373" y="131"/>
                  </a:cubicBezTo>
                  <a:cubicBezTo>
                    <a:pt x="367" y="130"/>
                    <a:pt x="362" y="131"/>
                    <a:pt x="358" y="136"/>
                  </a:cubicBezTo>
                  <a:cubicBezTo>
                    <a:pt x="357" y="137"/>
                    <a:pt x="356" y="139"/>
                    <a:pt x="356" y="140"/>
                  </a:cubicBezTo>
                  <a:cubicBezTo>
                    <a:pt x="356" y="141"/>
                    <a:pt x="355" y="141"/>
                    <a:pt x="355" y="141"/>
                  </a:cubicBezTo>
                  <a:cubicBezTo>
                    <a:pt x="355" y="138"/>
                    <a:pt x="355" y="136"/>
                    <a:pt x="355" y="133"/>
                  </a:cubicBezTo>
                  <a:close/>
                  <a:moveTo>
                    <a:pt x="1015" y="33"/>
                  </a:moveTo>
                  <a:cubicBezTo>
                    <a:pt x="1015" y="31"/>
                    <a:pt x="1015" y="29"/>
                    <a:pt x="1015" y="27"/>
                  </a:cubicBezTo>
                  <a:cubicBezTo>
                    <a:pt x="1015" y="27"/>
                    <a:pt x="1015" y="26"/>
                    <a:pt x="1014" y="26"/>
                  </a:cubicBezTo>
                  <a:cubicBezTo>
                    <a:pt x="1013" y="26"/>
                    <a:pt x="1011" y="26"/>
                    <a:pt x="1009" y="26"/>
                  </a:cubicBezTo>
                  <a:cubicBezTo>
                    <a:pt x="1007" y="26"/>
                    <a:pt x="1007" y="26"/>
                    <a:pt x="1007" y="29"/>
                  </a:cubicBezTo>
                  <a:cubicBezTo>
                    <a:pt x="1007" y="45"/>
                    <a:pt x="1007" y="61"/>
                    <a:pt x="1007" y="77"/>
                  </a:cubicBezTo>
                  <a:cubicBezTo>
                    <a:pt x="1007" y="77"/>
                    <a:pt x="1007" y="78"/>
                    <a:pt x="1007" y="78"/>
                  </a:cubicBezTo>
                  <a:cubicBezTo>
                    <a:pt x="1007" y="79"/>
                    <a:pt x="1007" y="79"/>
                    <a:pt x="1008" y="79"/>
                  </a:cubicBezTo>
                  <a:cubicBezTo>
                    <a:pt x="1010" y="79"/>
                    <a:pt x="1012" y="79"/>
                    <a:pt x="1014" y="79"/>
                  </a:cubicBezTo>
                  <a:cubicBezTo>
                    <a:pt x="1015" y="79"/>
                    <a:pt x="1015" y="79"/>
                    <a:pt x="1015" y="78"/>
                  </a:cubicBezTo>
                  <a:cubicBezTo>
                    <a:pt x="1015" y="77"/>
                    <a:pt x="1015" y="77"/>
                    <a:pt x="1015" y="76"/>
                  </a:cubicBezTo>
                  <a:cubicBezTo>
                    <a:pt x="1015" y="69"/>
                    <a:pt x="1015" y="61"/>
                    <a:pt x="1015" y="54"/>
                  </a:cubicBezTo>
                  <a:cubicBezTo>
                    <a:pt x="1015" y="51"/>
                    <a:pt x="1015" y="49"/>
                    <a:pt x="1016" y="47"/>
                  </a:cubicBezTo>
                  <a:cubicBezTo>
                    <a:pt x="1016" y="43"/>
                    <a:pt x="1017" y="40"/>
                    <a:pt x="1020" y="37"/>
                  </a:cubicBezTo>
                  <a:cubicBezTo>
                    <a:pt x="1021" y="35"/>
                    <a:pt x="1023" y="34"/>
                    <a:pt x="1026" y="33"/>
                  </a:cubicBezTo>
                  <a:cubicBezTo>
                    <a:pt x="1028" y="33"/>
                    <a:pt x="1031" y="33"/>
                    <a:pt x="1033" y="34"/>
                  </a:cubicBezTo>
                  <a:cubicBezTo>
                    <a:pt x="1033" y="34"/>
                    <a:pt x="1034" y="35"/>
                    <a:pt x="1034" y="34"/>
                  </a:cubicBezTo>
                  <a:cubicBezTo>
                    <a:pt x="1034" y="32"/>
                    <a:pt x="1034" y="30"/>
                    <a:pt x="1034" y="27"/>
                  </a:cubicBezTo>
                  <a:cubicBezTo>
                    <a:pt x="1034" y="26"/>
                    <a:pt x="1034" y="26"/>
                    <a:pt x="1033" y="26"/>
                  </a:cubicBezTo>
                  <a:cubicBezTo>
                    <a:pt x="1028" y="25"/>
                    <a:pt x="1023" y="26"/>
                    <a:pt x="1019" y="31"/>
                  </a:cubicBezTo>
                  <a:cubicBezTo>
                    <a:pt x="1018" y="32"/>
                    <a:pt x="1017" y="33"/>
                    <a:pt x="1016" y="35"/>
                  </a:cubicBezTo>
                  <a:cubicBezTo>
                    <a:pt x="1016" y="35"/>
                    <a:pt x="1016" y="36"/>
                    <a:pt x="1015" y="36"/>
                  </a:cubicBezTo>
                  <a:cubicBezTo>
                    <a:pt x="1015" y="35"/>
                    <a:pt x="1015" y="34"/>
                    <a:pt x="1015" y="33"/>
                  </a:cubicBezTo>
                  <a:close/>
                  <a:moveTo>
                    <a:pt x="462" y="178"/>
                  </a:moveTo>
                  <a:cubicBezTo>
                    <a:pt x="462" y="180"/>
                    <a:pt x="461" y="182"/>
                    <a:pt x="462" y="184"/>
                  </a:cubicBezTo>
                  <a:cubicBezTo>
                    <a:pt x="464" y="185"/>
                    <a:pt x="466" y="184"/>
                    <a:pt x="469" y="184"/>
                  </a:cubicBezTo>
                  <a:cubicBezTo>
                    <a:pt x="469" y="184"/>
                    <a:pt x="469" y="184"/>
                    <a:pt x="469" y="184"/>
                  </a:cubicBezTo>
                  <a:cubicBezTo>
                    <a:pt x="470" y="184"/>
                    <a:pt x="470" y="184"/>
                    <a:pt x="470" y="183"/>
                  </a:cubicBezTo>
                  <a:cubicBezTo>
                    <a:pt x="470" y="183"/>
                    <a:pt x="470" y="182"/>
                    <a:pt x="470" y="181"/>
                  </a:cubicBezTo>
                  <a:cubicBezTo>
                    <a:pt x="470" y="167"/>
                    <a:pt x="470" y="153"/>
                    <a:pt x="470" y="139"/>
                  </a:cubicBezTo>
                  <a:cubicBezTo>
                    <a:pt x="470" y="136"/>
                    <a:pt x="471" y="134"/>
                    <a:pt x="470" y="132"/>
                  </a:cubicBezTo>
                  <a:cubicBezTo>
                    <a:pt x="467" y="131"/>
                    <a:pt x="465" y="132"/>
                    <a:pt x="463" y="132"/>
                  </a:cubicBezTo>
                  <a:cubicBezTo>
                    <a:pt x="463" y="132"/>
                    <a:pt x="463" y="132"/>
                    <a:pt x="463" y="132"/>
                  </a:cubicBezTo>
                  <a:cubicBezTo>
                    <a:pt x="462" y="132"/>
                    <a:pt x="462" y="132"/>
                    <a:pt x="462" y="133"/>
                  </a:cubicBezTo>
                  <a:cubicBezTo>
                    <a:pt x="462" y="133"/>
                    <a:pt x="462" y="134"/>
                    <a:pt x="462" y="135"/>
                  </a:cubicBezTo>
                  <a:cubicBezTo>
                    <a:pt x="462" y="143"/>
                    <a:pt x="462" y="150"/>
                    <a:pt x="462" y="158"/>
                  </a:cubicBezTo>
                  <a:cubicBezTo>
                    <a:pt x="462" y="165"/>
                    <a:pt x="462" y="171"/>
                    <a:pt x="462" y="178"/>
                  </a:cubicBezTo>
                  <a:close/>
                  <a:moveTo>
                    <a:pt x="210" y="135"/>
                  </a:moveTo>
                  <a:cubicBezTo>
                    <a:pt x="210" y="149"/>
                    <a:pt x="210" y="164"/>
                    <a:pt x="210" y="178"/>
                  </a:cubicBezTo>
                  <a:cubicBezTo>
                    <a:pt x="210" y="180"/>
                    <a:pt x="210" y="181"/>
                    <a:pt x="210" y="183"/>
                  </a:cubicBezTo>
                  <a:cubicBezTo>
                    <a:pt x="210" y="184"/>
                    <a:pt x="210" y="184"/>
                    <a:pt x="211" y="184"/>
                  </a:cubicBezTo>
                  <a:cubicBezTo>
                    <a:pt x="213" y="184"/>
                    <a:pt x="214" y="184"/>
                    <a:pt x="216" y="184"/>
                  </a:cubicBezTo>
                  <a:cubicBezTo>
                    <a:pt x="218" y="184"/>
                    <a:pt x="218" y="184"/>
                    <a:pt x="218" y="182"/>
                  </a:cubicBezTo>
                  <a:cubicBezTo>
                    <a:pt x="218" y="166"/>
                    <a:pt x="218" y="150"/>
                    <a:pt x="218" y="134"/>
                  </a:cubicBezTo>
                  <a:cubicBezTo>
                    <a:pt x="218" y="133"/>
                    <a:pt x="218" y="133"/>
                    <a:pt x="218" y="133"/>
                  </a:cubicBezTo>
                  <a:cubicBezTo>
                    <a:pt x="218" y="132"/>
                    <a:pt x="218" y="132"/>
                    <a:pt x="217" y="132"/>
                  </a:cubicBezTo>
                  <a:cubicBezTo>
                    <a:pt x="215" y="132"/>
                    <a:pt x="212" y="132"/>
                    <a:pt x="210" y="132"/>
                  </a:cubicBezTo>
                  <a:cubicBezTo>
                    <a:pt x="209" y="133"/>
                    <a:pt x="210" y="134"/>
                    <a:pt x="210" y="135"/>
                  </a:cubicBezTo>
                  <a:close/>
                  <a:moveTo>
                    <a:pt x="96" y="76"/>
                  </a:moveTo>
                  <a:cubicBezTo>
                    <a:pt x="96" y="77"/>
                    <a:pt x="96" y="78"/>
                    <a:pt x="96" y="78"/>
                  </a:cubicBezTo>
                  <a:cubicBezTo>
                    <a:pt x="96" y="79"/>
                    <a:pt x="96" y="79"/>
                    <a:pt x="96" y="79"/>
                  </a:cubicBezTo>
                  <a:cubicBezTo>
                    <a:pt x="99" y="79"/>
                    <a:pt x="101" y="79"/>
                    <a:pt x="103" y="79"/>
                  </a:cubicBezTo>
                  <a:cubicBezTo>
                    <a:pt x="104" y="79"/>
                    <a:pt x="104" y="79"/>
                    <a:pt x="104" y="78"/>
                  </a:cubicBezTo>
                  <a:cubicBezTo>
                    <a:pt x="104" y="77"/>
                    <a:pt x="104" y="77"/>
                    <a:pt x="104" y="76"/>
                  </a:cubicBezTo>
                  <a:cubicBezTo>
                    <a:pt x="104" y="62"/>
                    <a:pt x="104" y="47"/>
                    <a:pt x="104" y="33"/>
                  </a:cubicBezTo>
                  <a:cubicBezTo>
                    <a:pt x="104" y="31"/>
                    <a:pt x="104" y="29"/>
                    <a:pt x="104" y="27"/>
                  </a:cubicBezTo>
                  <a:cubicBezTo>
                    <a:pt x="102" y="26"/>
                    <a:pt x="99" y="27"/>
                    <a:pt x="97" y="26"/>
                  </a:cubicBezTo>
                  <a:cubicBezTo>
                    <a:pt x="97" y="26"/>
                    <a:pt x="97" y="26"/>
                    <a:pt x="96" y="26"/>
                  </a:cubicBezTo>
                  <a:cubicBezTo>
                    <a:pt x="96" y="26"/>
                    <a:pt x="96" y="27"/>
                    <a:pt x="96" y="27"/>
                  </a:cubicBezTo>
                  <a:cubicBezTo>
                    <a:pt x="96" y="28"/>
                    <a:pt x="96" y="29"/>
                    <a:pt x="96" y="29"/>
                  </a:cubicBezTo>
                  <a:cubicBezTo>
                    <a:pt x="96" y="37"/>
                    <a:pt x="96" y="45"/>
                    <a:pt x="96" y="52"/>
                  </a:cubicBezTo>
                  <a:cubicBezTo>
                    <a:pt x="96" y="60"/>
                    <a:pt x="96" y="68"/>
                    <a:pt x="96" y="76"/>
                  </a:cubicBezTo>
                  <a:close/>
                  <a:moveTo>
                    <a:pt x="94" y="8"/>
                  </a:moveTo>
                  <a:cubicBezTo>
                    <a:pt x="94" y="11"/>
                    <a:pt x="97" y="13"/>
                    <a:pt x="100" y="13"/>
                  </a:cubicBezTo>
                  <a:cubicBezTo>
                    <a:pt x="103" y="13"/>
                    <a:pt x="105" y="11"/>
                    <a:pt x="106" y="8"/>
                  </a:cubicBezTo>
                  <a:cubicBezTo>
                    <a:pt x="106" y="5"/>
                    <a:pt x="103" y="2"/>
                    <a:pt x="100" y="2"/>
                  </a:cubicBezTo>
                  <a:cubicBezTo>
                    <a:pt x="97" y="2"/>
                    <a:pt x="94" y="5"/>
                    <a:pt x="94" y="8"/>
                  </a:cubicBezTo>
                  <a:close/>
                  <a:moveTo>
                    <a:pt x="208" y="113"/>
                  </a:moveTo>
                  <a:cubicBezTo>
                    <a:pt x="208" y="116"/>
                    <a:pt x="211" y="118"/>
                    <a:pt x="214" y="118"/>
                  </a:cubicBezTo>
                  <a:cubicBezTo>
                    <a:pt x="217" y="119"/>
                    <a:pt x="220" y="116"/>
                    <a:pt x="220" y="113"/>
                  </a:cubicBezTo>
                  <a:cubicBezTo>
                    <a:pt x="220" y="110"/>
                    <a:pt x="217" y="107"/>
                    <a:pt x="214" y="107"/>
                  </a:cubicBezTo>
                  <a:cubicBezTo>
                    <a:pt x="211" y="107"/>
                    <a:pt x="208" y="110"/>
                    <a:pt x="208" y="113"/>
                  </a:cubicBezTo>
                  <a:close/>
                  <a:moveTo>
                    <a:pt x="466" y="107"/>
                  </a:moveTo>
                  <a:cubicBezTo>
                    <a:pt x="463" y="107"/>
                    <a:pt x="460" y="110"/>
                    <a:pt x="460" y="113"/>
                  </a:cubicBezTo>
                  <a:cubicBezTo>
                    <a:pt x="460" y="116"/>
                    <a:pt x="463" y="118"/>
                    <a:pt x="466" y="118"/>
                  </a:cubicBezTo>
                  <a:cubicBezTo>
                    <a:pt x="469" y="118"/>
                    <a:pt x="472" y="116"/>
                    <a:pt x="472" y="113"/>
                  </a:cubicBezTo>
                  <a:cubicBezTo>
                    <a:pt x="472" y="110"/>
                    <a:pt x="469" y="107"/>
                    <a:pt x="466" y="107"/>
                  </a:cubicBezTo>
                  <a:close/>
                  <a:moveTo>
                    <a:pt x="268" y="157"/>
                  </a:moveTo>
                  <a:cubicBezTo>
                    <a:pt x="268" y="156"/>
                    <a:pt x="268" y="154"/>
                    <a:pt x="268" y="152"/>
                  </a:cubicBezTo>
                  <a:cubicBezTo>
                    <a:pt x="268" y="151"/>
                    <a:pt x="268" y="150"/>
                    <a:pt x="267" y="149"/>
                  </a:cubicBezTo>
                  <a:cubicBezTo>
                    <a:pt x="266" y="143"/>
                    <a:pt x="261" y="139"/>
                    <a:pt x="255" y="138"/>
                  </a:cubicBezTo>
                  <a:cubicBezTo>
                    <a:pt x="249" y="137"/>
                    <a:pt x="244" y="139"/>
                    <a:pt x="240" y="144"/>
                  </a:cubicBezTo>
                  <a:cubicBezTo>
                    <a:pt x="239" y="146"/>
                    <a:pt x="238" y="148"/>
                    <a:pt x="238" y="149"/>
                  </a:cubicBezTo>
                  <a:cubicBezTo>
                    <a:pt x="236" y="154"/>
                    <a:pt x="236" y="159"/>
                    <a:pt x="237" y="164"/>
                  </a:cubicBezTo>
                  <a:cubicBezTo>
                    <a:pt x="237" y="167"/>
                    <a:pt x="238" y="169"/>
                    <a:pt x="239" y="171"/>
                  </a:cubicBezTo>
                  <a:cubicBezTo>
                    <a:pt x="245" y="181"/>
                    <a:pt x="257" y="180"/>
                    <a:pt x="262" y="175"/>
                  </a:cubicBezTo>
                  <a:cubicBezTo>
                    <a:pt x="266" y="171"/>
                    <a:pt x="267" y="167"/>
                    <a:pt x="268" y="163"/>
                  </a:cubicBezTo>
                  <a:cubicBezTo>
                    <a:pt x="268" y="161"/>
                    <a:pt x="268" y="159"/>
                    <a:pt x="268" y="157"/>
                  </a:cubicBezTo>
                  <a:cubicBezTo>
                    <a:pt x="268" y="157"/>
                    <a:pt x="268" y="157"/>
                    <a:pt x="268" y="157"/>
                  </a:cubicBezTo>
                  <a:close/>
                  <a:moveTo>
                    <a:pt x="902" y="150"/>
                  </a:moveTo>
                  <a:cubicBezTo>
                    <a:pt x="900" y="144"/>
                    <a:pt x="897" y="140"/>
                    <a:pt x="891" y="138"/>
                  </a:cubicBezTo>
                  <a:cubicBezTo>
                    <a:pt x="884" y="136"/>
                    <a:pt x="877" y="139"/>
                    <a:pt x="873" y="146"/>
                  </a:cubicBezTo>
                  <a:cubicBezTo>
                    <a:pt x="873" y="147"/>
                    <a:pt x="872" y="149"/>
                    <a:pt x="872" y="150"/>
                  </a:cubicBezTo>
                  <a:cubicBezTo>
                    <a:pt x="871" y="154"/>
                    <a:pt x="870" y="158"/>
                    <a:pt x="871" y="162"/>
                  </a:cubicBezTo>
                  <a:cubicBezTo>
                    <a:pt x="871" y="166"/>
                    <a:pt x="872" y="169"/>
                    <a:pt x="874" y="172"/>
                  </a:cubicBezTo>
                  <a:cubicBezTo>
                    <a:pt x="876" y="175"/>
                    <a:pt x="878" y="177"/>
                    <a:pt x="881" y="178"/>
                  </a:cubicBezTo>
                  <a:cubicBezTo>
                    <a:pt x="887" y="180"/>
                    <a:pt x="894" y="178"/>
                    <a:pt x="898" y="173"/>
                  </a:cubicBezTo>
                  <a:cubicBezTo>
                    <a:pt x="900" y="170"/>
                    <a:pt x="901" y="168"/>
                    <a:pt x="902" y="165"/>
                  </a:cubicBezTo>
                  <a:cubicBezTo>
                    <a:pt x="902" y="162"/>
                    <a:pt x="902" y="160"/>
                    <a:pt x="902" y="157"/>
                  </a:cubicBezTo>
                  <a:cubicBezTo>
                    <a:pt x="902" y="155"/>
                    <a:pt x="902" y="152"/>
                    <a:pt x="902" y="150"/>
                  </a:cubicBezTo>
                  <a:close/>
                  <a:moveTo>
                    <a:pt x="1298" y="13"/>
                  </a:moveTo>
                  <a:cubicBezTo>
                    <a:pt x="1296" y="13"/>
                    <a:pt x="1294" y="13"/>
                    <a:pt x="1292" y="13"/>
                  </a:cubicBezTo>
                  <a:cubicBezTo>
                    <a:pt x="1290" y="13"/>
                    <a:pt x="1290" y="13"/>
                    <a:pt x="1290" y="15"/>
                  </a:cubicBezTo>
                  <a:cubicBezTo>
                    <a:pt x="1290" y="17"/>
                    <a:pt x="1290" y="19"/>
                    <a:pt x="1290" y="22"/>
                  </a:cubicBezTo>
                  <a:cubicBezTo>
                    <a:pt x="1290" y="27"/>
                    <a:pt x="1290" y="33"/>
                    <a:pt x="1290" y="39"/>
                  </a:cubicBezTo>
                  <a:cubicBezTo>
                    <a:pt x="1290" y="40"/>
                    <a:pt x="1290" y="40"/>
                    <a:pt x="1291" y="40"/>
                  </a:cubicBezTo>
                  <a:cubicBezTo>
                    <a:pt x="1295" y="40"/>
                    <a:pt x="1299" y="40"/>
                    <a:pt x="1303" y="40"/>
                  </a:cubicBezTo>
                  <a:cubicBezTo>
                    <a:pt x="1304" y="40"/>
                    <a:pt x="1305" y="40"/>
                    <a:pt x="1306" y="39"/>
                  </a:cubicBezTo>
                  <a:cubicBezTo>
                    <a:pt x="1312" y="38"/>
                    <a:pt x="1318" y="33"/>
                    <a:pt x="1317" y="24"/>
                  </a:cubicBezTo>
                  <a:cubicBezTo>
                    <a:pt x="1316" y="19"/>
                    <a:pt x="1314" y="16"/>
                    <a:pt x="1309" y="14"/>
                  </a:cubicBezTo>
                  <a:cubicBezTo>
                    <a:pt x="1307" y="14"/>
                    <a:pt x="1305" y="13"/>
                    <a:pt x="1304" y="13"/>
                  </a:cubicBezTo>
                  <a:cubicBezTo>
                    <a:pt x="1302" y="13"/>
                    <a:pt x="1300" y="13"/>
                    <a:pt x="1298" y="13"/>
                  </a:cubicBezTo>
                  <a:cubicBezTo>
                    <a:pt x="1298" y="13"/>
                    <a:pt x="1298" y="13"/>
                    <a:pt x="1298" y="13"/>
                  </a:cubicBezTo>
                  <a:close/>
                  <a:moveTo>
                    <a:pt x="1150" y="38"/>
                  </a:moveTo>
                  <a:cubicBezTo>
                    <a:pt x="1150" y="33"/>
                    <a:pt x="1149" y="28"/>
                    <a:pt x="1148" y="23"/>
                  </a:cubicBezTo>
                  <a:cubicBezTo>
                    <a:pt x="1147" y="21"/>
                    <a:pt x="1146" y="19"/>
                    <a:pt x="1145" y="17"/>
                  </a:cubicBezTo>
                  <a:cubicBezTo>
                    <a:pt x="1140" y="9"/>
                    <a:pt x="1130" y="10"/>
                    <a:pt x="1125" y="16"/>
                  </a:cubicBezTo>
                  <a:cubicBezTo>
                    <a:pt x="1124" y="17"/>
                    <a:pt x="1123" y="19"/>
                    <a:pt x="1123" y="21"/>
                  </a:cubicBezTo>
                  <a:cubicBezTo>
                    <a:pt x="1121" y="24"/>
                    <a:pt x="1120" y="28"/>
                    <a:pt x="1120" y="31"/>
                  </a:cubicBezTo>
                  <a:cubicBezTo>
                    <a:pt x="1119" y="37"/>
                    <a:pt x="1119" y="43"/>
                    <a:pt x="1119" y="49"/>
                  </a:cubicBezTo>
                  <a:cubicBezTo>
                    <a:pt x="1120" y="54"/>
                    <a:pt x="1120" y="58"/>
                    <a:pt x="1122" y="62"/>
                  </a:cubicBezTo>
                  <a:cubicBezTo>
                    <a:pt x="1122" y="64"/>
                    <a:pt x="1123" y="66"/>
                    <a:pt x="1125" y="68"/>
                  </a:cubicBezTo>
                  <a:cubicBezTo>
                    <a:pt x="1126" y="70"/>
                    <a:pt x="1129" y="72"/>
                    <a:pt x="1131" y="73"/>
                  </a:cubicBezTo>
                  <a:cubicBezTo>
                    <a:pt x="1137" y="74"/>
                    <a:pt x="1142" y="72"/>
                    <a:pt x="1145" y="67"/>
                  </a:cubicBezTo>
                  <a:cubicBezTo>
                    <a:pt x="1147" y="64"/>
                    <a:pt x="1148" y="62"/>
                    <a:pt x="1148" y="59"/>
                  </a:cubicBezTo>
                  <a:cubicBezTo>
                    <a:pt x="1150" y="54"/>
                    <a:pt x="1150" y="48"/>
                    <a:pt x="1150" y="42"/>
                  </a:cubicBezTo>
                  <a:cubicBezTo>
                    <a:pt x="1150" y="41"/>
                    <a:pt x="1150" y="40"/>
                    <a:pt x="1150" y="38"/>
                  </a:cubicBezTo>
                  <a:close/>
                  <a:moveTo>
                    <a:pt x="627" y="40"/>
                  </a:moveTo>
                  <a:cubicBezTo>
                    <a:pt x="625" y="36"/>
                    <a:pt x="623" y="34"/>
                    <a:pt x="620" y="33"/>
                  </a:cubicBezTo>
                  <a:cubicBezTo>
                    <a:pt x="614" y="31"/>
                    <a:pt x="609" y="33"/>
                    <a:pt x="605" y="37"/>
                  </a:cubicBezTo>
                  <a:cubicBezTo>
                    <a:pt x="603" y="39"/>
                    <a:pt x="601" y="43"/>
                    <a:pt x="600" y="46"/>
                  </a:cubicBezTo>
                  <a:cubicBezTo>
                    <a:pt x="600" y="46"/>
                    <a:pt x="600" y="47"/>
                    <a:pt x="600" y="47"/>
                  </a:cubicBezTo>
                  <a:cubicBezTo>
                    <a:pt x="603" y="48"/>
                    <a:pt x="626" y="48"/>
                    <a:pt x="628" y="47"/>
                  </a:cubicBezTo>
                  <a:cubicBezTo>
                    <a:pt x="628" y="45"/>
                    <a:pt x="628" y="42"/>
                    <a:pt x="627" y="40"/>
                  </a:cubicBezTo>
                  <a:close/>
                  <a:moveTo>
                    <a:pt x="848" y="39"/>
                  </a:moveTo>
                  <a:cubicBezTo>
                    <a:pt x="846" y="36"/>
                    <a:pt x="844" y="34"/>
                    <a:pt x="842" y="33"/>
                  </a:cubicBezTo>
                  <a:cubicBezTo>
                    <a:pt x="836" y="31"/>
                    <a:pt x="832" y="32"/>
                    <a:pt x="827" y="36"/>
                  </a:cubicBezTo>
                  <a:cubicBezTo>
                    <a:pt x="825" y="38"/>
                    <a:pt x="823" y="41"/>
                    <a:pt x="822" y="44"/>
                  </a:cubicBezTo>
                  <a:cubicBezTo>
                    <a:pt x="822" y="45"/>
                    <a:pt x="821" y="46"/>
                    <a:pt x="821" y="47"/>
                  </a:cubicBezTo>
                  <a:cubicBezTo>
                    <a:pt x="824" y="48"/>
                    <a:pt x="847" y="48"/>
                    <a:pt x="850" y="47"/>
                  </a:cubicBezTo>
                  <a:cubicBezTo>
                    <a:pt x="850" y="44"/>
                    <a:pt x="849" y="41"/>
                    <a:pt x="848" y="39"/>
                  </a:cubicBezTo>
                  <a:close/>
                  <a:moveTo>
                    <a:pt x="956" y="144"/>
                  </a:moveTo>
                  <a:cubicBezTo>
                    <a:pt x="954" y="142"/>
                    <a:pt x="952" y="140"/>
                    <a:pt x="950" y="139"/>
                  </a:cubicBezTo>
                  <a:cubicBezTo>
                    <a:pt x="945" y="137"/>
                    <a:pt x="941" y="137"/>
                    <a:pt x="936" y="140"/>
                  </a:cubicBezTo>
                  <a:cubicBezTo>
                    <a:pt x="932" y="143"/>
                    <a:pt x="930" y="148"/>
                    <a:pt x="929" y="153"/>
                  </a:cubicBezTo>
                  <a:cubicBezTo>
                    <a:pt x="938" y="153"/>
                    <a:pt x="948" y="153"/>
                    <a:pt x="957" y="153"/>
                  </a:cubicBezTo>
                  <a:cubicBezTo>
                    <a:pt x="957" y="150"/>
                    <a:pt x="957" y="147"/>
                    <a:pt x="956" y="144"/>
                  </a:cubicBezTo>
                  <a:close/>
                  <a:moveTo>
                    <a:pt x="986" y="37"/>
                  </a:moveTo>
                  <a:cubicBezTo>
                    <a:pt x="985" y="35"/>
                    <a:pt x="983" y="34"/>
                    <a:pt x="980" y="33"/>
                  </a:cubicBezTo>
                  <a:cubicBezTo>
                    <a:pt x="975" y="31"/>
                    <a:pt x="969" y="33"/>
                    <a:pt x="965" y="37"/>
                  </a:cubicBezTo>
                  <a:cubicBezTo>
                    <a:pt x="963" y="40"/>
                    <a:pt x="962" y="43"/>
                    <a:pt x="961" y="46"/>
                  </a:cubicBezTo>
                  <a:cubicBezTo>
                    <a:pt x="961" y="46"/>
                    <a:pt x="961" y="47"/>
                    <a:pt x="961" y="47"/>
                  </a:cubicBezTo>
                  <a:cubicBezTo>
                    <a:pt x="965" y="48"/>
                    <a:pt x="987" y="48"/>
                    <a:pt x="989" y="47"/>
                  </a:cubicBezTo>
                  <a:cubicBezTo>
                    <a:pt x="989" y="44"/>
                    <a:pt x="988" y="40"/>
                    <a:pt x="986" y="37"/>
                  </a:cubicBezTo>
                  <a:close/>
                  <a:moveTo>
                    <a:pt x="844" y="158"/>
                  </a:moveTo>
                  <a:cubicBezTo>
                    <a:pt x="840" y="158"/>
                    <a:pt x="835" y="159"/>
                    <a:pt x="831" y="160"/>
                  </a:cubicBezTo>
                  <a:cubicBezTo>
                    <a:pt x="830" y="160"/>
                    <a:pt x="828" y="160"/>
                    <a:pt x="826" y="161"/>
                  </a:cubicBezTo>
                  <a:cubicBezTo>
                    <a:pt x="823" y="162"/>
                    <a:pt x="821" y="164"/>
                    <a:pt x="820" y="168"/>
                  </a:cubicBezTo>
                  <a:cubicBezTo>
                    <a:pt x="820" y="173"/>
                    <a:pt x="823" y="177"/>
                    <a:pt x="827" y="178"/>
                  </a:cubicBezTo>
                  <a:cubicBezTo>
                    <a:pt x="835" y="180"/>
                    <a:pt x="842" y="176"/>
                    <a:pt x="844" y="168"/>
                  </a:cubicBezTo>
                  <a:cubicBezTo>
                    <a:pt x="845" y="166"/>
                    <a:pt x="845" y="161"/>
                    <a:pt x="845" y="158"/>
                  </a:cubicBezTo>
                  <a:cubicBezTo>
                    <a:pt x="844" y="158"/>
                    <a:pt x="844" y="158"/>
                    <a:pt x="844" y="158"/>
                  </a:cubicBezTo>
                  <a:close/>
                  <a:moveTo>
                    <a:pt x="200" y="61"/>
                  </a:moveTo>
                  <a:cubicBezTo>
                    <a:pt x="202" y="67"/>
                    <a:pt x="206" y="71"/>
                    <a:pt x="212" y="73"/>
                  </a:cubicBezTo>
                  <a:cubicBezTo>
                    <a:pt x="215" y="73"/>
                    <a:pt x="219" y="73"/>
                    <a:pt x="222" y="73"/>
                  </a:cubicBezTo>
                  <a:cubicBezTo>
                    <a:pt x="226" y="71"/>
                    <a:pt x="229" y="69"/>
                    <a:pt x="231" y="66"/>
                  </a:cubicBezTo>
                  <a:cubicBezTo>
                    <a:pt x="232" y="64"/>
                    <a:pt x="232" y="62"/>
                    <a:pt x="233" y="61"/>
                  </a:cubicBezTo>
                  <a:cubicBezTo>
                    <a:pt x="234" y="56"/>
                    <a:pt x="234" y="51"/>
                    <a:pt x="233" y="46"/>
                  </a:cubicBezTo>
                  <a:cubicBezTo>
                    <a:pt x="233" y="44"/>
                    <a:pt x="232" y="42"/>
                    <a:pt x="231" y="40"/>
                  </a:cubicBezTo>
                  <a:cubicBezTo>
                    <a:pt x="229" y="37"/>
                    <a:pt x="226" y="34"/>
                    <a:pt x="223" y="33"/>
                  </a:cubicBezTo>
                  <a:cubicBezTo>
                    <a:pt x="219" y="32"/>
                    <a:pt x="215" y="32"/>
                    <a:pt x="211" y="33"/>
                  </a:cubicBezTo>
                  <a:cubicBezTo>
                    <a:pt x="206" y="35"/>
                    <a:pt x="202" y="39"/>
                    <a:pt x="201" y="44"/>
                  </a:cubicBezTo>
                  <a:cubicBezTo>
                    <a:pt x="200" y="47"/>
                    <a:pt x="199" y="50"/>
                    <a:pt x="199" y="53"/>
                  </a:cubicBezTo>
                  <a:cubicBezTo>
                    <a:pt x="199" y="55"/>
                    <a:pt x="199" y="58"/>
                    <a:pt x="200" y="61"/>
                  </a:cubicBezTo>
                  <a:close/>
                  <a:moveTo>
                    <a:pt x="408" y="159"/>
                  </a:moveTo>
                  <a:cubicBezTo>
                    <a:pt x="408" y="158"/>
                    <a:pt x="408" y="158"/>
                    <a:pt x="408" y="158"/>
                  </a:cubicBezTo>
                  <a:cubicBezTo>
                    <a:pt x="407" y="158"/>
                    <a:pt x="407" y="158"/>
                    <a:pt x="407" y="158"/>
                  </a:cubicBezTo>
                  <a:cubicBezTo>
                    <a:pt x="403" y="159"/>
                    <a:pt x="399" y="159"/>
                    <a:pt x="395" y="160"/>
                  </a:cubicBezTo>
                  <a:cubicBezTo>
                    <a:pt x="393" y="160"/>
                    <a:pt x="391" y="160"/>
                    <a:pt x="389" y="161"/>
                  </a:cubicBezTo>
                  <a:cubicBezTo>
                    <a:pt x="387" y="162"/>
                    <a:pt x="386" y="163"/>
                    <a:pt x="385" y="164"/>
                  </a:cubicBezTo>
                  <a:cubicBezTo>
                    <a:pt x="384" y="167"/>
                    <a:pt x="383" y="171"/>
                    <a:pt x="385" y="174"/>
                  </a:cubicBezTo>
                  <a:cubicBezTo>
                    <a:pt x="386" y="176"/>
                    <a:pt x="388" y="178"/>
                    <a:pt x="391" y="178"/>
                  </a:cubicBezTo>
                  <a:cubicBezTo>
                    <a:pt x="398" y="180"/>
                    <a:pt x="405" y="176"/>
                    <a:pt x="407" y="169"/>
                  </a:cubicBezTo>
                  <a:cubicBezTo>
                    <a:pt x="408" y="166"/>
                    <a:pt x="408" y="164"/>
                    <a:pt x="408" y="161"/>
                  </a:cubicBezTo>
                  <a:cubicBezTo>
                    <a:pt x="408" y="160"/>
                    <a:pt x="408" y="160"/>
                    <a:pt x="408" y="159"/>
                  </a:cubicBezTo>
                  <a:close/>
                  <a:moveTo>
                    <a:pt x="71" y="163"/>
                  </a:moveTo>
                  <a:cubicBezTo>
                    <a:pt x="71" y="164"/>
                    <a:pt x="72" y="165"/>
                    <a:pt x="72" y="166"/>
                  </a:cubicBezTo>
                  <a:cubicBezTo>
                    <a:pt x="74" y="172"/>
                    <a:pt x="77" y="176"/>
                    <a:pt x="83" y="178"/>
                  </a:cubicBezTo>
                  <a:cubicBezTo>
                    <a:pt x="87" y="179"/>
                    <a:pt x="90" y="179"/>
                    <a:pt x="94" y="178"/>
                  </a:cubicBezTo>
                  <a:cubicBezTo>
                    <a:pt x="97" y="177"/>
                    <a:pt x="100" y="175"/>
                    <a:pt x="102" y="171"/>
                  </a:cubicBezTo>
                  <a:cubicBezTo>
                    <a:pt x="103" y="170"/>
                    <a:pt x="104" y="168"/>
                    <a:pt x="104" y="166"/>
                  </a:cubicBezTo>
                  <a:cubicBezTo>
                    <a:pt x="106" y="161"/>
                    <a:pt x="106" y="157"/>
                    <a:pt x="105" y="152"/>
                  </a:cubicBezTo>
                  <a:cubicBezTo>
                    <a:pt x="105" y="150"/>
                    <a:pt x="104" y="148"/>
                    <a:pt x="103" y="146"/>
                  </a:cubicBezTo>
                  <a:cubicBezTo>
                    <a:pt x="101" y="142"/>
                    <a:pt x="97" y="139"/>
                    <a:pt x="93" y="138"/>
                  </a:cubicBezTo>
                  <a:cubicBezTo>
                    <a:pt x="91" y="138"/>
                    <a:pt x="90" y="138"/>
                    <a:pt x="88" y="138"/>
                  </a:cubicBezTo>
                  <a:cubicBezTo>
                    <a:pt x="80" y="138"/>
                    <a:pt x="75" y="142"/>
                    <a:pt x="72" y="149"/>
                  </a:cubicBezTo>
                  <a:cubicBezTo>
                    <a:pt x="71" y="152"/>
                    <a:pt x="71" y="155"/>
                    <a:pt x="71" y="159"/>
                  </a:cubicBezTo>
                  <a:cubicBezTo>
                    <a:pt x="71" y="160"/>
                    <a:pt x="71" y="162"/>
                    <a:pt x="71" y="163"/>
                  </a:cubicBezTo>
                  <a:close/>
                  <a:moveTo>
                    <a:pt x="329" y="49"/>
                  </a:moveTo>
                  <a:cubicBezTo>
                    <a:pt x="329" y="47"/>
                    <a:pt x="328" y="44"/>
                    <a:pt x="327" y="41"/>
                  </a:cubicBezTo>
                  <a:cubicBezTo>
                    <a:pt x="325" y="37"/>
                    <a:pt x="322" y="34"/>
                    <a:pt x="318" y="33"/>
                  </a:cubicBezTo>
                  <a:cubicBezTo>
                    <a:pt x="314" y="32"/>
                    <a:pt x="310" y="32"/>
                    <a:pt x="306" y="33"/>
                  </a:cubicBezTo>
                  <a:cubicBezTo>
                    <a:pt x="301" y="35"/>
                    <a:pt x="297" y="39"/>
                    <a:pt x="296" y="44"/>
                  </a:cubicBezTo>
                  <a:cubicBezTo>
                    <a:pt x="294" y="48"/>
                    <a:pt x="294" y="53"/>
                    <a:pt x="295" y="57"/>
                  </a:cubicBezTo>
                  <a:cubicBezTo>
                    <a:pt x="295" y="59"/>
                    <a:pt x="295" y="61"/>
                    <a:pt x="296" y="63"/>
                  </a:cubicBezTo>
                  <a:cubicBezTo>
                    <a:pt x="298" y="67"/>
                    <a:pt x="301" y="71"/>
                    <a:pt x="306" y="72"/>
                  </a:cubicBezTo>
                  <a:cubicBezTo>
                    <a:pt x="310" y="74"/>
                    <a:pt x="314" y="74"/>
                    <a:pt x="318" y="72"/>
                  </a:cubicBezTo>
                  <a:cubicBezTo>
                    <a:pt x="321" y="71"/>
                    <a:pt x="324" y="69"/>
                    <a:pt x="325" y="67"/>
                  </a:cubicBezTo>
                  <a:cubicBezTo>
                    <a:pt x="327" y="65"/>
                    <a:pt x="327" y="63"/>
                    <a:pt x="328" y="62"/>
                  </a:cubicBezTo>
                  <a:cubicBezTo>
                    <a:pt x="329" y="59"/>
                    <a:pt x="329" y="56"/>
                    <a:pt x="329" y="53"/>
                  </a:cubicBezTo>
                  <a:cubicBezTo>
                    <a:pt x="329" y="52"/>
                    <a:pt x="329" y="51"/>
                    <a:pt x="329" y="49"/>
                  </a:cubicBezTo>
                  <a:close/>
                  <a:moveTo>
                    <a:pt x="523" y="152"/>
                  </a:moveTo>
                  <a:cubicBezTo>
                    <a:pt x="522" y="150"/>
                    <a:pt x="522" y="148"/>
                    <a:pt x="520" y="146"/>
                  </a:cubicBezTo>
                  <a:cubicBezTo>
                    <a:pt x="518" y="142"/>
                    <a:pt x="515" y="139"/>
                    <a:pt x="510" y="138"/>
                  </a:cubicBezTo>
                  <a:cubicBezTo>
                    <a:pt x="509" y="138"/>
                    <a:pt x="507" y="138"/>
                    <a:pt x="505" y="138"/>
                  </a:cubicBezTo>
                  <a:cubicBezTo>
                    <a:pt x="498" y="138"/>
                    <a:pt x="492" y="142"/>
                    <a:pt x="490" y="149"/>
                  </a:cubicBezTo>
                  <a:cubicBezTo>
                    <a:pt x="488" y="154"/>
                    <a:pt x="488" y="159"/>
                    <a:pt x="489" y="165"/>
                  </a:cubicBezTo>
                  <a:cubicBezTo>
                    <a:pt x="489" y="166"/>
                    <a:pt x="490" y="167"/>
                    <a:pt x="490" y="169"/>
                  </a:cubicBezTo>
                  <a:cubicBezTo>
                    <a:pt x="493" y="175"/>
                    <a:pt x="498" y="178"/>
                    <a:pt x="505" y="178"/>
                  </a:cubicBezTo>
                  <a:cubicBezTo>
                    <a:pt x="514" y="179"/>
                    <a:pt x="520" y="175"/>
                    <a:pt x="522" y="166"/>
                  </a:cubicBezTo>
                  <a:cubicBezTo>
                    <a:pt x="523" y="164"/>
                    <a:pt x="523" y="161"/>
                    <a:pt x="523" y="159"/>
                  </a:cubicBezTo>
                  <a:cubicBezTo>
                    <a:pt x="523" y="157"/>
                    <a:pt x="523" y="155"/>
                    <a:pt x="523" y="152"/>
                  </a:cubicBezTo>
                  <a:close/>
                  <a:moveTo>
                    <a:pt x="739" y="159"/>
                  </a:moveTo>
                  <a:cubicBezTo>
                    <a:pt x="739" y="158"/>
                    <a:pt x="738" y="158"/>
                    <a:pt x="738" y="158"/>
                  </a:cubicBezTo>
                  <a:cubicBezTo>
                    <a:pt x="738" y="158"/>
                    <a:pt x="737" y="158"/>
                    <a:pt x="737" y="158"/>
                  </a:cubicBezTo>
                  <a:cubicBezTo>
                    <a:pt x="733" y="158"/>
                    <a:pt x="730" y="159"/>
                    <a:pt x="726" y="160"/>
                  </a:cubicBezTo>
                  <a:cubicBezTo>
                    <a:pt x="723" y="160"/>
                    <a:pt x="721" y="160"/>
                    <a:pt x="719" y="162"/>
                  </a:cubicBezTo>
                  <a:cubicBezTo>
                    <a:pt x="717" y="163"/>
                    <a:pt x="715" y="164"/>
                    <a:pt x="715" y="166"/>
                  </a:cubicBezTo>
                  <a:cubicBezTo>
                    <a:pt x="714" y="167"/>
                    <a:pt x="714" y="169"/>
                    <a:pt x="714" y="170"/>
                  </a:cubicBezTo>
                  <a:cubicBezTo>
                    <a:pt x="714" y="173"/>
                    <a:pt x="716" y="176"/>
                    <a:pt x="719" y="177"/>
                  </a:cubicBezTo>
                  <a:cubicBezTo>
                    <a:pt x="721" y="178"/>
                    <a:pt x="724" y="179"/>
                    <a:pt x="726" y="178"/>
                  </a:cubicBezTo>
                  <a:cubicBezTo>
                    <a:pt x="732" y="178"/>
                    <a:pt x="737" y="173"/>
                    <a:pt x="738" y="167"/>
                  </a:cubicBezTo>
                  <a:cubicBezTo>
                    <a:pt x="739" y="165"/>
                    <a:pt x="739" y="164"/>
                    <a:pt x="739" y="162"/>
                  </a:cubicBezTo>
                  <a:cubicBezTo>
                    <a:pt x="739" y="161"/>
                    <a:pt x="739" y="160"/>
                    <a:pt x="739" y="159"/>
                  </a:cubicBezTo>
                  <a:close/>
                </a:path>
              </a:pathLst>
            </a:custGeom>
            <a:solidFill>
              <a:schemeClr val="tx1"/>
            </a:solidFill>
            <a:ln>
              <a:noFill/>
            </a:ln>
          </p:spPr>
          <p:txBody>
            <a:bodyPr vert="horz" wrap="square" lIns="91390" tIns="45696" rIns="91390" bIns="45696" numCol="1" anchor="t" anchorCtr="0" compatLnSpc="1">
              <a:prstTxWarp prst="textNoShape">
                <a:avLst/>
              </a:prstTxWarp>
            </a:bodyPr>
            <a:lstStyle/>
            <a:p>
              <a:pPr defTabSz="932193"/>
              <a:endParaRPr lang="en-US" sz="1799">
                <a:solidFill>
                  <a:srgbClr val="505050"/>
                </a:solidFill>
              </a:endParaRPr>
            </a:p>
          </p:txBody>
        </p:sp>
      </p:grpSp>
      <p:grpSp>
        <p:nvGrpSpPr>
          <p:cNvPr id="86" name="Group 85"/>
          <p:cNvGrpSpPr/>
          <p:nvPr/>
        </p:nvGrpSpPr>
        <p:grpSpPr>
          <a:xfrm>
            <a:off x="10030385" y="5076170"/>
            <a:ext cx="2211426" cy="1367760"/>
            <a:chOff x="9833739" y="4271964"/>
            <a:chExt cx="2168262" cy="1341063"/>
          </a:xfrm>
        </p:grpSpPr>
        <p:sp>
          <p:nvSpPr>
            <p:cNvPr id="64" name="Rectangle 63"/>
            <p:cNvSpPr/>
            <p:nvPr/>
          </p:nvSpPr>
          <p:spPr bwMode="auto">
            <a:xfrm>
              <a:off x="9833739" y="4760158"/>
              <a:ext cx="2168262" cy="85286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t" anchorCtr="0" forceAA="0" compatLnSpc="1">
              <a:prstTxWarp prst="textNoShape">
                <a:avLst/>
              </a:prstTxWarp>
              <a:noAutofit/>
            </a:bodyPr>
            <a:lstStyle/>
            <a:p>
              <a:pPr marL="121432" indent="-121432" defTabSz="951028" fontAlgn="base">
                <a:lnSpc>
                  <a:spcPct val="90000"/>
                </a:lnSpc>
                <a:spcBef>
                  <a:spcPct val="0"/>
                </a:spcBef>
                <a:spcAft>
                  <a:spcPts val="612"/>
                </a:spcAft>
                <a:buFont typeface="Arial" panose="020B0604020202020204" pitchFamily="34" charset="0"/>
                <a:buChar char="•"/>
              </a:pPr>
              <a:r>
                <a:rPr lang="en-US" sz="1428" dirty="0">
                  <a:gradFill>
                    <a:gsLst>
                      <a:gs pos="0">
                        <a:srgbClr val="FFFFFF"/>
                      </a:gs>
                      <a:gs pos="100000">
                        <a:srgbClr val="FFFFFF"/>
                      </a:gs>
                    </a:gsLst>
                    <a:lin ang="5400000" scaled="0"/>
                  </a:gradFill>
                  <a:ea typeface="Segoe UI" pitchFamily="34" charset="0"/>
                  <a:cs typeface="Segoe UI" pitchFamily="34" charset="0"/>
                </a:rPr>
                <a:t>Work Folders</a:t>
              </a:r>
            </a:p>
            <a:p>
              <a:pPr marL="121432" indent="-121432" defTabSz="951028" fontAlgn="base">
                <a:lnSpc>
                  <a:spcPct val="90000"/>
                </a:lnSpc>
                <a:spcBef>
                  <a:spcPct val="0"/>
                </a:spcBef>
                <a:spcAft>
                  <a:spcPts val="612"/>
                </a:spcAft>
                <a:buFont typeface="Arial" panose="020B0604020202020204" pitchFamily="34" charset="0"/>
                <a:buChar char="•"/>
              </a:pPr>
              <a:r>
                <a:rPr lang="en-US" sz="1428" dirty="0">
                  <a:gradFill>
                    <a:gsLst>
                      <a:gs pos="0">
                        <a:srgbClr val="FFFFFF"/>
                      </a:gs>
                      <a:gs pos="100000">
                        <a:srgbClr val="FFFFFF"/>
                      </a:gs>
                    </a:gsLst>
                    <a:lin ang="5400000" scaled="0"/>
                  </a:gradFill>
                  <a:ea typeface="Segoe UI" pitchFamily="34" charset="0"/>
                  <a:cs typeface="Segoe UI" pitchFamily="34" charset="0"/>
                </a:rPr>
                <a:t>Workplace Join</a:t>
              </a:r>
            </a:p>
            <a:p>
              <a:pPr marL="121432" indent="-121432" defTabSz="951028" fontAlgn="base">
                <a:lnSpc>
                  <a:spcPct val="90000"/>
                </a:lnSpc>
                <a:spcBef>
                  <a:spcPct val="0"/>
                </a:spcBef>
                <a:spcAft>
                  <a:spcPts val="612"/>
                </a:spcAft>
                <a:buFont typeface="Arial" panose="020B0604020202020204" pitchFamily="34" charset="0"/>
                <a:buChar char="•"/>
              </a:pPr>
              <a:r>
                <a:rPr lang="en-US" sz="1428" dirty="0">
                  <a:gradFill>
                    <a:gsLst>
                      <a:gs pos="0">
                        <a:srgbClr val="FFFFFF"/>
                      </a:gs>
                      <a:gs pos="100000">
                        <a:srgbClr val="FFFFFF"/>
                      </a:gs>
                    </a:gsLst>
                    <a:lin ang="5400000" scaled="0"/>
                  </a:gradFill>
                  <a:ea typeface="Segoe UI" pitchFamily="34" charset="0"/>
                  <a:cs typeface="Segoe UI" pitchFamily="34" charset="0"/>
                </a:rPr>
                <a:t>Web Application Proxy</a:t>
              </a:r>
            </a:p>
          </p:txBody>
        </p:sp>
        <p:sp>
          <p:nvSpPr>
            <p:cNvPr id="65" name="Rectangle 64"/>
            <p:cNvSpPr/>
            <p:nvPr/>
          </p:nvSpPr>
          <p:spPr bwMode="auto">
            <a:xfrm>
              <a:off x="9833739" y="4271964"/>
              <a:ext cx="2168262" cy="4881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3041" tIns="93260" rIns="93260" bIns="139891" numCol="1" spcCol="0" rtlCol="0" fromWordArt="0" anchor="b" anchorCtr="0" forceAA="0" compatLnSpc="1">
              <a:prstTxWarp prst="textNoShape">
                <a:avLst/>
              </a:prstTxWarp>
              <a:noAutofit/>
            </a:bodyPr>
            <a:lstStyle/>
            <a:p>
              <a:pPr defTabSz="951028" fontAlgn="base">
                <a:lnSpc>
                  <a:spcPct val="90000"/>
                </a:lnSpc>
                <a:spcBef>
                  <a:spcPct val="0"/>
                </a:spcBef>
                <a:spcAft>
                  <a:spcPts val="612"/>
                </a:spcAft>
              </a:pPr>
              <a:endParaRPr lang="en-US" sz="1200" dirty="0">
                <a:gradFill>
                  <a:gsLst>
                    <a:gs pos="0">
                      <a:srgbClr val="FFFFFF"/>
                    </a:gs>
                    <a:gs pos="100000">
                      <a:srgbClr val="FFFFFF"/>
                    </a:gs>
                  </a:gsLst>
                  <a:lin ang="5400000" scaled="0"/>
                </a:gradFill>
                <a:ea typeface="Segoe UI" pitchFamily="34" charset="0"/>
                <a:cs typeface="Segoe UI" pitchFamily="34" charset="0"/>
              </a:endParaRPr>
            </a:p>
          </p:txBody>
        </p:sp>
        <p:sp>
          <p:nvSpPr>
            <p:cNvPr id="66" name="Freeform 9"/>
            <p:cNvSpPr>
              <a:spLocks noEditPoints="1"/>
            </p:cNvSpPr>
            <p:nvPr/>
          </p:nvSpPr>
          <p:spPr bwMode="auto">
            <a:xfrm>
              <a:off x="9956611" y="4389846"/>
              <a:ext cx="1916200" cy="199707"/>
            </a:xfrm>
            <a:custGeom>
              <a:avLst/>
              <a:gdLst>
                <a:gd name="T0" fmla="*/ 89 w 1963"/>
                <a:gd name="T1" fmla="*/ 187 h 202"/>
                <a:gd name="T2" fmla="*/ 0 w 1963"/>
                <a:gd name="T3" fmla="*/ 174 h 202"/>
                <a:gd name="T4" fmla="*/ 421 w 1963"/>
                <a:gd name="T5" fmla="*/ 40 h 202"/>
                <a:gd name="T6" fmla="*/ 307 w 1963"/>
                <a:gd name="T7" fmla="*/ 141 h 202"/>
                <a:gd name="T8" fmla="*/ 1849 w 1963"/>
                <a:gd name="T9" fmla="*/ 106 h 202"/>
                <a:gd name="T10" fmla="*/ 1815 w 1963"/>
                <a:gd name="T11" fmla="*/ 162 h 202"/>
                <a:gd name="T12" fmla="*/ 1877 w 1963"/>
                <a:gd name="T13" fmla="*/ 160 h 202"/>
                <a:gd name="T14" fmla="*/ 1858 w 1963"/>
                <a:gd name="T15" fmla="*/ 70 h 202"/>
                <a:gd name="T16" fmla="*/ 805 w 1963"/>
                <a:gd name="T17" fmla="*/ 95 h 202"/>
                <a:gd name="T18" fmla="*/ 832 w 1963"/>
                <a:gd name="T19" fmla="*/ 145 h 202"/>
                <a:gd name="T20" fmla="*/ 777 w 1963"/>
                <a:gd name="T21" fmla="*/ 145 h 202"/>
                <a:gd name="T22" fmla="*/ 621 w 1963"/>
                <a:gd name="T23" fmla="*/ 34 h 202"/>
                <a:gd name="T24" fmla="*/ 620 w 1963"/>
                <a:gd name="T25" fmla="*/ 86 h 202"/>
                <a:gd name="T26" fmla="*/ 580 w 1963"/>
                <a:gd name="T27" fmla="*/ 163 h 202"/>
                <a:gd name="T28" fmla="*/ 620 w 1963"/>
                <a:gd name="T29" fmla="*/ 130 h 202"/>
                <a:gd name="T30" fmla="*/ 621 w 1963"/>
                <a:gd name="T31" fmla="*/ 109 h 202"/>
                <a:gd name="T32" fmla="*/ 1555 w 1963"/>
                <a:gd name="T33" fmla="*/ 42 h 202"/>
                <a:gd name="T34" fmla="*/ 1611 w 1963"/>
                <a:gd name="T35" fmla="*/ 100 h 202"/>
                <a:gd name="T36" fmla="*/ 1548 w 1963"/>
                <a:gd name="T37" fmla="*/ 77 h 202"/>
                <a:gd name="T38" fmla="*/ 1121 w 1963"/>
                <a:gd name="T39" fmla="*/ 93 h 202"/>
                <a:gd name="T40" fmla="*/ 1118 w 1963"/>
                <a:gd name="T41" fmla="*/ 157 h 202"/>
                <a:gd name="T42" fmla="*/ 1064 w 1963"/>
                <a:gd name="T43" fmla="*/ 127 h 202"/>
                <a:gd name="T44" fmla="*/ 1105 w 1963"/>
                <a:gd name="T45" fmla="*/ 92 h 202"/>
                <a:gd name="T46" fmla="*/ 1280 w 1963"/>
                <a:gd name="T47" fmla="*/ 143 h 202"/>
                <a:gd name="T48" fmla="*/ 1311 w 1963"/>
                <a:gd name="T49" fmla="*/ 152 h 202"/>
                <a:gd name="T50" fmla="*/ 1301 w 1963"/>
                <a:gd name="T51" fmla="*/ 90 h 202"/>
                <a:gd name="T52" fmla="*/ 1012 w 1963"/>
                <a:gd name="T53" fmla="*/ 38 h 202"/>
                <a:gd name="T54" fmla="*/ 1010 w 1963"/>
                <a:gd name="T55" fmla="*/ 150 h 202"/>
                <a:gd name="T56" fmla="*/ 1018 w 1963"/>
                <a:gd name="T57" fmla="*/ 161 h 202"/>
                <a:gd name="T58" fmla="*/ 1005 w 1963"/>
                <a:gd name="T59" fmla="*/ 51 h 202"/>
                <a:gd name="T60" fmla="*/ 656 w 1963"/>
                <a:gd name="T61" fmla="*/ 138 h 202"/>
                <a:gd name="T62" fmla="*/ 704 w 1963"/>
                <a:gd name="T63" fmla="*/ 86 h 202"/>
                <a:gd name="T64" fmla="*/ 667 w 1963"/>
                <a:gd name="T65" fmla="*/ 126 h 202"/>
                <a:gd name="T66" fmla="*/ 1918 w 1963"/>
                <a:gd name="T67" fmla="*/ 149 h 202"/>
                <a:gd name="T68" fmla="*/ 1936 w 1963"/>
                <a:gd name="T69" fmla="*/ 40 h 202"/>
                <a:gd name="T70" fmla="*/ 1924 w 1963"/>
                <a:gd name="T71" fmla="*/ 50 h 202"/>
                <a:gd name="T72" fmla="*/ 1963 w 1963"/>
                <a:gd name="T73" fmla="*/ 149 h 202"/>
                <a:gd name="T74" fmla="*/ 1487 w 1963"/>
                <a:gd name="T75" fmla="*/ 115 h 202"/>
                <a:gd name="T76" fmla="*/ 1449 w 1963"/>
                <a:gd name="T77" fmla="*/ 63 h 202"/>
                <a:gd name="T78" fmla="*/ 1475 w 1963"/>
                <a:gd name="T79" fmla="*/ 110 h 202"/>
                <a:gd name="T80" fmla="*/ 1700 w 1963"/>
                <a:gd name="T81" fmla="*/ 149 h 202"/>
                <a:gd name="T82" fmla="*/ 1716 w 1963"/>
                <a:gd name="T83" fmla="*/ 39 h 202"/>
                <a:gd name="T84" fmla="*/ 1742 w 1963"/>
                <a:gd name="T85" fmla="*/ 67 h 202"/>
                <a:gd name="T86" fmla="*/ 1761 w 1963"/>
                <a:gd name="T87" fmla="*/ 162 h 202"/>
                <a:gd name="T88" fmla="*/ 523 w 1963"/>
                <a:gd name="T89" fmla="*/ 98 h 202"/>
                <a:gd name="T90" fmla="*/ 535 w 1963"/>
                <a:gd name="T91" fmla="*/ 88 h 202"/>
                <a:gd name="T92" fmla="*/ 467 w 1963"/>
                <a:gd name="T93" fmla="*/ 162 h 202"/>
                <a:gd name="T94" fmla="*/ 1232 w 1963"/>
                <a:gd name="T95" fmla="*/ 146 h 202"/>
                <a:gd name="T96" fmla="*/ 872 w 1963"/>
                <a:gd name="T97" fmla="*/ 160 h 202"/>
                <a:gd name="T98" fmla="*/ 898 w 1963"/>
                <a:gd name="T99" fmla="*/ 85 h 202"/>
                <a:gd name="T100" fmla="*/ 890 w 1963"/>
                <a:gd name="T101" fmla="*/ 123 h 202"/>
                <a:gd name="T102" fmla="*/ 1649 w 1963"/>
                <a:gd name="T103" fmla="*/ 162 h 202"/>
                <a:gd name="T104" fmla="*/ 1649 w 1963"/>
                <a:gd name="T105" fmla="*/ 57 h 202"/>
                <a:gd name="T106" fmla="*/ 1141 w 1963"/>
                <a:gd name="T107" fmla="*/ 75 h 202"/>
                <a:gd name="T108" fmla="*/ 1186 w 1963"/>
                <a:gd name="T109" fmla="*/ 89 h 202"/>
                <a:gd name="T110" fmla="*/ 1388 w 1963"/>
                <a:gd name="T111" fmla="*/ 94 h 202"/>
                <a:gd name="T112" fmla="*/ 1381 w 1963"/>
                <a:gd name="T113" fmla="*/ 92 h 202"/>
                <a:gd name="T114" fmla="*/ 432 w 1963"/>
                <a:gd name="T115" fmla="*/ 16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63" h="202">
                  <a:moveTo>
                    <a:pt x="89" y="99"/>
                  </a:moveTo>
                  <a:cubicBezTo>
                    <a:pt x="89" y="71"/>
                    <a:pt x="89" y="44"/>
                    <a:pt x="89" y="16"/>
                  </a:cubicBezTo>
                  <a:cubicBezTo>
                    <a:pt x="127" y="10"/>
                    <a:pt x="164" y="5"/>
                    <a:pt x="202" y="0"/>
                  </a:cubicBezTo>
                  <a:cubicBezTo>
                    <a:pt x="202" y="2"/>
                    <a:pt x="202" y="97"/>
                    <a:pt x="202" y="99"/>
                  </a:cubicBezTo>
                  <a:cubicBezTo>
                    <a:pt x="165" y="99"/>
                    <a:pt x="127" y="99"/>
                    <a:pt x="89" y="99"/>
                  </a:cubicBezTo>
                  <a:close/>
                  <a:moveTo>
                    <a:pt x="202" y="103"/>
                  </a:moveTo>
                  <a:cubicBezTo>
                    <a:pt x="164" y="103"/>
                    <a:pt x="127" y="103"/>
                    <a:pt x="89" y="103"/>
                  </a:cubicBezTo>
                  <a:cubicBezTo>
                    <a:pt x="89" y="131"/>
                    <a:pt x="89" y="159"/>
                    <a:pt x="89" y="187"/>
                  </a:cubicBezTo>
                  <a:cubicBezTo>
                    <a:pt x="127" y="192"/>
                    <a:pt x="164" y="197"/>
                    <a:pt x="202" y="202"/>
                  </a:cubicBezTo>
                  <a:cubicBezTo>
                    <a:pt x="202" y="169"/>
                    <a:pt x="202" y="136"/>
                    <a:pt x="202" y="103"/>
                  </a:cubicBezTo>
                  <a:close/>
                  <a:moveTo>
                    <a:pt x="86" y="99"/>
                  </a:moveTo>
                  <a:cubicBezTo>
                    <a:pt x="86" y="72"/>
                    <a:pt x="86" y="44"/>
                    <a:pt x="86" y="16"/>
                  </a:cubicBezTo>
                  <a:cubicBezTo>
                    <a:pt x="57" y="20"/>
                    <a:pt x="28" y="24"/>
                    <a:pt x="0" y="28"/>
                  </a:cubicBezTo>
                  <a:cubicBezTo>
                    <a:pt x="0" y="52"/>
                    <a:pt x="0" y="76"/>
                    <a:pt x="0" y="99"/>
                  </a:cubicBezTo>
                  <a:cubicBezTo>
                    <a:pt x="29" y="99"/>
                    <a:pt x="57" y="99"/>
                    <a:pt x="86" y="99"/>
                  </a:cubicBezTo>
                  <a:close/>
                  <a:moveTo>
                    <a:pt x="0" y="174"/>
                  </a:moveTo>
                  <a:cubicBezTo>
                    <a:pt x="28" y="178"/>
                    <a:pt x="57" y="182"/>
                    <a:pt x="86" y="186"/>
                  </a:cubicBezTo>
                  <a:cubicBezTo>
                    <a:pt x="86" y="158"/>
                    <a:pt x="86" y="131"/>
                    <a:pt x="86" y="103"/>
                  </a:cubicBezTo>
                  <a:cubicBezTo>
                    <a:pt x="57" y="103"/>
                    <a:pt x="29" y="103"/>
                    <a:pt x="0" y="103"/>
                  </a:cubicBezTo>
                  <a:cubicBezTo>
                    <a:pt x="0" y="127"/>
                    <a:pt x="0" y="150"/>
                    <a:pt x="0" y="174"/>
                  </a:cubicBezTo>
                  <a:close/>
                  <a:moveTo>
                    <a:pt x="343" y="66"/>
                  </a:moveTo>
                  <a:cubicBezTo>
                    <a:pt x="352" y="98"/>
                    <a:pt x="361" y="130"/>
                    <a:pt x="370" y="162"/>
                  </a:cubicBezTo>
                  <a:cubicBezTo>
                    <a:pt x="375" y="162"/>
                    <a:pt x="381" y="162"/>
                    <a:pt x="386" y="162"/>
                  </a:cubicBezTo>
                  <a:cubicBezTo>
                    <a:pt x="398" y="121"/>
                    <a:pt x="409" y="81"/>
                    <a:pt x="421" y="40"/>
                  </a:cubicBezTo>
                  <a:cubicBezTo>
                    <a:pt x="415" y="40"/>
                    <a:pt x="410" y="40"/>
                    <a:pt x="405" y="40"/>
                  </a:cubicBezTo>
                  <a:cubicBezTo>
                    <a:pt x="396" y="74"/>
                    <a:pt x="387" y="108"/>
                    <a:pt x="378" y="142"/>
                  </a:cubicBezTo>
                  <a:cubicBezTo>
                    <a:pt x="378" y="142"/>
                    <a:pt x="378" y="142"/>
                    <a:pt x="378" y="142"/>
                  </a:cubicBezTo>
                  <a:cubicBezTo>
                    <a:pt x="369" y="108"/>
                    <a:pt x="359" y="74"/>
                    <a:pt x="350" y="41"/>
                  </a:cubicBezTo>
                  <a:cubicBezTo>
                    <a:pt x="345" y="41"/>
                    <a:pt x="341" y="41"/>
                    <a:pt x="336" y="41"/>
                  </a:cubicBezTo>
                  <a:cubicBezTo>
                    <a:pt x="326" y="74"/>
                    <a:pt x="317" y="107"/>
                    <a:pt x="307" y="141"/>
                  </a:cubicBezTo>
                  <a:cubicBezTo>
                    <a:pt x="307" y="141"/>
                    <a:pt x="307" y="141"/>
                    <a:pt x="307" y="141"/>
                  </a:cubicBezTo>
                  <a:cubicBezTo>
                    <a:pt x="307" y="141"/>
                    <a:pt x="307" y="141"/>
                    <a:pt x="307" y="141"/>
                  </a:cubicBezTo>
                  <a:cubicBezTo>
                    <a:pt x="307" y="141"/>
                    <a:pt x="307" y="141"/>
                    <a:pt x="306" y="141"/>
                  </a:cubicBezTo>
                  <a:cubicBezTo>
                    <a:pt x="297" y="108"/>
                    <a:pt x="288" y="74"/>
                    <a:pt x="278" y="40"/>
                  </a:cubicBezTo>
                  <a:cubicBezTo>
                    <a:pt x="273" y="40"/>
                    <a:pt x="268" y="40"/>
                    <a:pt x="263" y="40"/>
                  </a:cubicBezTo>
                  <a:cubicBezTo>
                    <a:pt x="275" y="81"/>
                    <a:pt x="286" y="121"/>
                    <a:pt x="298" y="162"/>
                  </a:cubicBezTo>
                  <a:cubicBezTo>
                    <a:pt x="304" y="162"/>
                    <a:pt x="309" y="162"/>
                    <a:pt x="315" y="162"/>
                  </a:cubicBezTo>
                  <a:cubicBezTo>
                    <a:pt x="324" y="130"/>
                    <a:pt x="333" y="98"/>
                    <a:pt x="342" y="66"/>
                  </a:cubicBezTo>
                  <a:cubicBezTo>
                    <a:pt x="342" y="66"/>
                    <a:pt x="342" y="66"/>
                    <a:pt x="343" y="66"/>
                  </a:cubicBezTo>
                  <a:close/>
                  <a:moveTo>
                    <a:pt x="1849" y="106"/>
                  </a:moveTo>
                  <a:cubicBezTo>
                    <a:pt x="1862" y="102"/>
                    <a:pt x="1870" y="94"/>
                    <a:pt x="1873" y="81"/>
                  </a:cubicBezTo>
                  <a:cubicBezTo>
                    <a:pt x="1874" y="77"/>
                    <a:pt x="1874" y="73"/>
                    <a:pt x="1873" y="69"/>
                  </a:cubicBezTo>
                  <a:cubicBezTo>
                    <a:pt x="1873" y="58"/>
                    <a:pt x="1867" y="50"/>
                    <a:pt x="1857" y="44"/>
                  </a:cubicBezTo>
                  <a:cubicBezTo>
                    <a:pt x="1852" y="42"/>
                    <a:pt x="1846" y="40"/>
                    <a:pt x="1840" y="40"/>
                  </a:cubicBezTo>
                  <a:cubicBezTo>
                    <a:pt x="1827" y="40"/>
                    <a:pt x="1815" y="40"/>
                    <a:pt x="1802" y="40"/>
                  </a:cubicBezTo>
                  <a:cubicBezTo>
                    <a:pt x="1801" y="40"/>
                    <a:pt x="1801" y="40"/>
                    <a:pt x="1800" y="40"/>
                  </a:cubicBezTo>
                  <a:cubicBezTo>
                    <a:pt x="1800" y="43"/>
                    <a:pt x="1800" y="160"/>
                    <a:pt x="1801" y="162"/>
                  </a:cubicBezTo>
                  <a:cubicBezTo>
                    <a:pt x="1805" y="162"/>
                    <a:pt x="1813" y="162"/>
                    <a:pt x="1815" y="162"/>
                  </a:cubicBezTo>
                  <a:cubicBezTo>
                    <a:pt x="1815" y="145"/>
                    <a:pt x="1815" y="127"/>
                    <a:pt x="1815" y="110"/>
                  </a:cubicBezTo>
                  <a:cubicBezTo>
                    <a:pt x="1819" y="110"/>
                    <a:pt x="1822" y="110"/>
                    <a:pt x="1826" y="110"/>
                  </a:cubicBezTo>
                  <a:cubicBezTo>
                    <a:pt x="1832" y="110"/>
                    <a:pt x="1837" y="112"/>
                    <a:pt x="1840" y="117"/>
                  </a:cubicBezTo>
                  <a:cubicBezTo>
                    <a:pt x="1843" y="120"/>
                    <a:pt x="1844" y="122"/>
                    <a:pt x="1845" y="126"/>
                  </a:cubicBezTo>
                  <a:cubicBezTo>
                    <a:pt x="1850" y="137"/>
                    <a:pt x="1855" y="148"/>
                    <a:pt x="1860" y="160"/>
                  </a:cubicBezTo>
                  <a:cubicBezTo>
                    <a:pt x="1861" y="160"/>
                    <a:pt x="1861" y="161"/>
                    <a:pt x="1861" y="162"/>
                  </a:cubicBezTo>
                  <a:cubicBezTo>
                    <a:pt x="1867" y="162"/>
                    <a:pt x="1873" y="162"/>
                    <a:pt x="1878" y="162"/>
                  </a:cubicBezTo>
                  <a:cubicBezTo>
                    <a:pt x="1878" y="161"/>
                    <a:pt x="1878" y="160"/>
                    <a:pt x="1877" y="160"/>
                  </a:cubicBezTo>
                  <a:cubicBezTo>
                    <a:pt x="1874" y="153"/>
                    <a:pt x="1871" y="147"/>
                    <a:pt x="1868" y="141"/>
                  </a:cubicBezTo>
                  <a:cubicBezTo>
                    <a:pt x="1865" y="134"/>
                    <a:pt x="1862" y="126"/>
                    <a:pt x="1858" y="119"/>
                  </a:cubicBezTo>
                  <a:cubicBezTo>
                    <a:pt x="1856" y="114"/>
                    <a:pt x="1852" y="109"/>
                    <a:pt x="1846" y="107"/>
                  </a:cubicBezTo>
                  <a:cubicBezTo>
                    <a:pt x="1848" y="106"/>
                    <a:pt x="1849" y="106"/>
                    <a:pt x="1849" y="106"/>
                  </a:cubicBezTo>
                  <a:close/>
                  <a:moveTo>
                    <a:pt x="1816" y="53"/>
                  </a:moveTo>
                  <a:cubicBezTo>
                    <a:pt x="1823" y="53"/>
                    <a:pt x="1831" y="53"/>
                    <a:pt x="1838" y="53"/>
                  </a:cubicBezTo>
                  <a:cubicBezTo>
                    <a:pt x="1841" y="54"/>
                    <a:pt x="1843" y="54"/>
                    <a:pt x="1846" y="55"/>
                  </a:cubicBezTo>
                  <a:cubicBezTo>
                    <a:pt x="1853" y="57"/>
                    <a:pt x="1857" y="62"/>
                    <a:pt x="1858" y="70"/>
                  </a:cubicBezTo>
                  <a:cubicBezTo>
                    <a:pt x="1860" y="81"/>
                    <a:pt x="1856" y="89"/>
                    <a:pt x="1847" y="94"/>
                  </a:cubicBezTo>
                  <a:cubicBezTo>
                    <a:pt x="1844" y="96"/>
                    <a:pt x="1840" y="97"/>
                    <a:pt x="1837" y="97"/>
                  </a:cubicBezTo>
                  <a:cubicBezTo>
                    <a:pt x="1830" y="97"/>
                    <a:pt x="1823" y="97"/>
                    <a:pt x="1816" y="97"/>
                  </a:cubicBezTo>
                  <a:cubicBezTo>
                    <a:pt x="1815" y="97"/>
                    <a:pt x="1815" y="97"/>
                    <a:pt x="1815" y="97"/>
                  </a:cubicBezTo>
                  <a:cubicBezTo>
                    <a:pt x="1815" y="83"/>
                    <a:pt x="1815" y="68"/>
                    <a:pt x="1815" y="53"/>
                  </a:cubicBezTo>
                  <a:cubicBezTo>
                    <a:pt x="1815" y="53"/>
                    <a:pt x="1815" y="53"/>
                    <a:pt x="1816" y="53"/>
                  </a:cubicBezTo>
                  <a:close/>
                  <a:moveTo>
                    <a:pt x="804" y="95"/>
                  </a:moveTo>
                  <a:cubicBezTo>
                    <a:pt x="804" y="95"/>
                    <a:pt x="805" y="95"/>
                    <a:pt x="805" y="95"/>
                  </a:cubicBezTo>
                  <a:cubicBezTo>
                    <a:pt x="811" y="117"/>
                    <a:pt x="818" y="140"/>
                    <a:pt x="824" y="162"/>
                  </a:cubicBezTo>
                  <a:cubicBezTo>
                    <a:pt x="829" y="162"/>
                    <a:pt x="834" y="162"/>
                    <a:pt x="839" y="162"/>
                  </a:cubicBezTo>
                  <a:cubicBezTo>
                    <a:pt x="847" y="133"/>
                    <a:pt x="856" y="104"/>
                    <a:pt x="865" y="75"/>
                  </a:cubicBezTo>
                  <a:cubicBezTo>
                    <a:pt x="860" y="75"/>
                    <a:pt x="855" y="75"/>
                    <a:pt x="851" y="75"/>
                  </a:cubicBezTo>
                  <a:cubicBezTo>
                    <a:pt x="849" y="81"/>
                    <a:pt x="848" y="87"/>
                    <a:pt x="846" y="93"/>
                  </a:cubicBezTo>
                  <a:cubicBezTo>
                    <a:pt x="844" y="99"/>
                    <a:pt x="843" y="104"/>
                    <a:pt x="841" y="110"/>
                  </a:cubicBezTo>
                  <a:cubicBezTo>
                    <a:pt x="840" y="116"/>
                    <a:pt x="838" y="122"/>
                    <a:pt x="837" y="128"/>
                  </a:cubicBezTo>
                  <a:cubicBezTo>
                    <a:pt x="835" y="133"/>
                    <a:pt x="834" y="139"/>
                    <a:pt x="832" y="145"/>
                  </a:cubicBezTo>
                  <a:cubicBezTo>
                    <a:pt x="832" y="145"/>
                    <a:pt x="831" y="145"/>
                    <a:pt x="831" y="145"/>
                  </a:cubicBezTo>
                  <a:cubicBezTo>
                    <a:pt x="825" y="122"/>
                    <a:pt x="818" y="98"/>
                    <a:pt x="812" y="75"/>
                  </a:cubicBezTo>
                  <a:cubicBezTo>
                    <a:pt x="807" y="75"/>
                    <a:pt x="803" y="75"/>
                    <a:pt x="799" y="75"/>
                  </a:cubicBezTo>
                  <a:cubicBezTo>
                    <a:pt x="799" y="75"/>
                    <a:pt x="799" y="75"/>
                    <a:pt x="799" y="76"/>
                  </a:cubicBezTo>
                  <a:cubicBezTo>
                    <a:pt x="792" y="98"/>
                    <a:pt x="785" y="121"/>
                    <a:pt x="778" y="144"/>
                  </a:cubicBezTo>
                  <a:cubicBezTo>
                    <a:pt x="778" y="144"/>
                    <a:pt x="778" y="144"/>
                    <a:pt x="778" y="144"/>
                  </a:cubicBezTo>
                  <a:cubicBezTo>
                    <a:pt x="778" y="145"/>
                    <a:pt x="778" y="145"/>
                    <a:pt x="778" y="145"/>
                  </a:cubicBezTo>
                  <a:cubicBezTo>
                    <a:pt x="778" y="145"/>
                    <a:pt x="777" y="145"/>
                    <a:pt x="777" y="145"/>
                  </a:cubicBezTo>
                  <a:cubicBezTo>
                    <a:pt x="777" y="145"/>
                    <a:pt x="777" y="145"/>
                    <a:pt x="777" y="145"/>
                  </a:cubicBezTo>
                  <a:cubicBezTo>
                    <a:pt x="771" y="122"/>
                    <a:pt x="764" y="98"/>
                    <a:pt x="758" y="75"/>
                  </a:cubicBezTo>
                  <a:cubicBezTo>
                    <a:pt x="753" y="75"/>
                    <a:pt x="748" y="75"/>
                    <a:pt x="743" y="75"/>
                  </a:cubicBezTo>
                  <a:cubicBezTo>
                    <a:pt x="752" y="104"/>
                    <a:pt x="761" y="133"/>
                    <a:pt x="769" y="162"/>
                  </a:cubicBezTo>
                  <a:cubicBezTo>
                    <a:pt x="774" y="162"/>
                    <a:pt x="779" y="162"/>
                    <a:pt x="783" y="162"/>
                  </a:cubicBezTo>
                  <a:cubicBezTo>
                    <a:pt x="790" y="140"/>
                    <a:pt x="797" y="117"/>
                    <a:pt x="804" y="95"/>
                  </a:cubicBezTo>
                  <a:close/>
                  <a:moveTo>
                    <a:pt x="635" y="34"/>
                  </a:moveTo>
                  <a:cubicBezTo>
                    <a:pt x="632" y="33"/>
                    <a:pt x="623" y="33"/>
                    <a:pt x="621" y="34"/>
                  </a:cubicBezTo>
                  <a:cubicBezTo>
                    <a:pt x="621" y="34"/>
                    <a:pt x="621" y="34"/>
                    <a:pt x="621" y="34"/>
                  </a:cubicBezTo>
                  <a:cubicBezTo>
                    <a:pt x="621" y="34"/>
                    <a:pt x="621" y="34"/>
                    <a:pt x="621" y="34"/>
                  </a:cubicBezTo>
                  <a:cubicBezTo>
                    <a:pt x="621" y="51"/>
                    <a:pt x="621" y="68"/>
                    <a:pt x="621" y="85"/>
                  </a:cubicBezTo>
                  <a:cubicBezTo>
                    <a:pt x="621" y="85"/>
                    <a:pt x="621" y="86"/>
                    <a:pt x="621" y="86"/>
                  </a:cubicBezTo>
                  <a:cubicBezTo>
                    <a:pt x="621" y="86"/>
                    <a:pt x="621" y="86"/>
                    <a:pt x="621" y="86"/>
                  </a:cubicBezTo>
                  <a:cubicBezTo>
                    <a:pt x="621" y="86"/>
                    <a:pt x="621" y="86"/>
                    <a:pt x="621" y="86"/>
                  </a:cubicBezTo>
                  <a:cubicBezTo>
                    <a:pt x="621" y="86"/>
                    <a:pt x="621" y="86"/>
                    <a:pt x="621" y="86"/>
                  </a:cubicBezTo>
                  <a:cubicBezTo>
                    <a:pt x="620" y="86"/>
                    <a:pt x="620" y="86"/>
                    <a:pt x="620" y="86"/>
                  </a:cubicBezTo>
                  <a:cubicBezTo>
                    <a:pt x="620" y="85"/>
                    <a:pt x="619" y="85"/>
                    <a:pt x="619" y="84"/>
                  </a:cubicBezTo>
                  <a:cubicBezTo>
                    <a:pt x="615" y="79"/>
                    <a:pt x="609" y="75"/>
                    <a:pt x="602" y="74"/>
                  </a:cubicBezTo>
                  <a:cubicBezTo>
                    <a:pt x="598" y="73"/>
                    <a:pt x="594" y="73"/>
                    <a:pt x="590" y="73"/>
                  </a:cubicBezTo>
                  <a:cubicBezTo>
                    <a:pt x="582" y="74"/>
                    <a:pt x="575" y="77"/>
                    <a:pt x="570" y="82"/>
                  </a:cubicBezTo>
                  <a:cubicBezTo>
                    <a:pt x="564" y="87"/>
                    <a:pt x="560" y="94"/>
                    <a:pt x="557" y="102"/>
                  </a:cubicBezTo>
                  <a:cubicBezTo>
                    <a:pt x="555" y="111"/>
                    <a:pt x="554" y="120"/>
                    <a:pt x="555" y="129"/>
                  </a:cubicBezTo>
                  <a:cubicBezTo>
                    <a:pt x="556" y="134"/>
                    <a:pt x="557" y="140"/>
                    <a:pt x="560" y="145"/>
                  </a:cubicBezTo>
                  <a:cubicBezTo>
                    <a:pt x="564" y="153"/>
                    <a:pt x="571" y="160"/>
                    <a:pt x="580" y="163"/>
                  </a:cubicBezTo>
                  <a:cubicBezTo>
                    <a:pt x="586" y="164"/>
                    <a:pt x="592" y="165"/>
                    <a:pt x="598" y="164"/>
                  </a:cubicBezTo>
                  <a:cubicBezTo>
                    <a:pt x="607" y="162"/>
                    <a:pt x="614" y="157"/>
                    <a:pt x="619" y="149"/>
                  </a:cubicBezTo>
                  <a:cubicBezTo>
                    <a:pt x="620" y="149"/>
                    <a:pt x="620" y="148"/>
                    <a:pt x="621" y="148"/>
                  </a:cubicBezTo>
                  <a:cubicBezTo>
                    <a:pt x="621" y="148"/>
                    <a:pt x="621" y="148"/>
                    <a:pt x="621" y="148"/>
                  </a:cubicBezTo>
                  <a:cubicBezTo>
                    <a:pt x="621" y="153"/>
                    <a:pt x="621" y="157"/>
                    <a:pt x="621" y="162"/>
                  </a:cubicBezTo>
                  <a:cubicBezTo>
                    <a:pt x="626" y="162"/>
                    <a:pt x="630" y="162"/>
                    <a:pt x="635" y="162"/>
                  </a:cubicBezTo>
                  <a:cubicBezTo>
                    <a:pt x="635" y="119"/>
                    <a:pt x="635" y="76"/>
                    <a:pt x="635" y="34"/>
                  </a:cubicBezTo>
                  <a:close/>
                  <a:moveTo>
                    <a:pt x="620" y="130"/>
                  </a:moveTo>
                  <a:cubicBezTo>
                    <a:pt x="619" y="137"/>
                    <a:pt x="616" y="143"/>
                    <a:pt x="610" y="147"/>
                  </a:cubicBezTo>
                  <a:cubicBezTo>
                    <a:pt x="601" y="154"/>
                    <a:pt x="582" y="155"/>
                    <a:pt x="574" y="140"/>
                  </a:cubicBezTo>
                  <a:cubicBezTo>
                    <a:pt x="571" y="135"/>
                    <a:pt x="570" y="130"/>
                    <a:pt x="569" y="124"/>
                  </a:cubicBezTo>
                  <a:cubicBezTo>
                    <a:pt x="569" y="117"/>
                    <a:pt x="569" y="111"/>
                    <a:pt x="571" y="104"/>
                  </a:cubicBezTo>
                  <a:cubicBezTo>
                    <a:pt x="572" y="103"/>
                    <a:pt x="572" y="101"/>
                    <a:pt x="573" y="100"/>
                  </a:cubicBezTo>
                  <a:cubicBezTo>
                    <a:pt x="578" y="90"/>
                    <a:pt x="586" y="85"/>
                    <a:pt x="597" y="85"/>
                  </a:cubicBezTo>
                  <a:cubicBezTo>
                    <a:pt x="608" y="85"/>
                    <a:pt x="615" y="90"/>
                    <a:pt x="619" y="99"/>
                  </a:cubicBezTo>
                  <a:cubicBezTo>
                    <a:pt x="620" y="102"/>
                    <a:pt x="621" y="106"/>
                    <a:pt x="621" y="109"/>
                  </a:cubicBezTo>
                  <a:cubicBezTo>
                    <a:pt x="621" y="111"/>
                    <a:pt x="621" y="114"/>
                    <a:pt x="621" y="117"/>
                  </a:cubicBezTo>
                  <a:cubicBezTo>
                    <a:pt x="621" y="117"/>
                    <a:pt x="621" y="117"/>
                    <a:pt x="621" y="117"/>
                  </a:cubicBezTo>
                  <a:cubicBezTo>
                    <a:pt x="621" y="121"/>
                    <a:pt x="621" y="125"/>
                    <a:pt x="620" y="130"/>
                  </a:cubicBezTo>
                  <a:close/>
                  <a:moveTo>
                    <a:pt x="1608" y="73"/>
                  </a:moveTo>
                  <a:cubicBezTo>
                    <a:pt x="1607" y="66"/>
                    <a:pt x="1605" y="59"/>
                    <a:pt x="1601" y="53"/>
                  </a:cubicBezTo>
                  <a:cubicBezTo>
                    <a:pt x="1597" y="47"/>
                    <a:pt x="1591" y="42"/>
                    <a:pt x="1585" y="40"/>
                  </a:cubicBezTo>
                  <a:cubicBezTo>
                    <a:pt x="1582" y="39"/>
                    <a:pt x="1578" y="39"/>
                    <a:pt x="1575" y="38"/>
                  </a:cubicBezTo>
                  <a:cubicBezTo>
                    <a:pt x="1568" y="38"/>
                    <a:pt x="1562" y="39"/>
                    <a:pt x="1555" y="42"/>
                  </a:cubicBezTo>
                  <a:cubicBezTo>
                    <a:pt x="1549" y="46"/>
                    <a:pt x="1544" y="51"/>
                    <a:pt x="1540" y="58"/>
                  </a:cubicBezTo>
                  <a:cubicBezTo>
                    <a:pt x="1536" y="66"/>
                    <a:pt x="1534" y="75"/>
                    <a:pt x="1533" y="84"/>
                  </a:cubicBezTo>
                  <a:cubicBezTo>
                    <a:pt x="1531" y="96"/>
                    <a:pt x="1531" y="109"/>
                    <a:pt x="1533" y="122"/>
                  </a:cubicBezTo>
                  <a:cubicBezTo>
                    <a:pt x="1534" y="130"/>
                    <a:pt x="1535" y="137"/>
                    <a:pt x="1539" y="144"/>
                  </a:cubicBezTo>
                  <a:cubicBezTo>
                    <a:pt x="1545" y="155"/>
                    <a:pt x="1553" y="163"/>
                    <a:pt x="1566" y="164"/>
                  </a:cubicBezTo>
                  <a:cubicBezTo>
                    <a:pt x="1579" y="165"/>
                    <a:pt x="1590" y="161"/>
                    <a:pt x="1598" y="151"/>
                  </a:cubicBezTo>
                  <a:cubicBezTo>
                    <a:pt x="1602" y="145"/>
                    <a:pt x="1605" y="138"/>
                    <a:pt x="1607" y="131"/>
                  </a:cubicBezTo>
                  <a:cubicBezTo>
                    <a:pt x="1610" y="121"/>
                    <a:pt x="1611" y="111"/>
                    <a:pt x="1611" y="100"/>
                  </a:cubicBezTo>
                  <a:cubicBezTo>
                    <a:pt x="1611" y="91"/>
                    <a:pt x="1610" y="82"/>
                    <a:pt x="1608" y="73"/>
                  </a:cubicBezTo>
                  <a:close/>
                  <a:moveTo>
                    <a:pt x="1594" y="129"/>
                  </a:moveTo>
                  <a:cubicBezTo>
                    <a:pt x="1593" y="134"/>
                    <a:pt x="1591" y="138"/>
                    <a:pt x="1589" y="142"/>
                  </a:cubicBezTo>
                  <a:cubicBezTo>
                    <a:pt x="1585" y="147"/>
                    <a:pt x="1581" y="151"/>
                    <a:pt x="1575" y="152"/>
                  </a:cubicBezTo>
                  <a:cubicBezTo>
                    <a:pt x="1567" y="153"/>
                    <a:pt x="1560" y="151"/>
                    <a:pt x="1555" y="144"/>
                  </a:cubicBezTo>
                  <a:cubicBezTo>
                    <a:pt x="1551" y="140"/>
                    <a:pt x="1550" y="135"/>
                    <a:pt x="1548" y="129"/>
                  </a:cubicBezTo>
                  <a:cubicBezTo>
                    <a:pt x="1547" y="122"/>
                    <a:pt x="1546" y="115"/>
                    <a:pt x="1546" y="107"/>
                  </a:cubicBezTo>
                  <a:cubicBezTo>
                    <a:pt x="1546" y="97"/>
                    <a:pt x="1546" y="87"/>
                    <a:pt x="1548" y="77"/>
                  </a:cubicBezTo>
                  <a:cubicBezTo>
                    <a:pt x="1549" y="72"/>
                    <a:pt x="1550" y="67"/>
                    <a:pt x="1552" y="63"/>
                  </a:cubicBezTo>
                  <a:cubicBezTo>
                    <a:pt x="1554" y="61"/>
                    <a:pt x="1555" y="59"/>
                    <a:pt x="1556" y="57"/>
                  </a:cubicBezTo>
                  <a:cubicBezTo>
                    <a:pt x="1563" y="48"/>
                    <a:pt x="1580" y="47"/>
                    <a:pt x="1588" y="59"/>
                  </a:cubicBezTo>
                  <a:cubicBezTo>
                    <a:pt x="1591" y="64"/>
                    <a:pt x="1593" y="70"/>
                    <a:pt x="1594" y="76"/>
                  </a:cubicBezTo>
                  <a:cubicBezTo>
                    <a:pt x="1596" y="84"/>
                    <a:pt x="1596" y="92"/>
                    <a:pt x="1596" y="104"/>
                  </a:cubicBezTo>
                  <a:cubicBezTo>
                    <a:pt x="1596" y="111"/>
                    <a:pt x="1596" y="120"/>
                    <a:pt x="1594" y="129"/>
                  </a:cubicBezTo>
                  <a:close/>
                  <a:moveTo>
                    <a:pt x="1125" y="114"/>
                  </a:moveTo>
                  <a:cubicBezTo>
                    <a:pt x="1125" y="107"/>
                    <a:pt x="1124" y="100"/>
                    <a:pt x="1121" y="93"/>
                  </a:cubicBezTo>
                  <a:cubicBezTo>
                    <a:pt x="1117" y="85"/>
                    <a:pt x="1112" y="78"/>
                    <a:pt x="1103" y="75"/>
                  </a:cubicBezTo>
                  <a:cubicBezTo>
                    <a:pt x="1096" y="73"/>
                    <a:pt x="1090" y="72"/>
                    <a:pt x="1083" y="73"/>
                  </a:cubicBezTo>
                  <a:cubicBezTo>
                    <a:pt x="1070" y="76"/>
                    <a:pt x="1061" y="83"/>
                    <a:pt x="1055" y="94"/>
                  </a:cubicBezTo>
                  <a:cubicBezTo>
                    <a:pt x="1050" y="103"/>
                    <a:pt x="1049" y="114"/>
                    <a:pt x="1049" y="124"/>
                  </a:cubicBezTo>
                  <a:cubicBezTo>
                    <a:pt x="1050" y="131"/>
                    <a:pt x="1051" y="137"/>
                    <a:pt x="1054" y="143"/>
                  </a:cubicBezTo>
                  <a:cubicBezTo>
                    <a:pt x="1059" y="154"/>
                    <a:pt x="1068" y="161"/>
                    <a:pt x="1080" y="163"/>
                  </a:cubicBezTo>
                  <a:cubicBezTo>
                    <a:pt x="1088" y="165"/>
                    <a:pt x="1096" y="164"/>
                    <a:pt x="1103" y="163"/>
                  </a:cubicBezTo>
                  <a:cubicBezTo>
                    <a:pt x="1109" y="161"/>
                    <a:pt x="1113" y="160"/>
                    <a:pt x="1118" y="157"/>
                  </a:cubicBezTo>
                  <a:cubicBezTo>
                    <a:pt x="1119" y="156"/>
                    <a:pt x="1119" y="155"/>
                    <a:pt x="1119" y="154"/>
                  </a:cubicBezTo>
                  <a:cubicBezTo>
                    <a:pt x="1119" y="151"/>
                    <a:pt x="1119" y="148"/>
                    <a:pt x="1119" y="144"/>
                  </a:cubicBezTo>
                  <a:cubicBezTo>
                    <a:pt x="1119" y="144"/>
                    <a:pt x="1119" y="144"/>
                    <a:pt x="1119" y="143"/>
                  </a:cubicBezTo>
                  <a:cubicBezTo>
                    <a:pt x="1119" y="143"/>
                    <a:pt x="1118" y="143"/>
                    <a:pt x="1118" y="143"/>
                  </a:cubicBezTo>
                  <a:cubicBezTo>
                    <a:pt x="1118" y="144"/>
                    <a:pt x="1117" y="144"/>
                    <a:pt x="1116" y="145"/>
                  </a:cubicBezTo>
                  <a:cubicBezTo>
                    <a:pt x="1107" y="151"/>
                    <a:pt x="1096" y="153"/>
                    <a:pt x="1085" y="152"/>
                  </a:cubicBezTo>
                  <a:cubicBezTo>
                    <a:pt x="1076" y="150"/>
                    <a:pt x="1070" y="145"/>
                    <a:pt x="1066" y="137"/>
                  </a:cubicBezTo>
                  <a:cubicBezTo>
                    <a:pt x="1065" y="134"/>
                    <a:pt x="1065" y="130"/>
                    <a:pt x="1064" y="127"/>
                  </a:cubicBezTo>
                  <a:cubicBezTo>
                    <a:pt x="1064" y="126"/>
                    <a:pt x="1064" y="124"/>
                    <a:pt x="1064" y="122"/>
                  </a:cubicBezTo>
                  <a:cubicBezTo>
                    <a:pt x="1084" y="122"/>
                    <a:pt x="1104" y="122"/>
                    <a:pt x="1125" y="122"/>
                  </a:cubicBezTo>
                  <a:cubicBezTo>
                    <a:pt x="1125" y="119"/>
                    <a:pt x="1125" y="117"/>
                    <a:pt x="1125" y="114"/>
                  </a:cubicBezTo>
                  <a:close/>
                  <a:moveTo>
                    <a:pt x="1064" y="110"/>
                  </a:moveTo>
                  <a:cubicBezTo>
                    <a:pt x="1064" y="108"/>
                    <a:pt x="1064" y="107"/>
                    <a:pt x="1065" y="105"/>
                  </a:cubicBezTo>
                  <a:cubicBezTo>
                    <a:pt x="1066" y="100"/>
                    <a:pt x="1069" y="94"/>
                    <a:pt x="1074" y="90"/>
                  </a:cubicBezTo>
                  <a:cubicBezTo>
                    <a:pt x="1081" y="84"/>
                    <a:pt x="1089" y="84"/>
                    <a:pt x="1098" y="86"/>
                  </a:cubicBezTo>
                  <a:cubicBezTo>
                    <a:pt x="1101" y="88"/>
                    <a:pt x="1103" y="90"/>
                    <a:pt x="1105" y="92"/>
                  </a:cubicBezTo>
                  <a:cubicBezTo>
                    <a:pt x="1109" y="98"/>
                    <a:pt x="1110" y="104"/>
                    <a:pt x="1111" y="110"/>
                  </a:cubicBezTo>
                  <a:cubicBezTo>
                    <a:pt x="1095" y="110"/>
                    <a:pt x="1080" y="110"/>
                    <a:pt x="1064" y="110"/>
                  </a:cubicBezTo>
                  <a:close/>
                  <a:moveTo>
                    <a:pt x="1351" y="109"/>
                  </a:moveTo>
                  <a:cubicBezTo>
                    <a:pt x="1351" y="103"/>
                    <a:pt x="1349" y="97"/>
                    <a:pt x="1347" y="92"/>
                  </a:cubicBezTo>
                  <a:cubicBezTo>
                    <a:pt x="1343" y="84"/>
                    <a:pt x="1337" y="78"/>
                    <a:pt x="1329" y="75"/>
                  </a:cubicBezTo>
                  <a:cubicBezTo>
                    <a:pt x="1323" y="73"/>
                    <a:pt x="1316" y="72"/>
                    <a:pt x="1309" y="74"/>
                  </a:cubicBezTo>
                  <a:cubicBezTo>
                    <a:pt x="1297" y="76"/>
                    <a:pt x="1288" y="82"/>
                    <a:pt x="1282" y="93"/>
                  </a:cubicBezTo>
                  <a:cubicBezTo>
                    <a:pt x="1273" y="108"/>
                    <a:pt x="1274" y="130"/>
                    <a:pt x="1280" y="143"/>
                  </a:cubicBezTo>
                  <a:cubicBezTo>
                    <a:pt x="1285" y="154"/>
                    <a:pt x="1294" y="161"/>
                    <a:pt x="1306" y="163"/>
                  </a:cubicBezTo>
                  <a:cubicBezTo>
                    <a:pt x="1314" y="165"/>
                    <a:pt x="1322" y="164"/>
                    <a:pt x="1330" y="163"/>
                  </a:cubicBezTo>
                  <a:cubicBezTo>
                    <a:pt x="1334" y="162"/>
                    <a:pt x="1339" y="160"/>
                    <a:pt x="1343" y="157"/>
                  </a:cubicBezTo>
                  <a:cubicBezTo>
                    <a:pt x="1345" y="156"/>
                    <a:pt x="1345" y="155"/>
                    <a:pt x="1345" y="153"/>
                  </a:cubicBezTo>
                  <a:cubicBezTo>
                    <a:pt x="1345" y="151"/>
                    <a:pt x="1345" y="148"/>
                    <a:pt x="1345" y="145"/>
                  </a:cubicBezTo>
                  <a:cubicBezTo>
                    <a:pt x="1345" y="144"/>
                    <a:pt x="1345" y="144"/>
                    <a:pt x="1345" y="143"/>
                  </a:cubicBezTo>
                  <a:cubicBezTo>
                    <a:pt x="1344" y="143"/>
                    <a:pt x="1343" y="144"/>
                    <a:pt x="1343" y="144"/>
                  </a:cubicBezTo>
                  <a:cubicBezTo>
                    <a:pt x="1333" y="151"/>
                    <a:pt x="1323" y="154"/>
                    <a:pt x="1311" y="152"/>
                  </a:cubicBezTo>
                  <a:cubicBezTo>
                    <a:pt x="1303" y="150"/>
                    <a:pt x="1296" y="145"/>
                    <a:pt x="1293" y="137"/>
                  </a:cubicBezTo>
                  <a:cubicBezTo>
                    <a:pt x="1292" y="134"/>
                    <a:pt x="1291" y="131"/>
                    <a:pt x="1290" y="128"/>
                  </a:cubicBezTo>
                  <a:cubicBezTo>
                    <a:pt x="1290" y="126"/>
                    <a:pt x="1290" y="124"/>
                    <a:pt x="1290" y="122"/>
                  </a:cubicBezTo>
                  <a:cubicBezTo>
                    <a:pt x="1310" y="122"/>
                    <a:pt x="1331" y="122"/>
                    <a:pt x="1351" y="122"/>
                  </a:cubicBezTo>
                  <a:cubicBezTo>
                    <a:pt x="1351" y="118"/>
                    <a:pt x="1351" y="113"/>
                    <a:pt x="1351" y="109"/>
                  </a:cubicBezTo>
                  <a:close/>
                  <a:moveTo>
                    <a:pt x="1290" y="110"/>
                  </a:moveTo>
                  <a:cubicBezTo>
                    <a:pt x="1291" y="108"/>
                    <a:pt x="1291" y="106"/>
                    <a:pt x="1291" y="105"/>
                  </a:cubicBezTo>
                  <a:cubicBezTo>
                    <a:pt x="1293" y="99"/>
                    <a:pt x="1296" y="94"/>
                    <a:pt x="1301" y="90"/>
                  </a:cubicBezTo>
                  <a:cubicBezTo>
                    <a:pt x="1308" y="84"/>
                    <a:pt x="1316" y="84"/>
                    <a:pt x="1324" y="86"/>
                  </a:cubicBezTo>
                  <a:cubicBezTo>
                    <a:pt x="1328" y="88"/>
                    <a:pt x="1331" y="91"/>
                    <a:pt x="1333" y="94"/>
                  </a:cubicBezTo>
                  <a:cubicBezTo>
                    <a:pt x="1336" y="98"/>
                    <a:pt x="1337" y="105"/>
                    <a:pt x="1337" y="110"/>
                  </a:cubicBezTo>
                  <a:cubicBezTo>
                    <a:pt x="1321" y="110"/>
                    <a:pt x="1306" y="110"/>
                    <a:pt x="1290" y="110"/>
                  </a:cubicBezTo>
                  <a:close/>
                  <a:moveTo>
                    <a:pt x="1033" y="56"/>
                  </a:moveTo>
                  <a:cubicBezTo>
                    <a:pt x="1033" y="53"/>
                    <a:pt x="1033" y="51"/>
                    <a:pt x="1033" y="48"/>
                  </a:cubicBezTo>
                  <a:cubicBezTo>
                    <a:pt x="1033" y="42"/>
                    <a:pt x="1033" y="42"/>
                    <a:pt x="1027" y="40"/>
                  </a:cubicBezTo>
                  <a:cubicBezTo>
                    <a:pt x="1022" y="39"/>
                    <a:pt x="1017" y="38"/>
                    <a:pt x="1012" y="38"/>
                  </a:cubicBezTo>
                  <a:cubicBezTo>
                    <a:pt x="1005" y="38"/>
                    <a:pt x="999" y="38"/>
                    <a:pt x="992" y="41"/>
                  </a:cubicBezTo>
                  <a:cubicBezTo>
                    <a:pt x="980" y="45"/>
                    <a:pt x="972" y="53"/>
                    <a:pt x="971" y="66"/>
                  </a:cubicBezTo>
                  <a:cubicBezTo>
                    <a:pt x="969" y="76"/>
                    <a:pt x="972" y="85"/>
                    <a:pt x="979" y="93"/>
                  </a:cubicBezTo>
                  <a:cubicBezTo>
                    <a:pt x="984" y="97"/>
                    <a:pt x="989" y="101"/>
                    <a:pt x="995" y="104"/>
                  </a:cubicBezTo>
                  <a:cubicBezTo>
                    <a:pt x="999" y="107"/>
                    <a:pt x="1003" y="109"/>
                    <a:pt x="1007" y="112"/>
                  </a:cubicBezTo>
                  <a:cubicBezTo>
                    <a:pt x="1010" y="114"/>
                    <a:pt x="1013" y="116"/>
                    <a:pt x="1016" y="118"/>
                  </a:cubicBezTo>
                  <a:cubicBezTo>
                    <a:pt x="1020" y="122"/>
                    <a:pt x="1022" y="126"/>
                    <a:pt x="1023" y="131"/>
                  </a:cubicBezTo>
                  <a:cubicBezTo>
                    <a:pt x="1023" y="141"/>
                    <a:pt x="1019" y="147"/>
                    <a:pt x="1010" y="150"/>
                  </a:cubicBezTo>
                  <a:cubicBezTo>
                    <a:pt x="1008" y="150"/>
                    <a:pt x="1005" y="151"/>
                    <a:pt x="1002" y="151"/>
                  </a:cubicBezTo>
                  <a:cubicBezTo>
                    <a:pt x="991" y="152"/>
                    <a:pt x="981" y="148"/>
                    <a:pt x="972" y="142"/>
                  </a:cubicBezTo>
                  <a:cubicBezTo>
                    <a:pt x="971" y="141"/>
                    <a:pt x="971" y="141"/>
                    <a:pt x="970" y="141"/>
                  </a:cubicBezTo>
                  <a:cubicBezTo>
                    <a:pt x="970" y="142"/>
                    <a:pt x="970" y="142"/>
                    <a:pt x="970" y="143"/>
                  </a:cubicBezTo>
                  <a:cubicBezTo>
                    <a:pt x="970" y="146"/>
                    <a:pt x="970" y="150"/>
                    <a:pt x="970" y="153"/>
                  </a:cubicBezTo>
                  <a:cubicBezTo>
                    <a:pt x="970" y="158"/>
                    <a:pt x="970" y="158"/>
                    <a:pt x="974" y="159"/>
                  </a:cubicBezTo>
                  <a:cubicBezTo>
                    <a:pt x="981" y="162"/>
                    <a:pt x="988" y="164"/>
                    <a:pt x="995" y="164"/>
                  </a:cubicBezTo>
                  <a:cubicBezTo>
                    <a:pt x="1003" y="164"/>
                    <a:pt x="1011" y="164"/>
                    <a:pt x="1018" y="161"/>
                  </a:cubicBezTo>
                  <a:cubicBezTo>
                    <a:pt x="1035" y="154"/>
                    <a:pt x="1040" y="140"/>
                    <a:pt x="1037" y="125"/>
                  </a:cubicBezTo>
                  <a:cubicBezTo>
                    <a:pt x="1036" y="118"/>
                    <a:pt x="1032" y="113"/>
                    <a:pt x="1027" y="108"/>
                  </a:cubicBezTo>
                  <a:cubicBezTo>
                    <a:pt x="1022" y="104"/>
                    <a:pt x="1017" y="100"/>
                    <a:pt x="1011" y="97"/>
                  </a:cubicBezTo>
                  <a:cubicBezTo>
                    <a:pt x="1007" y="95"/>
                    <a:pt x="1003" y="92"/>
                    <a:pt x="999" y="90"/>
                  </a:cubicBezTo>
                  <a:cubicBezTo>
                    <a:pt x="996" y="88"/>
                    <a:pt x="994" y="87"/>
                    <a:pt x="992" y="85"/>
                  </a:cubicBezTo>
                  <a:cubicBezTo>
                    <a:pt x="988" y="82"/>
                    <a:pt x="986" y="78"/>
                    <a:pt x="985" y="73"/>
                  </a:cubicBezTo>
                  <a:cubicBezTo>
                    <a:pt x="984" y="64"/>
                    <a:pt x="988" y="57"/>
                    <a:pt x="996" y="53"/>
                  </a:cubicBezTo>
                  <a:cubicBezTo>
                    <a:pt x="999" y="52"/>
                    <a:pt x="1002" y="51"/>
                    <a:pt x="1005" y="51"/>
                  </a:cubicBezTo>
                  <a:cubicBezTo>
                    <a:pt x="1015" y="51"/>
                    <a:pt x="1024" y="52"/>
                    <a:pt x="1032" y="58"/>
                  </a:cubicBezTo>
                  <a:cubicBezTo>
                    <a:pt x="1032" y="58"/>
                    <a:pt x="1032" y="58"/>
                    <a:pt x="1033" y="58"/>
                  </a:cubicBezTo>
                  <a:cubicBezTo>
                    <a:pt x="1033" y="58"/>
                    <a:pt x="1033" y="57"/>
                    <a:pt x="1033" y="56"/>
                  </a:cubicBezTo>
                  <a:close/>
                  <a:moveTo>
                    <a:pt x="736" y="100"/>
                  </a:moveTo>
                  <a:cubicBezTo>
                    <a:pt x="731" y="87"/>
                    <a:pt x="723" y="78"/>
                    <a:pt x="709" y="74"/>
                  </a:cubicBezTo>
                  <a:cubicBezTo>
                    <a:pt x="702" y="72"/>
                    <a:pt x="694" y="72"/>
                    <a:pt x="687" y="74"/>
                  </a:cubicBezTo>
                  <a:cubicBezTo>
                    <a:pt x="673" y="76"/>
                    <a:pt x="662" y="84"/>
                    <a:pt x="657" y="98"/>
                  </a:cubicBezTo>
                  <a:cubicBezTo>
                    <a:pt x="651" y="111"/>
                    <a:pt x="651" y="124"/>
                    <a:pt x="656" y="138"/>
                  </a:cubicBezTo>
                  <a:cubicBezTo>
                    <a:pt x="660" y="149"/>
                    <a:pt x="668" y="158"/>
                    <a:pt x="680" y="162"/>
                  </a:cubicBezTo>
                  <a:cubicBezTo>
                    <a:pt x="687" y="164"/>
                    <a:pt x="694" y="165"/>
                    <a:pt x="701" y="164"/>
                  </a:cubicBezTo>
                  <a:cubicBezTo>
                    <a:pt x="717" y="162"/>
                    <a:pt x="728" y="154"/>
                    <a:pt x="734" y="139"/>
                  </a:cubicBezTo>
                  <a:cubicBezTo>
                    <a:pt x="737" y="133"/>
                    <a:pt x="738" y="125"/>
                    <a:pt x="738" y="118"/>
                  </a:cubicBezTo>
                  <a:cubicBezTo>
                    <a:pt x="738" y="112"/>
                    <a:pt x="737" y="105"/>
                    <a:pt x="736" y="100"/>
                  </a:cubicBezTo>
                  <a:close/>
                  <a:moveTo>
                    <a:pt x="670" y="103"/>
                  </a:moveTo>
                  <a:cubicBezTo>
                    <a:pt x="674" y="92"/>
                    <a:pt x="683" y="85"/>
                    <a:pt x="694" y="85"/>
                  </a:cubicBezTo>
                  <a:cubicBezTo>
                    <a:pt x="698" y="85"/>
                    <a:pt x="701" y="85"/>
                    <a:pt x="704" y="86"/>
                  </a:cubicBezTo>
                  <a:cubicBezTo>
                    <a:pt x="711" y="88"/>
                    <a:pt x="717" y="92"/>
                    <a:pt x="720" y="99"/>
                  </a:cubicBezTo>
                  <a:cubicBezTo>
                    <a:pt x="723" y="104"/>
                    <a:pt x="723" y="109"/>
                    <a:pt x="724" y="114"/>
                  </a:cubicBezTo>
                  <a:cubicBezTo>
                    <a:pt x="724" y="120"/>
                    <a:pt x="724" y="127"/>
                    <a:pt x="722" y="133"/>
                  </a:cubicBezTo>
                  <a:cubicBezTo>
                    <a:pt x="722" y="134"/>
                    <a:pt x="721" y="136"/>
                    <a:pt x="721" y="137"/>
                  </a:cubicBezTo>
                  <a:cubicBezTo>
                    <a:pt x="717" y="146"/>
                    <a:pt x="709" y="151"/>
                    <a:pt x="700" y="152"/>
                  </a:cubicBezTo>
                  <a:cubicBezTo>
                    <a:pt x="695" y="152"/>
                    <a:pt x="691" y="152"/>
                    <a:pt x="687" y="151"/>
                  </a:cubicBezTo>
                  <a:cubicBezTo>
                    <a:pt x="677" y="148"/>
                    <a:pt x="672" y="141"/>
                    <a:pt x="669" y="132"/>
                  </a:cubicBezTo>
                  <a:cubicBezTo>
                    <a:pt x="668" y="130"/>
                    <a:pt x="668" y="128"/>
                    <a:pt x="667" y="126"/>
                  </a:cubicBezTo>
                  <a:cubicBezTo>
                    <a:pt x="667" y="124"/>
                    <a:pt x="667" y="121"/>
                    <a:pt x="667" y="120"/>
                  </a:cubicBezTo>
                  <a:cubicBezTo>
                    <a:pt x="667" y="113"/>
                    <a:pt x="668" y="108"/>
                    <a:pt x="670" y="103"/>
                  </a:cubicBezTo>
                  <a:close/>
                  <a:moveTo>
                    <a:pt x="1955" y="149"/>
                  </a:moveTo>
                  <a:cubicBezTo>
                    <a:pt x="1953" y="149"/>
                    <a:pt x="1950" y="149"/>
                    <a:pt x="1948" y="149"/>
                  </a:cubicBezTo>
                  <a:cubicBezTo>
                    <a:pt x="1945" y="149"/>
                    <a:pt x="1943" y="149"/>
                    <a:pt x="1940" y="149"/>
                  </a:cubicBezTo>
                  <a:cubicBezTo>
                    <a:pt x="1938" y="149"/>
                    <a:pt x="1935" y="149"/>
                    <a:pt x="1933" y="149"/>
                  </a:cubicBezTo>
                  <a:cubicBezTo>
                    <a:pt x="1930" y="149"/>
                    <a:pt x="1928" y="149"/>
                    <a:pt x="1925" y="149"/>
                  </a:cubicBezTo>
                  <a:cubicBezTo>
                    <a:pt x="1923" y="149"/>
                    <a:pt x="1920" y="149"/>
                    <a:pt x="1918" y="149"/>
                  </a:cubicBezTo>
                  <a:cubicBezTo>
                    <a:pt x="1915" y="149"/>
                    <a:pt x="1913" y="149"/>
                    <a:pt x="1910" y="149"/>
                  </a:cubicBezTo>
                  <a:cubicBezTo>
                    <a:pt x="1908" y="149"/>
                    <a:pt x="1905" y="150"/>
                    <a:pt x="1903" y="149"/>
                  </a:cubicBezTo>
                  <a:cubicBezTo>
                    <a:pt x="1902" y="144"/>
                    <a:pt x="1904" y="139"/>
                    <a:pt x="1907" y="135"/>
                  </a:cubicBezTo>
                  <a:cubicBezTo>
                    <a:pt x="1909" y="133"/>
                    <a:pt x="1911" y="130"/>
                    <a:pt x="1913" y="128"/>
                  </a:cubicBezTo>
                  <a:cubicBezTo>
                    <a:pt x="1919" y="124"/>
                    <a:pt x="1925" y="119"/>
                    <a:pt x="1931" y="115"/>
                  </a:cubicBezTo>
                  <a:cubicBezTo>
                    <a:pt x="1936" y="111"/>
                    <a:pt x="1941" y="107"/>
                    <a:pt x="1945" y="103"/>
                  </a:cubicBezTo>
                  <a:cubicBezTo>
                    <a:pt x="1955" y="93"/>
                    <a:pt x="1959" y="81"/>
                    <a:pt x="1958" y="67"/>
                  </a:cubicBezTo>
                  <a:cubicBezTo>
                    <a:pt x="1957" y="53"/>
                    <a:pt x="1949" y="44"/>
                    <a:pt x="1936" y="40"/>
                  </a:cubicBezTo>
                  <a:cubicBezTo>
                    <a:pt x="1930" y="38"/>
                    <a:pt x="1924" y="38"/>
                    <a:pt x="1917" y="39"/>
                  </a:cubicBezTo>
                  <a:cubicBezTo>
                    <a:pt x="1908" y="39"/>
                    <a:pt x="1901" y="43"/>
                    <a:pt x="1894" y="49"/>
                  </a:cubicBezTo>
                  <a:cubicBezTo>
                    <a:pt x="1893" y="50"/>
                    <a:pt x="1893" y="50"/>
                    <a:pt x="1893" y="51"/>
                  </a:cubicBezTo>
                  <a:cubicBezTo>
                    <a:pt x="1893" y="55"/>
                    <a:pt x="1893" y="59"/>
                    <a:pt x="1893" y="63"/>
                  </a:cubicBezTo>
                  <a:cubicBezTo>
                    <a:pt x="1893" y="63"/>
                    <a:pt x="1893" y="64"/>
                    <a:pt x="1893" y="65"/>
                  </a:cubicBezTo>
                  <a:cubicBezTo>
                    <a:pt x="1894" y="64"/>
                    <a:pt x="1894" y="63"/>
                    <a:pt x="1895" y="63"/>
                  </a:cubicBezTo>
                  <a:cubicBezTo>
                    <a:pt x="1898" y="59"/>
                    <a:pt x="1902" y="56"/>
                    <a:pt x="1906" y="54"/>
                  </a:cubicBezTo>
                  <a:cubicBezTo>
                    <a:pt x="1912" y="51"/>
                    <a:pt x="1918" y="50"/>
                    <a:pt x="1924" y="50"/>
                  </a:cubicBezTo>
                  <a:cubicBezTo>
                    <a:pt x="1936" y="51"/>
                    <a:pt x="1944" y="59"/>
                    <a:pt x="1944" y="71"/>
                  </a:cubicBezTo>
                  <a:cubicBezTo>
                    <a:pt x="1944" y="81"/>
                    <a:pt x="1941" y="89"/>
                    <a:pt x="1935" y="96"/>
                  </a:cubicBezTo>
                  <a:cubicBezTo>
                    <a:pt x="1931" y="101"/>
                    <a:pt x="1926" y="104"/>
                    <a:pt x="1921" y="108"/>
                  </a:cubicBezTo>
                  <a:cubicBezTo>
                    <a:pt x="1914" y="113"/>
                    <a:pt x="1908" y="118"/>
                    <a:pt x="1902" y="124"/>
                  </a:cubicBezTo>
                  <a:cubicBezTo>
                    <a:pt x="1893" y="131"/>
                    <a:pt x="1888" y="141"/>
                    <a:pt x="1888" y="152"/>
                  </a:cubicBezTo>
                  <a:cubicBezTo>
                    <a:pt x="1888" y="155"/>
                    <a:pt x="1888" y="159"/>
                    <a:pt x="1888" y="162"/>
                  </a:cubicBezTo>
                  <a:cubicBezTo>
                    <a:pt x="1913" y="162"/>
                    <a:pt x="1938" y="162"/>
                    <a:pt x="1963" y="162"/>
                  </a:cubicBezTo>
                  <a:cubicBezTo>
                    <a:pt x="1963" y="158"/>
                    <a:pt x="1963" y="154"/>
                    <a:pt x="1963" y="149"/>
                  </a:cubicBezTo>
                  <a:cubicBezTo>
                    <a:pt x="1960" y="149"/>
                    <a:pt x="1958" y="149"/>
                    <a:pt x="1955" y="149"/>
                  </a:cubicBezTo>
                  <a:close/>
                  <a:moveTo>
                    <a:pt x="1504" y="149"/>
                  </a:moveTo>
                  <a:cubicBezTo>
                    <a:pt x="1499" y="149"/>
                    <a:pt x="1494" y="149"/>
                    <a:pt x="1489" y="149"/>
                  </a:cubicBezTo>
                  <a:cubicBezTo>
                    <a:pt x="1484" y="149"/>
                    <a:pt x="1479" y="149"/>
                    <a:pt x="1474" y="149"/>
                  </a:cubicBezTo>
                  <a:cubicBezTo>
                    <a:pt x="1469" y="149"/>
                    <a:pt x="1464" y="149"/>
                    <a:pt x="1459" y="149"/>
                  </a:cubicBezTo>
                  <a:cubicBezTo>
                    <a:pt x="1459" y="145"/>
                    <a:pt x="1460" y="140"/>
                    <a:pt x="1463" y="136"/>
                  </a:cubicBezTo>
                  <a:cubicBezTo>
                    <a:pt x="1465" y="132"/>
                    <a:pt x="1468" y="130"/>
                    <a:pt x="1471" y="127"/>
                  </a:cubicBezTo>
                  <a:cubicBezTo>
                    <a:pt x="1476" y="123"/>
                    <a:pt x="1482" y="119"/>
                    <a:pt x="1487" y="115"/>
                  </a:cubicBezTo>
                  <a:cubicBezTo>
                    <a:pt x="1491" y="112"/>
                    <a:pt x="1495" y="109"/>
                    <a:pt x="1499" y="106"/>
                  </a:cubicBezTo>
                  <a:cubicBezTo>
                    <a:pt x="1503" y="102"/>
                    <a:pt x="1506" y="98"/>
                    <a:pt x="1509" y="93"/>
                  </a:cubicBezTo>
                  <a:cubicBezTo>
                    <a:pt x="1514" y="86"/>
                    <a:pt x="1515" y="77"/>
                    <a:pt x="1515" y="69"/>
                  </a:cubicBezTo>
                  <a:cubicBezTo>
                    <a:pt x="1514" y="55"/>
                    <a:pt x="1506" y="44"/>
                    <a:pt x="1492" y="40"/>
                  </a:cubicBezTo>
                  <a:cubicBezTo>
                    <a:pt x="1486" y="38"/>
                    <a:pt x="1480" y="38"/>
                    <a:pt x="1474" y="39"/>
                  </a:cubicBezTo>
                  <a:cubicBezTo>
                    <a:pt x="1465" y="39"/>
                    <a:pt x="1457" y="43"/>
                    <a:pt x="1450" y="49"/>
                  </a:cubicBezTo>
                  <a:cubicBezTo>
                    <a:pt x="1449" y="50"/>
                    <a:pt x="1449" y="51"/>
                    <a:pt x="1449" y="52"/>
                  </a:cubicBezTo>
                  <a:cubicBezTo>
                    <a:pt x="1449" y="55"/>
                    <a:pt x="1449" y="59"/>
                    <a:pt x="1449" y="63"/>
                  </a:cubicBezTo>
                  <a:cubicBezTo>
                    <a:pt x="1449" y="63"/>
                    <a:pt x="1449" y="64"/>
                    <a:pt x="1449" y="65"/>
                  </a:cubicBezTo>
                  <a:cubicBezTo>
                    <a:pt x="1450" y="64"/>
                    <a:pt x="1450" y="63"/>
                    <a:pt x="1451" y="63"/>
                  </a:cubicBezTo>
                  <a:cubicBezTo>
                    <a:pt x="1454" y="60"/>
                    <a:pt x="1457" y="58"/>
                    <a:pt x="1460" y="56"/>
                  </a:cubicBezTo>
                  <a:cubicBezTo>
                    <a:pt x="1466" y="52"/>
                    <a:pt x="1473" y="50"/>
                    <a:pt x="1481" y="50"/>
                  </a:cubicBezTo>
                  <a:cubicBezTo>
                    <a:pt x="1491" y="51"/>
                    <a:pt x="1498" y="57"/>
                    <a:pt x="1500" y="66"/>
                  </a:cubicBezTo>
                  <a:cubicBezTo>
                    <a:pt x="1501" y="70"/>
                    <a:pt x="1501" y="74"/>
                    <a:pt x="1500" y="78"/>
                  </a:cubicBezTo>
                  <a:cubicBezTo>
                    <a:pt x="1499" y="86"/>
                    <a:pt x="1495" y="92"/>
                    <a:pt x="1490" y="98"/>
                  </a:cubicBezTo>
                  <a:cubicBezTo>
                    <a:pt x="1485" y="102"/>
                    <a:pt x="1480" y="106"/>
                    <a:pt x="1475" y="110"/>
                  </a:cubicBezTo>
                  <a:cubicBezTo>
                    <a:pt x="1468" y="115"/>
                    <a:pt x="1462" y="120"/>
                    <a:pt x="1456" y="126"/>
                  </a:cubicBezTo>
                  <a:cubicBezTo>
                    <a:pt x="1450" y="131"/>
                    <a:pt x="1446" y="138"/>
                    <a:pt x="1445" y="146"/>
                  </a:cubicBezTo>
                  <a:cubicBezTo>
                    <a:pt x="1444" y="151"/>
                    <a:pt x="1444" y="156"/>
                    <a:pt x="1444" y="162"/>
                  </a:cubicBezTo>
                  <a:cubicBezTo>
                    <a:pt x="1444" y="162"/>
                    <a:pt x="1445" y="162"/>
                    <a:pt x="1445" y="162"/>
                  </a:cubicBezTo>
                  <a:cubicBezTo>
                    <a:pt x="1469" y="162"/>
                    <a:pt x="1494" y="162"/>
                    <a:pt x="1519" y="162"/>
                  </a:cubicBezTo>
                  <a:cubicBezTo>
                    <a:pt x="1519" y="158"/>
                    <a:pt x="1519" y="154"/>
                    <a:pt x="1519" y="149"/>
                  </a:cubicBezTo>
                  <a:cubicBezTo>
                    <a:pt x="1514" y="149"/>
                    <a:pt x="1509" y="149"/>
                    <a:pt x="1504" y="149"/>
                  </a:cubicBezTo>
                  <a:close/>
                  <a:moveTo>
                    <a:pt x="1700" y="149"/>
                  </a:moveTo>
                  <a:cubicBezTo>
                    <a:pt x="1700" y="149"/>
                    <a:pt x="1700" y="148"/>
                    <a:pt x="1700" y="148"/>
                  </a:cubicBezTo>
                  <a:cubicBezTo>
                    <a:pt x="1700" y="143"/>
                    <a:pt x="1702" y="139"/>
                    <a:pt x="1705" y="135"/>
                  </a:cubicBezTo>
                  <a:cubicBezTo>
                    <a:pt x="1707" y="132"/>
                    <a:pt x="1710" y="129"/>
                    <a:pt x="1713" y="126"/>
                  </a:cubicBezTo>
                  <a:cubicBezTo>
                    <a:pt x="1718" y="123"/>
                    <a:pt x="1724" y="119"/>
                    <a:pt x="1729" y="115"/>
                  </a:cubicBezTo>
                  <a:cubicBezTo>
                    <a:pt x="1733" y="112"/>
                    <a:pt x="1738" y="108"/>
                    <a:pt x="1742" y="104"/>
                  </a:cubicBezTo>
                  <a:cubicBezTo>
                    <a:pt x="1753" y="94"/>
                    <a:pt x="1757" y="81"/>
                    <a:pt x="1756" y="67"/>
                  </a:cubicBezTo>
                  <a:cubicBezTo>
                    <a:pt x="1755" y="54"/>
                    <a:pt x="1747" y="44"/>
                    <a:pt x="1734" y="40"/>
                  </a:cubicBezTo>
                  <a:cubicBezTo>
                    <a:pt x="1728" y="38"/>
                    <a:pt x="1722" y="38"/>
                    <a:pt x="1716" y="39"/>
                  </a:cubicBezTo>
                  <a:cubicBezTo>
                    <a:pt x="1706" y="39"/>
                    <a:pt x="1699" y="43"/>
                    <a:pt x="1692" y="49"/>
                  </a:cubicBezTo>
                  <a:cubicBezTo>
                    <a:pt x="1691" y="50"/>
                    <a:pt x="1690" y="50"/>
                    <a:pt x="1691" y="52"/>
                  </a:cubicBezTo>
                  <a:cubicBezTo>
                    <a:pt x="1691" y="55"/>
                    <a:pt x="1691" y="59"/>
                    <a:pt x="1691" y="63"/>
                  </a:cubicBezTo>
                  <a:cubicBezTo>
                    <a:pt x="1691" y="63"/>
                    <a:pt x="1691" y="64"/>
                    <a:pt x="1691" y="65"/>
                  </a:cubicBezTo>
                  <a:cubicBezTo>
                    <a:pt x="1692" y="64"/>
                    <a:pt x="1692" y="63"/>
                    <a:pt x="1693" y="63"/>
                  </a:cubicBezTo>
                  <a:cubicBezTo>
                    <a:pt x="1696" y="59"/>
                    <a:pt x="1700" y="56"/>
                    <a:pt x="1705" y="54"/>
                  </a:cubicBezTo>
                  <a:cubicBezTo>
                    <a:pt x="1711" y="51"/>
                    <a:pt x="1717" y="50"/>
                    <a:pt x="1723" y="50"/>
                  </a:cubicBezTo>
                  <a:cubicBezTo>
                    <a:pt x="1733" y="51"/>
                    <a:pt x="1740" y="58"/>
                    <a:pt x="1742" y="67"/>
                  </a:cubicBezTo>
                  <a:cubicBezTo>
                    <a:pt x="1742" y="71"/>
                    <a:pt x="1742" y="76"/>
                    <a:pt x="1741" y="80"/>
                  </a:cubicBezTo>
                  <a:cubicBezTo>
                    <a:pt x="1740" y="87"/>
                    <a:pt x="1736" y="93"/>
                    <a:pt x="1731" y="98"/>
                  </a:cubicBezTo>
                  <a:cubicBezTo>
                    <a:pt x="1727" y="102"/>
                    <a:pt x="1722" y="106"/>
                    <a:pt x="1717" y="109"/>
                  </a:cubicBezTo>
                  <a:cubicBezTo>
                    <a:pt x="1710" y="114"/>
                    <a:pt x="1704" y="119"/>
                    <a:pt x="1698" y="125"/>
                  </a:cubicBezTo>
                  <a:cubicBezTo>
                    <a:pt x="1693" y="130"/>
                    <a:pt x="1689" y="136"/>
                    <a:pt x="1687" y="143"/>
                  </a:cubicBezTo>
                  <a:cubicBezTo>
                    <a:pt x="1686" y="149"/>
                    <a:pt x="1686" y="155"/>
                    <a:pt x="1686" y="162"/>
                  </a:cubicBezTo>
                  <a:cubicBezTo>
                    <a:pt x="1686" y="162"/>
                    <a:pt x="1686" y="162"/>
                    <a:pt x="1686" y="162"/>
                  </a:cubicBezTo>
                  <a:cubicBezTo>
                    <a:pt x="1711" y="162"/>
                    <a:pt x="1736" y="162"/>
                    <a:pt x="1761" y="162"/>
                  </a:cubicBezTo>
                  <a:cubicBezTo>
                    <a:pt x="1761" y="158"/>
                    <a:pt x="1761" y="154"/>
                    <a:pt x="1761" y="149"/>
                  </a:cubicBezTo>
                  <a:cubicBezTo>
                    <a:pt x="1741" y="149"/>
                    <a:pt x="1721" y="149"/>
                    <a:pt x="1700" y="149"/>
                  </a:cubicBezTo>
                  <a:close/>
                  <a:moveTo>
                    <a:pt x="481" y="159"/>
                  </a:moveTo>
                  <a:cubicBezTo>
                    <a:pt x="481" y="144"/>
                    <a:pt x="481" y="128"/>
                    <a:pt x="481" y="113"/>
                  </a:cubicBezTo>
                  <a:cubicBezTo>
                    <a:pt x="481" y="111"/>
                    <a:pt x="481" y="109"/>
                    <a:pt x="481" y="107"/>
                  </a:cubicBezTo>
                  <a:cubicBezTo>
                    <a:pt x="482" y="100"/>
                    <a:pt x="485" y="95"/>
                    <a:pt x="490" y="91"/>
                  </a:cubicBezTo>
                  <a:cubicBezTo>
                    <a:pt x="497" y="85"/>
                    <a:pt x="504" y="84"/>
                    <a:pt x="512" y="86"/>
                  </a:cubicBezTo>
                  <a:cubicBezTo>
                    <a:pt x="518" y="88"/>
                    <a:pt x="521" y="92"/>
                    <a:pt x="523" y="98"/>
                  </a:cubicBezTo>
                  <a:cubicBezTo>
                    <a:pt x="525" y="102"/>
                    <a:pt x="525" y="107"/>
                    <a:pt x="525" y="111"/>
                  </a:cubicBezTo>
                  <a:cubicBezTo>
                    <a:pt x="525" y="127"/>
                    <a:pt x="525" y="143"/>
                    <a:pt x="525" y="159"/>
                  </a:cubicBezTo>
                  <a:cubicBezTo>
                    <a:pt x="525" y="160"/>
                    <a:pt x="525" y="161"/>
                    <a:pt x="525" y="162"/>
                  </a:cubicBezTo>
                  <a:cubicBezTo>
                    <a:pt x="530" y="162"/>
                    <a:pt x="534" y="162"/>
                    <a:pt x="539" y="162"/>
                  </a:cubicBezTo>
                  <a:cubicBezTo>
                    <a:pt x="539" y="161"/>
                    <a:pt x="539" y="160"/>
                    <a:pt x="539" y="159"/>
                  </a:cubicBezTo>
                  <a:cubicBezTo>
                    <a:pt x="539" y="143"/>
                    <a:pt x="539" y="126"/>
                    <a:pt x="539" y="110"/>
                  </a:cubicBezTo>
                  <a:cubicBezTo>
                    <a:pt x="539" y="108"/>
                    <a:pt x="539" y="106"/>
                    <a:pt x="539" y="104"/>
                  </a:cubicBezTo>
                  <a:cubicBezTo>
                    <a:pt x="539" y="98"/>
                    <a:pt x="538" y="93"/>
                    <a:pt x="535" y="88"/>
                  </a:cubicBezTo>
                  <a:cubicBezTo>
                    <a:pt x="532" y="81"/>
                    <a:pt x="527" y="77"/>
                    <a:pt x="520" y="74"/>
                  </a:cubicBezTo>
                  <a:cubicBezTo>
                    <a:pt x="518" y="74"/>
                    <a:pt x="515" y="73"/>
                    <a:pt x="513" y="73"/>
                  </a:cubicBezTo>
                  <a:cubicBezTo>
                    <a:pt x="500" y="72"/>
                    <a:pt x="490" y="77"/>
                    <a:pt x="483" y="87"/>
                  </a:cubicBezTo>
                  <a:cubicBezTo>
                    <a:pt x="482" y="88"/>
                    <a:pt x="482" y="88"/>
                    <a:pt x="481" y="89"/>
                  </a:cubicBezTo>
                  <a:cubicBezTo>
                    <a:pt x="481" y="89"/>
                    <a:pt x="481" y="89"/>
                    <a:pt x="481" y="89"/>
                  </a:cubicBezTo>
                  <a:cubicBezTo>
                    <a:pt x="481" y="84"/>
                    <a:pt x="481" y="80"/>
                    <a:pt x="481" y="75"/>
                  </a:cubicBezTo>
                  <a:cubicBezTo>
                    <a:pt x="477" y="75"/>
                    <a:pt x="469" y="75"/>
                    <a:pt x="467" y="75"/>
                  </a:cubicBezTo>
                  <a:cubicBezTo>
                    <a:pt x="467" y="104"/>
                    <a:pt x="467" y="133"/>
                    <a:pt x="467" y="162"/>
                  </a:cubicBezTo>
                  <a:cubicBezTo>
                    <a:pt x="472" y="162"/>
                    <a:pt x="476" y="162"/>
                    <a:pt x="481" y="162"/>
                  </a:cubicBezTo>
                  <a:cubicBezTo>
                    <a:pt x="481" y="161"/>
                    <a:pt x="481" y="160"/>
                    <a:pt x="481" y="159"/>
                  </a:cubicBezTo>
                  <a:close/>
                  <a:moveTo>
                    <a:pt x="1273" y="75"/>
                  </a:moveTo>
                  <a:cubicBezTo>
                    <a:pt x="1268" y="75"/>
                    <a:pt x="1263" y="75"/>
                    <a:pt x="1258" y="75"/>
                  </a:cubicBezTo>
                  <a:cubicBezTo>
                    <a:pt x="1256" y="83"/>
                    <a:pt x="1253" y="91"/>
                    <a:pt x="1250" y="99"/>
                  </a:cubicBezTo>
                  <a:cubicBezTo>
                    <a:pt x="1247" y="107"/>
                    <a:pt x="1244" y="115"/>
                    <a:pt x="1241" y="123"/>
                  </a:cubicBezTo>
                  <a:cubicBezTo>
                    <a:pt x="1238" y="130"/>
                    <a:pt x="1236" y="138"/>
                    <a:pt x="1232" y="146"/>
                  </a:cubicBezTo>
                  <a:cubicBezTo>
                    <a:pt x="1232" y="146"/>
                    <a:pt x="1232" y="146"/>
                    <a:pt x="1232" y="146"/>
                  </a:cubicBezTo>
                  <a:cubicBezTo>
                    <a:pt x="1224" y="122"/>
                    <a:pt x="1216" y="99"/>
                    <a:pt x="1207" y="75"/>
                  </a:cubicBezTo>
                  <a:cubicBezTo>
                    <a:pt x="1205" y="75"/>
                    <a:pt x="1202" y="75"/>
                    <a:pt x="1200" y="75"/>
                  </a:cubicBezTo>
                  <a:cubicBezTo>
                    <a:pt x="1197" y="75"/>
                    <a:pt x="1195" y="75"/>
                    <a:pt x="1192" y="75"/>
                  </a:cubicBezTo>
                  <a:cubicBezTo>
                    <a:pt x="1203" y="104"/>
                    <a:pt x="1214" y="133"/>
                    <a:pt x="1225" y="162"/>
                  </a:cubicBezTo>
                  <a:cubicBezTo>
                    <a:pt x="1229" y="162"/>
                    <a:pt x="1234" y="162"/>
                    <a:pt x="1238" y="162"/>
                  </a:cubicBezTo>
                  <a:cubicBezTo>
                    <a:pt x="1241" y="156"/>
                    <a:pt x="1273" y="77"/>
                    <a:pt x="1273" y="75"/>
                  </a:cubicBezTo>
                  <a:close/>
                  <a:moveTo>
                    <a:pt x="870" y="157"/>
                  </a:moveTo>
                  <a:cubicBezTo>
                    <a:pt x="870" y="159"/>
                    <a:pt x="871" y="159"/>
                    <a:pt x="872" y="160"/>
                  </a:cubicBezTo>
                  <a:cubicBezTo>
                    <a:pt x="883" y="165"/>
                    <a:pt x="895" y="166"/>
                    <a:pt x="906" y="162"/>
                  </a:cubicBezTo>
                  <a:cubicBezTo>
                    <a:pt x="918" y="158"/>
                    <a:pt x="924" y="149"/>
                    <a:pt x="923" y="137"/>
                  </a:cubicBezTo>
                  <a:cubicBezTo>
                    <a:pt x="923" y="131"/>
                    <a:pt x="921" y="126"/>
                    <a:pt x="917" y="122"/>
                  </a:cubicBezTo>
                  <a:cubicBezTo>
                    <a:pt x="914" y="120"/>
                    <a:pt x="911" y="118"/>
                    <a:pt x="908" y="117"/>
                  </a:cubicBezTo>
                  <a:cubicBezTo>
                    <a:pt x="905" y="115"/>
                    <a:pt x="901" y="113"/>
                    <a:pt x="897" y="112"/>
                  </a:cubicBezTo>
                  <a:cubicBezTo>
                    <a:pt x="895" y="110"/>
                    <a:pt x="892" y="108"/>
                    <a:pt x="889" y="107"/>
                  </a:cubicBezTo>
                  <a:cubicBezTo>
                    <a:pt x="884" y="103"/>
                    <a:pt x="883" y="94"/>
                    <a:pt x="888" y="89"/>
                  </a:cubicBezTo>
                  <a:cubicBezTo>
                    <a:pt x="891" y="87"/>
                    <a:pt x="894" y="85"/>
                    <a:pt x="898" y="85"/>
                  </a:cubicBezTo>
                  <a:cubicBezTo>
                    <a:pt x="905" y="85"/>
                    <a:pt x="912" y="86"/>
                    <a:pt x="918" y="90"/>
                  </a:cubicBezTo>
                  <a:cubicBezTo>
                    <a:pt x="918" y="90"/>
                    <a:pt x="919" y="91"/>
                    <a:pt x="919" y="91"/>
                  </a:cubicBezTo>
                  <a:cubicBezTo>
                    <a:pt x="919" y="86"/>
                    <a:pt x="919" y="82"/>
                    <a:pt x="919" y="77"/>
                  </a:cubicBezTo>
                  <a:cubicBezTo>
                    <a:pt x="919" y="77"/>
                    <a:pt x="918" y="76"/>
                    <a:pt x="917" y="76"/>
                  </a:cubicBezTo>
                  <a:cubicBezTo>
                    <a:pt x="910" y="73"/>
                    <a:pt x="902" y="72"/>
                    <a:pt x="895" y="73"/>
                  </a:cubicBezTo>
                  <a:cubicBezTo>
                    <a:pt x="888" y="74"/>
                    <a:pt x="883" y="77"/>
                    <a:pt x="878" y="81"/>
                  </a:cubicBezTo>
                  <a:cubicBezTo>
                    <a:pt x="867" y="90"/>
                    <a:pt x="867" y="110"/>
                    <a:pt x="880" y="118"/>
                  </a:cubicBezTo>
                  <a:cubicBezTo>
                    <a:pt x="884" y="120"/>
                    <a:pt x="887" y="122"/>
                    <a:pt x="890" y="123"/>
                  </a:cubicBezTo>
                  <a:cubicBezTo>
                    <a:pt x="895" y="126"/>
                    <a:pt x="900" y="128"/>
                    <a:pt x="905" y="131"/>
                  </a:cubicBezTo>
                  <a:cubicBezTo>
                    <a:pt x="909" y="134"/>
                    <a:pt x="910" y="138"/>
                    <a:pt x="909" y="143"/>
                  </a:cubicBezTo>
                  <a:cubicBezTo>
                    <a:pt x="908" y="147"/>
                    <a:pt x="905" y="150"/>
                    <a:pt x="901" y="151"/>
                  </a:cubicBezTo>
                  <a:cubicBezTo>
                    <a:pt x="901" y="151"/>
                    <a:pt x="900" y="151"/>
                    <a:pt x="899" y="152"/>
                  </a:cubicBezTo>
                  <a:cubicBezTo>
                    <a:pt x="890" y="153"/>
                    <a:pt x="881" y="151"/>
                    <a:pt x="873" y="146"/>
                  </a:cubicBezTo>
                  <a:cubicBezTo>
                    <a:pt x="872" y="145"/>
                    <a:pt x="871" y="145"/>
                    <a:pt x="870" y="144"/>
                  </a:cubicBezTo>
                  <a:cubicBezTo>
                    <a:pt x="870" y="149"/>
                    <a:pt x="870" y="153"/>
                    <a:pt x="870" y="157"/>
                  </a:cubicBezTo>
                  <a:close/>
                  <a:moveTo>
                    <a:pt x="1649" y="162"/>
                  </a:moveTo>
                  <a:cubicBezTo>
                    <a:pt x="1653" y="162"/>
                    <a:pt x="1658" y="162"/>
                    <a:pt x="1662" y="162"/>
                  </a:cubicBezTo>
                  <a:cubicBezTo>
                    <a:pt x="1662" y="120"/>
                    <a:pt x="1662" y="79"/>
                    <a:pt x="1662" y="38"/>
                  </a:cubicBezTo>
                  <a:cubicBezTo>
                    <a:pt x="1661" y="38"/>
                    <a:pt x="1660" y="38"/>
                    <a:pt x="1659" y="38"/>
                  </a:cubicBezTo>
                  <a:cubicBezTo>
                    <a:pt x="1658" y="38"/>
                    <a:pt x="1657" y="38"/>
                    <a:pt x="1656" y="39"/>
                  </a:cubicBezTo>
                  <a:cubicBezTo>
                    <a:pt x="1646" y="47"/>
                    <a:pt x="1634" y="53"/>
                    <a:pt x="1622" y="57"/>
                  </a:cubicBezTo>
                  <a:cubicBezTo>
                    <a:pt x="1621" y="57"/>
                    <a:pt x="1621" y="57"/>
                    <a:pt x="1620" y="57"/>
                  </a:cubicBezTo>
                  <a:cubicBezTo>
                    <a:pt x="1620" y="62"/>
                    <a:pt x="1620" y="66"/>
                    <a:pt x="1620" y="71"/>
                  </a:cubicBezTo>
                  <a:cubicBezTo>
                    <a:pt x="1631" y="68"/>
                    <a:pt x="1640" y="64"/>
                    <a:pt x="1649" y="57"/>
                  </a:cubicBezTo>
                  <a:cubicBezTo>
                    <a:pt x="1649" y="92"/>
                    <a:pt x="1649" y="127"/>
                    <a:pt x="1649" y="162"/>
                  </a:cubicBezTo>
                  <a:close/>
                  <a:moveTo>
                    <a:pt x="1177" y="74"/>
                  </a:moveTo>
                  <a:cubicBezTo>
                    <a:pt x="1172" y="74"/>
                    <a:pt x="1167" y="76"/>
                    <a:pt x="1163" y="80"/>
                  </a:cubicBezTo>
                  <a:cubicBezTo>
                    <a:pt x="1160" y="83"/>
                    <a:pt x="1157" y="86"/>
                    <a:pt x="1156" y="90"/>
                  </a:cubicBezTo>
                  <a:cubicBezTo>
                    <a:pt x="1155" y="91"/>
                    <a:pt x="1155" y="91"/>
                    <a:pt x="1155" y="92"/>
                  </a:cubicBezTo>
                  <a:cubicBezTo>
                    <a:pt x="1155" y="92"/>
                    <a:pt x="1154" y="92"/>
                    <a:pt x="1154" y="92"/>
                  </a:cubicBezTo>
                  <a:cubicBezTo>
                    <a:pt x="1154" y="86"/>
                    <a:pt x="1154" y="81"/>
                    <a:pt x="1154" y="75"/>
                  </a:cubicBezTo>
                  <a:cubicBezTo>
                    <a:pt x="1150" y="75"/>
                    <a:pt x="1145" y="75"/>
                    <a:pt x="1141" y="75"/>
                  </a:cubicBezTo>
                  <a:cubicBezTo>
                    <a:pt x="1141" y="104"/>
                    <a:pt x="1141" y="133"/>
                    <a:pt x="1141" y="162"/>
                  </a:cubicBezTo>
                  <a:cubicBezTo>
                    <a:pt x="1143" y="162"/>
                    <a:pt x="1153" y="162"/>
                    <a:pt x="1154" y="162"/>
                  </a:cubicBezTo>
                  <a:cubicBezTo>
                    <a:pt x="1154" y="161"/>
                    <a:pt x="1154" y="160"/>
                    <a:pt x="1154" y="159"/>
                  </a:cubicBezTo>
                  <a:cubicBezTo>
                    <a:pt x="1154" y="146"/>
                    <a:pt x="1154" y="132"/>
                    <a:pt x="1154" y="119"/>
                  </a:cubicBezTo>
                  <a:cubicBezTo>
                    <a:pt x="1154" y="116"/>
                    <a:pt x="1155" y="113"/>
                    <a:pt x="1155" y="110"/>
                  </a:cubicBezTo>
                  <a:cubicBezTo>
                    <a:pt x="1156" y="104"/>
                    <a:pt x="1158" y="98"/>
                    <a:pt x="1161" y="93"/>
                  </a:cubicBezTo>
                  <a:cubicBezTo>
                    <a:pt x="1168" y="85"/>
                    <a:pt x="1178" y="85"/>
                    <a:pt x="1184" y="88"/>
                  </a:cubicBezTo>
                  <a:cubicBezTo>
                    <a:pt x="1185" y="88"/>
                    <a:pt x="1185" y="89"/>
                    <a:pt x="1186" y="89"/>
                  </a:cubicBezTo>
                  <a:cubicBezTo>
                    <a:pt x="1186" y="84"/>
                    <a:pt x="1186" y="80"/>
                    <a:pt x="1186" y="75"/>
                  </a:cubicBezTo>
                  <a:cubicBezTo>
                    <a:pt x="1183" y="74"/>
                    <a:pt x="1180" y="74"/>
                    <a:pt x="1177" y="74"/>
                  </a:cubicBezTo>
                  <a:close/>
                  <a:moveTo>
                    <a:pt x="1367" y="162"/>
                  </a:moveTo>
                  <a:cubicBezTo>
                    <a:pt x="1372" y="162"/>
                    <a:pt x="1376" y="162"/>
                    <a:pt x="1381" y="162"/>
                  </a:cubicBezTo>
                  <a:cubicBezTo>
                    <a:pt x="1381" y="161"/>
                    <a:pt x="1381" y="160"/>
                    <a:pt x="1381" y="159"/>
                  </a:cubicBezTo>
                  <a:cubicBezTo>
                    <a:pt x="1381" y="145"/>
                    <a:pt x="1381" y="132"/>
                    <a:pt x="1381" y="118"/>
                  </a:cubicBezTo>
                  <a:cubicBezTo>
                    <a:pt x="1381" y="115"/>
                    <a:pt x="1381" y="112"/>
                    <a:pt x="1381" y="109"/>
                  </a:cubicBezTo>
                  <a:cubicBezTo>
                    <a:pt x="1382" y="103"/>
                    <a:pt x="1384" y="98"/>
                    <a:pt x="1388" y="94"/>
                  </a:cubicBezTo>
                  <a:cubicBezTo>
                    <a:pt x="1394" y="85"/>
                    <a:pt x="1404" y="85"/>
                    <a:pt x="1411" y="88"/>
                  </a:cubicBezTo>
                  <a:cubicBezTo>
                    <a:pt x="1411" y="88"/>
                    <a:pt x="1411" y="89"/>
                    <a:pt x="1412" y="89"/>
                  </a:cubicBezTo>
                  <a:cubicBezTo>
                    <a:pt x="1412" y="84"/>
                    <a:pt x="1412" y="79"/>
                    <a:pt x="1412" y="75"/>
                  </a:cubicBezTo>
                  <a:cubicBezTo>
                    <a:pt x="1411" y="74"/>
                    <a:pt x="1410" y="74"/>
                    <a:pt x="1409" y="74"/>
                  </a:cubicBezTo>
                  <a:cubicBezTo>
                    <a:pt x="1407" y="74"/>
                    <a:pt x="1406" y="74"/>
                    <a:pt x="1404" y="74"/>
                  </a:cubicBezTo>
                  <a:cubicBezTo>
                    <a:pt x="1398" y="74"/>
                    <a:pt x="1393" y="76"/>
                    <a:pt x="1389" y="79"/>
                  </a:cubicBezTo>
                  <a:cubicBezTo>
                    <a:pt x="1386" y="82"/>
                    <a:pt x="1384" y="86"/>
                    <a:pt x="1382" y="90"/>
                  </a:cubicBezTo>
                  <a:cubicBezTo>
                    <a:pt x="1382" y="91"/>
                    <a:pt x="1382" y="91"/>
                    <a:pt x="1381" y="92"/>
                  </a:cubicBezTo>
                  <a:cubicBezTo>
                    <a:pt x="1381" y="92"/>
                    <a:pt x="1381" y="92"/>
                    <a:pt x="1381" y="92"/>
                  </a:cubicBezTo>
                  <a:cubicBezTo>
                    <a:pt x="1381" y="89"/>
                    <a:pt x="1381" y="86"/>
                    <a:pt x="1381" y="84"/>
                  </a:cubicBezTo>
                  <a:cubicBezTo>
                    <a:pt x="1381" y="81"/>
                    <a:pt x="1381" y="78"/>
                    <a:pt x="1381" y="75"/>
                  </a:cubicBezTo>
                  <a:cubicBezTo>
                    <a:pt x="1376" y="75"/>
                    <a:pt x="1372" y="75"/>
                    <a:pt x="1367" y="75"/>
                  </a:cubicBezTo>
                  <a:cubicBezTo>
                    <a:pt x="1367" y="78"/>
                    <a:pt x="1367" y="160"/>
                    <a:pt x="1367" y="162"/>
                  </a:cubicBezTo>
                  <a:close/>
                  <a:moveTo>
                    <a:pt x="446" y="75"/>
                  </a:moveTo>
                  <a:cubicBezTo>
                    <a:pt x="441" y="75"/>
                    <a:pt x="437" y="75"/>
                    <a:pt x="432" y="75"/>
                  </a:cubicBezTo>
                  <a:cubicBezTo>
                    <a:pt x="432" y="104"/>
                    <a:pt x="432" y="133"/>
                    <a:pt x="432" y="162"/>
                  </a:cubicBezTo>
                  <a:cubicBezTo>
                    <a:pt x="437" y="162"/>
                    <a:pt x="441" y="162"/>
                    <a:pt x="446" y="162"/>
                  </a:cubicBezTo>
                  <a:cubicBezTo>
                    <a:pt x="446" y="157"/>
                    <a:pt x="446" y="77"/>
                    <a:pt x="446" y="75"/>
                  </a:cubicBezTo>
                  <a:close/>
                  <a:moveTo>
                    <a:pt x="448" y="47"/>
                  </a:moveTo>
                  <a:cubicBezTo>
                    <a:pt x="448" y="42"/>
                    <a:pt x="444" y="38"/>
                    <a:pt x="439" y="38"/>
                  </a:cubicBezTo>
                  <a:cubicBezTo>
                    <a:pt x="434" y="38"/>
                    <a:pt x="430" y="42"/>
                    <a:pt x="430" y="47"/>
                  </a:cubicBezTo>
                  <a:cubicBezTo>
                    <a:pt x="430" y="52"/>
                    <a:pt x="434" y="56"/>
                    <a:pt x="439" y="56"/>
                  </a:cubicBezTo>
                  <a:cubicBezTo>
                    <a:pt x="444" y="56"/>
                    <a:pt x="448" y="52"/>
                    <a:pt x="448" y="47"/>
                  </a:cubicBezTo>
                  <a:close/>
                </a:path>
              </a:pathLst>
            </a:custGeom>
            <a:solidFill>
              <a:schemeClr val="tx1"/>
            </a:solidFill>
            <a:ln>
              <a:noFill/>
            </a:ln>
          </p:spPr>
          <p:txBody>
            <a:bodyPr vert="horz" wrap="square" lIns="91390" tIns="45696" rIns="91390" bIns="45696" numCol="1" anchor="t" anchorCtr="0" compatLnSpc="1">
              <a:prstTxWarp prst="textNoShape">
                <a:avLst/>
              </a:prstTxWarp>
            </a:bodyPr>
            <a:lstStyle/>
            <a:p>
              <a:pPr defTabSz="932193"/>
              <a:endParaRPr lang="en-US" sz="1799">
                <a:solidFill>
                  <a:srgbClr val="505050"/>
                </a:solidFill>
              </a:endParaRPr>
            </a:p>
          </p:txBody>
        </p:sp>
      </p:grpSp>
      <p:grpSp>
        <p:nvGrpSpPr>
          <p:cNvPr id="4" name="Group 3"/>
          <p:cNvGrpSpPr/>
          <p:nvPr/>
        </p:nvGrpSpPr>
        <p:grpSpPr>
          <a:xfrm>
            <a:off x="131192" y="2214477"/>
            <a:ext cx="2211426" cy="1321644"/>
            <a:chOff x="127767" y="2171253"/>
            <a:chExt cx="2168262" cy="1295847"/>
          </a:xfrm>
        </p:grpSpPr>
        <p:sp>
          <p:nvSpPr>
            <p:cNvPr id="31" name="Rectangle 30"/>
            <p:cNvSpPr/>
            <p:nvPr/>
          </p:nvSpPr>
          <p:spPr bwMode="auto">
            <a:xfrm>
              <a:off x="127767" y="2171253"/>
              <a:ext cx="2168262" cy="129584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marL="121432" indent="-121432" defTabSz="951028" fontAlgn="base">
                <a:lnSpc>
                  <a:spcPct val="90000"/>
                </a:lnSpc>
                <a:spcBef>
                  <a:spcPct val="0"/>
                </a:spcBef>
                <a:spcAft>
                  <a:spcPts val="612"/>
                </a:spcAft>
                <a:buFont typeface="Arial" panose="020B0604020202020204" pitchFamily="34" charset="0"/>
                <a:buChar char="•"/>
              </a:pPr>
              <a:r>
                <a:rPr lang="en-US" sz="1428" dirty="0">
                  <a:gradFill>
                    <a:gsLst>
                      <a:gs pos="0">
                        <a:srgbClr val="FFFFFF"/>
                      </a:gs>
                      <a:gs pos="100000">
                        <a:srgbClr val="FFFFFF"/>
                      </a:gs>
                    </a:gsLst>
                    <a:lin ang="5400000" scaled="0"/>
                  </a:gradFill>
                  <a:ea typeface="Segoe UI" pitchFamily="34" charset="0"/>
                  <a:cs typeface="Segoe UI" pitchFamily="34" charset="0"/>
                </a:rPr>
                <a:t>User-centric application delivery</a:t>
              </a:r>
            </a:p>
            <a:p>
              <a:pPr marL="121432" indent="-121432" defTabSz="951028" fontAlgn="base">
                <a:lnSpc>
                  <a:spcPct val="90000"/>
                </a:lnSpc>
                <a:spcBef>
                  <a:spcPct val="0"/>
                </a:spcBef>
                <a:spcAft>
                  <a:spcPts val="612"/>
                </a:spcAft>
                <a:buFont typeface="Arial" panose="020B0604020202020204" pitchFamily="34" charset="0"/>
                <a:buChar char="•"/>
              </a:pPr>
              <a:r>
                <a:rPr lang="en-US" sz="1428" dirty="0">
                  <a:gradFill>
                    <a:gsLst>
                      <a:gs pos="0">
                        <a:srgbClr val="FFFFFF"/>
                      </a:gs>
                      <a:gs pos="100000">
                        <a:srgbClr val="FFFFFF"/>
                      </a:gs>
                    </a:gsLst>
                    <a:lin ang="5400000" scaled="0"/>
                  </a:gradFill>
                  <a:ea typeface="Segoe UI" pitchFamily="34" charset="0"/>
                  <a:cs typeface="Segoe UI" pitchFamily="34" charset="0"/>
                </a:rPr>
                <a:t>MDM via EAS</a:t>
              </a:r>
            </a:p>
          </p:txBody>
        </p:sp>
        <p:sp>
          <p:nvSpPr>
            <p:cNvPr id="47" name="Rectangle 46"/>
            <p:cNvSpPr/>
            <p:nvPr/>
          </p:nvSpPr>
          <p:spPr bwMode="auto">
            <a:xfrm>
              <a:off x="127767" y="2171253"/>
              <a:ext cx="2168262" cy="4782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defTabSz="951028" fontAlgn="base">
                <a:lnSpc>
                  <a:spcPct val="90000"/>
                </a:lnSpc>
                <a:spcBef>
                  <a:spcPct val="0"/>
                </a:spcBef>
                <a:spcAft>
                  <a:spcPts val="612"/>
                </a:spcAft>
              </a:pPr>
              <a:endParaRPr lang="en-US" sz="142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84" name="Group 83"/>
          <p:cNvGrpSpPr/>
          <p:nvPr/>
        </p:nvGrpSpPr>
        <p:grpSpPr>
          <a:xfrm>
            <a:off x="7142420" y="2214477"/>
            <a:ext cx="2211426" cy="2069214"/>
            <a:chOff x="7002144" y="2171253"/>
            <a:chExt cx="2168262" cy="2028825"/>
          </a:xfrm>
        </p:grpSpPr>
        <p:sp>
          <p:nvSpPr>
            <p:cNvPr id="48" name="Rectangle 47"/>
            <p:cNvSpPr/>
            <p:nvPr/>
          </p:nvSpPr>
          <p:spPr bwMode="auto">
            <a:xfrm>
              <a:off x="7002144" y="2171253"/>
              <a:ext cx="2168262" cy="202882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marL="121432" indent="-121432" defTabSz="951028" fontAlgn="base">
                <a:lnSpc>
                  <a:spcPct val="90000"/>
                </a:lnSpc>
                <a:spcBef>
                  <a:spcPct val="0"/>
                </a:spcBef>
                <a:spcAft>
                  <a:spcPts val="612"/>
                </a:spcAft>
                <a:buFont typeface="Arial" panose="020B0604020202020204" pitchFamily="34" charset="0"/>
                <a:buChar char="•"/>
              </a:pPr>
              <a:r>
                <a:rPr lang="en-US" sz="1428" dirty="0">
                  <a:gradFill>
                    <a:gsLst>
                      <a:gs pos="0">
                        <a:srgbClr val="FFFFFF"/>
                      </a:gs>
                      <a:gs pos="100000">
                        <a:srgbClr val="FFFFFF"/>
                      </a:gs>
                    </a:gsLst>
                    <a:lin ang="5400000" scaled="0"/>
                  </a:gradFill>
                  <a:ea typeface="Segoe UI" pitchFamily="34" charset="0"/>
                  <a:cs typeface="Segoe UI" pitchFamily="34" charset="0"/>
                </a:rPr>
                <a:t>Unified management</a:t>
              </a:r>
            </a:p>
            <a:p>
              <a:pPr marL="121432" indent="-121432" defTabSz="951028" fontAlgn="base">
                <a:lnSpc>
                  <a:spcPct val="90000"/>
                </a:lnSpc>
                <a:spcBef>
                  <a:spcPct val="0"/>
                </a:spcBef>
                <a:spcAft>
                  <a:spcPts val="612"/>
                </a:spcAft>
                <a:buFont typeface="Arial" panose="020B0604020202020204" pitchFamily="34" charset="0"/>
                <a:buChar char="•"/>
              </a:pPr>
              <a:r>
                <a:rPr lang="en-US" sz="1428" dirty="0">
                  <a:gradFill>
                    <a:gsLst>
                      <a:gs pos="0">
                        <a:srgbClr val="FFFFFF"/>
                      </a:gs>
                      <a:gs pos="100000">
                        <a:srgbClr val="FFFFFF"/>
                      </a:gs>
                    </a:gsLst>
                    <a:lin ang="5400000" scaled="0"/>
                  </a:gradFill>
                  <a:ea typeface="Segoe UI" pitchFamily="34" charset="0"/>
                  <a:cs typeface="Segoe UI" pitchFamily="34" charset="0"/>
                </a:rPr>
                <a:t>MDM for Windows RT, </a:t>
              </a:r>
              <a:br>
                <a:rPr lang="en-US" sz="1428" dirty="0">
                  <a:gradFill>
                    <a:gsLst>
                      <a:gs pos="0">
                        <a:srgbClr val="FFFFFF"/>
                      </a:gs>
                      <a:gs pos="100000">
                        <a:srgbClr val="FFFFFF"/>
                      </a:gs>
                    </a:gsLst>
                    <a:lin ang="5400000" scaled="0"/>
                  </a:gradFill>
                  <a:ea typeface="Segoe UI" pitchFamily="34" charset="0"/>
                  <a:cs typeface="Segoe UI" pitchFamily="34" charset="0"/>
                </a:rPr>
              </a:br>
              <a:r>
                <a:rPr lang="en-US" sz="1428" dirty="0">
                  <a:gradFill>
                    <a:gsLst>
                      <a:gs pos="0">
                        <a:srgbClr val="FFFFFF"/>
                      </a:gs>
                      <a:gs pos="100000">
                        <a:srgbClr val="FFFFFF"/>
                      </a:gs>
                    </a:gsLst>
                    <a:lin ang="5400000" scaled="0"/>
                  </a:gradFill>
                  <a:ea typeface="Segoe UI" pitchFamily="34" charset="0"/>
                  <a:cs typeface="Segoe UI" pitchFamily="34" charset="0"/>
                </a:rPr>
                <a:t>Windows Phone 8, </a:t>
              </a:r>
              <a:r>
                <a:rPr lang="en-US" sz="1428" dirty="0" err="1">
                  <a:gradFill>
                    <a:gsLst>
                      <a:gs pos="0">
                        <a:srgbClr val="FFFFFF"/>
                      </a:gs>
                      <a:gs pos="100000">
                        <a:srgbClr val="FFFFFF"/>
                      </a:gs>
                    </a:gsLst>
                    <a:lin ang="5400000" scaled="0"/>
                  </a:gradFill>
                  <a:ea typeface="Segoe UI" pitchFamily="34" charset="0"/>
                  <a:cs typeface="Segoe UI" pitchFamily="34" charset="0"/>
                </a:rPr>
                <a:t>iOS</a:t>
              </a:r>
              <a:endParaRPr lang="en-US" sz="1428" dirty="0">
                <a:gradFill>
                  <a:gsLst>
                    <a:gs pos="0">
                      <a:srgbClr val="FFFFFF"/>
                    </a:gs>
                    <a:gs pos="100000">
                      <a:srgbClr val="FFFFFF"/>
                    </a:gs>
                  </a:gsLst>
                  <a:lin ang="5400000" scaled="0"/>
                </a:gradFill>
                <a:ea typeface="Segoe UI" pitchFamily="34" charset="0"/>
                <a:cs typeface="Segoe UI" pitchFamily="34" charset="0"/>
              </a:endParaRPr>
            </a:p>
            <a:p>
              <a:pPr marL="121432" indent="-121432" defTabSz="951028" fontAlgn="base">
                <a:lnSpc>
                  <a:spcPct val="90000"/>
                </a:lnSpc>
                <a:spcBef>
                  <a:spcPct val="0"/>
                </a:spcBef>
                <a:spcAft>
                  <a:spcPts val="612"/>
                </a:spcAft>
                <a:buFont typeface="Arial" panose="020B0604020202020204" pitchFamily="34" charset="0"/>
                <a:buChar char="•"/>
              </a:pPr>
              <a:r>
                <a:rPr lang="en-US" sz="1428" dirty="0">
                  <a:gradFill>
                    <a:gsLst>
                      <a:gs pos="0">
                        <a:srgbClr val="FFFFFF"/>
                      </a:gs>
                      <a:gs pos="100000">
                        <a:srgbClr val="FFFFFF"/>
                      </a:gs>
                    </a:gsLst>
                    <a:lin ang="5400000" scaled="0"/>
                  </a:gradFill>
                  <a:ea typeface="Segoe UI" pitchFamily="34" charset="0"/>
                  <a:cs typeface="Segoe UI" pitchFamily="34" charset="0"/>
                </a:rPr>
                <a:t>Mac OS X support</a:t>
              </a:r>
            </a:p>
          </p:txBody>
        </p:sp>
        <p:sp>
          <p:nvSpPr>
            <p:cNvPr id="49" name="Rectangle 48"/>
            <p:cNvSpPr/>
            <p:nvPr/>
          </p:nvSpPr>
          <p:spPr bwMode="auto">
            <a:xfrm>
              <a:off x="7002144" y="2171253"/>
              <a:ext cx="2168262" cy="87169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defTabSz="951028" fontAlgn="base">
                <a:lnSpc>
                  <a:spcPct val="90000"/>
                </a:lnSpc>
                <a:spcBef>
                  <a:spcPct val="0"/>
                </a:spcBef>
                <a:spcAft>
                  <a:spcPts val="612"/>
                </a:spcAft>
              </a:pPr>
              <a:endParaRPr lang="en-US" sz="1428" dirty="0">
                <a:gradFill>
                  <a:gsLst>
                    <a:gs pos="0">
                      <a:srgbClr val="FFFFFF"/>
                    </a:gs>
                    <a:gs pos="100000">
                      <a:srgbClr val="FFFFFF"/>
                    </a:gs>
                  </a:gsLst>
                  <a:lin ang="5400000" scaled="0"/>
                </a:gradFill>
                <a:ea typeface="Segoe UI" pitchFamily="34" charset="0"/>
                <a:cs typeface="Segoe UI" pitchFamily="34" charset="0"/>
              </a:endParaRPr>
            </a:p>
          </p:txBody>
        </p:sp>
        <p:sp>
          <p:nvSpPr>
            <p:cNvPr id="42" name="Freeform 5"/>
            <p:cNvSpPr>
              <a:spLocks noChangeAspect="1" noEditPoints="1"/>
            </p:cNvSpPr>
            <p:nvPr/>
          </p:nvSpPr>
          <p:spPr bwMode="auto">
            <a:xfrm>
              <a:off x="7263314" y="2691051"/>
              <a:ext cx="1591345" cy="231136"/>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chemeClr val="tx1"/>
            </a:solidFill>
            <a:ln>
              <a:noFill/>
            </a:ln>
          </p:spPr>
          <p:txBody>
            <a:bodyPr vert="horz" wrap="square" lIns="91390" tIns="45696" rIns="91390" bIns="45696" numCol="1" anchor="t" anchorCtr="0" compatLnSpc="1">
              <a:prstTxWarp prst="textNoShape">
                <a:avLst/>
              </a:prstTxWarp>
            </a:bodyPr>
            <a:lstStyle/>
            <a:p>
              <a:pPr defTabSz="932193"/>
              <a:endParaRPr lang="en-US" sz="1799">
                <a:solidFill>
                  <a:srgbClr val="505050"/>
                </a:solidFill>
              </a:endParaRPr>
            </a:p>
          </p:txBody>
        </p:sp>
      </p:grpSp>
      <p:grpSp>
        <p:nvGrpSpPr>
          <p:cNvPr id="87" name="Group 86"/>
          <p:cNvGrpSpPr/>
          <p:nvPr/>
        </p:nvGrpSpPr>
        <p:grpSpPr>
          <a:xfrm>
            <a:off x="4161552" y="4761782"/>
            <a:ext cx="2211426" cy="1947781"/>
            <a:chOff x="4079459" y="4668837"/>
            <a:chExt cx="2168262" cy="1712913"/>
          </a:xfrm>
        </p:grpSpPr>
        <p:sp>
          <p:nvSpPr>
            <p:cNvPr id="38" name="Rectangle 37"/>
            <p:cNvSpPr/>
            <p:nvPr/>
          </p:nvSpPr>
          <p:spPr bwMode="auto">
            <a:xfrm>
              <a:off x="4079459" y="4668837"/>
              <a:ext cx="2168262" cy="171291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marL="121432" indent="-121432" defTabSz="951028" fontAlgn="base">
                <a:lnSpc>
                  <a:spcPct val="90000"/>
                </a:lnSpc>
                <a:spcBef>
                  <a:spcPct val="0"/>
                </a:spcBef>
                <a:spcAft>
                  <a:spcPts val="612"/>
                </a:spcAft>
                <a:buFont typeface="Arial" panose="020B0604020202020204" pitchFamily="34" charset="0"/>
                <a:buChar char="•"/>
              </a:pPr>
              <a:r>
                <a:rPr lang="en-US" sz="1428" dirty="0">
                  <a:gradFill>
                    <a:gsLst>
                      <a:gs pos="0">
                        <a:srgbClr val="FFFFFF"/>
                      </a:gs>
                      <a:gs pos="100000">
                        <a:srgbClr val="FFFFFF"/>
                      </a:gs>
                    </a:gsLst>
                    <a:lin ang="5400000" scaled="0"/>
                  </a:gradFill>
                  <a:ea typeface="Segoe UI" pitchFamily="34" charset="0"/>
                  <a:cs typeface="Segoe UI" pitchFamily="34" charset="0"/>
                </a:rPr>
                <a:t>RDS and RDP8.0 improvements</a:t>
              </a:r>
            </a:p>
            <a:p>
              <a:pPr marL="121432" indent="-121432" defTabSz="951028" fontAlgn="base">
                <a:lnSpc>
                  <a:spcPct val="90000"/>
                </a:lnSpc>
                <a:spcBef>
                  <a:spcPct val="0"/>
                </a:spcBef>
                <a:spcAft>
                  <a:spcPts val="612"/>
                </a:spcAft>
                <a:buFont typeface="Arial" panose="020B0604020202020204" pitchFamily="34" charset="0"/>
                <a:buChar char="•"/>
              </a:pPr>
              <a:r>
                <a:rPr lang="en-US" sz="1428" dirty="0">
                  <a:gradFill>
                    <a:gsLst>
                      <a:gs pos="0">
                        <a:srgbClr val="FFFFFF"/>
                      </a:gs>
                      <a:gs pos="100000">
                        <a:srgbClr val="FFFFFF"/>
                      </a:gs>
                    </a:gsLst>
                    <a:lin ang="5400000" scaled="0"/>
                  </a:gradFill>
                  <a:ea typeface="Segoe UI" pitchFamily="34" charset="0"/>
                  <a:cs typeface="Segoe UI" pitchFamily="34" charset="0"/>
                </a:rPr>
                <a:t>Dynamic Access Control</a:t>
              </a:r>
            </a:p>
            <a:p>
              <a:pPr marL="121432" indent="-121432" defTabSz="951028" fontAlgn="base">
                <a:lnSpc>
                  <a:spcPct val="90000"/>
                </a:lnSpc>
                <a:spcBef>
                  <a:spcPct val="0"/>
                </a:spcBef>
                <a:spcAft>
                  <a:spcPts val="612"/>
                </a:spcAft>
                <a:buFont typeface="Arial" panose="020B0604020202020204" pitchFamily="34" charset="0"/>
                <a:buChar char="•"/>
              </a:pPr>
              <a:r>
                <a:rPr lang="en-US" sz="1428" dirty="0" smtClean="0">
                  <a:gradFill>
                    <a:gsLst>
                      <a:gs pos="0">
                        <a:srgbClr val="FFFFFF"/>
                      </a:gs>
                      <a:gs pos="100000">
                        <a:srgbClr val="FFFFFF"/>
                      </a:gs>
                    </a:gsLst>
                    <a:lin ang="5400000" scaled="0"/>
                  </a:gradFill>
                  <a:ea typeface="Segoe UI" pitchFamily="34" charset="0"/>
                  <a:cs typeface="Segoe UI" pitchFamily="34" charset="0"/>
                </a:rPr>
                <a:t>DA/Remote Access</a:t>
              </a:r>
              <a:endParaRPr lang="en-US" sz="1428"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4079459" y="4668837"/>
              <a:ext cx="2168262" cy="5529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defTabSz="951028" fontAlgn="base">
                <a:lnSpc>
                  <a:spcPct val="90000"/>
                </a:lnSpc>
                <a:spcBef>
                  <a:spcPct val="0"/>
                </a:spcBef>
                <a:spcAft>
                  <a:spcPts val="612"/>
                </a:spcAft>
              </a:pPr>
              <a:endParaRPr lang="en-US" sz="1428" dirty="0">
                <a:gradFill>
                  <a:gsLst>
                    <a:gs pos="0">
                      <a:srgbClr val="FFFFFF"/>
                    </a:gs>
                    <a:gs pos="100000">
                      <a:srgbClr val="FFFFFF"/>
                    </a:gs>
                  </a:gsLst>
                  <a:lin ang="5400000" scaled="0"/>
                </a:gradFill>
                <a:ea typeface="Segoe UI" pitchFamily="34" charset="0"/>
                <a:cs typeface="Segoe UI" pitchFamily="34" charset="0"/>
              </a:endParaRPr>
            </a:p>
          </p:txBody>
        </p:sp>
        <p:sp>
          <p:nvSpPr>
            <p:cNvPr id="83" name="Freeform 26"/>
            <p:cNvSpPr>
              <a:spLocks noEditPoints="1"/>
            </p:cNvSpPr>
            <p:nvPr/>
          </p:nvSpPr>
          <p:spPr bwMode="auto">
            <a:xfrm>
              <a:off x="4151092" y="4840845"/>
              <a:ext cx="2021391" cy="235740"/>
            </a:xfrm>
            <a:custGeom>
              <a:avLst/>
              <a:gdLst>
                <a:gd name="T0" fmla="*/ 2192 w 5685"/>
                <a:gd name="T1" fmla="*/ 295 h 663"/>
                <a:gd name="T2" fmla="*/ 2260 w 5685"/>
                <a:gd name="T3" fmla="*/ 499 h 663"/>
                <a:gd name="T4" fmla="*/ 2311 w 5685"/>
                <a:gd name="T5" fmla="*/ 305 h 663"/>
                <a:gd name="T6" fmla="*/ 1837 w 5685"/>
                <a:gd name="T7" fmla="*/ 384 h 663"/>
                <a:gd name="T8" fmla="*/ 2005 w 5685"/>
                <a:gd name="T9" fmla="*/ 383 h 663"/>
                <a:gd name="T10" fmla="*/ 4168 w 5685"/>
                <a:gd name="T11" fmla="*/ 348 h 663"/>
                <a:gd name="T12" fmla="*/ 3444 w 5685"/>
                <a:gd name="T13" fmla="*/ 327 h 663"/>
                <a:gd name="T14" fmla="*/ 3856 w 5685"/>
                <a:gd name="T15" fmla="*/ 246 h 663"/>
                <a:gd name="T16" fmla="*/ 4102 w 5685"/>
                <a:gd name="T17" fmla="*/ 265 h 663"/>
                <a:gd name="T18" fmla="*/ 2448 w 5685"/>
                <a:gd name="T19" fmla="*/ 246 h 663"/>
                <a:gd name="T20" fmla="*/ 2723 w 5685"/>
                <a:gd name="T21" fmla="*/ 333 h 663"/>
                <a:gd name="T22" fmla="*/ 2398 w 5685"/>
                <a:gd name="T23" fmla="*/ 246 h 663"/>
                <a:gd name="T24" fmla="*/ 3828 w 5685"/>
                <a:gd name="T25" fmla="*/ 246 h 663"/>
                <a:gd name="T26" fmla="*/ 3683 w 5685"/>
                <a:gd name="T27" fmla="*/ 532 h 663"/>
                <a:gd name="T28" fmla="*/ 4538 w 5685"/>
                <a:gd name="T29" fmla="*/ 243 h 663"/>
                <a:gd name="T30" fmla="*/ 4480 w 5685"/>
                <a:gd name="T31" fmla="*/ 308 h 663"/>
                <a:gd name="T32" fmla="*/ 4457 w 5685"/>
                <a:gd name="T33" fmla="*/ 282 h 663"/>
                <a:gd name="T34" fmla="*/ 1667 w 5685"/>
                <a:gd name="T35" fmla="*/ 241 h 663"/>
                <a:gd name="T36" fmla="*/ 1668 w 5685"/>
                <a:gd name="T37" fmla="*/ 291 h 663"/>
                <a:gd name="T38" fmla="*/ 1536 w 5685"/>
                <a:gd name="T39" fmla="*/ 246 h 663"/>
                <a:gd name="T40" fmla="*/ 4314 w 5685"/>
                <a:gd name="T41" fmla="*/ 258 h 663"/>
                <a:gd name="T42" fmla="*/ 4311 w 5685"/>
                <a:gd name="T43" fmla="*/ 487 h 663"/>
                <a:gd name="T44" fmla="*/ 4335 w 5685"/>
                <a:gd name="T45" fmla="*/ 514 h 663"/>
                <a:gd name="T46" fmla="*/ 4154 w 5685"/>
                <a:gd name="T47" fmla="*/ 281 h 663"/>
                <a:gd name="T48" fmla="*/ 2377 w 5685"/>
                <a:gd name="T49" fmla="*/ 435 h 663"/>
                <a:gd name="T50" fmla="*/ 2120 w 5685"/>
                <a:gd name="T51" fmla="*/ 320 h 663"/>
                <a:gd name="T52" fmla="*/ 2963 w 5685"/>
                <a:gd name="T53" fmla="*/ 295 h 663"/>
                <a:gd name="T54" fmla="*/ 2930 w 5685"/>
                <a:gd name="T55" fmla="*/ 383 h 663"/>
                <a:gd name="T56" fmla="*/ 2810 w 5685"/>
                <a:gd name="T57" fmla="*/ 519 h 663"/>
                <a:gd name="T58" fmla="*/ 2927 w 5685"/>
                <a:gd name="T59" fmla="*/ 483 h 663"/>
                <a:gd name="T60" fmla="*/ 2834 w 5685"/>
                <a:gd name="T61" fmla="*/ 265 h 663"/>
                <a:gd name="T62" fmla="*/ 3632 w 5685"/>
                <a:gd name="T63" fmla="*/ 391 h 663"/>
                <a:gd name="T64" fmla="*/ 3609 w 5685"/>
                <a:gd name="T65" fmla="*/ 469 h 663"/>
                <a:gd name="T66" fmla="*/ 3459 w 5685"/>
                <a:gd name="T67" fmla="*/ 526 h 663"/>
                <a:gd name="T68" fmla="*/ 5054 w 5685"/>
                <a:gd name="T69" fmla="*/ 167 h 663"/>
                <a:gd name="T70" fmla="*/ 5033 w 5685"/>
                <a:gd name="T71" fmla="*/ 487 h 663"/>
                <a:gd name="T72" fmla="*/ 5126 w 5685"/>
                <a:gd name="T73" fmla="*/ 192 h 663"/>
                <a:gd name="T74" fmla="*/ 1358 w 5685"/>
                <a:gd name="T75" fmla="*/ 130 h 663"/>
                <a:gd name="T76" fmla="*/ 5669 w 5685"/>
                <a:gd name="T77" fmla="*/ 220 h 663"/>
                <a:gd name="T78" fmla="*/ 5685 w 5685"/>
                <a:gd name="T79" fmla="*/ 488 h 663"/>
                <a:gd name="T80" fmla="*/ 5623 w 5685"/>
                <a:gd name="T81" fmla="*/ 241 h 663"/>
                <a:gd name="T82" fmla="*/ 5457 w 5685"/>
                <a:gd name="T83" fmla="*/ 167 h 663"/>
                <a:gd name="T84" fmla="*/ 4887 w 5685"/>
                <a:gd name="T85" fmla="*/ 199 h 663"/>
                <a:gd name="T86" fmla="*/ 4709 w 5685"/>
                <a:gd name="T87" fmla="*/ 488 h 663"/>
                <a:gd name="T88" fmla="*/ 4843 w 5685"/>
                <a:gd name="T89" fmla="*/ 236 h 663"/>
                <a:gd name="T90" fmla="*/ 4678 w 5685"/>
                <a:gd name="T91" fmla="*/ 170 h 663"/>
                <a:gd name="T92" fmla="*/ 5230 w 5685"/>
                <a:gd name="T93" fmla="*/ 232 h 663"/>
                <a:gd name="T94" fmla="*/ 5180 w 5685"/>
                <a:gd name="T95" fmla="*/ 194 h 663"/>
                <a:gd name="T96" fmla="*/ 4995 w 5685"/>
                <a:gd name="T97" fmla="*/ 509 h 663"/>
                <a:gd name="T98" fmla="*/ 5042 w 5685"/>
                <a:gd name="T99" fmla="*/ 130 h 663"/>
                <a:gd name="T100" fmla="*/ 3332 w 5685"/>
                <a:gd name="T101" fmla="*/ 191 h 663"/>
                <a:gd name="T102" fmla="*/ 3213 w 5685"/>
                <a:gd name="T103" fmla="*/ 288 h 663"/>
                <a:gd name="T104" fmla="*/ 3285 w 5685"/>
                <a:gd name="T105" fmla="*/ 528 h 663"/>
                <a:gd name="T106" fmla="*/ 3135 w 5685"/>
                <a:gd name="T107" fmla="*/ 464 h 663"/>
                <a:gd name="T108" fmla="*/ 3251 w 5685"/>
                <a:gd name="T109" fmla="*/ 367 h 663"/>
                <a:gd name="T110" fmla="*/ 3266 w 5685"/>
                <a:gd name="T111" fmla="*/ 125 h 663"/>
                <a:gd name="T112" fmla="*/ 2039 w 5685"/>
                <a:gd name="T113" fmla="*/ 109 h 663"/>
                <a:gd name="T114" fmla="*/ 1824 w 5685"/>
                <a:gd name="T115" fmla="*/ 500 h 663"/>
                <a:gd name="T116" fmla="*/ 1965 w 5685"/>
                <a:gd name="T117" fmla="*/ 250 h 663"/>
                <a:gd name="T118" fmla="*/ 138 w 5685"/>
                <a:gd name="T119" fmla="*/ 71 h 663"/>
                <a:gd name="T120" fmla="*/ 652 w 5685"/>
                <a:gd name="T121" fmla="*/ 0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85" h="663">
                  <a:moveTo>
                    <a:pt x="288" y="338"/>
                  </a:moveTo>
                  <a:lnTo>
                    <a:pt x="652" y="338"/>
                  </a:lnTo>
                  <a:lnTo>
                    <a:pt x="652" y="663"/>
                  </a:lnTo>
                  <a:lnTo>
                    <a:pt x="469" y="637"/>
                  </a:lnTo>
                  <a:lnTo>
                    <a:pt x="288" y="613"/>
                  </a:lnTo>
                  <a:lnTo>
                    <a:pt x="288" y="338"/>
                  </a:lnTo>
                  <a:close/>
                  <a:moveTo>
                    <a:pt x="0" y="338"/>
                  </a:moveTo>
                  <a:lnTo>
                    <a:pt x="278" y="338"/>
                  </a:lnTo>
                  <a:lnTo>
                    <a:pt x="278" y="609"/>
                  </a:lnTo>
                  <a:lnTo>
                    <a:pt x="138" y="590"/>
                  </a:lnTo>
                  <a:lnTo>
                    <a:pt x="0" y="571"/>
                  </a:lnTo>
                  <a:lnTo>
                    <a:pt x="0" y="338"/>
                  </a:lnTo>
                  <a:close/>
                  <a:moveTo>
                    <a:pt x="2241" y="279"/>
                  </a:moveTo>
                  <a:lnTo>
                    <a:pt x="2215" y="282"/>
                  </a:lnTo>
                  <a:lnTo>
                    <a:pt x="2192" y="295"/>
                  </a:lnTo>
                  <a:lnTo>
                    <a:pt x="2175" y="314"/>
                  </a:lnTo>
                  <a:lnTo>
                    <a:pt x="2163" y="338"/>
                  </a:lnTo>
                  <a:lnTo>
                    <a:pt x="2158" y="355"/>
                  </a:lnTo>
                  <a:lnTo>
                    <a:pt x="2155" y="372"/>
                  </a:lnTo>
                  <a:lnTo>
                    <a:pt x="2153" y="393"/>
                  </a:lnTo>
                  <a:lnTo>
                    <a:pt x="2153" y="414"/>
                  </a:lnTo>
                  <a:lnTo>
                    <a:pt x="2155" y="419"/>
                  </a:lnTo>
                  <a:lnTo>
                    <a:pt x="2156" y="426"/>
                  </a:lnTo>
                  <a:lnTo>
                    <a:pt x="2160" y="433"/>
                  </a:lnTo>
                  <a:lnTo>
                    <a:pt x="2168" y="454"/>
                  </a:lnTo>
                  <a:lnTo>
                    <a:pt x="2180" y="471"/>
                  </a:lnTo>
                  <a:lnTo>
                    <a:pt x="2196" y="485"/>
                  </a:lnTo>
                  <a:lnTo>
                    <a:pt x="2218" y="495"/>
                  </a:lnTo>
                  <a:lnTo>
                    <a:pt x="2237" y="499"/>
                  </a:lnTo>
                  <a:lnTo>
                    <a:pt x="2260" y="499"/>
                  </a:lnTo>
                  <a:lnTo>
                    <a:pt x="2280" y="493"/>
                  </a:lnTo>
                  <a:lnTo>
                    <a:pt x="2299" y="483"/>
                  </a:lnTo>
                  <a:lnTo>
                    <a:pt x="2315" y="469"/>
                  </a:lnTo>
                  <a:lnTo>
                    <a:pt x="2327" y="448"/>
                  </a:lnTo>
                  <a:lnTo>
                    <a:pt x="2329" y="447"/>
                  </a:lnTo>
                  <a:lnTo>
                    <a:pt x="2329" y="443"/>
                  </a:lnTo>
                  <a:lnTo>
                    <a:pt x="2330" y="438"/>
                  </a:lnTo>
                  <a:lnTo>
                    <a:pt x="2330" y="436"/>
                  </a:lnTo>
                  <a:lnTo>
                    <a:pt x="2336" y="416"/>
                  </a:lnTo>
                  <a:lnTo>
                    <a:pt x="2337" y="395"/>
                  </a:lnTo>
                  <a:lnTo>
                    <a:pt x="2337" y="374"/>
                  </a:lnTo>
                  <a:lnTo>
                    <a:pt x="2334" y="357"/>
                  </a:lnTo>
                  <a:lnTo>
                    <a:pt x="2330" y="341"/>
                  </a:lnTo>
                  <a:lnTo>
                    <a:pt x="2323" y="324"/>
                  </a:lnTo>
                  <a:lnTo>
                    <a:pt x="2311" y="305"/>
                  </a:lnTo>
                  <a:lnTo>
                    <a:pt x="2294" y="291"/>
                  </a:lnTo>
                  <a:lnTo>
                    <a:pt x="2272" y="282"/>
                  </a:lnTo>
                  <a:lnTo>
                    <a:pt x="2258" y="279"/>
                  </a:lnTo>
                  <a:lnTo>
                    <a:pt x="2241" y="279"/>
                  </a:lnTo>
                  <a:close/>
                  <a:moveTo>
                    <a:pt x="1927" y="279"/>
                  </a:moveTo>
                  <a:lnTo>
                    <a:pt x="1903" y="282"/>
                  </a:lnTo>
                  <a:lnTo>
                    <a:pt x="1880" y="291"/>
                  </a:lnTo>
                  <a:lnTo>
                    <a:pt x="1863" y="307"/>
                  </a:lnTo>
                  <a:lnTo>
                    <a:pt x="1849" y="327"/>
                  </a:lnTo>
                  <a:lnTo>
                    <a:pt x="1848" y="331"/>
                  </a:lnTo>
                  <a:lnTo>
                    <a:pt x="1846" y="334"/>
                  </a:lnTo>
                  <a:lnTo>
                    <a:pt x="1844" y="338"/>
                  </a:lnTo>
                  <a:lnTo>
                    <a:pt x="1843" y="341"/>
                  </a:lnTo>
                  <a:lnTo>
                    <a:pt x="1839" y="364"/>
                  </a:lnTo>
                  <a:lnTo>
                    <a:pt x="1837" y="384"/>
                  </a:lnTo>
                  <a:lnTo>
                    <a:pt x="1837" y="407"/>
                  </a:lnTo>
                  <a:lnTo>
                    <a:pt x="1843" y="435"/>
                  </a:lnTo>
                  <a:lnTo>
                    <a:pt x="1853" y="459"/>
                  </a:lnTo>
                  <a:lnTo>
                    <a:pt x="1867" y="476"/>
                  </a:lnTo>
                  <a:lnTo>
                    <a:pt x="1882" y="488"/>
                  </a:lnTo>
                  <a:lnTo>
                    <a:pt x="1899" y="495"/>
                  </a:lnTo>
                  <a:lnTo>
                    <a:pt x="1918" y="499"/>
                  </a:lnTo>
                  <a:lnTo>
                    <a:pt x="1937" y="495"/>
                  </a:lnTo>
                  <a:lnTo>
                    <a:pt x="1955" y="490"/>
                  </a:lnTo>
                  <a:lnTo>
                    <a:pt x="1968" y="481"/>
                  </a:lnTo>
                  <a:lnTo>
                    <a:pt x="1986" y="468"/>
                  </a:lnTo>
                  <a:lnTo>
                    <a:pt x="1996" y="448"/>
                  </a:lnTo>
                  <a:lnTo>
                    <a:pt x="2001" y="426"/>
                  </a:lnTo>
                  <a:lnTo>
                    <a:pt x="2005" y="404"/>
                  </a:lnTo>
                  <a:lnTo>
                    <a:pt x="2005" y="383"/>
                  </a:lnTo>
                  <a:lnTo>
                    <a:pt x="2005" y="357"/>
                  </a:lnTo>
                  <a:lnTo>
                    <a:pt x="2003" y="341"/>
                  </a:lnTo>
                  <a:lnTo>
                    <a:pt x="1998" y="324"/>
                  </a:lnTo>
                  <a:lnTo>
                    <a:pt x="1987" y="305"/>
                  </a:lnTo>
                  <a:lnTo>
                    <a:pt x="1972" y="291"/>
                  </a:lnTo>
                  <a:lnTo>
                    <a:pt x="1951" y="282"/>
                  </a:lnTo>
                  <a:lnTo>
                    <a:pt x="1927" y="279"/>
                  </a:lnTo>
                  <a:close/>
                  <a:moveTo>
                    <a:pt x="4254" y="279"/>
                  </a:moveTo>
                  <a:lnTo>
                    <a:pt x="4235" y="279"/>
                  </a:lnTo>
                  <a:lnTo>
                    <a:pt x="4218" y="284"/>
                  </a:lnTo>
                  <a:lnTo>
                    <a:pt x="4199" y="295"/>
                  </a:lnTo>
                  <a:lnTo>
                    <a:pt x="4185" y="308"/>
                  </a:lnTo>
                  <a:lnTo>
                    <a:pt x="4175" y="326"/>
                  </a:lnTo>
                  <a:lnTo>
                    <a:pt x="4168" y="345"/>
                  </a:lnTo>
                  <a:lnTo>
                    <a:pt x="4168" y="348"/>
                  </a:lnTo>
                  <a:lnTo>
                    <a:pt x="4166" y="353"/>
                  </a:lnTo>
                  <a:lnTo>
                    <a:pt x="4164" y="360"/>
                  </a:lnTo>
                  <a:lnTo>
                    <a:pt x="4316" y="360"/>
                  </a:lnTo>
                  <a:lnTo>
                    <a:pt x="4314" y="343"/>
                  </a:lnTo>
                  <a:lnTo>
                    <a:pt x="4311" y="324"/>
                  </a:lnTo>
                  <a:lnTo>
                    <a:pt x="4302" y="308"/>
                  </a:lnTo>
                  <a:lnTo>
                    <a:pt x="4290" y="295"/>
                  </a:lnTo>
                  <a:lnTo>
                    <a:pt x="4273" y="282"/>
                  </a:lnTo>
                  <a:lnTo>
                    <a:pt x="4254" y="279"/>
                  </a:lnTo>
                  <a:close/>
                  <a:moveTo>
                    <a:pt x="3523" y="279"/>
                  </a:moveTo>
                  <a:lnTo>
                    <a:pt x="3502" y="279"/>
                  </a:lnTo>
                  <a:lnTo>
                    <a:pt x="3483" y="284"/>
                  </a:lnTo>
                  <a:lnTo>
                    <a:pt x="3466" y="295"/>
                  </a:lnTo>
                  <a:lnTo>
                    <a:pt x="3452" y="310"/>
                  </a:lnTo>
                  <a:lnTo>
                    <a:pt x="3444" y="327"/>
                  </a:lnTo>
                  <a:lnTo>
                    <a:pt x="3437" y="345"/>
                  </a:lnTo>
                  <a:lnTo>
                    <a:pt x="3435" y="348"/>
                  </a:lnTo>
                  <a:lnTo>
                    <a:pt x="3435" y="352"/>
                  </a:lnTo>
                  <a:lnTo>
                    <a:pt x="3435" y="357"/>
                  </a:lnTo>
                  <a:lnTo>
                    <a:pt x="3435" y="360"/>
                  </a:lnTo>
                  <a:lnTo>
                    <a:pt x="3587" y="360"/>
                  </a:lnTo>
                  <a:lnTo>
                    <a:pt x="3583" y="341"/>
                  </a:lnTo>
                  <a:lnTo>
                    <a:pt x="3577" y="320"/>
                  </a:lnTo>
                  <a:lnTo>
                    <a:pt x="3566" y="301"/>
                  </a:lnTo>
                  <a:lnTo>
                    <a:pt x="3561" y="295"/>
                  </a:lnTo>
                  <a:lnTo>
                    <a:pt x="3552" y="288"/>
                  </a:lnTo>
                  <a:lnTo>
                    <a:pt x="3544" y="282"/>
                  </a:lnTo>
                  <a:lnTo>
                    <a:pt x="3523" y="279"/>
                  </a:lnTo>
                  <a:close/>
                  <a:moveTo>
                    <a:pt x="3847" y="246"/>
                  </a:moveTo>
                  <a:lnTo>
                    <a:pt x="3856" y="246"/>
                  </a:lnTo>
                  <a:lnTo>
                    <a:pt x="3864" y="246"/>
                  </a:lnTo>
                  <a:lnTo>
                    <a:pt x="3873" y="246"/>
                  </a:lnTo>
                  <a:lnTo>
                    <a:pt x="3882" y="246"/>
                  </a:lnTo>
                  <a:lnTo>
                    <a:pt x="3889" y="246"/>
                  </a:lnTo>
                  <a:lnTo>
                    <a:pt x="3895" y="246"/>
                  </a:lnTo>
                  <a:lnTo>
                    <a:pt x="3937" y="362"/>
                  </a:lnTo>
                  <a:lnTo>
                    <a:pt x="3976" y="478"/>
                  </a:lnTo>
                  <a:lnTo>
                    <a:pt x="3992" y="440"/>
                  </a:lnTo>
                  <a:lnTo>
                    <a:pt x="4006" y="404"/>
                  </a:lnTo>
                  <a:lnTo>
                    <a:pt x="4035" y="324"/>
                  </a:lnTo>
                  <a:lnTo>
                    <a:pt x="4049" y="286"/>
                  </a:lnTo>
                  <a:lnTo>
                    <a:pt x="4061" y="246"/>
                  </a:lnTo>
                  <a:lnTo>
                    <a:pt x="4109" y="246"/>
                  </a:lnTo>
                  <a:lnTo>
                    <a:pt x="4107" y="251"/>
                  </a:lnTo>
                  <a:lnTo>
                    <a:pt x="4102" y="265"/>
                  </a:lnTo>
                  <a:lnTo>
                    <a:pt x="4095" y="284"/>
                  </a:lnTo>
                  <a:lnTo>
                    <a:pt x="4085" y="308"/>
                  </a:lnTo>
                  <a:lnTo>
                    <a:pt x="4075" y="338"/>
                  </a:lnTo>
                  <a:lnTo>
                    <a:pt x="4063" y="367"/>
                  </a:lnTo>
                  <a:lnTo>
                    <a:pt x="4051" y="400"/>
                  </a:lnTo>
                  <a:lnTo>
                    <a:pt x="4038" y="429"/>
                  </a:lnTo>
                  <a:lnTo>
                    <a:pt x="4026" y="459"/>
                  </a:lnTo>
                  <a:lnTo>
                    <a:pt x="4016" y="485"/>
                  </a:lnTo>
                  <a:lnTo>
                    <a:pt x="4006" y="507"/>
                  </a:lnTo>
                  <a:lnTo>
                    <a:pt x="4001" y="523"/>
                  </a:lnTo>
                  <a:lnTo>
                    <a:pt x="3995" y="532"/>
                  </a:lnTo>
                  <a:lnTo>
                    <a:pt x="3954" y="532"/>
                  </a:lnTo>
                  <a:lnTo>
                    <a:pt x="3847" y="246"/>
                  </a:lnTo>
                  <a:close/>
                  <a:moveTo>
                    <a:pt x="2398" y="246"/>
                  </a:moveTo>
                  <a:lnTo>
                    <a:pt x="2448" y="246"/>
                  </a:lnTo>
                  <a:lnTo>
                    <a:pt x="2508" y="476"/>
                  </a:lnTo>
                  <a:lnTo>
                    <a:pt x="2511" y="476"/>
                  </a:lnTo>
                  <a:lnTo>
                    <a:pt x="2511" y="473"/>
                  </a:lnTo>
                  <a:lnTo>
                    <a:pt x="2546" y="359"/>
                  </a:lnTo>
                  <a:lnTo>
                    <a:pt x="2579" y="250"/>
                  </a:lnTo>
                  <a:lnTo>
                    <a:pt x="2579" y="246"/>
                  </a:lnTo>
                  <a:lnTo>
                    <a:pt x="2622" y="246"/>
                  </a:lnTo>
                  <a:lnTo>
                    <a:pt x="2651" y="360"/>
                  </a:lnTo>
                  <a:lnTo>
                    <a:pt x="2682" y="476"/>
                  </a:lnTo>
                  <a:lnTo>
                    <a:pt x="2685" y="476"/>
                  </a:lnTo>
                  <a:lnTo>
                    <a:pt x="2694" y="447"/>
                  </a:lnTo>
                  <a:lnTo>
                    <a:pt x="2701" y="419"/>
                  </a:lnTo>
                  <a:lnTo>
                    <a:pt x="2708" y="390"/>
                  </a:lnTo>
                  <a:lnTo>
                    <a:pt x="2715" y="360"/>
                  </a:lnTo>
                  <a:lnTo>
                    <a:pt x="2723" y="333"/>
                  </a:lnTo>
                  <a:lnTo>
                    <a:pt x="2730" y="305"/>
                  </a:lnTo>
                  <a:lnTo>
                    <a:pt x="2739" y="276"/>
                  </a:lnTo>
                  <a:lnTo>
                    <a:pt x="2747" y="246"/>
                  </a:lnTo>
                  <a:lnTo>
                    <a:pt x="2792" y="246"/>
                  </a:lnTo>
                  <a:lnTo>
                    <a:pt x="2749" y="388"/>
                  </a:lnTo>
                  <a:lnTo>
                    <a:pt x="2708" y="532"/>
                  </a:lnTo>
                  <a:lnTo>
                    <a:pt x="2660" y="532"/>
                  </a:lnTo>
                  <a:lnTo>
                    <a:pt x="2629" y="421"/>
                  </a:lnTo>
                  <a:lnTo>
                    <a:pt x="2599" y="312"/>
                  </a:lnTo>
                  <a:lnTo>
                    <a:pt x="2596" y="312"/>
                  </a:lnTo>
                  <a:lnTo>
                    <a:pt x="2561" y="421"/>
                  </a:lnTo>
                  <a:lnTo>
                    <a:pt x="2527" y="532"/>
                  </a:lnTo>
                  <a:lnTo>
                    <a:pt x="2482" y="532"/>
                  </a:lnTo>
                  <a:lnTo>
                    <a:pt x="2441" y="388"/>
                  </a:lnTo>
                  <a:lnTo>
                    <a:pt x="2398" y="246"/>
                  </a:lnTo>
                  <a:close/>
                  <a:moveTo>
                    <a:pt x="1394" y="246"/>
                  </a:moveTo>
                  <a:lnTo>
                    <a:pt x="1439" y="246"/>
                  </a:lnTo>
                  <a:lnTo>
                    <a:pt x="1439" y="331"/>
                  </a:lnTo>
                  <a:lnTo>
                    <a:pt x="1439" y="365"/>
                  </a:lnTo>
                  <a:lnTo>
                    <a:pt x="1439" y="404"/>
                  </a:lnTo>
                  <a:lnTo>
                    <a:pt x="1439" y="440"/>
                  </a:lnTo>
                  <a:lnTo>
                    <a:pt x="1439" y="473"/>
                  </a:lnTo>
                  <a:lnTo>
                    <a:pt x="1439" y="500"/>
                  </a:lnTo>
                  <a:lnTo>
                    <a:pt x="1439" y="521"/>
                  </a:lnTo>
                  <a:lnTo>
                    <a:pt x="1439" y="532"/>
                  </a:lnTo>
                  <a:lnTo>
                    <a:pt x="1394" y="532"/>
                  </a:lnTo>
                  <a:lnTo>
                    <a:pt x="1394" y="246"/>
                  </a:lnTo>
                  <a:close/>
                  <a:moveTo>
                    <a:pt x="3799" y="243"/>
                  </a:moveTo>
                  <a:lnTo>
                    <a:pt x="3814" y="243"/>
                  </a:lnTo>
                  <a:lnTo>
                    <a:pt x="3828" y="246"/>
                  </a:lnTo>
                  <a:lnTo>
                    <a:pt x="3828" y="291"/>
                  </a:lnTo>
                  <a:lnTo>
                    <a:pt x="3826" y="291"/>
                  </a:lnTo>
                  <a:lnTo>
                    <a:pt x="3825" y="289"/>
                  </a:lnTo>
                  <a:lnTo>
                    <a:pt x="3823" y="289"/>
                  </a:lnTo>
                  <a:lnTo>
                    <a:pt x="3821" y="288"/>
                  </a:lnTo>
                  <a:lnTo>
                    <a:pt x="3806" y="282"/>
                  </a:lnTo>
                  <a:lnTo>
                    <a:pt x="3785" y="282"/>
                  </a:lnTo>
                  <a:lnTo>
                    <a:pt x="3766" y="289"/>
                  </a:lnTo>
                  <a:lnTo>
                    <a:pt x="3747" y="305"/>
                  </a:lnTo>
                  <a:lnTo>
                    <a:pt x="3735" y="331"/>
                  </a:lnTo>
                  <a:lnTo>
                    <a:pt x="3728" y="360"/>
                  </a:lnTo>
                  <a:lnTo>
                    <a:pt x="3727" y="376"/>
                  </a:lnTo>
                  <a:lnTo>
                    <a:pt x="3725" y="390"/>
                  </a:lnTo>
                  <a:lnTo>
                    <a:pt x="3725" y="532"/>
                  </a:lnTo>
                  <a:lnTo>
                    <a:pt x="3683" y="532"/>
                  </a:lnTo>
                  <a:lnTo>
                    <a:pt x="3683" y="246"/>
                  </a:lnTo>
                  <a:lnTo>
                    <a:pt x="3725" y="246"/>
                  </a:lnTo>
                  <a:lnTo>
                    <a:pt x="3725" y="301"/>
                  </a:lnTo>
                  <a:lnTo>
                    <a:pt x="3728" y="301"/>
                  </a:lnTo>
                  <a:lnTo>
                    <a:pt x="3728" y="300"/>
                  </a:lnTo>
                  <a:lnTo>
                    <a:pt x="3728" y="298"/>
                  </a:lnTo>
                  <a:lnTo>
                    <a:pt x="3730" y="296"/>
                  </a:lnTo>
                  <a:lnTo>
                    <a:pt x="3732" y="295"/>
                  </a:lnTo>
                  <a:lnTo>
                    <a:pt x="3737" y="282"/>
                  </a:lnTo>
                  <a:lnTo>
                    <a:pt x="3745" y="272"/>
                  </a:lnTo>
                  <a:lnTo>
                    <a:pt x="3754" y="262"/>
                  </a:lnTo>
                  <a:lnTo>
                    <a:pt x="3768" y="251"/>
                  </a:lnTo>
                  <a:lnTo>
                    <a:pt x="3783" y="244"/>
                  </a:lnTo>
                  <a:lnTo>
                    <a:pt x="3799" y="243"/>
                  </a:lnTo>
                  <a:close/>
                  <a:moveTo>
                    <a:pt x="4538" y="243"/>
                  </a:moveTo>
                  <a:lnTo>
                    <a:pt x="4542" y="243"/>
                  </a:lnTo>
                  <a:lnTo>
                    <a:pt x="4549" y="243"/>
                  </a:lnTo>
                  <a:lnTo>
                    <a:pt x="4552" y="243"/>
                  </a:lnTo>
                  <a:lnTo>
                    <a:pt x="4554" y="243"/>
                  </a:lnTo>
                  <a:lnTo>
                    <a:pt x="4557" y="246"/>
                  </a:lnTo>
                  <a:lnTo>
                    <a:pt x="4557" y="291"/>
                  </a:lnTo>
                  <a:lnTo>
                    <a:pt x="4556" y="291"/>
                  </a:lnTo>
                  <a:lnTo>
                    <a:pt x="4556" y="289"/>
                  </a:lnTo>
                  <a:lnTo>
                    <a:pt x="4554" y="289"/>
                  </a:lnTo>
                  <a:lnTo>
                    <a:pt x="4554" y="288"/>
                  </a:lnTo>
                  <a:lnTo>
                    <a:pt x="4540" y="284"/>
                  </a:lnTo>
                  <a:lnTo>
                    <a:pt x="4525" y="282"/>
                  </a:lnTo>
                  <a:lnTo>
                    <a:pt x="4509" y="286"/>
                  </a:lnTo>
                  <a:lnTo>
                    <a:pt x="4494" y="295"/>
                  </a:lnTo>
                  <a:lnTo>
                    <a:pt x="4480" y="308"/>
                  </a:lnTo>
                  <a:lnTo>
                    <a:pt x="4469" y="322"/>
                  </a:lnTo>
                  <a:lnTo>
                    <a:pt x="4462" y="340"/>
                  </a:lnTo>
                  <a:lnTo>
                    <a:pt x="4457" y="357"/>
                  </a:lnTo>
                  <a:lnTo>
                    <a:pt x="4457" y="532"/>
                  </a:lnTo>
                  <a:lnTo>
                    <a:pt x="4413" y="532"/>
                  </a:lnTo>
                  <a:lnTo>
                    <a:pt x="4413" y="523"/>
                  </a:lnTo>
                  <a:lnTo>
                    <a:pt x="4413" y="504"/>
                  </a:lnTo>
                  <a:lnTo>
                    <a:pt x="4413" y="371"/>
                  </a:lnTo>
                  <a:lnTo>
                    <a:pt x="4413" y="334"/>
                  </a:lnTo>
                  <a:lnTo>
                    <a:pt x="4413" y="301"/>
                  </a:lnTo>
                  <a:lnTo>
                    <a:pt x="4413" y="274"/>
                  </a:lnTo>
                  <a:lnTo>
                    <a:pt x="4413" y="246"/>
                  </a:lnTo>
                  <a:lnTo>
                    <a:pt x="4457" y="246"/>
                  </a:lnTo>
                  <a:lnTo>
                    <a:pt x="4457" y="276"/>
                  </a:lnTo>
                  <a:lnTo>
                    <a:pt x="4457" y="282"/>
                  </a:lnTo>
                  <a:lnTo>
                    <a:pt x="4457" y="291"/>
                  </a:lnTo>
                  <a:lnTo>
                    <a:pt x="4457" y="301"/>
                  </a:lnTo>
                  <a:lnTo>
                    <a:pt x="4459" y="300"/>
                  </a:lnTo>
                  <a:lnTo>
                    <a:pt x="4461" y="298"/>
                  </a:lnTo>
                  <a:lnTo>
                    <a:pt x="4461" y="296"/>
                  </a:lnTo>
                  <a:lnTo>
                    <a:pt x="4461" y="295"/>
                  </a:lnTo>
                  <a:lnTo>
                    <a:pt x="4471" y="276"/>
                  </a:lnTo>
                  <a:lnTo>
                    <a:pt x="4483" y="258"/>
                  </a:lnTo>
                  <a:lnTo>
                    <a:pt x="4497" y="250"/>
                  </a:lnTo>
                  <a:lnTo>
                    <a:pt x="4514" y="244"/>
                  </a:lnTo>
                  <a:lnTo>
                    <a:pt x="4531" y="243"/>
                  </a:lnTo>
                  <a:lnTo>
                    <a:pt x="4538" y="243"/>
                  </a:lnTo>
                  <a:close/>
                  <a:moveTo>
                    <a:pt x="1656" y="239"/>
                  </a:moveTo>
                  <a:lnTo>
                    <a:pt x="1662" y="239"/>
                  </a:lnTo>
                  <a:lnTo>
                    <a:pt x="1667" y="241"/>
                  </a:lnTo>
                  <a:lnTo>
                    <a:pt x="1674" y="243"/>
                  </a:lnTo>
                  <a:lnTo>
                    <a:pt x="1679" y="243"/>
                  </a:lnTo>
                  <a:lnTo>
                    <a:pt x="1700" y="253"/>
                  </a:lnTo>
                  <a:lnTo>
                    <a:pt x="1715" y="269"/>
                  </a:lnTo>
                  <a:lnTo>
                    <a:pt x="1727" y="288"/>
                  </a:lnTo>
                  <a:lnTo>
                    <a:pt x="1737" y="314"/>
                  </a:lnTo>
                  <a:lnTo>
                    <a:pt x="1739" y="341"/>
                  </a:lnTo>
                  <a:lnTo>
                    <a:pt x="1739" y="532"/>
                  </a:lnTo>
                  <a:lnTo>
                    <a:pt x="1694" y="532"/>
                  </a:lnTo>
                  <a:lnTo>
                    <a:pt x="1694" y="364"/>
                  </a:lnTo>
                  <a:lnTo>
                    <a:pt x="1694" y="350"/>
                  </a:lnTo>
                  <a:lnTo>
                    <a:pt x="1693" y="334"/>
                  </a:lnTo>
                  <a:lnTo>
                    <a:pt x="1687" y="320"/>
                  </a:lnTo>
                  <a:lnTo>
                    <a:pt x="1681" y="303"/>
                  </a:lnTo>
                  <a:lnTo>
                    <a:pt x="1668" y="291"/>
                  </a:lnTo>
                  <a:lnTo>
                    <a:pt x="1653" y="282"/>
                  </a:lnTo>
                  <a:lnTo>
                    <a:pt x="1627" y="279"/>
                  </a:lnTo>
                  <a:lnTo>
                    <a:pt x="1605" y="284"/>
                  </a:lnTo>
                  <a:lnTo>
                    <a:pt x="1582" y="298"/>
                  </a:lnTo>
                  <a:lnTo>
                    <a:pt x="1569" y="312"/>
                  </a:lnTo>
                  <a:lnTo>
                    <a:pt x="1558" y="329"/>
                  </a:lnTo>
                  <a:lnTo>
                    <a:pt x="1553" y="350"/>
                  </a:lnTo>
                  <a:lnTo>
                    <a:pt x="1553" y="371"/>
                  </a:lnTo>
                  <a:lnTo>
                    <a:pt x="1553" y="445"/>
                  </a:lnTo>
                  <a:lnTo>
                    <a:pt x="1553" y="521"/>
                  </a:lnTo>
                  <a:lnTo>
                    <a:pt x="1553" y="532"/>
                  </a:lnTo>
                  <a:lnTo>
                    <a:pt x="1508" y="532"/>
                  </a:lnTo>
                  <a:lnTo>
                    <a:pt x="1508" y="246"/>
                  </a:lnTo>
                  <a:lnTo>
                    <a:pt x="1519" y="246"/>
                  </a:lnTo>
                  <a:lnTo>
                    <a:pt x="1536" y="246"/>
                  </a:lnTo>
                  <a:lnTo>
                    <a:pt x="1553" y="246"/>
                  </a:lnTo>
                  <a:lnTo>
                    <a:pt x="1553" y="269"/>
                  </a:lnTo>
                  <a:lnTo>
                    <a:pt x="1553" y="291"/>
                  </a:lnTo>
                  <a:lnTo>
                    <a:pt x="1555" y="289"/>
                  </a:lnTo>
                  <a:lnTo>
                    <a:pt x="1556" y="288"/>
                  </a:lnTo>
                  <a:lnTo>
                    <a:pt x="1556" y="288"/>
                  </a:lnTo>
                  <a:lnTo>
                    <a:pt x="1560" y="286"/>
                  </a:lnTo>
                  <a:lnTo>
                    <a:pt x="1577" y="263"/>
                  </a:lnTo>
                  <a:lnTo>
                    <a:pt x="1600" y="248"/>
                  </a:lnTo>
                  <a:lnTo>
                    <a:pt x="1627" y="241"/>
                  </a:lnTo>
                  <a:lnTo>
                    <a:pt x="1656" y="239"/>
                  </a:lnTo>
                  <a:close/>
                  <a:moveTo>
                    <a:pt x="4247" y="239"/>
                  </a:moveTo>
                  <a:lnTo>
                    <a:pt x="4269" y="241"/>
                  </a:lnTo>
                  <a:lnTo>
                    <a:pt x="4290" y="246"/>
                  </a:lnTo>
                  <a:lnTo>
                    <a:pt x="4314" y="258"/>
                  </a:lnTo>
                  <a:lnTo>
                    <a:pt x="4333" y="277"/>
                  </a:lnTo>
                  <a:lnTo>
                    <a:pt x="4349" y="301"/>
                  </a:lnTo>
                  <a:lnTo>
                    <a:pt x="4357" y="327"/>
                  </a:lnTo>
                  <a:lnTo>
                    <a:pt x="4361" y="357"/>
                  </a:lnTo>
                  <a:lnTo>
                    <a:pt x="4361" y="400"/>
                  </a:lnTo>
                  <a:lnTo>
                    <a:pt x="4164" y="400"/>
                  </a:lnTo>
                  <a:lnTo>
                    <a:pt x="4164" y="419"/>
                  </a:lnTo>
                  <a:lnTo>
                    <a:pt x="4173" y="448"/>
                  </a:lnTo>
                  <a:lnTo>
                    <a:pt x="4183" y="468"/>
                  </a:lnTo>
                  <a:lnTo>
                    <a:pt x="4197" y="481"/>
                  </a:lnTo>
                  <a:lnTo>
                    <a:pt x="4213" y="492"/>
                  </a:lnTo>
                  <a:lnTo>
                    <a:pt x="4232" y="499"/>
                  </a:lnTo>
                  <a:lnTo>
                    <a:pt x="4259" y="500"/>
                  </a:lnTo>
                  <a:lnTo>
                    <a:pt x="4287" y="497"/>
                  </a:lnTo>
                  <a:lnTo>
                    <a:pt x="4311" y="487"/>
                  </a:lnTo>
                  <a:lnTo>
                    <a:pt x="4335" y="473"/>
                  </a:lnTo>
                  <a:lnTo>
                    <a:pt x="4335" y="471"/>
                  </a:lnTo>
                  <a:lnTo>
                    <a:pt x="4337" y="471"/>
                  </a:lnTo>
                  <a:lnTo>
                    <a:pt x="4338" y="469"/>
                  </a:lnTo>
                  <a:lnTo>
                    <a:pt x="4342" y="469"/>
                  </a:lnTo>
                  <a:lnTo>
                    <a:pt x="4342" y="471"/>
                  </a:lnTo>
                  <a:lnTo>
                    <a:pt x="4342" y="473"/>
                  </a:lnTo>
                  <a:lnTo>
                    <a:pt x="4342" y="476"/>
                  </a:lnTo>
                  <a:lnTo>
                    <a:pt x="4342" y="485"/>
                  </a:lnTo>
                  <a:lnTo>
                    <a:pt x="4342" y="493"/>
                  </a:lnTo>
                  <a:lnTo>
                    <a:pt x="4342" y="502"/>
                  </a:lnTo>
                  <a:lnTo>
                    <a:pt x="4342" y="506"/>
                  </a:lnTo>
                  <a:lnTo>
                    <a:pt x="4340" y="509"/>
                  </a:lnTo>
                  <a:lnTo>
                    <a:pt x="4338" y="513"/>
                  </a:lnTo>
                  <a:lnTo>
                    <a:pt x="4335" y="514"/>
                  </a:lnTo>
                  <a:lnTo>
                    <a:pt x="4314" y="526"/>
                  </a:lnTo>
                  <a:lnTo>
                    <a:pt x="4294" y="535"/>
                  </a:lnTo>
                  <a:lnTo>
                    <a:pt x="4268" y="537"/>
                  </a:lnTo>
                  <a:lnTo>
                    <a:pt x="4242" y="538"/>
                  </a:lnTo>
                  <a:lnTo>
                    <a:pt x="4216" y="535"/>
                  </a:lnTo>
                  <a:lnTo>
                    <a:pt x="4188" y="526"/>
                  </a:lnTo>
                  <a:lnTo>
                    <a:pt x="4166" y="513"/>
                  </a:lnTo>
                  <a:lnTo>
                    <a:pt x="4145" y="493"/>
                  </a:lnTo>
                  <a:lnTo>
                    <a:pt x="4132" y="469"/>
                  </a:lnTo>
                  <a:lnTo>
                    <a:pt x="4123" y="440"/>
                  </a:lnTo>
                  <a:lnTo>
                    <a:pt x="4118" y="407"/>
                  </a:lnTo>
                  <a:lnTo>
                    <a:pt x="4118" y="371"/>
                  </a:lnTo>
                  <a:lnTo>
                    <a:pt x="4125" y="336"/>
                  </a:lnTo>
                  <a:lnTo>
                    <a:pt x="4138" y="305"/>
                  </a:lnTo>
                  <a:lnTo>
                    <a:pt x="4154" y="281"/>
                  </a:lnTo>
                  <a:lnTo>
                    <a:pt x="4175" y="263"/>
                  </a:lnTo>
                  <a:lnTo>
                    <a:pt x="4199" y="250"/>
                  </a:lnTo>
                  <a:lnTo>
                    <a:pt x="4225" y="243"/>
                  </a:lnTo>
                  <a:lnTo>
                    <a:pt x="4247" y="239"/>
                  </a:lnTo>
                  <a:close/>
                  <a:moveTo>
                    <a:pt x="2241" y="237"/>
                  </a:moveTo>
                  <a:lnTo>
                    <a:pt x="2265" y="237"/>
                  </a:lnTo>
                  <a:lnTo>
                    <a:pt x="2289" y="243"/>
                  </a:lnTo>
                  <a:lnTo>
                    <a:pt x="2318" y="255"/>
                  </a:lnTo>
                  <a:lnTo>
                    <a:pt x="2342" y="274"/>
                  </a:lnTo>
                  <a:lnTo>
                    <a:pt x="2361" y="298"/>
                  </a:lnTo>
                  <a:lnTo>
                    <a:pt x="2375" y="327"/>
                  </a:lnTo>
                  <a:lnTo>
                    <a:pt x="2380" y="357"/>
                  </a:lnTo>
                  <a:lnTo>
                    <a:pt x="2382" y="386"/>
                  </a:lnTo>
                  <a:lnTo>
                    <a:pt x="2380" y="410"/>
                  </a:lnTo>
                  <a:lnTo>
                    <a:pt x="2377" y="435"/>
                  </a:lnTo>
                  <a:lnTo>
                    <a:pt x="2370" y="455"/>
                  </a:lnTo>
                  <a:lnTo>
                    <a:pt x="2356" y="483"/>
                  </a:lnTo>
                  <a:lnTo>
                    <a:pt x="2339" y="504"/>
                  </a:lnTo>
                  <a:lnTo>
                    <a:pt x="2317" y="519"/>
                  </a:lnTo>
                  <a:lnTo>
                    <a:pt x="2292" y="532"/>
                  </a:lnTo>
                  <a:lnTo>
                    <a:pt x="2263" y="538"/>
                  </a:lnTo>
                  <a:lnTo>
                    <a:pt x="2229" y="538"/>
                  </a:lnTo>
                  <a:lnTo>
                    <a:pt x="2194" y="532"/>
                  </a:lnTo>
                  <a:lnTo>
                    <a:pt x="2168" y="518"/>
                  </a:lnTo>
                  <a:lnTo>
                    <a:pt x="2146" y="500"/>
                  </a:lnTo>
                  <a:lnTo>
                    <a:pt x="2130" y="478"/>
                  </a:lnTo>
                  <a:lnTo>
                    <a:pt x="2118" y="452"/>
                  </a:lnTo>
                  <a:lnTo>
                    <a:pt x="2106" y="407"/>
                  </a:lnTo>
                  <a:lnTo>
                    <a:pt x="2108" y="364"/>
                  </a:lnTo>
                  <a:lnTo>
                    <a:pt x="2120" y="320"/>
                  </a:lnTo>
                  <a:lnTo>
                    <a:pt x="2132" y="296"/>
                  </a:lnTo>
                  <a:lnTo>
                    <a:pt x="2149" y="276"/>
                  </a:lnTo>
                  <a:lnTo>
                    <a:pt x="2168" y="260"/>
                  </a:lnTo>
                  <a:lnTo>
                    <a:pt x="2192" y="250"/>
                  </a:lnTo>
                  <a:lnTo>
                    <a:pt x="2218" y="243"/>
                  </a:lnTo>
                  <a:lnTo>
                    <a:pt x="2241" y="237"/>
                  </a:lnTo>
                  <a:close/>
                  <a:moveTo>
                    <a:pt x="2913" y="237"/>
                  </a:moveTo>
                  <a:lnTo>
                    <a:pt x="2937" y="241"/>
                  </a:lnTo>
                  <a:lnTo>
                    <a:pt x="2959" y="250"/>
                  </a:lnTo>
                  <a:lnTo>
                    <a:pt x="2963" y="250"/>
                  </a:lnTo>
                  <a:lnTo>
                    <a:pt x="2965" y="251"/>
                  </a:lnTo>
                  <a:lnTo>
                    <a:pt x="2966" y="251"/>
                  </a:lnTo>
                  <a:lnTo>
                    <a:pt x="2966" y="253"/>
                  </a:lnTo>
                  <a:lnTo>
                    <a:pt x="2966" y="298"/>
                  </a:lnTo>
                  <a:lnTo>
                    <a:pt x="2963" y="295"/>
                  </a:lnTo>
                  <a:lnTo>
                    <a:pt x="2942" y="284"/>
                  </a:lnTo>
                  <a:lnTo>
                    <a:pt x="2922" y="281"/>
                  </a:lnTo>
                  <a:lnTo>
                    <a:pt x="2899" y="279"/>
                  </a:lnTo>
                  <a:lnTo>
                    <a:pt x="2887" y="281"/>
                  </a:lnTo>
                  <a:lnTo>
                    <a:pt x="2877" y="286"/>
                  </a:lnTo>
                  <a:lnTo>
                    <a:pt x="2866" y="291"/>
                  </a:lnTo>
                  <a:lnTo>
                    <a:pt x="2858" y="307"/>
                  </a:lnTo>
                  <a:lnTo>
                    <a:pt x="2856" y="322"/>
                  </a:lnTo>
                  <a:lnTo>
                    <a:pt x="2860" y="338"/>
                  </a:lnTo>
                  <a:lnTo>
                    <a:pt x="2870" y="350"/>
                  </a:lnTo>
                  <a:lnTo>
                    <a:pt x="2878" y="355"/>
                  </a:lnTo>
                  <a:lnTo>
                    <a:pt x="2889" y="360"/>
                  </a:lnTo>
                  <a:lnTo>
                    <a:pt x="2896" y="367"/>
                  </a:lnTo>
                  <a:lnTo>
                    <a:pt x="2915" y="374"/>
                  </a:lnTo>
                  <a:lnTo>
                    <a:pt x="2930" y="383"/>
                  </a:lnTo>
                  <a:lnTo>
                    <a:pt x="2946" y="390"/>
                  </a:lnTo>
                  <a:lnTo>
                    <a:pt x="2959" y="400"/>
                  </a:lnTo>
                  <a:lnTo>
                    <a:pt x="2972" y="414"/>
                  </a:lnTo>
                  <a:lnTo>
                    <a:pt x="2977" y="431"/>
                  </a:lnTo>
                  <a:lnTo>
                    <a:pt x="2980" y="448"/>
                  </a:lnTo>
                  <a:lnTo>
                    <a:pt x="2978" y="476"/>
                  </a:lnTo>
                  <a:lnTo>
                    <a:pt x="2968" y="500"/>
                  </a:lnTo>
                  <a:lnTo>
                    <a:pt x="2949" y="518"/>
                  </a:lnTo>
                  <a:lnTo>
                    <a:pt x="2925" y="532"/>
                  </a:lnTo>
                  <a:lnTo>
                    <a:pt x="2889" y="538"/>
                  </a:lnTo>
                  <a:lnTo>
                    <a:pt x="2851" y="537"/>
                  </a:lnTo>
                  <a:lnTo>
                    <a:pt x="2815" y="525"/>
                  </a:lnTo>
                  <a:lnTo>
                    <a:pt x="2813" y="523"/>
                  </a:lnTo>
                  <a:lnTo>
                    <a:pt x="2811" y="521"/>
                  </a:lnTo>
                  <a:lnTo>
                    <a:pt x="2810" y="519"/>
                  </a:lnTo>
                  <a:lnTo>
                    <a:pt x="2808" y="518"/>
                  </a:lnTo>
                  <a:lnTo>
                    <a:pt x="2808" y="514"/>
                  </a:lnTo>
                  <a:lnTo>
                    <a:pt x="2808" y="473"/>
                  </a:lnTo>
                  <a:lnTo>
                    <a:pt x="2811" y="474"/>
                  </a:lnTo>
                  <a:lnTo>
                    <a:pt x="2815" y="476"/>
                  </a:lnTo>
                  <a:lnTo>
                    <a:pt x="2818" y="478"/>
                  </a:lnTo>
                  <a:lnTo>
                    <a:pt x="2844" y="492"/>
                  </a:lnTo>
                  <a:lnTo>
                    <a:pt x="2873" y="499"/>
                  </a:lnTo>
                  <a:lnTo>
                    <a:pt x="2903" y="499"/>
                  </a:lnTo>
                  <a:lnTo>
                    <a:pt x="2904" y="495"/>
                  </a:lnTo>
                  <a:lnTo>
                    <a:pt x="2908" y="495"/>
                  </a:lnTo>
                  <a:lnTo>
                    <a:pt x="2908" y="495"/>
                  </a:lnTo>
                  <a:lnTo>
                    <a:pt x="2916" y="492"/>
                  </a:lnTo>
                  <a:lnTo>
                    <a:pt x="2922" y="488"/>
                  </a:lnTo>
                  <a:lnTo>
                    <a:pt x="2927" y="483"/>
                  </a:lnTo>
                  <a:lnTo>
                    <a:pt x="2932" y="476"/>
                  </a:lnTo>
                  <a:lnTo>
                    <a:pt x="2934" y="469"/>
                  </a:lnTo>
                  <a:lnTo>
                    <a:pt x="2935" y="454"/>
                  </a:lnTo>
                  <a:lnTo>
                    <a:pt x="2932" y="440"/>
                  </a:lnTo>
                  <a:lnTo>
                    <a:pt x="2922" y="429"/>
                  </a:lnTo>
                  <a:lnTo>
                    <a:pt x="2897" y="416"/>
                  </a:lnTo>
                  <a:lnTo>
                    <a:pt x="2873" y="404"/>
                  </a:lnTo>
                  <a:lnTo>
                    <a:pt x="2858" y="397"/>
                  </a:lnTo>
                  <a:lnTo>
                    <a:pt x="2841" y="386"/>
                  </a:lnTo>
                  <a:lnTo>
                    <a:pt x="2823" y="371"/>
                  </a:lnTo>
                  <a:lnTo>
                    <a:pt x="2813" y="350"/>
                  </a:lnTo>
                  <a:lnTo>
                    <a:pt x="2808" y="327"/>
                  </a:lnTo>
                  <a:lnTo>
                    <a:pt x="2811" y="305"/>
                  </a:lnTo>
                  <a:lnTo>
                    <a:pt x="2820" y="282"/>
                  </a:lnTo>
                  <a:lnTo>
                    <a:pt x="2834" y="265"/>
                  </a:lnTo>
                  <a:lnTo>
                    <a:pt x="2851" y="253"/>
                  </a:lnTo>
                  <a:lnTo>
                    <a:pt x="2868" y="244"/>
                  </a:lnTo>
                  <a:lnTo>
                    <a:pt x="2889" y="239"/>
                  </a:lnTo>
                  <a:lnTo>
                    <a:pt x="2913" y="237"/>
                  </a:lnTo>
                  <a:close/>
                  <a:moveTo>
                    <a:pt x="3518" y="237"/>
                  </a:moveTo>
                  <a:lnTo>
                    <a:pt x="3539" y="241"/>
                  </a:lnTo>
                  <a:lnTo>
                    <a:pt x="3561" y="246"/>
                  </a:lnTo>
                  <a:lnTo>
                    <a:pt x="3580" y="255"/>
                  </a:lnTo>
                  <a:lnTo>
                    <a:pt x="3596" y="269"/>
                  </a:lnTo>
                  <a:lnTo>
                    <a:pt x="3608" y="286"/>
                  </a:lnTo>
                  <a:lnTo>
                    <a:pt x="3618" y="305"/>
                  </a:lnTo>
                  <a:lnTo>
                    <a:pt x="3628" y="340"/>
                  </a:lnTo>
                  <a:lnTo>
                    <a:pt x="3632" y="374"/>
                  </a:lnTo>
                  <a:lnTo>
                    <a:pt x="3632" y="383"/>
                  </a:lnTo>
                  <a:lnTo>
                    <a:pt x="3632" y="391"/>
                  </a:lnTo>
                  <a:lnTo>
                    <a:pt x="3632" y="400"/>
                  </a:lnTo>
                  <a:lnTo>
                    <a:pt x="3435" y="400"/>
                  </a:lnTo>
                  <a:lnTo>
                    <a:pt x="3435" y="416"/>
                  </a:lnTo>
                  <a:lnTo>
                    <a:pt x="3437" y="433"/>
                  </a:lnTo>
                  <a:lnTo>
                    <a:pt x="3440" y="448"/>
                  </a:lnTo>
                  <a:lnTo>
                    <a:pt x="3456" y="473"/>
                  </a:lnTo>
                  <a:lnTo>
                    <a:pt x="3477" y="488"/>
                  </a:lnTo>
                  <a:lnTo>
                    <a:pt x="3502" y="499"/>
                  </a:lnTo>
                  <a:lnTo>
                    <a:pt x="3537" y="499"/>
                  </a:lnTo>
                  <a:lnTo>
                    <a:pt x="3571" y="490"/>
                  </a:lnTo>
                  <a:lnTo>
                    <a:pt x="3602" y="476"/>
                  </a:lnTo>
                  <a:lnTo>
                    <a:pt x="3604" y="473"/>
                  </a:lnTo>
                  <a:lnTo>
                    <a:pt x="3608" y="473"/>
                  </a:lnTo>
                  <a:lnTo>
                    <a:pt x="3608" y="471"/>
                  </a:lnTo>
                  <a:lnTo>
                    <a:pt x="3609" y="469"/>
                  </a:lnTo>
                  <a:lnTo>
                    <a:pt x="3613" y="469"/>
                  </a:lnTo>
                  <a:lnTo>
                    <a:pt x="3613" y="471"/>
                  </a:lnTo>
                  <a:lnTo>
                    <a:pt x="3613" y="473"/>
                  </a:lnTo>
                  <a:lnTo>
                    <a:pt x="3613" y="473"/>
                  </a:lnTo>
                  <a:lnTo>
                    <a:pt x="3613" y="506"/>
                  </a:lnTo>
                  <a:lnTo>
                    <a:pt x="3613" y="507"/>
                  </a:lnTo>
                  <a:lnTo>
                    <a:pt x="3611" y="511"/>
                  </a:lnTo>
                  <a:lnTo>
                    <a:pt x="3609" y="514"/>
                  </a:lnTo>
                  <a:lnTo>
                    <a:pt x="3594" y="523"/>
                  </a:lnTo>
                  <a:lnTo>
                    <a:pt x="3578" y="528"/>
                  </a:lnTo>
                  <a:lnTo>
                    <a:pt x="3561" y="535"/>
                  </a:lnTo>
                  <a:lnTo>
                    <a:pt x="3537" y="537"/>
                  </a:lnTo>
                  <a:lnTo>
                    <a:pt x="3511" y="538"/>
                  </a:lnTo>
                  <a:lnTo>
                    <a:pt x="3487" y="535"/>
                  </a:lnTo>
                  <a:lnTo>
                    <a:pt x="3459" y="526"/>
                  </a:lnTo>
                  <a:lnTo>
                    <a:pt x="3435" y="513"/>
                  </a:lnTo>
                  <a:lnTo>
                    <a:pt x="3416" y="493"/>
                  </a:lnTo>
                  <a:lnTo>
                    <a:pt x="3402" y="469"/>
                  </a:lnTo>
                  <a:lnTo>
                    <a:pt x="3392" y="438"/>
                  </a:lnTo>
                  <a:lnTo>
                    <a:pt x="3385" y="407"/>
                  </a:lnTo>
                  <a:lnTo>
                    <a:pt x="3387" y="372"/>
                  </a:lnTo>
                  <a:lnTo>
                    <a:pt x="3394" y="340"/>
                  </a:lnTo>
                  <a:lnTo>
                    <a:pt x="3406" y="308"/>
                  </a:lnTo>
                  <a:lnTo>
                    <a:pt x="3421" y="284"/>
                  </a:lnTo>
                  <a:lnTo>
                    <a:pt x="3442" y="263"/>
                  </a:lnTo>
                  <a:lnTo>
                    <a:pt x="3466" y="250"/>
                  </a:lnTo>
                  <a:lnTo>
                    <a:pt x="3496" y="239"/>
                  </a:lnTo>
                  <a:lnTo>
                    <a:pt x="3518" y="237"/>
                  </a:lnTo>
                  <a:close/>
                  <a:moveTo>
                    <a:pt x="5073" y="165"/>
                  </a:moveTo>
                  <a:lnTo>
                    <a:pt x="5054" y="167"/>
                  </a:lnTo>
                  <a:lnTo>
                    <a:pt x="5036" y="173"/>
                  </a:lnTo>
                  <a:lnTo>
                    <a:pt x="5023" y="187"/>
                  </a:lnTo>
                  <a:lnTo>
                    <a:pt x="5019" y="192"/>
                  </a:lnTo>
                  <a:lnTo>
                    <a:pt x="5016" y="199"/>
                  </a:lnTo>
                  <a:lnTo>
                    <a:pt x="5009" y="206"/>
                  </a:lnTo>
                  <a:lnTo>
                    <a:pt x="5002" y="229"/>
                  </a:lnTo>
                  <a:lnTo>
                    <a:pt x="4997" y="253"/>
                  </a:lnTo>
                  <a:lnTo>
                    <a:pt x="4992" y="301"/>
                  </a:lnTo>
                  <a:lnTo>
                    <a:pt x="4990" y="350"/>
                  </a:lnTo>
                  <a:lnTo>
                    <a:pt x="4992" y="388"/>
                  </a:lnTo>
                  <a:lnTo>
                    <a:pt x="4997" y="423"/>
                  </a:lnTo>
                  <a:lnTo>
                    <a:pt x="5002" y="442"/>
                  </a:lnTo>
                  <a:lnTo>
                    <a:pt x="5009" y="457"/>
                  </a:lnTo>
                  <a:lnTo>
                    <a:pt x="5019" y="473"/>
                  </a:lnTo>
                  <a:lnTo>
                    <a:pt x="5033" y="487"/>
                  </a:lnTo>
                  <a:lnTo>
                    <a:pt x="5049" y="495"/>
                  </a:lnTo>
                  <a:lnTo>
                    <a:pt x="5066" y="499"/>
                  </a:lnTo>
                  <a:lnTo>
                    <a:pt x="5085" y="499"/>
                  </a:lnTo>
                  <a:lnTo>
                    <a:pt x="5102" y="492"/>
                  </a:lnTo>
                  <a:lnTo>
                    <a:pt x="5116" y="481"/>
                  </a:lnTo>
                  <a:lnTo>
                    <a:pt x="5130" y="466"/>
                  </a:lnTo>
                  <a:lnTo>
                    <a:pt x="5138" y="445"/>
                  </a:lnTo>
                  <a:lnTo>
                    <a:pt x="5145" y="423"/>
                  </a:lnTo>
                  <a:lnTo>
                    <a:pt x="5150" y="379"/>
                  </a:lnTo>
                  <a:lnTo>
                    <a:pt x="5152" y="341"/>
                  </a:lnTo>
                  <a:lnTo>
                    <a:pt x="5152" y="305"/>
                  </a:lnTo>
                  <a:lnTo>
                    <a:pt x="5150" y="276"/>
                  </a:lnTo>
                  <a:lnTo>
                    <a:pt x="5145" y="250"/>
                  </a:lnTo>
                  <a:lnTo>
                    <a:pt x="5138" y="220"/>
                  </a:lnTo>
                  <a:lnTo>
                    <a:pt x="5126" y="192"/>
                  </a:lnTo>
                  <a:lnTo>
                    <a:pt x="5111" y="177"/>
                  </a:lnTo>
                  <a:lnTo>
                    <a:pt x="5093" y="168"/>
                  </a:lnTo>
                  <a:lnTo>
                    <a:pt x="5073" y="165"/>
                  </a:lnTo>
                  <a:close/>
                  <a:moveTo>
                    <a:pt x="850" y="130"/>
                  </a:moveTo>
                  <a:lnTo>
                    <a:pt x="898" y="130"/>
                  </a:lnTo>
                  <a:lnTo>
                    <a:pt x="945" y="298"/>
                  </a:lnTo>
                  <a:lnTo>
                    <a:pt x="988" y="462"/>
                  </a:lnTo>
                  <a:lnTo>
                    <a:pt x="991" y="462"/>
                  </a:lnTo>
                  <a:lnTo>
                    <a:pt x="1038" y="296"/>
                  </a:lnTo>
                  <a:lnTo>
                    <a:pt x="1084" y="134"/>
                  </a:lnTo>
                  <a:lnTo>
                    <a:pt x="1129" y="134"/>
                  </a:lnTo>
                  <a:lnTo>
                    <a:pt x="1176" y="298"/>
                  </a:lnTo>
                  <a:lnTo>
                    <a:pt x="1220" y="466"/>
                  </a:lnTo>
                  <a:lnTo>
                    <a:pt x="1307" y="130"/>
                  </a:lnTo>
                  <a:lnTo>
                    <a:pt x="1358" y="130"/>
                  </a:lnTo>
                  <a:lnTo>
                    <a:pt x="1303" y="331"/>
                  </a:lnTo>
                  <a:lnTo>
                    <a:pt x="1246" y="532"/>
                  </a:lnTo>
                  <a:lnTo>
                    <a:pt x="1194" y="532"/>
                  </a:lnTo>
                  <a:lnTo>
                    <a:pt x="1107" y="217"/>
                  </a:lnTo>
                  <a:lnTo>
                    <a:pt x="1103" y="217"/>
                  </a:lnTo>
                  <a:lnTo>
                    <a:pt x="1017" y="532"/>
                  </a:lnTo>
                  <a:lnTo>
                    <a:pt x="962" y="532"/>
                  </a:lnTo>
                  <a:lnTo>
                    <a:pt x="905" y="331"/>
                  </a:lnTo>
                  <a:lnTo>
                    <a:pt x="850" y="130"/>
                  </a:lnTo>
                  <a:close/>
                  <a:moveTo>
                    <a:pt x="5567" y="125"/>
                  </a:moveTo>
                  <a:lnTo>
                    <a:pt x="5597" y="130"/>
                  </a:lnTo>
                  <a:lnTo>
                    <a:pt x="5626" y="144"/>
                  </a:lnTo>
                  <a:lnTo>
                    <a:pt x="5647" y="165"/>
                  </a:lnTo>
                  <a:lnTo>
                    <a:pt x="5662" y="189"/>
                  </a:lnTo>
                  <a:lnTo>
                    <a:pt x="5669" y="220"/>
                  </a:lnTo>
                  <a:lnTo>
                    <a:pt x="5667" y="253"/>
                  </a:lnTo>
                  <a:lnTo>
                    <a:pt x="5660" y="286"/>
                  </a:lnTo>
                  <a:lnTo>
                    <a:pt x="5645" y="315"/>
                  </a:lnTo>
                  <a:lnTo>
                    <a:pt x="5623" y="341"/>
                  </a:lnTo>
                  <a:lnTo>
                    <a:pt x="5602" y="360"/>
                  </a:lnTo>
                  <a:lnTo>
                    <a:pt x="5581" y="378"/>
                  </a:lnTo>
                  <a:lnTo>
                    <a:pt x="5555" y="397"/>
                  </a:lnTo>
                  <a:lnTo>
                    <a:pt x="5529" y="414"/>
                  </a:lnTo>
                  <a:lnTo>
                    <a:pt x="5516" y="428"/>
                  </a:lnTo>
                  <a:lnTo>
                    <a:pt x="5504" y="443"/>
                  </a:lnTo>
                  <a:lnTo>
                    <a:pt x="5495" y="455"/>
                  </a:lnTo>
                  <a:lnTo>
                    <a:pt x="5490" y="469"/>
                  </a:lnTo>
                  <a:lnTo>
                    <a:pt x="5488" y="485"/>
                  </a:lnTo>
                  <a:lnTo>
                    <a:pt x="5488" y="488"/>
                  </a:lnTo>
                  <a:lnTo>
                    <a:pt x="5685" y="488"/>
                  </a:lnTo>
                  <a:lnTo>
                    <a:pt x="5685" y="532"/>
                  </a:lnTo>
                  <a:lnTo>
                    <a:pt x="5442" y="532"/>
                  </a:lnTo>
                  <a:lnTo>
                    <a:pt x="5443" y="499"/>
                  </a:lnTo>
                  <a:lnTo>
                    <a:pt x="5445" y="469"/>
                  </a:lnTo>
                  <a:lnTo>
                    <a:pt x="5454" y="447"/>
                  </a:lnTo>
                  <a:lnTo>
                    <a:pt x="5466" y="428"/>
                  </a:lnTo>
                  <a:lnTo>
                    <a:pt x="5481" y="410"/>
                  </a:lnTo>
                  <a:lnTo>
                    <a:pt x="5510" y="383"/>
                  </a:lnTo>
                  <a:lnTo>
                    <a:pt x="5541" y="357"/>
                  </a:lnTo>
                  <a:lnTo>
                    <a:pt x="5566" y="341"/>
                  </a:lnTo>
                  <a:lnTo>
                    <a:pt x="5588" y="320"/>
                  </a:lnTo>
                  <a:lnTo>
                    <a:pt x="5602" y="303"/>
                  </a:lnTo>
                  <a:lnTo>
                    <a:pt x="5614" y="284"/>
                  </a:lnTo>
                  <a:lnTo>
                    <a:pt x="5619" y="262"/>
                  </a:lnTo>
                  <a:lnTo>
                    <a:pt x="5623" y="241"/>
                  </a:lnTo>
                  <a:lnTo>
                    <a:pt x="5623" y="220"/>
                  </a:lnTo>
                  <a:lnTo>
                    <a:pt x="5616" y="199"/>
                  </a:lnTo>
                  <a:lnTo>
                    <a:pt x="5602" y="182"/>
                  </a:lnTo>
                  <a:lnTo>
                    <a:pt x="5585" y="170"/>
                  </a:lnTo>
                  <a:lnTo>
                    <a:pt x="5562" y="163"/>
                  </a:lnTo>
                  <a:lnTo>
                    <a:pt x="5533" y="167"/>
                  </a:lnTo>
                  <a:lnTo>
                    <a:pt x="5504" y="177"/>
                  </a:lnTo>
                  <a:lnTo>
                    <a:pt x="5481" y="189"/>
                  </a:lnTo>
                  <a:lnTo>
                    <a:pt x="5466" y="206"/>
                  </a:lnTo>
                  <a:lnTo>
                    <a:pt x="5462" y="206"/>
                  </a:lnTo>
                  <a:lnTo>
                    <a:pt x="5462" y="208"/>
                  </a:lnTo>
                  <a:lnTo>
                    <a:pt x="5460" y="210"/>
                  </a:lnTo>
                  <a:lnTo>
                    <a:pt x="5459" y="213"/>
                  </a:lnTo>
                  <a:lnTo>
                    <a:pt x="5459" y="170"/>
                  </a:lnTo>
                  <a:lnTo>
                    <a:pt x="5457" y="167"/>
                  </a:lnTo>
                  <a:lnTo>
                    <a:pt x="5457" y="165"/>
                  </a:lnTo>
                  <a:lnTo>
                    <a:pt x="5459" y="163"/>
                  </a:lnTo>
                  <a:lnTo>
                    <a:pt x="5460" y="161"/>
                  </a:lnTo>
                  <a:lnTo>
                    <a:pt x="5462" y="161"/>
                  </a:lnTo>
                  <a:lnTo>
                    <a:pt x="5479" y="147"/>
                  </a:lnTo>
                  <a:lnTo>
                    <a:pt x="5497" y="137"/>
                  </a:lnTo>
                  <a:lnTo>
                    <a:pt x="5517" y="130"/>
                  </a:lnTo>
                  <a:lnTo>
                    <a:pt x="5540" y="128"/>
                  </a:lnTo>
                  <a:lnTo>
                    <a:pt x="5567" y="125"/>
                  </a:lnTo>
                  <a:close/>
                  <a:moveTo>
                    <a:pt x="4787" y="125"/>
                  </a:moveTo>
                  <a:lnTo>
                    <a:pt x="4816" y="130"/>
                  </a:lnTo>
                  <a:lnTo>
                    <a:pt x="4840" y="142"/>
                  </a:lnTo>
                  <a:lnTo>
                    <a:pt x="4861" y="156"/>
                  </a:lnTo>
                  <a:lnTo>
                    <a:pt x="4876" y="177"/>
                  </a:lnTo>
                  <a:lnTo>
                    <a:pt x="4887" y="199"/>
                  </a:lnTo>
                  <a:lnTo>
                    <a:pt x="4890" y="225"/>
                  </a:lnTo>
                  <a:lnTo>
                    <a:pt x="4888" y="253"/>
                  </a:lnTo>
                  <a:lnTo>
                    <a:pt x="4883" y="281"/>
                  </a:lnTo>
                  <a:lnTo>
                    <a:pt x="4871" y="305"/>
                  </a:lnTo>
                  <a:lnTo>
                    <a:pt x="4855" y="327"/>
                  </a:lnTo>
                  <a:lnTo>
                    <a:pt x="4838" y="348"/>
                  </a:lnTo>
                  <a:lnTo>
                    <a:pt x="4800" y="378"/>
                  </a:lnTo>
                  <a:lnTo>
                    <a:pt x="4774" y="397"/>
                  </a:lnTo>
                  <a:lnTo>
                    <a:pt x="4749" y="416"/>
                  </a:lnTo>
                  <a:lnTo>
                    <a:pt x="4738" y="426"/>
                  </a:lnTo>
                  <a:lnTo>
                    <a:pt x="4730" y="435"/>
                  </a:lnTo>
                  <a:lnTo>
                    <a:pt x="4723" y="445"/>
                  </a:lnTo>
                  <a:lnTo>
                    <a:pt x="4714" y="461"/>
                  </a:lnTo>
                  <a:lnTo>
                    <a:pt x="4711" y="474"/>
                  </a:lnTo>
                  <a:lnTo>
                    <a:pt x="4709" y="488"/>
                  </a:lnTo>
                  <a:lnTo>
                    <a:pt x="4904" y="488"/>
                  </a:lnTo>
                  <a:lnTo>
                    <a:pt x="4904" y="532"/>
                  </a:lnTo>
                  <a:lnTo>
                    <a:pt x="4661" y="532"/>
                  </a:lnTo>
                  <a:lnTo>
                    <a:pt x="4661" y="504"/>
                  </a:lnTo>
                  <a:lnTo>
                    <a:pt x="4664" y="478"/>
                  </a:lnTo>
                  <a:lnTo>
                    <a:pt x="4671" y="454"/>
                  </a:lnTo>
                  <a:lnTo>
                    <a:pt x="4683" y="431"/>
                  </a:lnTo>
                  <a:lnTo>
                    <a:pt x="4700" y="414"/>
                  </a:lnTo>
                  <a:lnTo>
                    <a:pt x="4730" y="386"/>
                  </a:lnTo>
                  <a:lnTo>
                    <a:pt x="4761" y="360"/>
                  </a:lnTo>
                  <a:lnTo>
                    <a:pt x="4809" y="320"/>
                  </a:lnTo>
                  <a:lnTo>
                    <a:pt x="4824" y="301"/>
                  </a:lnTo>
                  <a:lnTo>
                    <a:pt x="4835" y="281"/>
                  </a:lnTo>
                  <a:lnTo>
                    <a:pt x="4842" y="255"/>
                  </a:lnTo>
                  <a:lnTo>
                    <a:pt x="4843" y="236"/>
                  </a:lnTo>
                  <a:lnTo>
                    <a:pt x="4842" y="217"/>
                  </a:lnTo>
                  <a:lnTo>
                    <a:pt x="4835" y="196"/>
                  </a:lnTo>
                  <a:lnTo>
                    <a:pt x="4821" y="180"/>
                  </a:lnTo>
                  <a:lnTo>
                    <a:pt x="4802" y="170"/>
                  </a:lnTo>
                  <a:lnTo>
                    <a:pt x="4781" y="163"/>
                  </a:lnTo>
                  <a:lnTo>
                    <a:pt x="4756" y="167"/>
                  </a:lnTo>
                  <a:lnTo>
                    <a:pt x="4733" y="172"/>
                  </a:lnTo>
                  <a:lnTo>
                    <a:pt x="4712" y="184"/>
                  </a:lnTo>
                  <a:lnTo>
                    <a:pt x="4699" y="194"/>
                  </a:lnTo>
                  <a:lnTo>
                    <a:pt x="4683" y="206"/>
                  </a:lnTo>
                  <a:lnTo>
                    <a:pt x="4681" y="206"/>
                  </a:lnTo>
                  <a:lnTo>
                    <a:pt x="4680" y="208"/>
                  </a:lnTo>
                  <a:lnTo>
                    <a:pt x="4680" y="210"/>
                  </a:lnTo>
                  <a:lnTo>
                    <a:pt x="4678" y="213"/>
                  </a:lnTo>
                  <a:lnTo>
                    <a:pt x="4678" y="170"/>
                  </a:lnTo>
                  <a:lnTo>
                    <a:pt x="4678" y="167"/>
                  </a:lnTo>
                  <a:lnTo>
                    <a:pt x="4678" y="163"/>
                  </a:lnTo>
                  <a:lnTo>
                    <a:pt x="4680" y="161"/>
                  </a:lnTo>
                  <a:lnTo>
                    <a:pt x="4704" y="144"/>
                  </a:lnTo>
                  <a:lnTo>
                    <a:pt x="4730" y="132"/>
                  </a:lnTo>
                  <a:lnTo>
                    <a:pt x="4757" y="128"/>
                  </a:lnTo>
                  <a:lnTo>
                    <a:pt x="4787" y="125"/>
                  </a:lnTo>
                  <a:close/>
                  <a:moveTo>
                    <a:pt x="5355" y="125"/>
                  </a:moveTo>
                  <a:lnTo>
                    <a:pt x="5364" y="125"/>
                  </a:lnTo>
                  <a:lnTo>
                    <a:pt x="5364" y="532"/>
                  </a:lnTo>
                  <a:lnTo>
                    <a:pt x="5323" y="532"/>
                  </a:lnTo>
                  <a:lnTo>
                    <a:pt x="5323" y="187"/>
                  </a:lnTo>
                  <a:lnTo>
                    <a:pt x="5293" y="206"/>
                  </a:lnTo>
                  <a:lnTo>
                    <a:pt x="5262" y="222"/>
                  </a:lnTo>
                  <a:lnTo>
                    <a:pt x="5230" y="232"/>
                  </a:lnTo>
                  <a:lnTo>
                    <a:pt x="5230" y="187"/>
                  </a:lnTo>
                  <a:lnTo>
                    <a:pt x="5236" y="187"/>
                  </a:lnTo>
                  <a:lnTo>
                    <a:pt x="5274" y="172"/>
                  </a:lnTo>
                  <a:lnTo>
                    <a:pt x="5311" y="151"/>
                  </a:lnTo>
                  <a:lnTo>
                    <a:pt x="5345" y="128"/>
                  </a:lnTo>
                  <a:lnTo>
                    <a:pt x="5348" y="125"/>
                  </a:lnTo>
                  <a:lnTo>
                    <a:pt x="5352" y="125"/>
                  </a:lnTo>
                  <a:lnTo>
                    <a:pt x="5355" y="125"/>
                  </a:lnTo>
                  <a:close/>
                  <a:moveTo>
                    <a:pt x="5085" y="125"/>
                  </a:moveTo>
                  <a:lnTo>
                    <a:pt x="5100" y="128"/>
                  </a:lnTo>
                  <a:lnTo>
                    <a:pt x="5116" y="130"/>
                  </a:lnTo>
                  <a:lnTo>
                    <a:pt x="5135" y="141"/>
                  </a:lnTo>
                  <a:lnTo>
                    <a:pt x="5154" y="154"/>
                  </a:lnTo>
                  <a:lnTo>
                    <a:pt x="5167" y="173"/>
                  </a:lnTo>
                  <a:lnTo>
                    <a:pt x="5180" y="194"/>
                  </a:lnTo>
                  <a:lnTo>
                    <a:pt x="5186" y="217"/>
                  </a:lnTo>
                  <a:lnTo>
                    <a:pt x="5190" y="239"/>
                  </a:lnTo>
                  <a:lnTo>
                    <a:pt x="5198" y="284"/>
                  </a:lnTo>
                  <a:lnTo>
                    <a:pt x="5200" y="327"/>
                  </a:lnTo>
                  <a:lnTo>
                    <a:pt x="5197" y="379"/>
                  </a:lnTo>
                  <a:lnTo>
                    <a:pt x="5186" y="429"/>
                  </a:lnTo>
                  <a:lnTo>
                    <a:pt x="5174" y="464"/>
                  </a:lnTo>
                  <a:lnTo>
                    <a:pt x="5159" y="495"/>
                  </a:lnTo>
                  <a:lnTo>
                    <a:pt x="5136" y="516"/>
                  </a:lnTo>
                  <a:lnTo>
                    <a:pt x="5112" y="530"/>
                  </a:lnTo>
                  <a:lnTo>
                    <a:pt x="5085" y="537"/>
                  </a:lnTo>
                  <a:lnTo>
                    <a:pt x="5055" y="538"/>
                  </a:lnTo>
                  <a:lnTo>
                    <a:pt x="5031" y="533"/>
                  </a:lnTo>
                  <a:lnTo>
                    <a:pt x="5012" y="523"/>
                  </a:lnTo>
                  <a:lnTo>
                    <a:pt x="4995" y="509"/>
                  </a:lnTo>
                  <a:lnTo>
                    <a:pt x="4980" y="492"/>
                  </a:lnTo>
                  <a:lnTo>
                    <a:pt x="4968" y="473"/>
                  </a:lnTo>
                  <a:lnTo>
                    <a:pt x="4957" y="448"/>
                  </a:lnTo>
                  <a:lnTo>
                    <a:pt x="4952" y="426"/>
                  </a:lnTo>
                  <a:lnTo>
                    <a:pt x="4949" y="400"/>
                  </a:lnTo>
                  <a:lnTo>
                    <a:pt x="4943" y="357"/>
                  </a:lnTo>
                  <a:lnTo>
                    <a:pt x="4943" y="315"/>
                  </a:lnTo>
                  <a:lnTo>
                    <a:pt x="4949" y="276"/>
                  </a:lnTo>
                  <a:lnTo>
                    <a:pt x="4952" y="246"/>
                  </a:lnTo>
                  <a:lnTo>
                    <a:pt x="4961" y="217"/>
                  </a:lnTo>
                  <a:lnTo>
                    <a:pt x="4971" y="191"/>
                  </a:lnTo>
                  <a:lnTo>
                    <a:pt x="4985" y="168"/>
                  </a:lnTo>
                  <a:lnTo>
                    <a:pt x="5000" y="153"/>
                  </a:lnTo>
                  <a:lnTo>
                    <a:pt x="5019" y="137"/>
                  </a:lnTo>
                  <a:lnTo>
                    <a:pt x="5042" y="130"/>
                  </a:lnTo>
                  <a:lnTo>
                    <a:pt x="5062" y="125"/>
                  </a:lnTo>
                  <a:lnTo>
                    <a:pt x="5085" y="125"/>
                  </a:lnTo>
                  <a:close/>
                  <a:moveTo>
                    <a:pt x="3266" y="125"/>
                  </a:moveTo>
                  <a:lnTo>
                    <a:pt x="3290" y="127"/>
                  </a:lnTo>
                  <a:lnTo>
                    <a:pt x="3315" y="130"/>
                  </a:lnTo>
                  <a:lnTo>
                    <a:pt x="3321" y="134"/>
                  </a:lnTo>
                  <a:lnTo>
                    <a:pt x="3327" y="135"/>
                  </a:lnTo>
                  <a:lnTo>
                    <a:pt x="3330" y="137"/>
                  </a:lnTo>
                  <a:lnTo>
                    <a:pt x="3334" y="141"/>
                  </a:lnTo>
                  <a:lnTo>
                    <a:pt x="3334" y="144"/>
                  </a:lnTo>
                  <a:lnTo>
                    <a:pt x="3334" y="149"/>
                  </a:lnTo>
                  <a:lnTo>
                    <a:pt x="3335" y="158"/>
                  </a:lnTo>
                  <a:lnTo>
                    <a:pt x="3335" y="191"/>
                  </a:lnTo>
                  <a:lnTo>
                    <a:pt x="3332" y="191"/>
                  </a:lnTo>
                  <a:lnTo>
                    <a:pt x="3332" y="191"/>
                  </a:lnTo>
                  <a:lnTo>
                    <a:pt x="3332" y="191"/>
                  </a:lnTo>
                  <a:lnTo>
                    <a:pt x="3304" y="175"/>
                  </a:lnTo>
                  <a:lnTo>
                    <a:pt x="3275" y="168"/>
                  </a:lnTo>
                  <a:lnTo>
                    <a:pt x="3244" y="167"/>
                  </a:lnTo>
                  <a:lnTo>
                    <a:pt x="3230" y="168"/>
                  </a:lnTo>
                  <a:lnTo>
                    <a:pt x="3215" y="173"/>
                  </a:lnTo>
                  <a:lnTo>
                    <a:pt x="3197" y="186"/>
                  </a:lnTo>
                  <a:lnTo>
                    <a:pt x="3187" y="199"/>
                  </a:lnTo>
                  <a:lnTo>
                    <a:pt x="3180" y="218"/>
                  </a:lnTo>
                  <a:lnTo>
                    <a:pt x="3180" y="239"/>
                  </a:lnTo>
                  <a:lnTo>
                    <a:pt x="3184" y="255"/>
                  </a:lnTo>
                  <a:lnTo>
                    <a:pt x="3190" y="267"/>
                  </a:lnTo>
                  <a:lnTo>
                    <a:pt x="3203" y="279"/>
                  </a:lnTo>
                  <a:lnTo>
                    <a:pt x="3208" y="282"/>
                  </a:lnTo>
                  <a:lnTo>
                    <a:pt x="3213" y="288"/>
                  </a:lnTo>
                  <a:lnTo>
                    <a:pt x="3218" y="291"/>
                  </a:lnTo>
                  <a:lnTo>
                    <a:pt x="3225" y="295"/>
                  </a:lnTo>
                  <a:lnTo>
                    <a:pt x="3244" y="307"/>
                  </a:lnTo>
                  <a:lnTo>
                    <a:pt x="3263" y="319"/>
                  </a:lnTo>
                  <a:lnTo>
                    <a:pt x="3290" y="334"/>
                  </a:lnTo>
                  <a:lnTo>
                    <a:pt x="3315" y="353"/>
                  </a:lnTo>
                  <a:lnTo>
                    <a:pt x="3330" y="371"/>
                  </a:lnTo>
                  <a:lnTo>
                    <a:pt x="3340" y="388"/>
                  </a:lnTo>
                  <a:lnTo>
                    <a:pt x="3347" y="410"/>
                  </a:lnTo>
                  <a:lnTo>
                    <a:pt x="3351" y="435"/>
                  </a:lnTo>
                  <a:lnTo>
                    <a:pt x="3347" y="457"/>
                  </a:lnTo>
                  <a:lnTo>
                    <a:pt x="3340" y="478"/>
                  </a:lnTo>
                  <a:lnTo>
                    <a:pt x="3328" y="499"/>
                  </a:lnTo>
                  <a:lnTo>
                    <a:pt x="3311" y="514"/>
                  </a:lnTo>
                  <a:lnTo>
                    <a:pt x="3285" y="528"/>
                  </a:lnTo>
                  <a:lnTo>
                    <a:pt x="3263" y="535"/>
                  </a:lnTo>
                  <a:lnTo>
                    <a:pt x="3237" y="537"/>
                  </a:lnTo>
                  <a:lnTo>
                    <a:pt x="3211" y="538"/>
                  </a:lnTo>
                  <a:lnTo>
                    <a:pt x="3178" y="533"/>
                  </a:lnTo>
                  <a:lnTo>
                    <a:pt x="3144" y="521"/>
                  </a:lnTo>
                  <a:lnTo>
                    <a:pt x="3139" y="519"/>
                  </a:lnTo>
                  <a:lnTo>
                    <a:pt x="3135" y="518"/>
                  </a:lnTo>
                  <a:lnTo>
                    <a:pt x="3132" y="516"/>
                  </a:lnTo>
                  <a:lnTo>
                    <a:pt x="3132" y="513"/>
                  </a:lnTo>
                  <a:lnTo>
                    <a:pt x="3132" y="509"/>
                  </a:lnTo>
                  <a:lnTo>
                    <a:pt x="3132" y="502"/>
                  </a:lnTo>
                  <a:lnTo>
                    <a:pt x="3132" y="462"/>
                  </a:lnTo>
                  <a:lnTo>
                    <a:pt x="3134" y="462"/>
                  </a:lnTo>
                  <a:lnTo>
                    <a:pt x="3134" y="462"/>
                  </a:lnTo>
                  <a:lnTo>
                    <a:pt x="3135" y="464"/>
                  </a:lnTo>
                  <a:lnTo>
                    <a:pt x="3137" y="466"/>
                  </a:lnTo>
                  <a:lnTo>
                    <a:pt x="3168" y="483"/>
                  </a:lnTo>
                  <a:lnTo>
                    <a:pt x="3199" y="493"/>
                  </a:lnTo>
                  <a:lnTo>
                    <a:pt x="3234" y="495"/>
                  </a:lnTo>
                  <a:lnTo>
                    <a:pt x="3242" y="495"/>
                  </a:lnTo>
                  <a:lnTo>
                    <a:pt x="3249" y="493"/>
                  </a:lnTo>
                  <a:lnTo>
                    <a:pt x="3254" y="492"/>
                  </a:lnTo>
                  <a:lnTo>
                    <a:pt x="3259" y="492"/>
                  </a:lnTo>
                  <a:lnTo>
                    <a:pt x="3278" y="483"/>
                  </a:lnTo>
                  <a:lnTo>
                    <a:pt x="3292" y="469"/>
                  </a:lnTo>
                  <a:lnTo>
                    <a:pt x="3299" y="452"/>
                  </a:lnTo>
                  <a:lnTo>
                    <a:pt x="3302" y="429"/>
                  </a:lnTo>
                  <a:lnTo>
                    <a:pt x="3294" y="407"/>
                  </a:lnTo>
                  <a:lnTo>
                    <a:pt x="3280" y="386"/>
                  </a:lnTo>
                  <a:lnTo>
                    <a:pt x="3251" y="367"/>
                  </a:lnTo>
                  <a:lnTo>
                    <a:pt x="3232" y="353"/>
                  </a:lnTo>
                  <a:lnTo>
                    <a:pt x="3211" y="341"/>
                  </a:lnTo>
                  <a:lnTo>
                    <a:pt x="3185" y="324"/>
                  </a:lnTo>
                  <a:lnTo>
                    <a:pt x="3159" y="305"/>
                  </a:lnTo>
                  <a:lnTo>
                    <a:pt x="3142" y="277"/>
                  </a:lnTo>
                  <a:lnTo>
                    <a:pt x="3134" y="248"/>
                  </a:lnTo>
                  <a:lnTo>
                    <a:pt x="3134" y="217"/>
                  </a:lnTo>
                  <a:lnTo>
                    <a:pt x="3139" y="192"/>
                  </a:lnTo>
                  <a:lnTo>
                    <a:pt x="3149" y="173"/>
                  </a:lnTo>
                  <a:lnTo>
                    <a:pt x="3163" y="156"/>
                  </a:lnTo>
                  <a:lnTo>
                    <a:pt x="3180" y="144"/>
                  </a:lnTo>
                  <a:lnTo>
                    <a:pt x="3203" y="134"/>
                  </a:lnTo>
                  <a:lnTo>
                    <a:pt x="3223" y="127"/>
                  </a:lnTo>
                  <a:lnTo>
                    <a:pt x="3246" y="125"/>
                  </a:lnTo>
                  <a:lnTo>
                    <a:pt x="3266" y="125"/>
                  </a:lnTo>
                  <a:close/>
                  <a:moveTo>
                    <a:pt x="1417" y="125"/>
                  </a:moveTo>
                  <a:lnTo>
                    <a:pt x="1432" y="128"/>
                  </a:lnTo>
                  <a:lnTo>
                    <a:pt x="1443" y="139"/>
                  </a:lnTo>
                  <a:lnTo>
                    <a:pt x="1446" y="154"/>
                  </a:lnTo>
                  <a:lnTo>
                    <a:pt x="1443" y="168"/>
                  </a:lnTo>
                  <a:lnTo>
                    <a:pt x="1432" y="179"/>
                  </a:lnTo>
                  <a:lnTo>
                    <a:pt x="1417" y="184"/>
                  </a:lnTo>
                  <a:lnTo>
                    <a:pt x="1403" y="179"/>
                  </a:lnTo>
                  <a:lnTo>
                    <a:pt x="1393" y="168"/>
                  </a:lnTo>
                  <a:lnTo>
                    <a:pt x="1388" y="154"/>
                  </a:lnTo>
                  <a:lnTo>
                    <a:pt x="1393" y="139"/>
                  </a:lnTo>
                  <a:lnTo>
                    <a:pt x="1403" y="128"/>
                  </a:lnTo>
                  <a:lnTo>
                    <a:pt x="1417" y="125"/>
                  </a:lnTo>
                  <a:close/>
                  <a:moveTo>
                    <a:pt x="2025" y="109"/>
                  </a:moveTo>
                  <a:lnTo>
                    <a:pt x="2039" y="109"/>
                  </a:lnTo>
                  <a:lnTo>
                    <a:pt x="2049" y="111"/>
                  </a:lnTo>
                  <a:lnTo>
                    <a:pt x="2049" y="532"/>
                  </a:lnTo>
                  <a:lnTo>
                    <a:pt x="2005" y="532"/>
                  </a:lnTo>
                  <a:lnTo>
                    <a:pt x="2005" y="485"/>
                  </a:lnTo>
                  <a:lnTo>
                    <a:pt x="2003" y="487"/>
                  </a:lnTo>
                  <a:lnTo>
                    <a:pt x="2001" y="487"/>
                  </a:lnTo>
                  <a:lnTo>
                    <a:pt x="1999" y="488"/>
                  </a:lnTo>
                  <a:lnTo>
                    <a:pt x="1998" y="488"/>
                  </a:lnTo>
                  <a:lnTo>
                    <a:pt x="1980" y="511"/>
                  </a:lnTo>
                  <a:lnTo>
                    <a:pt x="1956" y="528"/>
                  </a:lnTo>
                  <a:lnTo>
                    <a:pt x="1930" y="538"/>
                  </a:lnTo>
                  <a:lnTo>
                    <a:pt x="1901" y="538"/>
                  </a:lnTo>
                  <a:lnTo>
                    <a:pt x="1872" y="535"/>
                  </a:lnTo>
                  <a:lnTo>
                    <a:pt x="1846" y="521"/>
                  </a:lnTo>
                  <a:lnTo>
                    <a:pt x="1824" y="500"/>
                  </a:lnTo>
                  <a:lnTo>
                    <a:pt x="1808" y="476"/>
                  </a:lnTo>
                  <a:lnTo>
                    <a:pt x="1799" y="459"/>
                  </a:lnTo>
                  <a:lnTo>
                    <a:pt x="1794" y="440"/>
                  </a:lnTo>
                  <a:lnTo>
                    <a:pt x="1791" y="423"/>
                  </a:lnTo>
                  <a:lnTo>
                    <a:pt x="1791" y="379"/>
                  </a:lnTo>
                  <a:lnTo>
                    <a:pt x="1798" y="334"/>
                  </a:lnTo>
                  <a:lnTo>
                    <a:pt x="1808" y="310"/>
                  </a:lnTo>
                  <a:lnTo>
                    <a:pt x="1822" y="288"/>
                  </a:lnTo>
                  <a:lnTo>
                    <a:pt x="1839" y="269"/>
                  </a:lnTo>
                  <a:lnTo>
                    <a:pt x="1858" y="255"/>
                  </a:lnTo>
                  <a:lnTo>
                    <a:pt x="1880" y="244"/>
                  </a:lnTo>
                  <a:lnTo>
                    <a:pt x="1905" y="239"/>
                  </a:lnTo>
                  <a:lnTo>
                    <a:pt x="1924" y="239"/>
                  </a:lnTo>
                  <a:lnTo>
                    <a:pt x="1943" y="243"/>
                  </a:lnTo>
                  <a:lnTo>
                    <a:pt x="1965" y="250"/>
                  </a:lnTo>
                  <a:lnTo>
                    <a:pt x="1984" y="260"/>
                  </a:lnTo>
                  <a:lnTo>
                    <a:pt x="1998" y="276"/>
                  </a:lnTo>
                  <a:lnTo>
                    <a:pt x="1999" y="277"/>
                  </a:lnTo>
                  <a:lnTo>
                    <a:pt x="1999" y="279"/>
                  </a:lnTo>
                  <a:lnTo>
                    <a:pt x="2001" y="281"/>
                  </a:lnTo>
                  <a:lnTo>
                    <a:pt x="2001" y="282"/>
                  </a:lnTo>
                  <a:lnTo>
                    <a:pt x="2005" y="282"/>
                  </a:lnTo>
                  <a:lnTo>
                    <a:pt x="2005" y="111"/>
                  </a:lnTo>
                  <a:lnTo>
                    <a:pt x="2013" y="109"/>
                  </a:lnTo>
                  <a:lnTo>
                    <a:pt x="2025" y="109"/>
                  </a:lnTo>
                  <a:close/>
                  <a:moveTo>
                    <a:pt x="278" y="52"/>
                  </a:moveTo>
                  <a:lnTo>
                    <a:pt x="278" y="324"/>
                  </a:lnTo>
                  <a:lnTo>
                    <a:pt x="0" y="324"/>
                  </a:lnTo>
                  <a:lnTo>
                    <a:pt x="0" y="92"/>
                  </a:lnTo>
                  <a:lnTo>
                    <a:pt x="138" y="71"/>
                  </a:lnTo>
                  <a:lnTo>
                    <a:pt x="278" y="52"/>
                  </a:lnTo>
                  <a:close/>
                  <a:moveTo>
                    <a:pt x="652" y="0"/>
                  </a:moveTo>
                  <a:lnTo>
                    <a:pt x="652" y="85"/>
                  </a:lnTo>
                  <a:lnTo>
                    <a:pt x="652" y="123"/>
                  </a:lnTo>
                  <a:lnTo>
                    <a:pt x="652" y="161"/>
                  </a:lnTo>
                  <a:lnTo>
                    <a:pt x="652" y="201"/>
                  </a:lnTo>
                  <a:lnTo>
                    <a:pt x="652" y="239"/>
                  </a:lnTo>
                  <a:lnTo>
                    <a:pt x="652" y="272"/>
                  </a:lnTo>
                  <a:lnTo>
                    <a:pt x="652" y="298"/>
                  </a:lnTo>
                  <a:lnTo>
                    <a:pt x="652" y="317"/>
                  </a:lnTo>
                  <a:lnTo>
                    <a:pt x="652" y="324"/>
                  </a:lnTo>
                  <a:lnTo>
                    <a:pt x="288" y="324"/>
                  </a:lnTo>
                  <a:lnTo>
                    <a:pt x="288" y="52"/>
                  </a:lnTo>
                  <a:lnTo>
                    <a:pt x="469" y="25"/>
                  </a:lnTo>
                  <a:lnTo>
                    <a:pt x="652" y="0"/>
                  </a:lnTo>
                  <a:close/>
                </a:path>
              </a:pathLst>
            </a:custGeom>
            <a:solidFill>
              <a:srgbClr val="FFFFFF"/>
            </a:solidFill>
            <a:ln w="0">
              <a:noFill/>
              <a:prstDash val="solid"/>
              <a:round/>
              <a:headEnd/>
              <a:tailEnd/>
            </a:ln>
          </p:spPr>
          <p:txBody>
            <a:bodyPr vert="horz" wrap="square" lIns="93260" tIns="46630" rIns="93260" bIns="46630" numCol="1" anchor="t" anchorCtr="0" compatLnSpc="1">
              <a:prstTxWarp prst="textNoShape">
                <a:avLst/>
              </a:prstTxWarp>
            </a:bodyPr>
            <a:lstStyle/>
            <a:p>
              <a:endParaRPr lang="en-US" sz="1836"/>
            </a:p>
          </p:txBody>
        </p:sp>
      </p:grpSp>
      <p:pic>
        <p:nvPicPr>
          <p:cNvPr id="68" name="Picture 67" descr="C:\Users\mflorida.REDMOND\AppData\Local\Microsoft\Windows\Temporary Internet Files\Content.Outlook\CJ3SCPD3\SysCnt12-ConfigMgr_h_rgb_r.png"/>
          <p:cNvPicPr>
            <a:picLocks noChangeAspect="1" noChangeArrowheads="1"/>
          </p:cNvPicPr>
          <p:nvPr/>
        </p:nvPicPr>
        <p:blipFill>
          <a:blip r:embed="rId10">
            <a:biLevel thresh="25000"/>
            <a:extLst>
              <a:ext uri="{BEBA8EAE-BF5A-486C-A8C5-ECC9F3942E4B}">
                <a14:imgProps xmlns:a14="http://schemas.microsoft.com/office/drawing/2010/main">
                  <a14:imgLayer r:embed="rId11">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bwMode="auto">
          <a:xfrm>
            <a:off x="307210" y="2244487"/>
            <a:ext cx="1653613" cy="43998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9" name="Picture 68" descr="C:\Users\mflorida.REDMOND\AppData\Local\Microsoft\Windows\Temporary Internet Files\Content.Outlook\CJ3SCPD3\SysCnt12-ConfigMgr_h_rgb_r.png"/>
          <p:cNvPicPr>
            <a:picLocks noChangeAspect="1" noChangeArrowheads="1"/>
          </p:cNvPicPr>
          <p:nvPr/>
        </p:nvPicPr>
        <p:blipFill>
          <a:blip r:embed="rId10">
            <a:biLevel thresh="25000"/>
            <a:extLst>
              <a:ext uri="{BEBA8EAE-BF5A-486C-A8C5-ECC9F3942E4B}">
                <a14:imgProps xmlns:a14="http://schemas.microsoft.com/office/drawing/2010/main">
                  <a14:imgLayer r:embed="rId11">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bwMode="auto">
          <a:xfrm>
            <a:off x="7252883" y="2254810"/>
            <a:ext cx="1653613" cy="43998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 name="Rectangle 4"/>
          <p:cNvSpPr/>
          <p:nvPr/>
        </p:nvSpPr>
        <p:spPr>
          <a:xfrm>
            <a:off x="8820746" y="2484176"/>
            <a:ext cx="427039" cy="270285"/>
          </a:xfrm>
          <a:prstGeom prst="rect">
            <a:avLst/>
          </a:prstGeom>
        </p:spPr>
        <p:txBody>
          <a:bodyPr wrap="none">
            <a:spAutoFit/>
          </a:bodyPr>
          <a:lstStyle/>
          <a:p>
            <a:r>
              <a:rPr lang="en-US" sz="1122" dirty="0">
                <a:gradFill>
                  <a:gsLst>
                    <a:gs pos="0">
                      <a:srgbClr val="FFFFFF"/>
                    </a:gs>
                    <a:gs pos="100000">
                      <a:srgbClr val="FFFFFF"/>
                    </a:gs>
                  </a:gsLst>
                  <a:lin ang="5400000" scaled="0"/>
                </a:gradFill>
                <a:ea typeface="Segoe UI" pitchFamily="34" charset="0"/>
                <a:cs typeface="Segoe UI" pitchFamily="34" charset="0"/>
              </a:rPr>
              <a:t>SP1</a:t>
            </a:r>
            <a:endParaRPr lang="en-US" sz="1122" dirty="0"/>
          </a:p>
        </p:txBody>
      </p:sp>
      <p:sp>
        <p:nvSpPr>
          <p:cNvPr id="79" name="Freeform 5"/>
          <p:cNvSpPr>
            <a:spLocks noChangeAspect="1" noEditPoints="1"/>
          </p:cNvSpPr>
          <p:nvPr/>
        </p:nvSpPr>
        <p:spPr bwMode="auto">
          <a:xfrm>
            <a:off x="10155703" y="2744623"/>
            <a:ext cx="1623025" cy="235737"/>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chemeClr val="tx1"/>
          </a:solidFill>
          <a:ln>
            <a:noFill/>
          </a:ln>
        </p:spPr>
        <p:txBody>
          <a:bodyPr vert="horz" wrap="square" lIns="91390" tIns="45696" rIns="91390" bIns="45696" numCol="1" anchor="t" anchorCtr="0" compatLnSpc="1">
            <a:prstTxWarp prst="textNoShape">
              <a:avLst/>
            </a:prstTxWarp>
          </a:bodyPr>
          <a:lstStyle/>
          <a:p>
            <a:pPr defTabSz="932193"/>
            <a:endParaRPr lang="en-US" sz="1799">
              <a:solidFill>
                <a:srgbClr val="505050"/>
              </a:solidFill>
            </a:endParaRPr>
          </a:p>
        </p:txBody>
      </p:sp>
    </p:spTree>
    <p:extLst>
      <p:ext uri="{BB962C8B-B14F-4D97-AF65-F5344CB8AC3E}">
        <p14:creationId xmlns:p14="http://schemas.microsoft.com/office/powerpoint/2010/main" val="10436960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0"/>
                                  </p:stCondLst>
                                  <p:childTnLst>
                                    <p:set>
                                      <p:cBhvr>
                                        <p:cTn id="12" dur="1" fill="hold">
                                          <p:stCondLst>
                                            <p:cond delay="0"/>
                                          </p:stCondLst>
                                        </p:cTn>
                                        <p:tgtEl>
                                          <p:spTgt spid="68"/>
                                        </p:tgtEl>
                                        <p:attrNameLst>
                                          <p:attrName>style.visibility</p:attrName>
                                        </p:attrNameLst>
                                      </p:cBhvr>
                                      <p:to>
                                        <p:strVal val="visible"/>
                                      </p:to>
                                    </p:set>
                                    <p:animEffect transition="in" filter="fade">
                                      <p:cBhvr>
                                        <p:cTn id="13" dur="500"/>
                                        <p:tgtEl>
                                          <p:spTgt spid="6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500"/>
                                        <p:tgtEl>
                                          <p:spTgt spid="13"/>
                                        </p:tgtEl>
                                      </p:cBhvr>
                                    </p:animEffect>
                                  </p:childTnLst>
                                </p:cTn>
                              </p:par>
                              <p:par>
                                <p:cTn id="19" presetID="10" presetClass="entr" presetSubtype="0" fill="hold" nodeType="withEffect">
                                  <p:stCondLst>
                                    <p:cond delay="0"/>
                                  </p:stCondLst>
                                  <p:childTnLst>
                                    <p:set>
                                      <p:cBhvr>
                                        <p:cTn id="20" dur="1" fill="hold">
                                          <p:stCondLst>
                                            <p:cond delay="0"/>
                                          </p:stCondLst>
                                        </p:cTn>
                                        <p:tgtEl>
                                          <p:spTgt spid="88"/>
                                        </p:tgtEl>
                                        <p:attrNameLst>
                                          <p:attrName>style.visibility</p:attrName>
                                        </p:attrNameLst>
                                      </p:cBhvr>
                                      <p:to>
                                        <p:strVal val="visible"/>
                                      </p:to>
                                    </p:set>
                                    <p:animEffect transition="in" filter="fade">
                                      <p:cBhvr>
                                        <p:cTn id="21" dur="500"/>
                                        <p:tgtEl>
                                          <p:spTgt spid="8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cTn>
                              </p:par>
                              <p:par>
                                <p:cTn id="27" presetID="10" presetClass="entr" presetSubtype="0" fill="hold" nodeType="withEffect">
                                  <p:stCondLst>
                                    <p:cond delay="0"/>
                                  </p:stCondLst>
                                  <p:childTnLst>
                                    <p:set>
                                      <p:cBhvr>
                                        <p:cTn id="28" dur="1" fill="hold">
                                          <p:stCondLst>
                                            <p:cond delay="0"/>
                                          </p:stCondLst>
                                        </p:cTn>
                                        <p:tgtEl>
                                          <p:spTgt spid="87"/>
                                        </p:tgtEl>
                                        <p:attrNameLst>
                                          <p:attrName>style.visibility</p:attrName>
                                        </p:attrNameLst>
                                      </p:cBhvr>
                                      <p:to>
                                        <p:strVal val="visible"/>
                                      </p:to>
                                    </p:set>
                                    <p:animEffect transition="in" filter="fade">
                                      <p:cBhvr>
                                        <p:cTn id="29" dur="500"/>
                                        <p:tgtEl>
                                          <p:spTgt spid="87"/>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9"/>
                                        </p:tgtEl>
                                        <p:attrNameLst>
                                          <p:attrName>style.visibility</p:attrName>
                                        </p:attrNameLst>
                                      </p:cBhvr>
                                      <p:to>
                                        <p:strVal val="visible"/>
                                      </p:to>
                                    </p:set>
                                    <p:animEffect transition="in" filter="fade">
                                      <p:cBhvr>
                                        <p:cTn id="37" dur="500"/>
                                        <p:tgtEl>
                                          <p:spTgt spid="29"/>
                                        </p:tgtEl>
                                      </p:cBhvr>
                                    </p:animEffect>
                                  </p:childTnLst>
                                </p:cTn>
                              </p:par>
                              <p:par>
                                <p:cTn id="38" presetID="10" presetClass="entr" presetSubtype="0" fill="hold" nodeType="withEffect">
                                  <p:stCondLst>
                                    <p:cond delay="0"/>
                                  </p:stCondLst>
                                  <p:childTnLst>
                                    <p:set>
                                      <p:cBhvr>
                                        <p:cTn id="39" dur="1" fill="hold">
                                          <p:stCondLst>
                                            <p:cond delay="0"/>
                                          </p:stCondLst>
                                        </p:cTn>
                                        <p:tgtEl>
                                          <p:spTgt spid="84"/>
                                        </p:tgtEl>
                                        <p:attrNameLst>
                                          <p:attrName>style.visibility</p:attrName>
                                        </p:attrNameLst>
                                      </p:cBhvr>
                                      <p:to>
                                        <p:strVal val="visible"/>
                                      </p:to>
                                    </p:set>
                                    <p:animEffect transition="in" filter="fade">
                                      <p:cBhvr>
                                        <p:cTn id="40" dur="500"/>
                                        <p:tgtEl>
                                          <p:spTgt spid="84"/>
                                        </p:tgtEl>
                                      </p:cBhvr>
                                    </p:animEffect>
                                  </p:childTnLst>
                                </p:cTn>
                              </p:par>
                              <p:par>
                                <p:cTn id="41" presetID="10" presetClass="entr" presetSubtype="0" fill="hold" nodeType="withEffect">
                                  <p:stCondLst>
                                    <p:cond delay="0"/>
                                  </p:stCondLst>
                                  <p:childTnLst>
                                    <p:set>
                                      <p:cBhvr>
                                        <p:cTn id="42" dur="1" fill="hold">
                                          <p:stCondLst>
                                            <p:cond delay="0"/>
                                          </p:stCondLst>
                                        </p:cTn>
                                        <p:tgtEl>
                                          <p:spTgt spid="69"/>
                                        </p:tgtEl>
                                        <p:attrNameLst>
                                          <p:attrName>style.visibility</p:attrName>
                                        </p:attrNameLst>
                                      </p:cBhvr>
                                      <p:to>
                                        <p:strVal val="visible"/>
                                      </p:to>
                                    </p:set>
                                    <p:animEffect transition="in" filter="fade">
                                      <p:cBhvr>
                                        <p:cTn id="43" dur="500"/>
                                        <p:tgtEl>
                                          <p:spTgt spid="69"/>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5"/>
                                        </p:tgtEl>
                                        <p:attrNameLst>
                                          <p:attrName>style.visibility</p:attrName>
                                        </p:attrNameLst>
                                      </p:cBhvr>
                                      <p:to>
                                        <p:strVal val="visible"/>
                                      </p:to>
                                    </p:set>
                                    <p:animEffect transition="in" filter="fade">
                                      <p:cBhvr>
                                        <p:cTn id="46" dur="500"/>
                                        <p:tgtEl>
                                          <p:spTgt spid="5"/>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25"/>
                                        </p:tgtEl>
                                        <p:attrNameLst>
                                          <p:attrName>style.visibility</p:attrName>
                                        </p:attrNameLst>
                                      </p:cBhvr>
                                      <p:to>
                                        <p:strVal val="visible"/>
                                      </p:to>
                                    </p:set>
                                    <p:animEffect transition="in" filter="fade">
                                      <p:cBhvr>
                                        <p:cTn id="51" dur="500"/>
                                        <p:tgtEl>
                                          <p:spTgt spid="25"/>
                                        </p:tgtEl>
                                      </p:cBhvr>
                                    </p:animEffect>
                                  </p:childTnLst>
                                </p:cTn>
                              </p:par>
                              <p:par>
                                <p:cTn id="52" presetID="10" presetClass="entr" presetSubtype="0" fill="hold" nodeType="withEffect">
                                  <p:stCondLst>
                                    <p:cond delay="0"/>
                                  </p:stCondLst>
                                  <p:childTnLst>
                                    <p:set>
                                      <p:cBhvr>
                                        <p:cTn id="53" dur="1" fill="hold">
                                          <p:stCondLst>
                                            <p:cond delay="0"/>
                                          </p:stCondLst>
                                        </p:cTn>
                                        <p:tgtEl>
                                          <p:spTgt spid="85"/>
                                        </p:tgtEl>
                                        <p:attrNameLst>
                                          <p:attrName>style.visibility</p:attrName>
                                        </p:attrNameLst>
                                      </p:cBhvr>
                                      <p:to>
                                        <p:strVal val="visible"/>
                                      </p:to>
                                    </p:set>
                                    <p:animEffect transition="in" filter="fade">
                                      <p:cBhvr>
                                        <p:cTn id="54" dur="500"/>
                                        <p:tgtEl>
                                          <p:spTgt spid="85"/>
                                        </p:tgtEl>
                                      </p:cBhvr>
                                    </p:animEffect>
                                  </p:childTnLst>
                                </p:cTn>
                              </p:par>
                              <p:par>
                                <p:cTn id="55" presetID="10" presetClass="entr" presetSubtype="0" fill="hold" nodeType="withEffect">
                                  <p:stCondLst>
                                    <p:cond delay="0"/>
                                  </p:stCondLst>
                                  <p:childTnLst>
                                    <p:set>
                                      <p:cBhvr>
                                        <p:cTn id="56" dur="1" fill="hold">
                                          <p:stCondLst>
                                            <p:cond delay="0"/>
                                          </p:stCondLst>
                                        </p:cTn>
                                        <p:tgtEl>
                                          <p:spTgt spid="86"/>
                                        </p:tgtEl>
                                        <p:attrNameLst>
                                          <p:attrName>style.visibility</p:attrName>
                                        </p:attrNameLst>
                                      </p:cBhvr>
                                      <p:to>
                                        <p:strVal val="visible"/>
                                      </p:to>
                                    </p:set>
                                    <p:animEffect transition="in" filter="fade">
                                      <p:cBhvr>
                                        <p:cTn id="57" dur="500"/>
                                        <p:tgtEl>
                                          <p:spTgt spid="86"/>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79"/>
                                        </p:tgtEl>
                                        <p:attrNameLst>
                                          <p:attrName>style.visibility</p:attrName>
                                        </p:attrNameLst>
                                      </p:cBhvr>
                                      <p:to>
                                        <p:strVal val="visible"/>
                                      </p:to>
                                    </p:set>
                                    <p:animEffect transition="in" filter="fade">
                                      <p:cBhvr>
                                        <p:cTn id="60" dur="500"/>
                                        <p:tgtEl>
                                          <p:spTgt spid="79"/>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30"/>
                                        </p:tgtEl>
                                        <p:attrNameLst>
                                          <p:attrName>style.visibility</p:attrName>
                                        </p:attrNameLst>
                                      </p:cBhvr>
                                      <p:to>
                                        <p:strVal val="visible"/>
                                      </p:to>
                                    </p:set>
                                    <p:animEffect transition="in" filter="fade">
                                      <p:cBhvr>
                                        <p:cTn id="63"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5" grpId="0"/>
      <p:bldP spid="7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ton Martin</a:t>
            </a:r>
            <a:br>
              <a:rPr lang="en-US" dirty="0" smtClean="0"/>
            </a:br>
            <a:r>
              <a:rPr lang="en-US" dirty="0" smtClean="0"/>
              <a:t>Video</a:t>
            </a:r>
            <a:endParaRPr lang="en-US" dirty="0"/>
          </a:p>
        </p:txBody>
      </p:sp>
    </p:spTree>
    <p:extLst>
      <p:ext uri="{BB962C8B-B14F-4D97-AF65-F5344CB8AC3E}">
        <p14:creationId xmlns:p14="http://schemas.microsoft.com/office/powerpoint/2010/main" val="1967890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day’s Challenges</a:t>
            </a:r>
            <a:endParaRPr lang="en-US" dirty="0"/>
          </a:p>
        </p:txBody>
      </p:sp>
      <p:sp>
        <p:nvSpPr>
          <p:cNvPr id="4" name="Rectangle 3"/>
          <p:cNvSpPr/>
          <p:nvPr/>
        </p:nvSpPr>
        <p:spPr bwMode="auto">
          <a:xfrm>
            <a:off x="371304" y="1403873"/>
            <a:ext cx="11731399" cy="494851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28" name="Group 127"/>
          <p:cNvGrpSpPr/>
          <p:nvPr/>
        </p:nvGrpSpPr>
        <p:grpSpPr>
          <a:xfrm>
            <a:off x="6443436" y="1515772"/>
            <a:ext cx="2605050" cy="4276031"/>
            <a:chOff x="4781054" y="-3123506"/>
            <a:chExt cx="2605050" cy="4276031"/>
          </a:xfrm>
        </p:grpSpPr>
        <p:sp>
          <p:nvSpPr>
            <p:cNvPr id="129" name="Text Placeholder 12"/>
            <p:cNvSpPr txBox="1">
              <a:spLocks/>
            </p:cNvSpPr>
            <p:nvPr/>
          </p:nvSpPr>
          <p:spPr>
            <a:xfrm>
              <a:off x="4781054" y="487728"/>
              <a:ext cx="2605050" cy="664797"/>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43295" rtl="0" eaLnBrk="1" fontAlgn="auto" latinLnBrk="0" hangingPunct="1">
                <a:lnSpc>
                  <a:spcPct val="90000"/>
                </a:lnSpc>
                <a:spcBef>
                  <a:spcPts val="0"/>
                </a:spcBef>
                <a:spcAft>
                  <a:spcPts val="1224"/>
                </a:spcAft>
                <a:buClrTx/>
                <a:buSzPct val="90000"/>
                <a:buFont typeface="Arial" pitchFamily="34" charset="0"/>
                <a:buNone/>
                <a:tabLst/>
                <a:defRPr/>
              </a:pPr>
              <a:r>
                <a:rPr kumimoji="0" lang="en-US" sz="1600" b="0" i="0" u="none" strike="noStrike" kern="1200" cap="none" spc="0" normalizeH="0" baseline="0" noProof="0" dirty="0" smtClean="0">
                  <a:ln>
                    <a:noFill/>
                  </a:ln>
                  <a:solidFill>
                    <a:srgbClr val="969696">
                      <a:lumMod val="50000"/>
                    </a:srgbClr>
                  </a:solidFill>
                  <a:effectLst/>
                  <a:uLnTx/>
                  <a:uFillTx/>
                  <a:latin typeface="Segoe UI" pitchFamily="34" charset="0"/>
                  <a:ea typeface="Segoe UI" pitchFamily="34" charset="0"/>
                  <a:cs typeface="Segoe UI" pitchFamily="34" charset="0"/>
                </a:rPr>
                <a:t>Deploying and managing </a:t>
              </a:r>
              <a:r>
                <a:rPr kumimoji="0" lang="en-US" sz="1600" b="0" i="0" u="none" strike="noStrike" kern="1200" cap="none" spc="0" normalizeH="0" baseline="0" noProof="0" dirty="0">
                  <a:ln>
                    <a:noFill/>
                  </a:ln>
                  <a:solidFill>
                    <a:srgbClr val="969696">
                      <a:lumMod val="50000"/>
                    </a:srgbClr>
                  </a:solidFill>
                  <a:effectLst/>
                  <a:uLnTx/>
                  <a:uFillTx/>
                  <a:latin typeface="Segoe UI" pitchFamily="34" charset="0"/>
                  <a:ea typeface="Segoe UI" pitchFamily="34" charset="0"/>
                  <a:cs typeface="Segoe UI" pitchFamily="34" charset="0"/>
                </a:rPr>
                <a:t>applications</a:t>
              </a:r>
              <a:r>
                <a:rPr kumimoji="0" lang="en-US" sz="1600" b="0" i="0" u="none" strike="noStrike" kern="1200" cap="none" spc="0" normalizeH="0" baseline="0" noProof="0" dirty="0" smtClean="0">
                  <a:ln>
                    <a:noFill/>
                  </a:ln>
                  <a:solidFill>
                    <a:srgbClr val="969696">
                      <a:lumMod val="50000"/>
                    </a:srgbClr>
                  </a:solidFill>
                  <a:effectLst/>
                  <a:uLnTx/>
                  <a:uFillTx/>
                  <a:latin typeface="Segoe UI" pitchFamily="34" charset="0"/>
                  <a:ea typeface="Segoe UI" pitchFamily="34" charset="0"/>
                  <a:cs typeface="Segoe UI" pitchFamily="34" charset="0"/>
                </a:rPr>
                <a:t> </a:t>
              </a:r>
              <a:r>
                <a:rPr kumimoji="0" lang="en-US" sz="1600" b="1" i="0" u="none" strike="noStrike" kern="1200" cap="none" spc="0" normalizeH="0" baseline="0" noProof="0" dirty="0" smtClean="0">
                  <a:ln>
                    <a:noFill/>
                  </a:ln>
                  <a:solidFill>
                    <a:srgbClr val="969696">
                      <a:lumMod val="50000"/>
                    </a:srgbClr>
                  </a:solidFill>
                  <a:effectLst/>
                  <a:uLnTx/>
                  <a:uFillTx/>
                  <a:latin typeface="Segoe UI" pitchFamily="34" charset="0"/>
                  <a:ea typeface="Segoe UI" pitchFamily="34" charset="0"/>
                  <a:cs typeface="Segoe UI" pitchFamily="34" charset="0"/>
                </a:rPr>
                <a:t>across platforms </a:t>
              </a:r>
              <a:r>
                <a:rPr kumimoji="0" lang="en-US" sz="1600" b="0" i="0" u="none" strike="noStrike" kern="1200" cap="none" spc="0" normalizeH="0" baseline="0" noProof="0" dirty="0" smtClean="0">
                  <a:ln>
                    <a:noFill/>
                  </a:ln>
                  <a:solidFill>
                    <a:srgbClr val="969696">
                      <a:lumMod val="50000"/>
                    </a:srgbClr>
                  </a:solidFill>
                  <a:effectLst/>
                  <a:uLnTx/>
                  <a:uFillTx/>
                  <a:latin typeface="Segoe UI" pitchFamily="34" charset="0"/>
                  <a:ea typeface="Segoe UI" pitchFamily="34" charset="0"/>
                  <a:cs typeface="Segoe UI" pitchFamily="34" charset="0"/>
                </a:rPr>
                <a:t>is difficult.</a:t>
              </a:r>
              <a:endParaRPr kumimoji="0" lang="en-US" sz="1600" b="0" i="0" u="none" strike="noStrike" kern="1200" cap="none" spc="0" normalizeH="0" baseline="0" noProof="0" dirty="0">
                <a:ln>
                  <a:noFill/>
                </a:ln>
                <a:solidFill>
                  <a:srgbClr val="969696">
                    <a:lumMod val="50000"/>
                  </a:srgbClr>
                </a:solidFill>
                <a:effectLst/>
                <a:uLnTx/>
                <a:uFillTx/>
                <a:latin typeface="Segoe UI" pitchFamily="34" charset="0"/>
                <a:ea typeface="Segoe UI" pitchFamily="34" charset="0"/>
                <a:cs typeface="Segoe UI" pitchFamily="34" charset="0"/>
              </a:endParaRPr>
            </a:p>
          </p:txBody>
        </p:sp>
        <p:sp>
          <p:nvSpPr>
            <p:cNvPr id="130" name="Text Placeholder 12"/>
            <p:cNvSpPr txBox="1">
              <a:spLocks/>
            </p:cNvSpPr>
            <p:nvPr/>
          </p:nvSpPr>
          <p:spPr>
            <a:xfrm>
              <a:off x="5277045" y="-112942"/>
              <a:ext cx="1236539"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90000"/>
                </a:lnSpc>
                <a:spcBef>
                  <a:spcPts val="0"/>
                </a:spcBef>
                <a:spcAft>
                  <a:spcPts val="900"/>
                </a:spcAft>
                <a:buClrTx/>
                <a:buSzPct val="90000"/>
                <a:buFont typeface="Arial" pitchFamily="34" charset="0"/>
                <a:buNone/>
                <a:tabLst/>
                <a:defRPr/>
              </a:pPr>
              <a:r>
                <a:rPr kumimoji="0" lang="en-US" sz="2400" b="1" i="0" u="none" strike="noStrike" kern="1200" cap="none" spc="0" normalizeH="0" baseline="0" noProof="0" dirty="0">
                  <a:ln>
                    <a:noFill/>
                  </a:ln>
                  <a:solidFill>
                    <a:srgbClr val="FF8C00"/>
                  </a:solidFill>
                  <a:effectLst/>
                  <a:uLnTx/>
                  <a:uFillTx/>
                  <a:latin typeface="Segoe UI" pitchFamily="34" charset="0"/>
                  <a:ea typeface="Segoe UI" pitchFamily="34" charset="0"/>
                  <a:cs typeface="Segoe UI" pitchFamily="34" charset="0"/>
                </a:rPr>
                <a:t>Apps</a:t>
              </a:r>
            </a:p>
          </p:txBody>
        </p:sp>
        <p:grpSp>
          <p:nvGrpSpPr>
            <p:cNvPr id="131" name="Group 130"/>
            <p:cNvGrpSpPr/>
            <p:nvPr/>
          </p:nvGrpSpPr>
          <p:grpSpPr>
            <a:xfrm>
              <a:off x="5046546" y="-3123506"/>
              <a:ext cx="1674215" cy="2510160"/>
              <a:chOff x="8801281" y="216504"/>
              <a:chExt cx="1491445" cy="2236132"/>
            </a:xfrm>
          </p:grpSpPr>
          <p:grpSp>
            <p:nvGrpSpPr>
              <p:cNvPr id="132" name="Group 131"/>
              <p:cNvGrpSpPr/>
              <p:nvPr/>
            </p:nvGrpSpPr>
            <p:grpSpPr>
              <a:xfrm>
                <a:off x="8801281" y="216504"/>
                <a:ext cx="1491445" cy="2236132"/>
                <a:chOff x="6649918" y="1518736"/>
                <a:chExt cx="1632914" cy="2448236"/>
              </a:xfrm>
            </p:grpSpPr>
            <p:sp>
              <p:nvSpPr>
                <p:cNvPr id="143" name="Freeform 341"/>
                <p:cNvSpPr>
                  <a:spLocks noChangeAspect="1"/>
                </p:cNvSpPr>
                <p:nvPr/>
              </p:nvSpPr>
              <p:spPr bwMode="auto">
                <a:xfrm>
                  <a:off x="6674302" y="3294492"/>
                  <a:ext cx="621245" cy="672480"/>
                </a:xfrm>
                <a:custGeom>
                  <a:avLst/>
                  <a:gdLst>
                    <a:gd name="T0" fmla="*/ 82 w 82"/>
                    <a:gd name="T1" fmla="*/ 42 h 89"/>
                    <a:gd name="T2" fmla="*/ 82 w 82"/>
                    <a:gd name="T3" fmla="*/ 26 h 89"/>
                    <a:gd name="T4" fmla="*/ 82 w 82"/>
                    <a:gd name="T5" fmla="*/ 14 h 89"/>
                    <a:gd name="T6" fmla="*/ 82 w 82"/>
                    <a:gd name="T7" fmla="*/ 12 h 89"/>
                    <a:gd name="T8" fmla="*/ 28 w 82"/>
                    <a:gd name="T9" fmla="*/ 0 h 89"/>
                    <a:gd name="T10" fmla="*/ 27 w 82"/>
                    <a:gd name="T11" fmla="*/ 43 h 89"/>
                    <a:gd name="T12" fmla="*/ 14 w 82"/>
                    <a:gd name="T13" fmla="*/ 73 h 89"/>
                    <a:gd name="T14" fmla="*/ 38 w 82"/>
                    <a:gd name="T15" fmla="*/ 58 h 89"/>
                    <a:gd name="T16" fmla="*/ 38 w 82"/>
                    <a:gd name="T17" fmla="*/ 33 h 89"/>
                    <a:gd name="T18" fmla="*/ 38 w 82"/>
                    <a:gd name="T19" fmla="*/ 13 h 89"/>
                    <a:gd name="T20" fmla="*/ 71 w 82"/>
                    <a:gd name="T21" fmla="*/ 20 h 89"/>
                    <a:gd name="T22" fmla="*/ 71 w 82"/>
                    <a:gd name="T23" fmla="*/ 55 h 89"/>
                    <a:gd name="T24" fmla="*/ 58 w 82"/>
                    <a:gd name="T25" fmla="*/ 84 h 89"/>
                    <a:gd name="T26" fmla="*/ 82 w 82"/>
                    <a:gd name="T27" fmla="*/ 69 h 89"/>
                    <a:gd name="T28" fmla="*/ 82 w 82"/>
                    <a:gd name="T29" fmla="*/ 45 h 89"/>
                    <a:gd name="T30" fmla="*/ 82 w 82"/>
                    <a:gd name="T31" fmla="*/ 4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9">
                      <a:moveTo>
                        <a:pt x="82" y="42"/>
                      </a:moveTo>
                      <a:cubicBezTo>
                        <a:pt x="82" y="26"/>
                        <a:pt x="82" y="26"/>
                        <a:pt x="82" y="26"/>
                      </a:cubicBezTo>
                      <a:cubicBezTo>
                        <a:pt x="82" y="14"/>
                        <a:pt x="82" y="14"/>
                        <a:pt x="82" y="14"/>
                      </a:cubicBezTo>
                      <a:cubicBezTo>
                        <a:pt x="82" y="12"/>
                        <a:pt x="82" y="12"/>
                        <a:pt x="82" y="12"/>
                      </a:cubicBezTo>
                      <a:cubicBezTo>
                        <a:pt x="28" y="0"/>
                        <a:pt x="28" y="0"/>
                        <a:pt x="28" y="0"/>
                      </a:cubicBezTo>
                      <a:cubicBezTo>
                        <a:pt x="27" y="43"/>
                        <a:pt x="27" y="43"/>
                        <a:pt x="27" y="43"/>
                      </a:cubicBezTo>
                      <a:cubicBezTo>
                        <a:pt x="4" y="43"/>
                        <a:pt x="0" y="66"/>
                        <a:pt x="14" y="73"/>
                      </a:cubicBezTo>
                      <a:cubicBezTo>
                        <a:pt x="24" y="77"/>
                        <a:pt x="38" y="71"/>
                        <a:pt x="38" y="58"/>
                      </a:cubicBezTo>
                      <a:cubicBezTo>
                        <a:pt x="38" y="33"/>
                        <a:pt x="38" y="33"/>
                        <a:pt x="38" y="33"/>
                      </a:cubicBezTo>
                      <a:cubicBezTo>
                        <a:pt x="38" y="13"/>
                        <a:pt x="38" y="13"/>
                        <a:pt x="38" y="13"/>
                      </a:cubicBezTo>
                      <a:cubicBezTo>
                        <a:pt x="71" y="20"/>
                        <a:pt x="71" y="20"/>
                        <a:pt x="71" y="20"/>
                      </a:cubicBezTo>
                      <a:cubicBezTo>
                        <a:pt x="71" y="55"/>
                        <a:pt x="71" y="55"/>
                        <a:pt x="71" y="55"/>
                      </a:cubicBezTo>
                      <a:cubicBezTo>
                        <a:pt x="48" y="55"/>
                        <a:pt x="43" y="77"/>
                        <a:pt x="58" y="84"/>
                      </a:cubicBezTo>
                      <a:cubicBezTo>
                        <a:pt x="67" y="89"/>
                        <a:pt x="82" y="83"/>
                        <a:pt x="82" y="69"/>
                      </a:cubicBezTo>
                      <a:cubicBezTo>
                        <a:pt x="82" y="45"/>
                        <a:pt x="82" y="45"/>
                        <a:pt x="82" y="45"/>
                      </a:cubicBezTo>
                      <a:cubicBezTo>
                        <a:pt x="82" y="42"/>
                        <a:pt x="82" y="42"/>
                        <a:pt x="82" y="42"/>
                      </a:cubicBezTo>
                      <a:close/>
                    </a:path>
                  </a:pathLst>
                </a:custGeom>
                <a:solidFill>
                  <a:srgbClr val="FF8C00"/>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44" name="Freeform 18"/>
                <p:cNvSpPr>
                  <a:spLocks noChangeAspect="1" noEditPoints="1"/>
                </p:cNvSpPr>
                <p:nvPr/>
              </p:nvSpPr>
              <p:spPr bwMode="auto">
                <a:xfrm>
                  <a:off x="6649918" y="1659799"/>
                  <a:ext cx="799613" cy="450883"/>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rgbClr val="FF8C00"/>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45" name="Freeform 5"/>
                <p:cNvSpPr>
                  <a:spLocks noChangeAspect="1"/>
                </p:cNvSpPr>
                <p:nvPr/>
              </p:nvSpPr>
              <p:spPr bwMode="auto">
                <a:xfrm flipH="1">
                  <a:off x="7618611" y="2475495"/>
                  <a:ext cx="597557" cy="602494"/>
                </a:xfrm>
                <a:custGeom>
                  <a:avLst/>
                  <a:gdLst>
                    <a:gd name="T0" fmla="*/ 164 w 202"/>
                    <a:gd name="T1" fmla="*/ 123 h 204"/>
                    <a:gd name="T2" fmla="*/ 202 w 202"/>
                    <a:gd name="T3" fmla="*/ 156 h 204"/>
                    <a:gd name="T4" fmla="*/ 154 w 202"/>
                    <a:gd name="T5" fmla="*/ 204 h 204"/>
                    <a:gd name="T6" fmla="*/ 0 w 202"/>
                    <a:gd name="T7" fmla="*/ 47 h 204"/>
                    <a:gd name="T8" fmla="*/ 45 w 202"/>
                    <a:gd name="T9" fmla="*/ 0 h 204"/>
                    <a:gd name="T10" fmla="*/ 78 w 202"/>
                    <a:gd name="T11" fmla="*/ 38 h 204"/>
                    <a:gd name="T12" fmla="*/ 69 w 202"/>
                    <a:gd name="T13" fmla="*/ 71 h 204"/>
                    <a:gd name="T14" fmla="*/ 78 w 202"/>
                    <a:gd name="T15" fmla="*/ 97 h 204"/>
                    <a:gd name="T16" fmla="*/ 95 w 202"/>
                    <a:gd name="T17" fmla="*/ 116 h 204"/>
                    <a:gd name="T18" fmla="*/ 126 w 202"/>
                    <a:gd name="T19" fmla="*/ 133 h 204"/>
                    <a:gd name="T20" fmla="*/ 164 w 202"/>
                    <a:gd name="T21" fmla="*/ 1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04">
                      <a:moveTo>
                        <a:pt x="164" y="123"/>
                      </a:moveTo>
                      <a:cubicBezTo>
                        <a:pt x="202" y="156"/>
                        <a:pt x="202" y="156"/>
                        <a:pt x="202" y="156"/>
                      </a:cubicBezTo>
                      <a:cubicBezTo>
                        <a:pt x="195" y="180"/>
                        <a:pt x="181" y="192"/>
                        <a:pt x="154" y="204"/>
                      </a:cubicBezTo>
                      <a:cubicBezTo>
                        <a:pt x="95" y="178"/>
                        <a:pt x="23" y="109"/>
                        <a:pt x="0" y="47"/>
                      </a:cubicBezTo>
                      <a:cubicBezTo>
                        <a:pt x="9" y="19"/>
                        <a:pt x="21" y="7"/>
                        <a:pt x="45" y="0"/>
                      </a:cubicBezTo>
                      <a:cubicBezTo>
                        <a:pt x="78" y="38"/>
                        <a:pt x="78" y="38"/>
                        <a:pt x="78" y="38"/>
                      </a:cubicBezTo>
                      <a:cubicBezTo>
                        <a:pt x="69" y="71"/>
                        <a:pt x="69" y="71"/>
                        <a:pt x="69" y="71"/>
                      </a:cubicBezTo>
                      <a:cubicBezTo>
                        <a:pt x="69" y="81"/>
                        <a:pt x="73" y="90"/>
                        <a:pt x="78" y="97"/>
                      </a:cubicBezTo>
                      <a:cubicBezTo>
                        <a:pt x="81" y="100"/>
                        <a:pt x="85" y="107"/>
                        <a:pt x="95" y="116"/>
                      </a:cubicBezTo>
                      <a:cubicBezTo>
                        <a:pt x="107" y="128"/>
                        <a:pt x="116" y="133"/>
                        <a:pt x="126" y="133"/>
                      </a:cubicBezTo>
                      <a:cubicBezTo>
                        <a:pt x="131" y="133"/>
                        <a:pt x="142" y="130"/>
                        <a:pt x="164" y="123"/>
                      </a:cubicBezTo>
                      <a:close/>
                    </a:path>
                  </a:pathLst>
                </a:custGeom>
                <a:solidFill>
                  <a:srgbClr val="FF8C00"/>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46" name="Freeform 5"/>
                <p:cNvSpPr>
                  <a:spLocks noChangeAspect="1" noEditPoints="1"/>
                </p:cNvSpPr>
                <p:nvPr/>
              </p:nvSpPr>
              <p:spPr bwMode="auto">
                <a:xfrm>
                  <a:off x="7535180" y="1518736"/>
                  <a:ext cx="747652" cy="748982"/>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88 w 236"/>
                    <a:gd name="T11" fmla="*/ 169 h 236"/>
                    <a:gd name="T12" fmla="*/ 88 w 236"/>
                    <a:gd name="T13" fmla="*/ 76 h 236"/>
                    <a:gd name="T14" fmla="*/ 172 w 236"/>
                    <a:gd name="T15" fmla="*/ 122 h 236"/>
                    <a:gd name="T16" fmla="*/ 88 w 236"/>
                    <a:gd name="T17" fmla="*/ 16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236">
                      <a:moveTo>
                        <a:pt x="118" y="0"/>
                      </a:moveTo>
                      <a:cubicBezTo>
                        <a:pt x="53" y="0"/>
                        <a:pt x="0" y="53"/>
                        <a:pt x="0" y="118"/>
                      </a:cubicBezTo>
                      <a:cubicBezTo>
                        <a:pt x="0" y="184"/>
                        <a:pt x="53" y="236"/>
                        <a:pt x="118" y="236"/>
                      </a:cubicBezTo>
                      <a:cubicBezTo>
                        <a:pt x="183" y="236"/>
                        <a:pt x="236" y="184"/>
                        <a:pt x="236" y="118"/>
                      </a:cubicBezTo>
                      <a:cubicBezTo>
                        <a:pt x="236" y="53"/>
                        <a:pt x="183" y="0"/>
                        <a:pt x="118" y="0"/>
                      </a:cubicBezTo>
                      <a:close/>
                      <a:moveTo>
                        <a:pt x="88" y="169"/>
                      </a:moveTo>
                      <a:cubicBezTo>
                        <a:pt x="85" y="165"/>
                        <a:pt x="84" y="80"/>
                        <a:pt x="88" y="76"/>
                      </a:cubicBezTo>
                      <a:cubicBezTo>
                        <a:pt x="93" y="71"/>
                        <a:pt x="172" y="111"/>
                        <a:pt x="172" y="122"/>
                      </a:cubicBezTo>
                      <a:cubicBezTo>
                        <a:pt x="172" y="134"/>
                        <a:pt x="92" y="173"/>
                        <a:pt x="88" y="169"/>
                      </a:cubicBezTo>
                      <a:close/>
                    </a:path>
                  </a:pathLst>
                </a:custGeom>
                <a:solidFill>
                  <a:srgbClr val="FF8C00"/>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47" name="Freeform 55"/>
                <p:cNvSpPr>
                  <a:spLocks noEditPoints="1"/>
                </p:cNvSpPr>
                <p:nvPr/>
              </p:nvSpPr>
              <p:spPr bwMode="auto">
                <a:xfrm>
                  <a:off x="7541906" y="3272361"/>
                  <a:ext cx="696101" cy="667683"/>
                </a:xfrm>
                <a:custGeom>
                  <a:avLst/>
                  <a:gdLst>
                    <a:gd name="T0" fmla="*/ 275 w 579"/>
                    <a:gd name="T1" fmla="*/ 343 h 665"/>
                    <a:gd name="T2" fmla="*/ 263 w 579"/>
                    <a:gd name="T3" fmla="*/ 336 h 665"/>
                    <a:gd name="T4" fmla="*/ 263 w 579"/>
                    <a:gd name="T5" fmla="*/ 336 h 665"/>
                    <a:gd name="T6" fmla="*/ 0 w 579"/>
                    <a:gd name="T7" fmla="*/ 184 h 665"/>
                    <a:gd name="T8" fmla="*/ 0 w 579"/>
                    <a:gd name="T9" fmla="*/ 184 h 665"/>
                    <a:gd name="T10" fmla="*/ 0 w 579"/>
                    <a:gd name="T11" fmla="*/ 248 h 665"/>
                    <a:gd name="T12" fmla="*/ 0 w 579"/>
                    <a:gd name="T13" fmla="*/ 297 h 665"/>
                    <a:gd name="T14" fmla="*/ 0 w 579"/>
                    <a:gd name="T15" fmla="*/ 489 h 665"/>
                    <a:gd name="T16" fmla="*/ 0 w 579"/>
                    <a:gd name="T17" fmla="*/ 503 h 665"/>
                    <a:gd name="T18" fmla="*/ 0 w 579"/>
                    <a:gd name="T19" fmla="*/ 503 h 665"/>
                    <a:gd name="T20" fmla="*/ 11 w 579"/>
                    <a:gd name="T21" fmla="*/ 510 h 665"/>
                    <a:gd name="T22" fmla="*/ 277 w 579"/>
                    <a:gd name="T23" fmla="*/ 663 h 665"/>
                    <a:gd name="T24" fmla="*/ 277 w 579"/>
                    <a:gd name="T25" fmla="*/ 663 h 665"/>
                    <a:gd name="T26" fmla="*/ 277 w 579"/>
                    <a:gd name="T27" fmla="*/ 663 h 665"/>
                    <a:gd name="T28" fmla="*/ 277 w 579"/>
                    <a:gd name="T29" fmla="*/ 504 h 665"/>
                    <a:gd name="T30" fmla="*/ 277 w 579"/>
                    <a:gd name="T31" fmla="*/ 354 h 665"/>
                    <a:gd name="T32" fmla="*/ 277 w 579"/>
                    <a:gd name="T33" fmla="*/ 354 h 665"/>
                    <a:gd name="T34" fmla="*/ 277 w 579"/>
                    <a:gd name="T35" fmla="*/ 354 h 665"/>
                    <a:gd name="T36" fmla="*/ 278 w 579"/>
                    <a:gd name="T37" fmla="*/ 344 h 665"/>
                    <a:gd name="T38" fmla="*/ 278 w 579"/>
                    <a:gd name="T39" fmla="*/ 344 h 665"/>
                    <a:gd name="T40" fmla="*/ 278 w 579"/>
                    <a:gd name="T41" fmla="*/ 344 h 665"/>
                    <a:gd name="T42" fmla="*/ 275 w 579"/>
                    <a:gd name="T43" fmla="*/ 343 h 665"/>
                    <a:gd name="T44" fmla="*/ 578 w 579"/>
                    <a:gd name="T45" fmla="*/ 183 h 665"/>
                    <a:gd name="T46" fmla="*/ 486 w 579"/>
                    <a:gd name="T47" fmla="*/ 237 h 665"/>
                    <a:gd name="T48" fmla="*/ 314 w 579"/>
                    <a:gd name="T49" fmla="*/ 337 h 665"/>
                    <a:gd name="T50" fmla="*/ 303 w 579"/>
                    <a:gd name="T51" fmla="*/ 344 h 665"/>
                    <a:gd name="T52" fmla="*/ 303 w 579"/>
                    <a:gd name="T53" fmla="*/ 344 h 665"/>
                    <a:gd name="T54" fmla="*/ 303 w 579"/>
                    <a:gd name="T55" fmla="*/ 352 h 665"/>
                    <a:gd name="T56" fmla="*/ 303 w 579"/>
                    <a:gd name="T57" fmla="*/ 357 h 665"/>
                    <a:gd name="T58" fmla="*/ 302 w 579"/>
                    <a:gd name="T59" fmla="*/ 662 h 665"/>
                    <a:gd name="T60" fmla="*/ 302 w 579"/>
                    <a:gd name="T61" fmla="*/ 662 h 665"/>
                    <a:gd name="T62" fmla="*/ 302 w 579"/>
                    <a:gd name="T63" fmla="*/ 665 h 665"/>
                    <a:gd name="T64" fmla="*/ 302 w 579"/>
                    <a:gd name="T65" fmla="*/ 665 h 665"/>
                    <a:gd name="T66" fmla="*/ 579 w 579"/>
                    <a:gd name="T67" fmla="*/ 504 h 665"/>
                    <a:gd name="T68" fmla="*/ 579 w 579"/>
                    <a:gd name="T69" fmla="*/ 503 h 665"/>
                    <a:gd name="T70" fmla="*/ 579 w 579"/>
                    <a:gd name="T71" fmla="*/ 489 h 665"/>
                    <a:gd name="T72" fmla="*/ 579 w 579"/>
                    <a:gd name="T73" fmla="*/ 183 h 665"/>
                    <a:gd name="T74" fmla="*/ 578 w 579"/>
                    <a:gd name="T75" fmla="*/ 183 h 665"/>
                    <a:gd name="T76" fmla="*/ 568 w 579"/>
                    <a:gd name="T77" fmla="*/ 162 h 665"/>
                    <a:gd name="T78" fmla="*/ 568 w 579"/>
                    <a:gd name="T79" fmla="*/ 162 h 665"/>
                    <a:gd name="T80" fmla="*/ 301 w 579"/>
                    <a:gd name="T81" fmla="*/ 8 h 665"/>
                    <a:gd name="T82" fmla="*/ 289 w 579"/>
                    <a:gd name="T83" fmla="*/ 1 h 665"/>
                    <a:gd name="T84" fmla="*/ 288 w 579"/>
                    <a:gd name="T85" fmla="*/ 0 h 665"/>
                    <a:gd name="T86" fmla="*/ 11 w 579"/>
                    <a:gd name="T87" fmla="*/ 161 h 665"/>
                    <a:gd name="T88" fmla="*/ 13 w 579"/>
                    <a:gd name="T89" fmla="*/ 163 h 665"/>
                    <a:gd name="T90" fmla="*/ 13 w 579"/>
                    <a:gd name="T91" fmla="*/ 163 h 665"/>
                    <a:gd name="T92" fmla="*/ 276 w 579"/>
                    <a:gd name="T93" fmla="*/ 315 h 665"/>
                    <a:gd name="T94" fmla="*/ 288 w 579"/>
                    <a:gd name="T95" fmla="*/ 321 h 665"/>
                    <a:gd name="T96" fmla="*/ 288 w 579"/>
                    <a:gd name="T97" fmla="*/ 321 h 665"/>
                    <a:gd name="T98" fmla="*/ 291 w 579"/>
                    <a:gd name="T99" fmla="*/ 323 h 665"/>
                    <a:gd name="T100" fmla="*/ 291 w 579"/>
                    <a:gd name="T101" fmla="*/ 323 h 665"/>
                    <a:gd name="T102" fmla="*/ 291 w 579"/>
                    <a:gd name="T103" fmla="*/ 323 h 665"/>
                    <a:gd name="T104" fmla="*/ 291 w 579"/>
                    <a:gd name="T105" fmla="*/ 323 h 665"/>
                    <a:gd name="T106" fmla="*/ 291 w 579"/>
                    <a:gd name="T107" fmla="*/ 323 h 665"/>
                    <a:gd name="T108" fmla="*/ 300 w 579"/>
                    <a:gd name="T109" fmla="*/ 318 h 665"/>
                    <a:gd name="T110" fmla="*/ 534 w 579"/>
                    <a:gd name="T111" fmla="*/ 182 h 665"/>
                    <a:gd name="T112" fmla="*/ 568 w 579"/>
                    <a:gd name="T113" fmla="*/ 162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9" h="665">
                      <a:moveTo>
                        <a:pt x="275" y="343"/>
                      </a:moveTo>
                      <a:lnTo>
                        <a:pt x="263" y="336"/>
                      </a:lnTo>
                      <a:lnTo>
                        <a:pt x="263" y="336"/>
                      </a:lnTo>
                      <a:lnTo>
                        <a:pt x="0" y="184"/>
                      </a:lnTo>
                      <a:lnTo>
                        <a:pt x="0" y="184"/>
                      </a:lnTo>
                      <a:lnTo>
                        <a:pt x="0" y="248"/>
                      </a:lnTo>
                      <a:lnTo>
                        <a:pt x="0" y="297"/>
                      </a:lnTo>
                      <a:lnTo>
                        <a:pt x="0" y="489"/>
                      </a:lnTo>
                      <a:lnTo>
                        <a:pt x="0" y="503"/>
                      </a:lnTo>
                      <a:lnTo>
                        <a:pt x="0" y="503"/>
                      </a:lnTo>
                      <a:lnTo>
                        <a:pt x="11" y="510"/>
                      </a:lnTo>
                      <a:lnTo>
                        <a:pt x="277" y="663"/>
                      </a:lnTo>
                      <a:lnTo>
                        <a:pt x="277" y="663"/>
                      </a:lnTo>
                      <a:lnTo>
                        <a:pt x="277" y="663"/>
                      </a:lnTo>
                      <a:lnTo>
                        <a:pt x="277" y="504"/>
                      </a:lnTo>
                      <a:lnTo>
                        <a:pt x="277" y="354"/>
                      </a:lnTo>
                      <a:lnTo>
                        <a:pt x="277" y="354"/>
                      </a:lnTo>
                      <a:lnTo>
                        <a:pt x="277" y="354"/>
                      </a:lnTo>
                      <a:lnTo>
                        <a:pt x="278" y="344"/>
                      </a:lnTo>
                      <a:lnTo>
                        <a:pt x="278" y="344"/>
                      </a:lnTo>
                      <a:lnTo>
                        <a:pt x="278" y="344"/>
                      </a:lnTo>
                      <a:lnTo>
                        <a:pt x="275" y="343"/>
                      </a:lnTo>
                      <a:close/>
                      <a:moveTo>
                        <a:pt x="578" y="183"/>
                      </a:moveTo>
                      <a:lnTo>
                        <a:pt x="486" y="237"/>
                      </a:lnTo>
                      <a:lnTo>
                        <a:pt x="314" y="337"/>
                      </a:lnTo>
                      <a:lnTo>
                        <a:pt x="303" y="344"/>
                      </a:lnTo>
                      <a:lnTo>
                        <a:pt x="303" y="344"/>
                      </a:lnTo>
                      <a:lnTo>
                        <a:pt x="303" y="352"/>
                      </a:lnTo>
                      <a:lnTo>
                        <a:pt x="303" y="357"/>
                      </a:lnTo>
                      <a:lnTo>
                        <a:pt x="302" y="662"/>
                      </a:lnTo>
                      <a:lnTo>
                        <a:pt x="302" y="662"/>
                      </a:lnTo>
                      <a:lnTo>
                        <a:pt x="302" y="665"/>
                      </a:lnTo>
                      <a:lnTo>
                        <a:pt x="302" y="665"/>
                      </a:lnTo>
                      <a:lnTo>
                        <a:pt x="579" y="504"/>
                      </a:lnTo>
                      <a:lnTo>
                        <a:pt x="579" y="503"/>
                      </a:lnTo>
                      <a:lnTo>
                        <a:pt x="579" y="489"/>
                      </a:lnTo>
                      <a:lnTo>
                        <a:pt x="579" y="183"/>
                      </a:lnTo>
                      <a:lnTo>
                        <a:pt x="578" y="183"/>
                      </a:lnTo>
                      <a:close/>
                      <a:moveTo>
                        <a:pt x="568" y="162"/>
                      </a:moveTo>
                      <a:lnTo>
                        <a:pt x="568" y="162"/>
                      </a:lnTo>
                      <a:lnTo>
                        <a:pt x="301" y="8"/>
                      </a:lnTo>
                      <a:lnTo>
                        <a:pt x="289" y="1"/>
                      </a:lnTo>
                      <a:lnTo>
                        <a:pt x="288" y="0"/>
                      </a:lnTo>
                      <a:lnTo>
                        <a:pt x="11" y="161"/>
                      </a:lnTo>
                      <a:lnTo>
                        <a:pt x="13" y="163"/>
                      </a:lnTo>
                      <a:lnTo>
                        <a:pt x="13" y="163"/>
                      </a:lnTo>
                      <a:lnTo>
                        <a:pt x="276" y="315"/>
                      </a:lnTo>
                      <a:lnTo>
                        <a:pt x="288" y="321"/>
                      </a:lnTo>
                      <a:lnTo>
                        <a:pt x="288" y="321"/>
                      </a:lnTo>
                      <a:lnTo>
                        <a:pt x="291" y="323"/>
                      </a:lnTo>
                      <a:lnTo>
                        <a:pt x="291" y="323"/>
                      </a:lnTo>
                      <a:lnTo>
                        <a:pt x="291" y="323"/>
                      </a:lnTo>
                      <a:lnTo>
                        <a:pt x="291" y="323"/>
                      </a:lnTo>
                      <a:lnTo>
                        <a:pt x="291" y="323"/>
                      </a:lnTo>
                      <a:lnTo>
                        <a:pt x="300" y="318"/>
                      </a:lnTo>
                      <a:lnTo>
                        <a:pt x="534" y="182"/>
                      </a:lnTo>
                      <a:lnTo>
                        <a:pt x="568" y="162"/>
                      </a:ln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grpSp>
          <p:grpSp>
            <p:nvGrpSpPr>
              <p:cNvPr id="133" name="Group 29"/>
              <p:cNvGrpSpPr>
                <a:grpSpLocks noChangeAspect="1"/>
              </p:cNvGrpSpPr>
              <p:nvPr/>
            </p:nvGrpSpPr>
            <p:grpSpPr bwMode="auto">
              <a:xfrm>
                <a:off x="8804898" y="979278"/>
                <a:ext cx="701892" cy="703330"/>
                <a:chOff x="5541" y="601"/>
                <a:chExt cx="488" cy="489"/>
              </a:xfrm>
              <a:solidFill>
                <a:srgbClr val="FF8C00"/>
              </a:solidFill>
            </p:grpSpPr>
            <p:sp>
              <p:nvSpPr>
                <p:cNvPr id="134" name="Freeform 31"/>
                <p:cNvSpPr>
                  <a:spLocks noEditPoints="1"/>
                </p:cNvSpPr>
                <p:nvPr/>
              </p:nvSpPr>
              <p:spPr bwMode="auto">
                <a:xfrm>
                  <a:off x="5659" y="870"/>
                  <a:ext cx="325" cy="195"/>
                </a:xfrm>
                <a:custGeom>
                  <a:avLst/>
                  <a:gdLst>
                    <a:gd name="T0" fmla="*/ 1001 w 2278"/>
                    <a:gd name="T1" fmla="*/ 1347 h 1363"/>
                    <a:gd name="T2" fmla="*/ 824 w 2278"/>
                    <a:gd name="T3" fmla="*/ 1335 h 1363"/>
                    <a:gd name="T4" fmla="*/ 806 w 2278"/>
                    <a:gd name="T5" fmla="*/ 1323 h 1363"/>
                    <a:gd name="T6" fmla="*/ 819 w 2278"/>
                    <a:gd name="T7" fmla="*/ 1303 h 1363"/>
                    <a:gd name="T8" fmla="*/ 488 w 2278"/>
                    <a:gd name="T9" fmla="*/ 922 h 1363"/>
                    <a:gd name="T10" fmla="*/ 510 w 2278"/>
                    <a:gd name="T11" fmla="*/ 923 h 1363"/>
                    <a:gd name="T12" fmla="*/ 627 w 2278"/>
                    <a:gd name="T13" fmla="*/ 906 h 1363"/>
                    <a:gd name="T14" fmla="*/ 1347 w 2278"/>
                    <a:gd name="T15" fmla="*/ 881 h 1363"/>
                    <a:gd name="T16" fmla="*/ 1423 w 2278"/>
                    <a:gd name="T17" fmla="*/ 820 h 1363"/>
                    <a:gd name="T18" fmla="*/ 899 w 2278"/>
                    <a:gd name="T19" fmla="*/ 785 h 1363"/>
                    <a:gd name="T20" fmla="*/ 998 w 2278"/>
                    <a:gd name="T21" fmla="*/ 771 h 1363"/>
                    <a:gd name="T22" fmla="*/ 1000 w 2278"/>
                    <a:gd name="T23" fmla="*/ 749 h 1363"/>
                    <a:gd name="T24" fmla="*/ 1955 w 2278"/>
                    <a:gd name="T25" fmla="*/ 743 h 1363"/>
                    <a:gd name="T26" fmla="*/ 993 w 2278"/>
                    <a:gd name="T27" fmla="*/ 723 h 1363"/>
                    <a:gd name="T28" fmla="*/ 974 w 2278"/>
                    <a:gd name="T29" fmla="*/ 702 h 1363"/>
                    <a:gd name="T30" fmla="*/ 2026 w 2278"/>
                    <a:gd name="T31" fmla="*/ 756 h 1363"/>
                    <a:gd name="T32" fmla="*/ 1981 w 2278"/>
                    <a:gd name="T33" fmla="*/ 801 h 1363"/>
                    <a:gd name="T34" fmla="*/ 2030 w 2278"/>
                    <a:gd name="T35" fmla="*/ 715 h 1363"/>
                    <a:gd name="T36" fmla="*/ 717 w 2278"/>
                    <a:gd name="T37" fmla="*/ 687 h 1363"/>
                    <a:gd name="T38" fmla="*/ 1944 w 2278"/>
                    <a:gd name="T39" fmla="*/ 679 h 1363"/>
                    <a:gd name="T40" fmla="*/ 1016 w 2278"/>
                    <a:gd name="T41" fmla="*/ 667 h 1363"/>
                    <a:gd name="T42" fmla="*/ 55 w 2278"/>
                    <a:gd name="T43" fmla="*/ 649 h 1363"/>
                    <a:gd name="T44" fmla="*/ 995 w 2278"/>
                    <a:gd name="T45" fmla="*/ 640 h 1363"/>
                    <a:gd name="T46" fmla="*/ 851 w 2278"/>
                    <a:gd name="T47" fmla="*/ 662 h 1363"/>
                    <a:gd name="T48" fmla="*/ 807 w 2278"/>
                    <a:gd name="T49" fmla="*/ 670 h 1363"/>
                    <a:gd name="T50" fmla="*/ 1535 w 2278"/>
                    <a:gd name="T51" fmla="*/ 630 h 1363"/>
                    <a:gd name="T52" fmla="*/ 951 w 2278"/>
                    <a:gd name="T53" fmla="*/ 630 h 1363"/>
                    <a:gd name="T54" fmla="*/ 1970 w 2278"/>
                    <a:gd name="T55" fmla="*/ 646 h 1363"/>
                    <a:gd name="T56" fmla="*/ 700 w 2278"/>
                    <a:gd name="T57" fmla="*/ 623 h 1363"/>
                    <a:gd name="T58" fmla="*/ 728 w 2278"/>
                    <a:gd name="T59" fmla="*/ 659 h 1363"/>
                    <a:gd name="T60" fmla="*/ 657 w 2278"/>
                    <a:gd name="T61" fmla="*/ 637 h 1363"/>
                    <a:gd name="T62" fmla="*/ 592 w 2278"/>
                    <a:gd name="T63" fmla="*/ 641 h 1363"/>
                    <a:gd name="T64" fmla="*/ 828 w 2278"/>
                    <a:gd name="T65" fmla="*/ 605 h 1363"/>
                    <a:gd name="T66" fmla="*/ 760 w 2278"/>
                    <a:gd name="T67" fmla="*/ 595 h 1363"/>
                    <a:gd name="T68" fmla="*/ 1549 w 2278"/>
                    <a:gd name="T69" fmla="*/ 610 h 1363"/>
                    <a:gd name="T70" fmla="*/ 654 w 2278"/>
                    <a:gd name="T71" fmla="*/ 605 h 1363"/>
                    <a:gd name="T72" fmla="*/ 756 w 2278"/>
                    <a:gd name="T73" fmla="*/ 579 h 1363"/>
                    <a:gd name="T74" fmla="*/ 723 w 2278"/>
                    <a:gd name="T75" fmla="*/ 571 h 1363"/>
                    <a:gd name="T76" fmla="*/ 1888 w 2278"/>
                    <a:gd name="T77" fmla="*/ 526 h 1363"/>
                    <a:gd name="T78" fmla="*/ 2 w 2278"/>
                    <a:gd name="T79" fmla="*/ 488 h 1363"/>
                    <a:gd name="T80" fmla="*/ 967 w 2278"/>
                    <a:gd name="T81" fmla="*/ 444 h 1363"/>
                    <a:gd name="T82" fmla="*/ 2260 w 2278"/>
                    <a:gd name="T83" fmla="*/ 452 h 1363"/>
                    <a:gd name="T84" fmla="*/ 1686 w 2278"/>
                    <a:gd name="T85" fmla="*/ 345 h 1363"/>
                    <a:gd name="T86" fmla="*/ 1548 w 2278"/>
                    <a:gd name="T87" fmla="*/ 272 h 1363"/>
                    <a:gd name="T88" fmla="*/ 1582 w 2278"/>
                    <a:gd name="T89" fmla="*/ 251 h 1363"/>
                    <a:gd name="T90" fmla="*/ 1551 w 2278"/>
                    <a:gd name="T91" fmla="*/ 246 h 1363"/>
                    <a:gd name="T92" fmla="*/ 2024 w 2278"/>
                    <a:gd name="T93" fmla="*/ 212 h 1363"/>
                    <a:gd name="T94" fmla="*/ 1804 w 2278"/>
                    <a:gd name="T95" fmla="*/ 247 h 1363"/>
                    <a:gd name="T96" fmla="*/ 1770 w 2278"/>
                    <a:gd name="T97" fmla="*/ 228 h 1363"/>
                    <a:gd name="T98" fmla="*/ 1936 w 2278"/>
                    <a:gd name="T99" fmla="*/ 195 h 1363"/>
                    <a:gd name="T100" fmla="*/ 1865 w 2278"/>
                    <a:gd name="T101" fmla="*/ 184 h 1363"/>
                    <a:gd name="T102" fmla="*/ 1873 w 2278"/>
                    <a:gd name="T103" fmla="*/ 171 h 1363"/>
                    <a:gd name="T104" fmla="*/ 1914 w 2278"/>
                    <a:gd name="T105" fmla="*/ 180 h 1363"/>
                    <a:gd name="T106" fmla="*/ 1910 w 2278"/>
                    <a:gd name="T107" fmla="*/ 145 h 1363"/>
                    <a:gd name="T108" fmla="*/ 1970 w 2278"/>
                    <a:gd name="T109" fmla="*/ 154 h 1363"/>
                    <a:gd name="T110" fmla="*/ 1953 w 2278"/>
                    <a:gd name="T111" fmla="*/ 126 h 1363"/>
                    <a:gd name="T112" fmla="*/ 508 w 2278"/>
                    <a:gd name="T113" fmla="*/ 93 h 1363"/>
                    <a:gd name="T114" fmla="*/ 2032 w 2278"/>
                    <a:gd name="T115" fmla="*/ 119 h 1363"/>
                    <a:gd name="T116" fmla="*/ 2016 w 2278"/>
                    <a:gd name="T117" fmla="*/ 178 h 1363"/>
                    <a:gd name="T118" fmla="*/ 1988 w 2278"/>
                    <a:gd name="T119" fmla="*/ 139 h 1363"/>
                    <a:gd name="T120" fmla="*/ 2090 w 2278"/>
                    <a:gd name="T121" fmla="*/ 44 h 1363"/>
                    <a:gd name="T122" fmla="*/ 498 w 2278"/>
                    <a:gd name="T123" fmla="*/ 2 h 1363"/>
                    <a:gd name="T124" fmla="*/ 2219 w 2278"/>
                    <a:gd name="T125" fmla="*/ 41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78" h="1363">
                      <a:moveTo>
                        <a:pt x="837" y="1356"/>
                      </a:moveTo>
                      <a:lnTo>
                        <a:pt x="839" y="1357"/>
                      </a:lnTo>
                      <a:lnTo>
                        <a:pt x="840" y="1358"/>
                      </a:lnTo>
                      <a:lnTo>
                        <a:pt x="841" y="1361"/>
                      </a:lnTo>
                      <a:lnTo>
                        <a:pt x="840" y="1363"/>
                      </a:lnTo>
                      <a:lnTo>
                        <a:pt x="839" y="1363"/>
                      </a:lnTo>
                      <a:lnTo>
                        <a:pt x="836" y="1361"/>
                      </a:lnTo>
                      <a:lnTo>
                        <a:pt x="835" y="1360"/>
                      </a:lnTo>
                      <a:lnTo>
                        <a:pt x="834" y="1360"/>
                      </a:lnTo>
                      <a:lnTo>
                        <a:pt x="833" y="1360"/>
                      </a:lnTo>
                      <a:lnTo>
                        <a:pt x="833" y="1359"/>
                      </a:lnTo>
                      <a:lnTo>
                        <a:pt x="833" y="1359"/>
                      </a:lnTo>
                      <a:lnTo>
                        <a:pt x="834" y="1358"/>
                      </a:lnTo>
                      <a:lnTo>
                        <a:pt x="835" y="1357"/>
                      </a:lnTo>
                      <a:lnTo>
                        <a:pt x="837" y="1356"/>
                      </a:lnTo>
                      <a:close/>
                      <a:moveTo>
                        <a:pt x="1014" y="1341"/>
                      </a:moveTo>
                      <a:lnTo>
                        <a:pt x="1015" y="1341"/>
                      </a:lnTo>
                      <a:lnTo>
                        <a:pt x="1016" y="1343"/>
                      </a:lnTo>
                      <a:lnTo>
                        <a:pt x="1015" y="1345"/>
                      </a:lnTo>
                      <a:lnTo>
                        <a:pt x="1015" y="1346"/>
                      </a:lnTo>
                      <a:lnTo>
                        <a:pt x="1012" y="1346"/>
                      </a:lnTo>
                      <a:lnTo>
                        <a:pt x="1012" y="1346"/>
                      </a:lnTo>
                      <a:lnTo>
                        <a:pt x="1011" y="1346"/>
                      </a:lnTo>
                      <a:lnTo>
                        <a:pt x="1010" y="1348"/>
                      </a:lnTo>
                      <a:lnTo>
                        <a:pt x="1008" y="1349"/>
                      </a:lnTo>
                      <a:lnTo>
                        <a:pt x="1007" y="1350"/>
                      </a:lnTo>
                      <a:lnTo>
                        <a:pt x="1006" y="1350"/>
                      </a:lnTo>
                      <a:lnTo>
                        <a:pt x="1006" y="1350"/>
                      </a:lnTo>
                      <a:lnTo>
                        <a:pt x="1006" y="1349"/>
                      </a:lnTo>
                      <a:lnTo>
                        <a:pt x="1005" y="1348"/>
                      </a:lnTo>
                      <a:lnTo>
                        <a:pt x="1004" y="1346"/>
                      </a:lnTo>
                      <a:lnTo>
                        <a:pt x="1001" y="1347"/>
                      </a:lnTo>
                      <a:lnTo>
                        <a:pt x="1000" y="1348"/>
                      </a:lnTo>
                      <a:lnTo>
                        <a:pt x="998" y="1350"/>
                      </a:lnTo>
                      <a:lnTo>
                        <a:pt x="997" y="1352"/>
                      </a:lnTo>
                      <a:lnTo>
                        <a:pt x="996" y="1354"/>
                      </a:lnTo>
                      <a:lnTo>
                        <a:pt x="994" y="1354"/>
                      </a:lnTo>
                      <a:lnTo>
                        <a:pt x="992" y="1354"/>
                      </a:lnTo>
                      <a:lnTo>
                        <a:pt x="990" y="1353"/>
                      </a:lnTo>
                      <a:lnTo>
                        <a:pt x="990" y="1352"/>
                      </a:lnTo>
                      <a:lnTo>
                        <a:pt x="992" y="1350"/>
                      </a:lnTo>
                      <a:lnTo>
                        <a:pt x="994" y="1350"/>
                      </a:lnTo>
                      <a:lnTo>
                        <a:pt x="995" y="1348"/>
                      </a:lnTo>
                      <a:lnTo>
                        <a:pt x="995" y="1347"/>
                      </a:lnTo>
                      <a:lnTo>
                        <a:pt x="995" y="1347"/>
                      </a:lnTo>
                      <a:lnTo>
                        <a:pt x="994" y="1346"/>
                      </a:lnTo>
                      <a:lnTo>
                        <a:pt x="994" y="1345"/>
                      </a:lnTo>
                      <a:lnTo>
                        <a:pt x="994" y="1344"/>
                      </a:lnTo>
                      <a:lnTo>
                        <a:pt x="994" y="1343"/>
                      </a:lnTo>
                      <a:lnTo>
                        <a:pt x="995" y="1343"/>
                      </a:lnTo>
                      <a:lnTo>
                        <a:pt x="996" y="1342"/>
                      </a:lnTo>
                      <a:lnTo>
                        <a:pt x="998" y="1342"/>
                      </a:lnTo>
                      <a:lnTo>
                        <a:pt x="999" y="1342"/>
                      </a:lnTo>
                      <a:lnTo>
                        <a:pt x="1000" y="1341"/>
                      </a:lnTo>
                      <a:lnTo>
                        <a:pt x="1001" y="1342"/>
                      </a:lnTo>
                      <a:lnTo>
                        <a:pt x="1001" y="1343"/>
                      </a:lnTo>
                      <a:lnTo>
                        <a:pt x="1003" y="1344"/>
                      </a:lnTo>
                      <a:lnTo>
                        <a:pt x="1004" y="1343"/>
                      </a:lnTo>
                      <a:lnTo>
                        <a:pt x="1006" y="1343"/>
                      </a:lnTo>
                      <a:lnTo>
                        <a:pt x="1008" y="1342"/>
                      </a:lnTo>
                      <a:lnTo>
                        <a:pt x="1009" y="1341"/>
                      </a:lnTo>
                      <a:lnTo>
                        <a:pt x="1011" y="1341"/>
                      </a:lnTo>
                      <a:lnTo>
                        <a:pt x="1014" y="1341"/>
                      </a:lnTo>
                      <a:close/>
                      <a:moveTo>
                        <a:pt x="824" y="1335"/>
                      </a:moveTo>
                      <a:lnTo>
                        <a:pt x="826" y="1335"/>
                      </a:lnTo>
                      <a:lnTo>
                        <a:pt x="826" y="1336"/>
                      </a:lnTo>
                      <a:lnTo>
                        <a:pt x="828" y="1337"/>
                      </a:lnTo>
                      <a:lnTo>
                        <a:pt x="829" y="1337"/>
                      </a:lnTo>
                      <a:lnTo>
                        <a:pt x="830" y="1337"/>
                      </a:lnTo>
                      <a:lnTo>
                        <a:pt x="831" y="1338"/>
                      </a:lnTo>
                      <a:lnTo>
                        <a:pt x="831" y="1338"/>
                      </a:lnTo>
                      <a:lnTo>
                        <a:pt x="831" y="1339"/>
                      </a:lnTo>
                      <a:lnTo>
                        <a:pt x="831" y="1341"/>
                      </a:lnTo>
                      <a:lnTo>
                        <a:pt x="831" y="1341"/>
                      </a:lnTo>
                      <a:lnTo>
                        <a:pt x="831" y="1342"/>
                      </a:lnTo>
                      <a:lnTo>
                        <a:pt x="830" y="1342"/>
                      </a:lnTo>
                      <a:lnTo>
                        <a:pt x="829" y="1342"/>
                      </a:lnTo>
                      <a:lnTo>
                        <a:pt x="826" y="1343"/>
                      </a:lnTo>
                      <a:lnTo>
                        <a:pt x="825" y="1343"/>
                      </a:lnTo>
                      <a:lnTo>
                        <a:pt x="824" y="1343"/>
                      </a:lnTo>
                      <a:lnTo>
                        <a:pt x="824" y="1342"/>
                      </a:lnTo>
                      <a:lnTo>
                        <a:pt x="823" y="1339"/>
                      </a:lnTo>
                      <a:lnTo>
                        <a:pt x="823" y="1338"/>
                      </a:lnTo>
                      <a:lnTo>
                        <a:pt x="823" y="1337"/>
                      </a:lnTo>
                      <a:lnTo>
                        <a:pt x="824" y="1335"/>
                      </a:lnTo>
                      <a:close/>
                      <a:moveTo>
                        <a:pt x="812" y="1320"/>
                      </a:moveTo>
                      <a:lnTo>
                        <a:pt x="813" y="1320"/>
                      </a:lnTo>
                      <a:lnTo>
                        <a:pt x="813" y="1322"/>
                      </a:lnTo>
                      <a:lnTo>
                        <a:pt x="813" y="1323"/>
                      </a:lnTo>
                      <a:lnTo>
                        <a:pt x="812" y="1325"/>
                      </a:lnTo>
                      <a:lnTo>
                        <a:pt x="810" y="1325"/>
                      </a:lnTo>
                      <a:lnTo>
                        <a:pt x="808" y="1326"/>
                      </a:lnTo>
                      <a:lnTo>
                        <a:pt x="806" y="1326"/>
                      </a:lnTo>
                      <a:lnTo>
                        <a:pt x="804" y="1326"/>
                      </a:lnTo>
                      <a:lnTo>
                        <a:pt x="804" y="1324"/>
                      </a:lnTo>
                      <a:lnTo>
                        <a:pt x="806" y="1323"/>
                      </a:lnTo>
                      <a:lnTo>
                        <a:pt x="808" y="1321"/>
                      </a:lnTo>
                      <a:lnTo>
                        <a:pt x="809" y="1321"/>
                      </a:lnTo>
                      <a:lnTo>
                        <a:pt x="811" y="1320"/>
                      </a:lnTo>
                      <a:lnTo>
                        <a:pt x="812" y="1320"/>
                      </a:lnTo>
                      <a:close/>
                      <a:moveTo>
                        <a:pt x="825" y="1319"/>
                      </a:moveTo>
                      <a:lnTo>
                        <a:pt x="825" y="1319"/>
                      </a:lnTo>
                      <a:lnTo>
                        <a:pt x="826" y="1319"/>
                      </a:lnTo>
                      <a:lnTo>
                        <a:pt x="828" y="1320"/>
                      </a:lnTo>
                      <a:lnTo>
                        <a:pt x="829" y="1321"/>
                      </a:lnTo>
                      <a:lnTo>
                        <a:pt x="829" y="1321"/>
                      </a:lnTo>
                      <a:lnTo>
                        <a:pt x="830" y="1321"/>
                      </a:lnTo>
                      <a:lnTo>
                        <a:pt x="831" y="1322"/>
                      </a:lnTo>
                      <a:lnTo>
                        <a:pt x="831" y="1323"/>
                      </a:lnTo>
                      <a:lnTo>
                        <a:pt x="831" y="1324"/>
                      </a:lnTo>
                      <a:lnTo>
                        <a:pt x="830" y="1325"/>
                      </a:lnTo>
                      <a:lnTo>
                        <a:pt x="829" y="1325"/>
                      </a:lnTo>
                      <a:lnTo>
                        <a:pt x="829" y="1324"/>
                      </a:lnTo>
                      <a:lnTo>
                        <a:pt x="828" y="1324"/>
                      </a:lnTo>
                      <a:lnTo>
                        <a:pt x="826" y="1324"/>
                      </a:lnTo>
                      <a:lnTo>
                        <a:pt x="825" y="1324"/>
                      </a:lnTo>
                      <a:lnTo>
                        <a:pt x="824" y="1324"/>
                      </a:lnTo>
                      <a:lnTo>
                        <a:pt x="824" y="1323"/>
                      </a:lnTo>
                      <a:lnTo>
                        <a:pt x="824" y="1322"/>
                      </a:lnTo>
                      <a:lnTo>
                        <a:pt x="824" y="1320"/>
                      </a:lnTo>
                      <a:lnTo>
                        <a:pt x="824" y="1319"/>
                      </a:lnTo>
                      <a:lnTo>
                        <a:pt x="825" y="1319"/>
                      </a:lnTo>
                      <a:close/>
                      <a:moveTo>
                        <a:pt x="813" y="1301"/>
                      </a:moveTo>
                      <a:lnTo>
                        <a:pt x="815" y="1301"/>
                      </a:lnTo>
                      <a:lnTo>
                        <a:pt x="818" y="1302"/>
                      </a:lnTo>
                      <a:lnTo>
                        <a:pt x="819" y="1302"/>
                      </a:lnTo>
                      <a:lnTo>
                        <a:pt x="819" y="1302"/>
                      </a:lnTo>
                      <a:lnTo>
                        <a:pt x="819" y="1303"/>
                      </a:lnTo>
                      <a:lnTo>
                        <a:pt x="818" y="1304"/>
                      </a:lnTo>
                      <a:lnTo>
                        <a:pt x="818" y="1305"/>
                      </a:lnTo>
                      <a:lnTo>
                        <a:pt x="818" y="1305"/>
                      </a:lnTo>
                      <a:lnTo>
                        <a:pt x="818" y="1305"/>
                      </a:lnTo>
                      <a:lnTo>
                        <a:pt x="818" y="1306"/>
                      </a:lnTo>
                      <a:lnTo>
                        <a:pt x="819" y="1308"/>
                      </a:lnTo>
                      <a:lnTo>
                        <a:pt x="820" y="1310"/>
                      </a:lnTo>
                      <a:lnTo>
                        <a:pt x="821" y="1310"/>
                      </a:lnTo>
                      <a:lnTo>
                        <a:pt x="821" y="1311"/>
                      </a:lnTo>
                      <a:lnTo>
                        <a:pt x="821" y="1312"/>
                      </a:lnTo>
                      <a:lnTo>
                        <a:pt x="821" y="1314"/>
                      </a:lnTo>
                      <a:lnTo>
                        <a:pt x="820" y="1316"/>
                      </a:lnTo>
                      <a:lnTo>
                        <a:pt x="820" y="1316"/>
                      </a:lnTo>
                      <a:lnTo>
                        <a:pt x="818" y="1316"/>
                      </a:lnTo>
                      <a:lnTo>
                        <a:pt x="817" y="1316"/>
                      </a:lnTo>
                      <a:lnTo>
                        <a:pt x="814" y="1316"/>
                      </a:lnTo>
                      <a:lnTo>
                        <a:pt x="812" y="1315"/>
                      </a:lnTo>
                      <a:lnTo>
                        <a:pt x="810" y="1314"/>
                      </a:lnTo>
                      <a:lnTo>
                        <a:pt x="810" y="1313"/>
                      </a:lnTo>
                      <a:lnTo>
                        <a:pt x="810" y="1313"/>
                      </a:lnTo>
                      <a:lnTo>
                        <a:pt x="811" y="1312"/>
                      </a:lnTo>
                      <a:lnTo>
                        <a:pt x="812" y="1310"/>
                      </a:lnTo>
                      <a:lnTo>
                        <a:pt x="813" y="1308"/>
                      </a:lnTo>
                      <a:lnTo>
                        <a:pt x="812" y="1305"/>
                      </a:lnTo>
                      <a:lnTo>
                        <a:pt x="810" y="1305"/>
                      </a:lnTo>
                      <a:lnTo>
                        <a:pt x="809" y="1304"/>
                      </a:lnTo>
                      <a:lnTo>
                        <a:pt x="809" y="1303"/>
                      </a:lnTo>
                      <a:lnTo>
                        <a:pt x="810" y="1302"/>
                      </a:lnTo>
                      <a:lnTo>
                        <a:pt x="811" y="1301"/>
                      </a:lnTo>
                      <a:lnTo>
                        <a:pt x="813" y="1301"/>
                      </a:lnTo>
                      <a:close/>
                      <a:moveTo>
                        <a:pt x="481" y="918"/>
                      </a:moveTo>
                      <a:lnTo>
                        <a:pt x="488" y="922"/>
                      </a:lnTo>
                      <a:lnTo>
                        <a:pt x="493" y="927"/>
                      </a:lnTo>
                      <a:lnTo>
                        <a:pt x="497" y="932"/>
                      </a:lnTo>
                      <a:lnTo>
                        <a:pt x="504" y="933"/>
                      </a:lnTo>
                      <a:lnTo>
                        <a:pt x="509" y="935"/>
                      </a:lnTo>
                      <a:lnTo>
                        <a:pt x="516" y="935"/>
                      </a:lnTo>
                      <a:lnTo>
                        <a:pt x="520" y="937"/>
                      </a:lnTo>
                      <a:lnTo>
                        <a:pt x="524" y="940"/>
                      </a:lnTo>
                      <a:lnTo>
                        <a:pt x="524" y="942"/>
                      </a:lnTo>
                      <a:lnTo>
                        <a:pt x="524" y="943"/>
                      </a:lnTo>
                      <a:lnTo>
                        <a:pt x="523" y="944"/>
                      </a:lnTo>
                      <a:lnTo>
                        <a:pt x="520" y="945"/>
                      </a:lnTo>
                      <a:lnTo>
                        <a:pt x="518" y="945"/>
                      </a:lnTo>
                      <a:lnTo>
                        <a:pt x="517" y="945"/>
                      </a:lnTo>
                      <a:lnTo>
                        <a:pt x="515" y="946"/>
                      </a:lnTo>
                      <a:lnTo>
                        <a:pt x="514" y="946"/>
                      </a:lnTo>
                      <a:lnTo>
                        <a:pt x="504" y="944"/>
                      </a:lnTo>
                      <a:lnTo>
                        <a:pt x="494" y="940"/>
                      </a:lnTo>
                      <a:lnTo>
                        <a:pt x="491" y="940"/>
                      </a:lnTo>
                      <a:lnTo>
                        <a:pt x="486" y="940"/>
                      </a:lnTo>
                      <a:lnTo>
                        <a:pt x="483" y="939"/>
                      </a:lnTo>
                      <a:lnTo>
                        <a:pt x="481" y="939"/>
                      </a:lnTo>
                      <a:lnTo>
                        <a:pt x="479" y="937"/>
                      </a:lnTo>
                      <a:lnTo>
                        <a:pt x="474" y="931"/>
                      </a:lnTo>
                      <a:lnTo>
                        <a:pt x="473" y="926"/>
                      </a:lnTo>
                      <a:lnTo>
                        <a:pt x="475" y="920"/>
                      </a:lnTo>
                      <a:lnTo>
                        <a:pt x="481" y="918"/>
                      </a:lnTo>
                      <a:close/>
                      <a:moveTo>
                        <a:pt x="497" y="911"/>
                      </a:moveTo>
                      <a:lnTo>
                        <a:pt x="503" y="912"/>
                      </a:lnTo>
                      <a:lnTo>
                        <a:pt x="509" y="913"/>
                      </a:lnTo>
                      <a:lnTo>
                        <a:pt x="514" y="917"/>
                      </a:lnTo>
                      <a:lnTo>
                        <a:pt x="515" y="921"/>
                      </a:lnTo>
                      <a:lnTo>
                        <a:pt x="510" y="923"/>
                      </a:lnTo>
                      <a:lnTo>
                        <a:pt x="505" y="923"/>
                      </a:lnTo>
                      <a:lnTo>
                        <a:pt x="498" y="922"/>
                      </a:lnTo>
                      <a:lnTo>
                        <a:pt x="494" y="919"/>
                      </a:lnTo>
                      <a:lnTo>
                        <a:pt x="492" y="916"/>
                      </a:lnTo>
                      <a:lnTo>
                        <a:pt x="493" y="912"/>
                      </a:lnTo>
                      <a:lnTo>
                        <a:pt x="497" y="911"/>
                      </a:lnTo>
                      <a:close/>
                      <a:moveTo>
                        <a:pt x="466" y="909"/>
                      </a:moveTo>
                      <a:lnTo>
                        <a:pt x="469" y="909"/>
                      </a:lnTo>
                      <a:lnTo>
                        <a:pt x="471" y="910"/>
                      </a:lnTo>
                      <a:lnTo>
                        <a:pt x="473" y="911"/>
                      </a:lnTo>
                      <a:lnTo>
                        <a:pt x="475" y="912"/>
                      </a:lnTo>
                      <a:lnTo>
                        <a:pt x="477" y="912"/>
                      </a:lnTo>
                      <a:lnTo>
                        <a:pt x="477" y="913"/>
                      </a:lnTo>
                      <a:lnTo>
                        <a:pt x="479" y="915"/>
                      </a:lnTo>
                      <a:lnTo>
                        <a:pt x="479" y="916"/>
                      </a:lnTo>
                      <a:lnTo>
                        <a:pt x="477" y="917"/>
                      </a:lnTo>
                      <a:lnTo>
                        <a:pt x="477" y="918"/>
                      </a:lnTo>
                      <a:lnTo>
                        <a:pt x="475" y="918"/>
                      </a:lnTo>
                      <a:lnTo>
                        <a:pt x="471" y="918"/>
                      </a:lnTo>
                      <a:lnTo>
                        <a:pt x="466" y="917"/>
                      </a:lnTo>
                      <a:lnTo>
                        <a:pt x="464" y="915"/>
                      </a:lnTo>
                      <a:lnTo>
                        <a:pt x="463" y="913"/>
                      </a:lnTo>
                      <a:lnTo>
                        <a:pt x="462" y="911"/>
                      </a:lnTo>
                      <a:lnTo>
                        <a:pt x="462" y="910"/>
                      </a:lnTo>
                      <a:lnTo>
                        <a:pt x="464" y="909"/>
                      </a:lnTo>
                      <a:lnTo>
                        <a:pt x="466" y="909"/>
                      </a:lnTo>
                      <a:close/>
                      <a:moveTo>
                        <a:pt x="623" y="892"/>
                      </a:moveTo>
                      <a:lnTo>
                        <a:pt x="624" y="894"/>
                      </a:lnTo>
                      <a:lnTo>
                        <a:pt x="626" y="896"/>
                      </a:lnTo>
                      <a:lnTo>
                        <a:pt x="627" y="898"/>
                      </a:lnTo>
                      <a:lnTo>
                        <a:pt x="627" y="901"/>
                      </a:lnTo>
                      <a:lnTo>
                        <a:pt x="627" y="906"/>
                      </a:lnTo>
                      <a:lnTo>
                        <a:pt x="626" y="908"/>
                      </a:lnTo>
                      <a:lnTo>
                        <a:pt x="625" y="908"/>
                      </a:lnTo>
                      <a:lnTo>
                        <a:pt x="624" y="908"/>
                      </a:lnTo>
                      <a:lnTo>
                        <a:pt x="622" y="906"/>
                      </a:lnTo>
                      <a:lnTo>
                        <a:pt x="621" y="905"/>
                      </a:lnTo>
                      <a:lnTo>
                        <a:pt x="621" y="902"/>
                      </a:lnTo>
                      <a:lnTo>
                        <a:pt x="619" y="900"/>
                      </a:lnTo>
                      <a:lnTo>
                        <a:pt x="619" y="897"/>
                      </a:lnTo>
                      <a:lnTo>
                        <a:pt x="621" y="895"/>
                      </a:lnTo>
                      <a:lnTo>
                        <a:pt x="622" y="894"/>
                      </a:lnTo>
                      <a:lnTo>
                        <a:pt x="623" y="892"/>
                      </a:lnTo>
                      <a:close/>
                      <a:moveTo>
                        <a:pt x="487" y="883"/>
                      </a:moveTo>
                      <a:lnTo>
                        <a:pt x="491" y="883"/>
                      </a:lnTo>
                      <a:lnTo>
                        <a:pt x="492" y="883"/>
                      </a:lnTo>
                      <a:lnTo>
                        <a:pt x="494" y="883"/>
                      </a:lnTo>
                      <a:lnTo>
                        <a:pt x="496" y="884"/>
                      </a:lnTo>
                      <a:lnTo>
                        <a:pt x="496" y="884"/>
                      </a:lnTo>
                      <a:lnTo>
                        <a:pt x="496" y="885"/>
                      </a:lnTo>
                      <a:lnTo>
                        <a:pt x="497" y="886"/>
                      </a:lnTo>
                      <a:lnTo>
                        <a:pt x="496" y="887"/>
                      </a:lnTo>
                      <a:lnTo>
                        <a:pt x="496" y="888"/>
                      </a:lnTo>
                      <a:lnTo>
                        <a:pt x="495" y="888"/>
                      </a:lnTo>
                      <a:lnTo>
                        <a:pt x="492" y="889"/>
                      </a:lnTo>
                      <a:lnTo>
                        <a:pt x="490" y="889"/>
                      </a:lnTo>
                      <a:lnTo>
                        <a:pt x="487" y="888"/>
                      </a:lnTo>
                      <a:lnTo>
                        <a:pt x="486" y="888"/>
                      </a:lnTo>
                      <a:lnTo>
                        <a:pt x="485" y="886"/>
                      </a:lnTo>
                      <a:lnTo>
                        <a:pt x="484" y="885"/>
                      </a:lnTo>
                      <a:lnTo>
                        <a:pt x="484" y="884"/>
                      </a:lnTo>
                      <a:lnTo>
                        <a:pt x="485" y="883"/>
                      </a:lnTo>
                      <a:lnTo>
                        <a:pt x="487" y="883"/>
                      </a:lnTo>
                      <a:close/>
                      <a:moveTo>
                        <a:pt x="1347" y="881"/>
                      </a:moveTo>
                      <a:lnTo>
                        <a:pt x="1348" y="883"/>
                      </a:lnTo>
                      <a:lnTo>
                        <a:pt x="1349" y="883"/>
                      </a:lnTo>
                      <a:lnTo>
                        <a:pt x="1350" y="884"/>
                      </a:lnTo>
                      <a:lnTo>
                        <a:pt x="1349" y="885"/>
                      </a:lnTo>
                      <a:lnTo>
                        <a:pt x="1348" y="887"/>
                      </a:lnTo>
                      <a:lnTo>
                        <a:pt x="1347" y="888"/>
                      </a:lnTo>
                      <a:lnTo>
                        <a:pt x="1346" y="887"/>
                      </a:lnTo>
                      <a:lnTo>
                        <a:pt x="1345" y="886"/>
                      </a:lnTo>
                      <a:lnTo>
                        <a:pt x="1345" y="884"/>
                      </a:lnTo>
                      <a:lnTo>
                        <a:pt x="1347" y="881"/>
                      </a:lnTo>
                      <a:close/>
                      <a:moveTo>
                        <a:pt x="515" y="874"/>
                      </a:moveTo>
                      <a:lnTo>
                        <a:pt x="517" y="874"/>
                      </a:lnTo>
                      <a:lnTo>
                        <a:pt x="520" y="875"/>
                      </a:lnTo>
                      <a:lnTo>
                        <a:pt x="524" y="876"/>
                      </a:lnTo>
                      <a:lnTo>
                        <a:pt x="526" y="877"/>
                      </a:lnTo>
                      <a:lnTo>
                        <a:pt x="526" y="885"/>
                      </a:lnTo>
                      <a:lnTo>
                        <a:pt x="525" y="887"/>
                      </a:lnTo>
                      <a:lnTo>
                        <a:pt x="524" y="887"/>
                      </a:lnTo>
                      <a:lnTo>
                        <a:pt x="521" y="887"/>
                      </a:lnTo>
                      <a:lnTo>
                        <a:pt x="519" y="886"/>
                      </a:lnTo>
                      <a:lnTo>
                        <a:pt x="517" y="885"/>
                      </a:lnTo>
                      <a:lnTo>
                        <a:pt x="516" y="884"/>
                      </a:lnTo>
                      <a:lnTo>
                        <a:pt x="515" y="883"/>
                      </a:lnTo>
                      <a:lnTo>
                        <a:pt x="513" y="879"/>
                      </a:lnTo>
                      <a:lnTo>
                        <a:pt x="513" y="877"/>
                      </a:lnTo>
                      <a:lnTo>
                        <a:pt x="513" y="875"/>
                      </a:lnTo>
                      <a:lnTo>
                        <a:pt x="514" y="874"/>
                      </a:lnTo>
                      <a:lnTo>
                        <a:pt x="515" y="874"/>
                      </a:lnTo>
                      <a:close/>
                      <a:moveTo>
                        <a:pt x="1421" y="818"/>
                      </a:moveTo>
                      <a:lnTo>
                        <a:pt x="1422" y="818"/>
                      </a:lnTo>
                      <a:lnTo>
                        <a:pt x="1423" y="819"/>
                      </a:lnTo>
                      <a:lnTo>
                        <a:pt x="1423" y="820"/>
                      </a:lnTo>
                      <a:lnTo>
                        <a:pt x="1422" y="822"/>
                      </a:lnTo>
                      <a:lnTo>
                        <a:pt x="1421" y="823"/>
                      </a:lnTo>
                      <a:lnTo>
                        <a:pt x="1420" y="824"/>
                      </a:lnTo>
                      <a:lnTo>
                        <a:pt x="1418" y="824"/>
                      </a:lnTo>
                      <a:lnTo>
                        <a:pt x="1418" y="823"/>
                      </a:lnTo>
                      <a:lnTo>
                        <a:pt x="1418" y="821"/>
                      </a:lnTo>
                      <a:lnTo>
                        <a:pt x="1419" y="820"/>
                      </a:lnTo>
                      <a:lnTo>
                        <a:pt x="1420" y="819"/>
                      </a:lnTo>
                      <a:lnTo>
                        <a:pt x="1421" y="818"/>
                      </a:lnTo>
                      <a:close/>
                      <a:moveTo>
                        <a:pt x="924" y="789"/>
                      </a:moveTo>
                      <a:lnTo>
                        <a:pt x="927" y="790"/>
                      </a:lnTo>
                      <a:lnTo>
                        <a:pt x="929" y="790"/>
                      </a:lnTo>
                      <a:lnTo>
                        <a:pt x="929" y="791"/>
                      </a:lnTo>
                      <a:lnTo>
                        <a:pt x="928" y="792"/>
                      </a:lnTo>
                      <a:lnTo>
                        <a:pt x="927" y="793"/>
                      </a:lnTo>
                      <a:lnTo>
                        <a:pt x="924" y="793"/>
                      </a:lnTo>
                      <a:lnTo>
                        <a:pt x="922" y="795"/>
                      </a:lnTo>
                      <a:lnTo>
                        <a:pt x="920" y="795"/>
                      </a:lnTo>
                      <a:lnTo>
                        <a:pt x="919" y="793"/>
                      </a:lnTo>
                      <a:lnTo>
                        <a:pt x="918" y="792"/>
                      </a:lnTo>
                      <a:lnTo>
                        <a:pt x="917" y="791"/>
                      </a:lnTo>
                      <a:lnTo>
                        <a:pt x="916" y="791"/>
                      </a:lnTo>
                      <a:lnTo>
                        <a:pt x="917" y="790"/>
                      </a:lnTo>
                      <a:lnTo>
                        <a:pt x="918" y="790"/>
                      </a:lnTo>
                      <a:lnTo>
                        <a:pt x="921" y="789"/>
                      </a:lnTo>
                      <a:lnTo>
                        <a:pt x="924" y="789"/>
                      </a:lnTo>
                      <a:close/>
                      <a:moveTo>
                        <a:pt x="886" y="780"/>
                      </a:moveTo>
                      <a:lnTo>
                        <a:pt x="889" y="780"/>
                      </a:lnTo>
                      <a:lnTo>
                        <a:pt x="891" y="781"/>
                      </a:lnTo>
                      <a:lnTo>
                        <a:pt x="894" y="782"/>
                      </a:lnTo>
                      <a:lnTo>
                        <a:pt x="896" y="784"/>
                      </a:lnTo>
                      <a:lnTo>
                        <a:pt x="899" y="785"/>
                      </a:lnTo>
                      <a:lnTo>
                        <a:pt x="902" y="784"/>
                      </a:lnTo>
                      <a:lnTo>
                        <a:pt x="905" y="785"/>
                      </a:lnTo>
                      <a:lnTo>
                        <a:pt x="905" y="785"/>
                      </a:lnTo>
                      <a:lnTo>
                        <a:pt x="905" y="786"/>
                      </a:lnTo>
                      <a:lnTo>
                        <a:pt x="905" y="787"/>
                      </a:lnTo>
                      <a:lnTo>
                        <a:pt x="902" y="787"/>
                      </a:lnTo>
                      <a:lnTo>
                        <a:pt x="900" y="787"/>
                      </a:lnTo>
                      <a:lnTo>
                        <a:pt x="898" y="788"/>
                      </a:lnTo>
                      <a:lnTo>
                        <a:pt x="896" y="788"/>
                      </a:lnTo>
                      <a:lnTo>
                        <a:pt x="892" y="788"/>
                      </a:lnTo>
                      <a:lnTo>
                        <a:pt x="889" y="787"/>
                      </a:lnTo>
                      <a:lnTo>
                        <a:pt x="887" y="786"/>
                      </a:lnTo>
                      <a:lnTo>
                        <a:pt x="885" y="785"/>
                      </a:lnTo>
                      <a:lnTo>
                        <a:pt x="883" y="784"/>
                      </a:lnTo>
                      <a:lnTo>
                        <a:pt x="881" y="782"/>
                      </a:lnTo>
                      <a:lnTo>
                        <a:pt x="881" y="782"/>
                      </a:lnTo>
                      <a:lnTo>
                        <a:pt x="881" y="781"/>
                      </a:lnTo>
                      <a:lnTo>
                        <a:pt x="884" y="780"/>
                      </a:lnTo>
                      <a:lnTo>
                        <a:pt x="886" y="780"/>
                      </a:lnTo>
                      <a:close/>
                      <a:moveTo>
                        <a:pt x="1000" y="771"/>
                      </a:moveTo>
                      <a:lnTo>
                        <a:pt x="1004" y="771"/>
                      </a:lnTo>
                      <a:lnTo>
                        <a:pt x="1005" y="772"/>
                      </a:lnTo>
                      <a:lnTo>
                        <a:pt x="1006" y="774"/>
                      </a:lnTo>
                      <a:lnTo>
                        <a:pt x="1006" y="776"/>
                      </a:lnTo>
                      <a:lnTo>
                        <a:pt x="1003" y="777"/>
                      </a:lnTo>
                      <a:lnTo>
                        <a:pt x="1000" y="777"/>
                      </a:lnTo>
                      <a:lnTo>
                        <a:pt x="997" y="777"/>
                      </a:lnTo>
                      <a:lnTo>
                        <a:pt x="995" y="776"/>
                      </a:lnTo>
                      <a:lnTo>
                        <a:pt x="994" y="775"/>
                      </a:lnTo>
                      <a:lnTo>
                        <a:pt x="994" y="774"/>
                      </a:lnTo>
                      <a:lnTo>
                        <a:pt x="995" y="771"/>
                      </a:lnTo>
                      <a:lnTo>
                        <a:pt x="998" y="771"/>
                      </a:lnTo>
                      <a:lnTo>
                        <a:pt x="1000" y="771"/>
                      </a:lnTo>
                      <a:close/>
                      <a:moveTo>
                        <a:pt x="1003" y="752"/>
                      </a:moveTo>
                      <a:lnTo>
                        <a:pt x="1004" y="753"/>
                      </a:lnTo>
                      <a:lnTo>
                        <a:pt x="1005" y="754"/>
                      </a:lnTo>
                      <a:lnTo>
                        <a:pt x="1006" y="755"/>
                      </a:lnTo>
                      <a:lnTo>
                        <a:pt x="1006" y="755"/>
                      </a:lnTo>
                      <a:lnTo>
                        <a:pt x="1006" y="756"/>
                      </a:lnTo>
                      <a:lnTo>
                        <a:pt x="1005" y="757"/>
                      </a:lnTo>
                      <a:lnTo>
                        <a:pt x="1004" y="759"/>
                      </a:lnTo>
                      <a:lnTo>
                        <a:pt x="1001" y="759"/>
                      </a:lnTo>
                      <a:lnTo>
                        <a:pt x="1000" y="759"/>
                      </a:lnTo>
                      <a:lnTo>
                        <a:pt x="999" y="759"/>
                      </a:lnTo>
                      <a:lnTo>
                        <a:pt x="999" y="757"/>
                      </a:lnTo>
                      <a:lnTo>
                        <a:pt x="999" y="757"/>
                      </a:lnTo>
                      <a:lnTo>
                        <a:pt x="1000" y="756"/>
                      </a:lnTo>
                      <a:lnTo>
                        <a:pt x="1001" y="755"/>
                      </a:lnTo>
                      <a:lnTo>
                        <a:pt x="1001" y="753"/>
                      </a:lnTo>
                      <a:lnTo>
                        <a:pt x="1003" y="752"/>
                      </a:lnTo>
                      <a:close/>
                      <a:moveTo>
                        <a:pt x="1000" y="735"/>
                      </a:moveTo>
                      <a:lnTo>
                        <a:pt x="1003" y="735"/>
                      </a:lnTo>
                      <a:lnTo>
                        <a:pt x="1003" y="736"/>
                      </a:lnTo>
                      <a:lnTo>
                        <a:pt x="1004" y="737"/>
                      </a:lnTo>
                      <a:lnTo>
                        <a:pt x="1006" y="738"/>
                      </a:lnTo>
                      <a:lnTo>
                        <a:pt x="1007" y="739"/>
                      </a:lnTo>
                      <a:lnTo>
                        <a:pt x="1007" y="742"/>
                      </a:lnTo>
                      <a:lnTo>
                        <a:pt x="1007" y="744"/>
                      </a:lnTo>
                      <a:lnTo>
                        <a:pt x="1006" y="747"/>
                      </a:lnTo>
                      <a:lnTo>
                        <a:pt x="1004" y="749"/>
                      </a:lnTo>
                      <a:lnTo>
                        <a:pt x="1003" y="750"/>
                      </a:lnTo>
                      <a:lnTo>
                        <a:pt x="1001" y="750"/>
                      </a:lnTo>
                      <a:lnTo>
                        <a:pt x="1000" y="750"/>
                      </a:lnTo>
                      <a:lnTo>
                        <a:pt x="1000" y="749"/>
                      </a:lnTo>
                      <a:lnTo>
                        <a:pt x="1000" y="748"/>
                      </a:lnTo>
                      <a:lnTo>
                        <a:pt x="1000" y="747"/>
                      </a:lnTo>
                      <a:lnTo>
                        <a:pt x="1001" y="745"/>
                      </a:lnTo>
                      <a:lnTo>
                        <a:pt x="1003" y="744"/>
                      </a:lnTo>
                      <a:lnTo>
                        <a:pt x="1003" y="743"/>
                      </a:lnTo>
                      <a:lnTo>
                        <a:pt x="1001" y="742"/>
                      </a:lnTo>
                      <a:lnTo>
                        <a:pt x="1001" y="741"/>
                      </a:lnTo>
                      <a:lnTo>
                        <a:pt x="1000" y="739"/>
                      </a:lnTo>
                      <a:lnTo>
                        <a:pt x="1000" y="738"/>
                      </a:lnTo>
                      <a:lnTo>
                        <a:pt x="999" y="737"/>
                      </a:lnTo>
                      <a:lnTo>
                        <a:pt x="999" y="736"/>
                      </a:lnTo>
                      <a:lnTo>
                        <a:pt x="1000" y="735"/>
                      </a:lnTo>
                      <a:lnTo>
                        <a:pt x="1000" y="735"/>
                      </a:lnTo>
                      <a:close/>
                      <a:moveTo>
                        <a:pt x="1964" y="712"/>
                      </a:moveTo>
                      <a:lnTo>
                        <a:pt x="1963" y="713"/>
                      </a:lnTo>
                      <a:lnTo>
                        <a:pt x="1961" y="714"/>
                      </a:lnTo>
                      <a:lnTo>
                        <a:pt x="1960" y="716"/>
                      </a:lnTo>
                      <a:lnTo>
                        <a:pt x="1959" y="719"/>
                      </a:lnTo>
                      <a:lnTo>
                        <a:pt x="1959" y="719"/>
                      </a:lnTo>
                      <a:lnTo>
                        <a:pt x="1959" y="721"/>
                      </a:lnTo>
                      <a:lnTo>
                        <a:pt x="1958" y="723"/>
                      </a:lnTo>
                      <a:lnTo>
                        <a:pt x="1957" y="725"/>
                      </a:lnTo>
                      <a:lnTo>
                        <a:pt x="1956" y="727"/>
                      </a:lnTo>
                      <a:lnTo>
                        <a:pt x="1955" y="730"/>
                      </a:lnTo>
                      <a:lnTo>
                        <a:pt x="1955" y="732"/>
                      </a:lnTo>
                      <a:lnTo>
                        <a:pt x="1954" y="737"/>
                      </a:lnTo>
                      <a:lnTo>
                        <a:pt x="1952" y="744"/>
                      </a:lnTo>
                      <a:lnTo>
                        <a:pt x="1952" y="748"/>
                      </a:lnTo>
                      <a:lnTo>
                        <a:pt x="1953" y="752"/>
                      </a:lnTo>
                      <a:lnTo>
                        <a:pt x="1953" y="747"/>
                      </a:lnTo>
                      <a:lnTo>
                        <a:pt x="1954" y="745"/>
                      </a:lnTo>
                      <a:lnTo>
                        <a:pt x="1955" y="743"/>
                      </a:lnTo>
                      <a:lnTo>
                        <a:pt x="1955" y="741"/>
                      </a:lnTo>
                      <a:lnTo>
                        <a:pt x="1961" y="727"/>
                      </a:lnTo>
                      <a:lnTo>
                        <a:pt x="1961" y="726"/>
                      </a:lnTo>
                      <a:lnTo>
                        <a:pt x="1963" y="724"/>
                      </a:lnTo>
                      <a:lnTo>
                        <a:pt x="1963" y="722"/>
                      </a:lnTo>
                      <a:lnTo>
                        <a:pt x="1964" y="719"/>
                      </a:lnTo>
                      <a:lnTo>
                        <a:pt x="1965" y="716"/>
                      </a:lnTo>
                      <a:lnTo>
                        <a:pt x="1965" y="714"/>
                      </a:lnTo>
                      <a:lnTo>
                        <a:pt x="1965" y="713"/>
                      </a:lnTo>
                      <a:lnTo>
                        <a:pt x="1964" y="712"/>
                      </a:lnTo>
                      <a:close/>
                      <a:moveTo>
                        <a:pt x="986" y="708"/>
                      </a:moveTo>
                      <a:lnTo>
                        <a:pt x="989" y="708"/>
                      </a:lnTo>
                      <a:lnTo>
                        <a:pt x="994" y="710"/>
                      </a:lnTo>
                      <a:lnTo>
                        <a:pt x="996" y="713"/>
                      </a:lnTo>
                      <a:lnTo>
                        <a:pt x="997" y="715"/>
                      </a:lnTo>
                      <a:lnTo>
                        <a:pt x="998" y="717"/>
                      </a:lnTo>
                      <a:lnTo>
                        <a:pt x="997" y="720"/>
                      </a:lnTo>
                      <a:lnTo>
                        <a:pt x="997" y="721"/>
                      </a:lnTo>
                      <a:lnTo>
                        <a:pt x="998" y="721"/>
                      </a:lnTo>
                      <a:lnTo>
                        <a:pt x="999" y="721"/>
                      </a:lnTo>
                      <a:lnTo>
                        <a:pt x="1000" y="722"/>
                      </a:lnTo>
                      <a:lnTo>
                        <a:pt x="1001" y="722"/>
                      </a:lnTo>
                      <a:lnTo>
                        <a:pt x="1003" y="723"/>
                      </a:lnTo>
                      <a:lnTo>
                        <a:pt x="1005" y="724"/>
                      </a:lnTo>
                      <a:lnTo>
                        <a:pt x="1005" y="725"/>
                      </a:lnTo>
                      <a:lnTo>
                        <a:pt x="1004" y="726"/>
                      </a:lnTo>
                      <a:lnTo>
                        <a:pt x="1001" y="728"/>
                      </a:lnTo>
                      <a:lnTo>
                        <a:pt x="999" y="730"/>
                      </a:lnTo>
                      <a:lnTo>
                        <a:pt x="997" y="730"/>
                      </a:lnTo>
                      <a:lnTo>
                        <a:pt x="995" y="730"/>
                      </a:lnTo>
                      <a:lnTo>
                        <a:pt x="993" y="727"/>
                      </a:lnTo>
                      <a:lnTo>
                        <a:pt x="993" y="723"/>
                      </a:lnTo>
                      <a:lnTo>
                        <a:pt x="990" y="722"/>
                      </a:lnTo>
                      <a:lnTo>
                        <a:pt x="989" y="722"/>
                      </a:lnTo>
                      <a:lnTo>
                        <a:pt x="988" y="722"/>
                      </a:lnTo>
                      <a:lnTo>
                        <a:pt x="987" y="721"/>
                      </a:lnTo>
                      <a:lnTo>
                        <a:pt x="987" y="720"/>
                      </a:lnTo>
                      <a:lnTo>
                        <a:pt x="988" y="719"/>
                      </a:lnTo>
                      <a:lnTo>
                        <a:pt x="987" y="717"/>
                      </a:lnTo>
                      <a:lnTo>
                        <a:pt x="987" y="716"/>
                      </a:lnTo>
                      <a:lnTo>
                        <a:pt x="985" y="716"/>
                      </a:lnTo>
                      <a:lnTo>
                        <a:pt x="984" y="716"/>
                      </a:lnTo>
                      <a:lnTo>
                        <a:pt x="982" y="716"/>
                      </a:lnTo>
                      <a:lnTo>
                        <a:pt x="978" y="715"/>
                      </a:lnTo>
                      <a:lnTo>
                        <a:pt x="977" y="715"/>
                      </a:lnTo>
                      <a:lnTo>
                        <a:pt x="976" y="714"/>
                      </a:lnTo>
                      <a:lnTo>
                        <a:pt x="976" y="713"/>
                      </a:lnTo>
                      <a:lnTo>
                        <a:pt x="977" y="711"/>
                      </a:lnTo>
                      <a:lnTo>
                        <a:pt x="978" y="710"/>
                      </a:lnTo>
                      <a:lnTo>
                        <a:pt x="981" y="709"/>
                      </a:lnTo>
                      <a:lnTo>
                        <a:pt x="983" y="708"/>
                      </a:lnTo>
                      <a:lnTo>
                        <a:pt x="986" y="708"/>
                      </a:lnTo>
                      <a:close/>
                      <a:moveTo>
                        <a:pt x="977" y="695"/>
                      </a:moveTo>
                      <a:lnTo>
                        <a:pt x="981" y="697"/>
                      </a:lnTo>
                      <a:lnTo>
                        <a:pt x="983" y="698"/>
                      </a:lnTo>
                      <a:lnTo>
                        <a:pt x="985" y="699"/>
                      </a:lnTo>
                      <a:lnTo>
                        <a:pt x="986" y="700"/>
                      </a:lnTo>
                      <a:lnTo>
                        <a:pt x="986" y="702"/>
                      </a:lnTo>
                      <a:lnTo>
                        <a:pt x="985" y="703"/>
                      </a:lnTo>
                      <a:lnTo>
                        <a:pt x="984" y="704"/>
                      </a:lnTo>
                      <a:lnTo>
                        <a:pt x="981" y="705"/>
                      </a:lnTo>
                      <a:lnTo>
                        <a:pt x="977" y="704"/>
                      </a:lnTo>
                      <a:lnTo>
                        <a:pt x="975" y="703"/>
                      </a:lnTo>
                      <a:lnTo>
                        <a:pt x="974" y="702"/>
                      </a:lnTo>
                      <a:lnTo>
                        <a:pt x="974" y="700"/>
                      </a:lnTo>
                      <a:lnTo>
                        <a:pt x="975" y="698"/>
                      </a:lnTo>
                      <a:lnTo>
                        <a:pt x="977" y="695"/>
                      </a:lnTo>
                      <a:close/>
                      <a:moveTo>
                        <a:pt x="2044" y="693"/>
                      </a:moveTo>
                      <a:lnTo>
                        <a:pt x="2044" y="693"/>
                      </a:lnTo>
                      <a:lnTo>
                        <a:pt x="2045" y="695"/>
                      </a:lnTo>
                      <a:lnTo>
                        <a:pt x="2045" y="697"/>
                      </a:lnTo>
                      <a:lnTo>
                        <a:pt x="2045" y="699"/>
                      </a:lnTo>
                      <a:lnTo>
                        <a:pt x="2044" y="702"/>
                      </a:lnTo>
                      <a:lnTo>
                        <a:pt x="2044" y="704"/>
                      </a:lnTo>
                      <a:lnTo>
                        <a:pt x="2044" y="705"/>
                      </a:lnTo>
                      <a:lnTo>
                        <a:pt x="2044" y="706"/>
                      </a:lnTo>
                      <a:lnTo>
                        <a:pt x="2045" y="708"/>
                      </a:lnTo>
                      <a:lnTo>
                        <a:pt x="2046" y="709"/>
                      </a:lnTo>
                      <a:lnTo>
                        <a:pt x="2046" y="711"/>
                      </a:lnTo>
                      <a:lnTo>
                        <a:pt x="2045" y="713"/>
                      </a:lnTo>
                      <a:lnTo>
                        <a:pt x="2044" y="715"/>
                      </a:lnTo>
                      <a:lnTo>
                        <a:pt x="2044" y="719"/>
                      </a:lnTo>
                      <a:lnTo>
                        <a:pt x="2044" y="721"/>
                      </a:lnTo>
                      <a:lnTo>
                        <a:pt x="2042" y="723"/>
                      </a:lnTo>
                      <a:lnTo>
                        <a:pt x="2040" y="725"/>
                      </a:lnTo>
                      <a:lnTo>
                        <a:pt x="2038" y="727"/>
                      </a:lnTo>
                      <a:lnTo>
                        <a:pt x="2036" y="731"/>
                      </a:lnTo>
                      <a:lnTo>
                        <a:pt x="2036" y="734"/>
                      </a:lnTo>
                      <a:lnTo>
                        <a:pt x="2035" y="738"/>
                      </a:lnTo>
                      <a:lnTo>
                        <a:pt x="2033" y="741"/>
                      </a:lnTo>
                      <a:lnTo>
                        <a:pt x="2032" y="743"/>
                      </a:lnTo>
                      <a:lnTo>
                        <a:pt x="2031" y="745"/>
                      </a:lnTo>
                      <a:lnTo>
                        <a:pt x="2030" y="748"/>
                      </a:lnTo>
                      <a:lnTo>
                        <a:pt x="2029" y="750"/>
                      </a:lnTo>
                      <a:lnTo>
                        <a:pt x="2027" y="753"/>
                      </a:lnTo>
                      <a:lnTo>
                        <a:pt x="2026" y="756"/>
                      </a:lnTo>
                      <a:lnTo>
                        <a:pt x="2013" y="784"/>
                      </a:lnTo>
                      <a:lnTo>
                        <a:pt x="2009" y="795"/>
                      </a:lnTo>
                      <a:lnTo>
                        <a:pt x="2003" y="806"/>
                      </a:lnTo>
                      <a:lnTo>
                        <a:pt x="1997" y="819"/>
                      </a:lnTo>
                      <a:lnTo>
                        <a:pt x="1996" y="821"/>
                      </a:lnTo>
                      <a:lnTo>
                        <a:pt x="1994" y="822"/>
                      </a:lnTo>
                      <a:lnTo>
                        <a:pt x="1992" y="824"/>
                      </a:lnTo>
                      <a:lnTo>
                        <a:pt x="1992" y="825"/>
                      </a:lnTo>
                      <a:lnTo>
                        <a:pt x="1989" y="828"/>
                      </a:lnTo>
                      <a:lnTo>
                        <a:pt x="1987" y="830"/>
                      </a:lnTo>
                      <a:lnTo>
                        <a:pt x="1985" y="832"/>
                      </a:lnTo>
                      <a:lnTo>
                        <a:pt x="1982" y="833"/>
                      </a:lnTo>
                      <a:lnTo>
                        <a:pt x="1980" y="833"/>
                      </a:lnTo>
                      <a:lnTo>
                        <a:pt x="1979" y="833"/>
                      </a:lnTo>
                      <a:lnTo>
                        <a:pt x="1978" y="831"/>
                      </a:lnTo>
                      <a:lnTo>
                        <a:pt x="1976" y="830"/>
                      </a:lnTo>
                      <a:lnTo>
                        <a:pt x="1975" y="829"/>
                      </a:lnTo>
                      <a:lnTo>
                        <a:pt x="1974" y="826"/>
                      </a:lnTo>
                      <a:lnTo>
                        <a:pt x="1974" y="824"/>
                      </a:lnTo>
                      <a:lnTo>
                        <a:pt x="1975" y="821"/>
                      </a:lnTo>
                      <a:lnTo>
                        <a:pt x="1976" y="819"/>
                      </a:lnTo>
                      <a:lnTo>
                        <a:pt x="1977" y="817"/>
                      </a:lnTo>
                      <a:lnTo>
                        <a:pt x="1977" y="815"/>
                      </a:lnTo>
                      <a:lnTo>
                        <a:pt x="1977" y="814"/>
                      </a:lnTo>
                      <a:lnTo>
                        <a:pt x="1977" y="813"/>
                      </a:lnTo>
                      <a:lnTo>
                        <a:pt x="1977" y="812"/>
                      </a:lnTo>
                      <a:lnTo>
                        <a:pt x="1977" y="810"/>
                      </a:lnTo>
                      <a:lnTo>
                        <a:pt x="1977" y="808"/>
                      </a:lnTo>
                      <a:lnTo>
                        <a:pt x="1978" y="806"/>
                      </a:lnTo>
                      <a:lnTo>
                        <a:pt x="1978" y="803"/>
                      </a:lnTo>
                      <a:lnTo>
                        <a:pt x="1980" y="802"/>
                      </a:lnTo>
                      <a:lnTo>
                        <a:pt x="1981" y="801"/>
                      </a:lnTo>
                      <a:lnTo>
                        <a:pt x="1982" y="799"/>
                      </a:lnTo>
                      <a:lnTo>
                        <a:pt x="1983" y="797"/>
                      </a:lnTo>
                      <a:lnTo>
                        <a:pt x="1985" y="795"/>
                      </a:lnTo>
                      <a:lnTo>
                        <a:pt x="1986" y="792"/>
                      </a:lnTo>
                      <a:lnTo>
                        <a:pt x="1991" y="782"/>
                      </a:lnTo>
                      <a:lnTo>
                        <a:pt x="1994" y="771"/>
                      </a:lnTo>
                      <a:lnTo>
                        <a:pt x="1996" y="767"/>
                      </a:lnTo>
                      <a:lnTo>
                        <a:pt x="1997" y="763"/>
                      </a:lnTo>
                      <a:lnTo>
                        <a:pt x="1999" y="758"/>
                      </a:lnTo>
                      <a:lnTo>
                        <a:pt x="1999" y="756"/>
                      </a:lnTo>
                      <a:lnTo>
                        <a:pt x="2000" y="754"/>
                      </a:lnTo>
                      <a:lnTo>
                        <a:pt x="2000" y="752"/>
                      </a:lnTo>
                      <a:lnTo>
                        <a:pt x="2001" y="749"/>
                      </a:lnTo>
                      <a:lnTo>
                        <a:pt x="2002" y="747"/>
                      </a:lnTo>
                      <a:lnTo>
                        <a:pt x="2004" y="745"/>
                      </a:lnTo>
                      <a:lnTo>
                        <a:pt x="2007" y="743"/>
                      </a:lnTo>
                      <a:lnTo>
                        <a:pt x="2009" y="741"/>
                      </a:lnTo>
                      <a:lnTo>
                        <a:pt x="2009" y="738"/>
                      </a:lnTo>
                      <a:lnTo>
                        <a:pt x="2011" y="736"/>
                      </a:lnTo>
                      <a:lnTo>
                        <a:pt x="2013" y="735"/>
                      </a:lnTo>
                      <a:lnTo>
                        <a:pt x="2015" y="734"/>
                      </a:lnTo>
                      <a:lnTo>
                        <a:pt x="2022" y="727"/>
                      </a:lnTo>
                      <a:lnTo>
                        <a:pt x="2023" y="726"/>
                      </a:lnTo>
                      <a:lnTo>
                        <a:pt x="2024" y="724"/>
                      </a:lnTo>
                      <a:lnTo>
                        <a:pt x="2026" y="722"/>
                      </a:lnTo>
                      <a:lnTo>
                        <a:pt x="2029" y="721"/>
                      </a:lnTo>
                      <a:lnTo>
                        <a:pt x="2031" y="719"/>
                      </a:lnTo>
                      <a:lnTo>
                        <a:pt x="2031" y="716"/>
                      </a:lnTo>
                      <a:lnTo>
                        <a:pt x="2031" y="715"/>
                      </a:lnTo>
                      <a:lnTo>
                        <a:pt x="2031" y="715"/>
                      </a:lnTo>
                      <a:lnTo>
                        <a:pt x="2030" y="715"/>
                      </a:lnTo>
                      <a:lnTo>
                        <a:pt x="2030" y="715"/>
                      </a:lnTo>
                      <a:lnTo>
                        <a:pt x="2029" y="713"/>
                      </a:lnTo>
                      <a:lnTo>
                        <a:pt x="2030" y="711"/>
                      </a:lnTo>
                      <a:lnTo>
                        <a:pt x="2031" y="709"/>
                      </a:lnTo>
                      <a:lnTo>
                        <a:pt x="2031" y="706"/>
                      </a:lnTo>
                      <a:lnTo>
                        <a:pt x="2033" y="705"/>
                      </a:lnTo>
                      <a:lnTo>
                        <a:pt x="2035" y="704"/>
                      </a:lnTo>
                      <a:lnTo>
                        <a:pt x="2037" y="702"/>
                      </a:lnTo>
                      <a:lnTo>
                        <a:pt x="2038" y="701"/>
                      </a:lnTo>
                      <a:lnTo>
                        <a:pt x="2040" y="699"/>
                      </a:lnTo>
                      <a:lnTo>
                        <a:pt x="2042" y="698"/>
                      </a:lnTo>
                      <a:lnTo>
                        <a:pt x="2042" y="695"/>
                      </a:lnTo>
                      <a:lnTo>
                        <a:pt x="2043" y="693"/>
                      </a:lnTo>
                      <a:lnTo>
                        <a:pt x="2044" y="693"/>
                      </a:lnTo>
                      <a:close/>
                      <a:moveTo>
                        <a:pt x="975" y="687"/>
                      </a:moveTo>
                      <a:lnTo>
                        <a:pt x="975" y="688"/>
                      </a:lnTo>
                      <a:lnTo>
                        <a:pt x="976" y="688"/>
                      </a:lnTo>
                      <a:lnTo>
                        <a:pt x="976" y="689"/>
                      </a:lnTo>
                      <a:lnTo>
                        <a:pt x="977" y="690"/>
                      </a:lnTo>
                      <a:lnTo>
                        <a:pt x="977" y="691"/>
                      </a:lnTo>
                      <a:lnTo>
                        <a:pt x="977" y="692"/>
                      </a:lnTo>
                      <a:lnTo>
                        <a:pt x="976" y="693"/>
                      </a:lnTo>
                      <a:lnTo>
                        <a:pt x="974" y="693"/>
                      </a:lnTo>
                      <a:lnTo>
                        <a:pt x="973" y="693"/>
                      </a:lnTo>
                      <a:lnTo>
                        <a:pt x="973" y="692"/>
                      </a:lnTo>
                      <a:lnTo>
                        <a:pt x="972" y="691"/>
                      </a:lnTo>
                      <a:lnTo>
                        <a:pt x="972" y="690"/>
                      </a:lnTo>
                      <a:lnTo>
                        <a:pt x="973" y="689"/>
                      </a:lnTo>
                      <a:lnTo>
                        <a:pt x="973" y="688"/>
                      </a:lnTo>
                      <a:lnTo>
                        <a:pt x="974" y="688"/>
                      </a:lnTo>
                      <a:lnTo>
                        <a:pt x="974" y="687"/>
                      </a:lnTo>
                      <a:lnTo>
                        <a:pt x="975" y="687"/>
                      </a:lnTo>
                      <a:close/>
                      <a:moveTo>
                        <a:pt x="717" y="687"/>
                      </a:moveTo>
                      <a:lnTo>
                        <a:pt x="722" y="688"/>
                      </a:lnTo>
                      <a:lnTo>
                        <a:pt x="725" y="689"/>
                      </a:lnTo>
                      <a:lnTo>
                        <a:pt x="728" y="689"/>
                      </a:lnTo>
                      <a:lnTo>
                        <a:pt x="732" y="690"/>
                      </a:lnTo>
                      <a:lnTo>
                        <a:pt x="736" y="690"/>
                      </a:lnTo>
                      <a:lnTo>
                        <a:pt x="739" y="689"/>
                      </a:lnTo>
                      <a:lnTo>
                        <a:pt x="743" y="689"/>
                      </a:lnTo>
                      <a:lnTo>
                        <a:pt x="746" y="690"/>
                      </a:lnTo>
                      <a:lnTo>
                        <a:pt x="748" y="691"/>
                      </a:lnTo>
                      <a:lnTo>
                        <a:pt x="748" y="693"/>
                      </a:lnTo>
                      <a:lnTo>
                        <a:pt x="747" y="693"/>
                      </a:lnTo>
                      <a:lnTo>
                        <a:pt x="745" y="694"/>
                      </a:lnTo>
                      <a:lnTo>
                        <a:pt x="743" y="694"/>
                      </a:lnTo>
                      <a:lnTo>
                        <a:pt x="741" y="694"/>
                      </a:lnTo>
                      <a:lnTo>
                        <a:pt x="738" y="694"/>
                      </a:lnTo>
                      <a:lnTo>
                        <a:pt x="736" y="694"/>
                      </a:lnTo>
                      <a:lnTo>
                        <a:pt x="726" y="694"/>
                      </a:lnTo>
                      <a:lnTo>
                        <a:pt x="724" y="694"/>
                      </a:lnTo>
                      <a:lnTo>
                        <a:pt x="722" y="693"/>
                      </a:lnTo>
                      <a:lnTo>
                        <a:pt x="721" y="693"/>
                      </a:lnTo>
                      <a:lnTo>
                        <a:pt x="717" y="692"/>
                      </a:lnTo>
                      <a:lnTo>
                        <a:pt x="715" y="692"/>
                      </a:lnTo>
                      <a:lnTo>
                        <a:pt x="714" y="691"/>
                      </a:lnTo>
                      <a:lnTo>
                        <a:pt x="714" y="690"/>
                      </a:lnTo>
                      <a:lnTo>
                        <a:pt x="714" y="689"/>
                      </a:lnTo>
                      <a:lnTo>
                        <a:pt x="715" y="688"/>
                      </a:lnTo>
                      <a:lnTo>
                        <a:pt x="716" y="687"/>
                      </a:lnTo>
                      <a:lnTo>
                        <a:pt x="717" y="687"/>
                      </a:lnTo>
                      <a:close/>
                      <a:moveTo>
                        <a:pt x="1946" y="676"/>
                      </a:moveTo>
                      <a:lnTo>
                        <a:pt x="1946" y="676"/>
                      </a:lnTo>
                      <a:lnTo>
                        <a:pt x="1945" y="677"/>
                      </a:lnTo>
                      <a:lnTo>
                        <a:pt x="1944" y="679"/>
                      </a:lnTo>
                      <a:lnTo>
                        <a:pt x="1943" y="681"/>
                      </a:lnTo>
                      <a:lnTo>
                        <a:pt x="1942" y="684"/>
                      </a:lnTo>
                      <a:lnTo>
                        <a:pt x="1941" y="687"/>
                      </a:lnTo>
                      <a:lnTo>
                        <a:pt x="1939" y="690"/>
                      </a:lnTo>
                      <a:lnTo>
                        <a:pt x="1938" y="693"/>
                      </a:lnTo>
                      <a:lnTo>
                        <a:pt x="1938" y="697"/>
                      </a:lnTo>
                      <a:lnTo>
                        <a:pt x="1938" y="699"/>
                      </a:lnTo>
                      <a:lnTo>
                        <a:pt x="1939" y="700"/>
                      </a:lnTo>
                      <a:lnTo>
                        <a:pt x="1941" y="701"/>
                      </a:lnTo>
                      <a:lnTo>
                        <a:pt x="1943" y="702"/>
                      </a:lnTo>
                      <a:lnTo>
                        <a:pt x="1944" y="703"/>
                      </a:lnTo>
                      <a:lnTo>
                        <a:pt x="1944" y="704"/>
                      </a:lnTo>
                      <a:lnTo>
                        <a:pt x="1944" y="704"/>
                      </a:lnTo>
                      <a:lnTo>
                        <a:pt x="1944" y="703"/>
                      </a:lnTo>
                      <a:lnTo>
                        <a:pt x="1944" y="703"/>
                      </a:lnTo>
                      <a:lnTo>
                        <a:pt x="1944" y="703"/>
                      </a:lnTo>
                      <a:lnTo>
                        <a:pt x="1945" y="702"/>
                      </a:lnTo>
                      <a:lnTo>
                        <a:pt x="1945" y="701"/>
                      </a:lnTo>
                      <a:lnTo>
                        <a:pt x="1944" y="701"/>
                      </a:lnTo>
                      <a:lnTo>
                        <a:pt x="1944" y="683"/>
                      </a:lnTo>
                      <a:lnTo>
                        <a:pt x="1946" y="681"/>
                      </a:lnTo>
                      <a:lnTo>
                        <a:pt x="1946" y="679"/>
                      </a:lnTo>
                      <a:lnTo>
                        <a:pt x="1946" y="677"/>
                      </a:lnTo>
                      <a:lnTo>
                        <a:pt x="1946" y="676"/>
                      </a:lnTo>
                      <a:lnTo>
                        <a:pt x="1946" y="676"/>
                      </a:lnTo>
                      <a:close/>
                      <a:moveTo>
                        <a:pt x="1012" y="661"/>
                      </a:moveTo>
                      <a:lnTo>
                        <a:pt x="1015" y="661"/>
                      </a:lnTo>
                      <a:lnTo>
                        <a:pt x="1016" y="662"/>
                      </a:lnTo>
                      <a:lnTo>
                        <a:pt x="1017" y="665"/>
                      </a:lnTo>
                      <a:lnTo>
                        <a:pt x="1018" y="666"/>
                      </a:lnTo>
                      <a:lnTo>
                        <a:pt x="1017" y="667"/>
                      </a:lnTo>
                      <a:lnTo>
                        <a:pt x="1016" y="667"/>
                      </a:lnTo>
                      <a:lnTo>
                        <a:pt x="1014" y="667"/>
                      </a:lnTo>
                      <a:lnTo>
                        <a:pt x="1011" y="666"/>
                      </a:lnTo>
                      <a:lnTo>
                        <a:pt x="1010" y="666"/>
                      </a:lnTo>
                      <a:lnTo>
                        <a:pt x="1009" y="665"/>
                      </a:lnTo>
                      <a:lnTo>
                        <a:pt x="1008" y="664"/>
                      </a:lnTo>
                      <a:lnTo>
                        <a:pt x="1010" y="661"/>
                      </a:lnTo>
                      <a:lnTo>
                        <a:pt x="1012" y="661"/>
                      </a:lnTo>
                      <a:close/>
                      <a:moveTo>
                        <a:pt x="75" y="659"/>
                      </a:moveTo>
                      <a:lnTo>
                        <a:pt x="77" y="659"/>
                      </a:lnTo>
                      <a:lnTo>
                        <a:pt x="80" y="660"/>
                      </a:lnTo>
                      <a:lnTo>
                        <a:pt x="83" y="661"/>
                      </a:lnTo>
                      <a:lnTo>
                        <a:pt x="86" y="661"/>
                      </a:lnTo>
                      <a:lnTo>
                        <a:pt x="86" y="665"/>
                      </a:lnTo>
                      <a:lnTo>
                        <a:pt x="88" y="667"/>
                      </a:lnTo>
                      <a:lnTo>
                        <a:pt x="89" y="669"/>
                      </a:lnTo>
                      <a:lnTo>
                        <a:pt x="90" y="670"/>
                      </a:lnTo>
                      <a:lnTo>
                        <a:pt x="91" y="672"/>
                      </a:lnTo>
                      <a:lnTo>
                        <a:pt x="89" y="673"/>
                      </a:lnTo>
                      <a:lnTo>
                        <a:pt x="88" y="675"/>
                      </a:lnTo>
                      <a:lnTo>
                        <a:pt x="86" y="673"/>
                      </a:lnTo>
                      <a:lnTo>
                        <a:pt x="83" y="673"/>
                      </a:lnTo>
                      <a:lnTo>
                        <a:pt x="81" y="672"/>
                      </a:lnTo>
                      <a:lnTo>
                        <a:pt x="79" y="670"/>
                      </a:lnTo>
                      <a:lnTo>
                        <a:pt x="78" y="669"/>
                      </a:lnTo>
                      <a:lnTo>
                        <a:pt x="76" y="667"/>
                      </a:lnTo>
                      <a:lnTo>
                        <a:pt x="75" y="665"/>
                      </a:lnTo>
                      <a:lnTo>
                        <a:pt x="73" y="662"/>
                      </a:lnTo>
                      <a:lnTo>
                        <a:pt x="73" y="660"/>
                      </a:lnTo>
                      <a:lnTo>
                        <a:pt x="75" y="659"/>
                      </a:lnTo>
                      <a:close/>
                      <a:moveTo>
                        <a:pt x="50" y="647"/>
                      </a:moveTo>
                      <a:lnTo>
                        <a:pt x="51" y="648"/>
                      </a:lnTo>
                      <a:lnTo>
                        <a:pt x="55" y="649"/>
                      </a:lnTo>
                      <a:lnTo>
                        <a:pt x="57" y="652"/>
                      </a:lnTo>
                      <a:lnTo>
                        <a:pt x="58" y="655"/>
                      </a:lnTo>
                      <a:lnTo>
                        <a:pt x="59" y="657"/>
                      </a:lnTo>
                      <a:lnTo>
                        <a:pt x="60" y="658"/>
                      </a:lnTo>
                      <a:lnTo>
                        <a:pt x="61" y="659"/>
                      </a:lnTo>
                      <a:lnTo>
                        <a:pt x="61" y="660"/>
                      </a:lnTo>
                      <a:lnTo>
                        <a:pt x="61" y="662"/>
                      </a:lnTo>
                      <a:lnTo>
                        <a:pt x="60" y="665"/>
                      </a:lnTo>
                      <a:lnTo>
                        <a:pt x="59" y="666"/>
                      </a:lnTo>
                      <a:lnTo>
                        <a:pt x="58" y="666"/>
                      </a:lnTo>
                      <a:lnTo>
                        <a:pt x="56" y="665"/>
                      </a:lnTo>
                      <a:lnTo>
                        <a:pt x="54" y="665"/>
                      </a:lnTo>
                      <a:lnTo>
                        <a:pt x="51" y="662"/>
                      </a:lnTo>
                      <a:lnTo>
                        <a:pt x="50" y="660"/>
                      </a:lnTo>
                      <a:lnTo>
                        <a:pt x="48" y="657"/>
                      </a:lnTo>
                      <a:lnTo>
                        <a:pt x="48" y="654"/>
                      </a:lnTo>
                      <a:lnTo>
                        <a:pt x="47" y="651"/>
                      </a:lnTo>
                      <a:lnTo>
                        <a:pt x="48" y="649"/>
                      </a:lnTo>
                      <a:lnTo>
                        <a:pt x="48" y="648"/>
                      </a:lnTo>
                      <a:lnTo>
                        <a:pt x="50" y="647"/>
                      </a:lnTo>
                      <a:close/>
                      <a:moveTo>
                        <a:pt x="997" y="640"/>
                      </a:moveTo>
                      <a:lnTo>
                        <a:pt x="997" y="640"/>
                      </a:lnTo>
                      <a:lnTo>
                        <a:pt x="997" y="641"/>
                      </a:lnTo>
                      <a:lnTo>
                        <a:pt x="997" y="644"/>
                      </a:lnTo>
                      <a:lnTo>
                        <a:pt x="996" y="645"/>
                      </a:lnTo>
                      <a:lnTo>
                        <a:pt x="995" y="646"/>
                      </a:lnTo>
                      <a:lnTo>
                        <a:pt x="993" y="647"/>
                      </a:lnTo>
                      <a:lnTo>
                        <a:pt x="992" y="646"/>
                      </a:lnTo>
                      <a:lnTo>
                        <a:pt x="992" y="645"/>
                      </a:lnTo>
                      <a:lnTo>
                        <a:pt x="992" y="643"/>
                      </a:lnTo>
                      <a:lnTo>
                        <a:pt x="994" y="641"/>
                      </a:lnTo>
                      <a:lnTo>
                        <a:pt x="995" y="640"/>
                      </a:lnTo>
                      <a:lnTo>
                        <a:pt x="997" y="640"/>
                      </a:lnTo>
                      <a:close/>
                      <a:moveTo>
                        <a:pt x="866" y="633"/>
                      </a:moveTo>
                      <a:lnTo>
                        <a:pt x="867" y="633"/>
                      </a:lnTo>
                      <a:lnTo>
                        <a:pt x="868" y="634"/>
                      </a:lnTo>
                      <a:lnTo>
                        <a:pt x="869" y="635"/>
                      </a:lnTo>
                      <a:lnTo>
                        <a:pt x="870" y="636"/>
                      </a:lnTo>
                      <a:lnTo>
                        <a:pt x="872" y="637"/>
                      </a:lnTo>
                      <a:lnTo>
                        <a:pt x="874" y="637"/>
                      </a:lnTo>
                      <a:lnTo>
                        <a:pt x="875" y="639"/>
                      </a:lnTo>
                      <a:lnTo>
                        <a:pt x="875" y="640"/>
                      </a:lnTo>
                      <a:lnTo>
                        <a:pt x="876" y="643"/>
                      </a:lnTo>
                      <a:lnTo>
                        <a:pt x="878" y="644"/>
                      </a:lnTo>
                      <a:lnTo>
                        <a:pt x="880" y="644"/>
                      </a:lnTo>
                      <a:lnTo>
                        <a:pt x="888" y="644"/>
                      </a:lnTo>
                      <a:lnTo>
                        <a:pt x="890" y="645"/>
                      </a:lnTo>
                      <a:lnTo>
                        <a:pt x="891" y="646"/>
                      </a:lnTo>
                      <a:lnTo>
                        <a:pt x="890" y="647"/>
                      </a:lnTo>
                      <a:lnTo>
                        <a:pt x="889" y="648"/>
                      </a:lnTo>
                      <a:lnTo>
                        <a:pt x="887" y="649"/>
                      </a:lnTo>
                      <a:lnTo>
                        <a:pt x="885" y="650"/>
                      </a:lnTo>
                      <a:lnTo>
                        <a:pt x="883" y="651"/>
                      </a:lnTo>
                      <a:lnTo>
                        <a:pt x="881" y="652"/>
                      </a:lnTo>
                      <a:lnTo>
                        <a:pt x="880" y="654"/>
                      </a:lnTo>
                      <a:lnTo>
                        <a:pt x="874" y="655"/>
                      </a:lnTo>
                      <a:lnTo>
                        <a:pt x="867" y="657"/>
                      </a:lnTo>
                      <a:lnTo>
                        <a:pt x="861" y="658"/>
                      </a:lnTo>
                      <a:lnTo>
                        <a:pt x="858" y="658"/>
                      </a:lnTo>
                      <a:lnTo>
                        <a:pt x="856" y="658"/>
                      </a:lnTo>
                      <a:lnTo>
                        <a:pt x="854" y="658"/>
                      </a:lnTo>
                      <a:lnTo>
                        <a:pt x="852" y="660"/>
                      </a:lnTo>
                      <a:lnTo>
                        <a:pt x="851" y="661"/>
                      </a:lnTo>
                      <a:lnTo>
                        <a:pt x="851" y="662"/>
                      </a:lnTo>
                      <a:lnTo>
                        <a:pt x="851" y="664"/>
                      </a:lnTo>
                      <a:lnTo>
                        <a:pt x="850" y="664"/>
                      </a:lnTo>
                      <a:lnTo>
                        <a:pt x="847" y="665"/>
                      </a:lnTo>
                      <a:lnTo>
                        <a:pt x="845" y="667"/>
                      </a:lnTo>
                      <a:lnTo>
                        <a:pt x="844" y="668"/>
                      </a:lnTo>
                      <a:lnTo>
                        <a:pt x="843" y="670"/>
                      </a:lnTo>
                      <a:lnTo>
                        <a:pt x="842" y="672"/>
                      </a:lnTo>
                      <a:lnTo>
                        <a:pt x="841" y="673"/>
                      </a:lnTo>
                      <a:lnTo>
                        <a:pt x="839" y="675"/>
                      </a:lnTo>
                      <a:lnTo>
                        <a:pt x="836" y="676"/>
                      </a:lnTo>
                      <a:lnTo>
                        <a:pt x="831" y="676"/>
                      </a:lnTo>
                      <a:lnTo>
                        <a:pt x="824" y="676"/>
                      </a:lnTo>
                      <a:lnTo>
                        <a:pt x="818" y="678"/>
                      </a:lnTo>
                      <a:lnTo>
                        <a:pt x="807" y="683"/>
                      </a:lnTo>
                      <a:lnTo>
                        <a:pt x="796" y="684"/>
                      </a:lnTo>
                      <a:lnTo>
                        <a:pt x="783" y="684"/>
                      </a:lnTo>
                      <a:lnTo>
                        <a:pt x="781" y="684"/>
                      </a:lnTo>
                      <a:lnTo>
                        <a:pt x="780" y="683"/>
                      </a:lnTo>
                      <a:lnTo>
                        <a:pt x="780" y="682"/>
                      </a:lnTo>
                      <a:lnTo>
                        <a:pt x="781" y="681"/>
                      </a:lnTo>
                      <a:lnTo>
                        <a:pt x="782" y="680"/>
                      </a:lnTo>
                      <a:lnTo>
                        <a:pt x="785" y="679"/>
                      </a:lnTo>
                      <a:lnTo>
                        <a:pt x="787" y="678"/>
                      </a:lnTo>
                      <a:lnTo>
                        <a:pt x="789" y="678"/>
                      </a:lnTo>
                      <a:lnTo>
                        <a:pt x="792" y="678"/>
                      </a:lnTo>
                      <a:lnTo>
                        <a:pt x="795" y="678"/>
                      </a:lnTo>
                      <a:lnTo>
                        <a:pt x="797" y="678"/>
                      </a:lnTo>
                      <a:lnTo>
                        <a:pt x="798" y="676"/>
                      </a:lnTo>
                      <a:lnTo>
                        <a:pt x="799" y="675"/>
                      </a:lnTo>
                      <a:lnTo>
                        <a:pt x="801" y="672"/>
                      </a:lnTo>
                      <a:lnTo>
                        <a:pt x="804" y="671"/>
                      </a:lnTo>
                      <a:lnTo>
                        <a:pt x="807" y="670"/>
                      </a:lnTo>
                      <a:lnTo>
                        <a:pt x="809" y="670"/>
                      </a:lnTo>
                      <a:lnTo>
                        <a:pt x="811" y="669"/>
                      </a:lnTo>
                      <a:lnTo>
                        <a:pt x="813" y="669"/>
                      </a:lnTo>
                      <a:lnTo>
                        <a:pt x="814" y="668"/>
                      </a:lnTo>
                      <a:lnTo>
                        <a:pt x="815" y="667"/>
                      </a:lnTo>
                      <a:lnTo>
                        <a:pt x="813" y="662"/>
                      </a:lnTo>
                      <a:lnTo>
                        <a:pt x="811" y="659"/>
                      </a:lnTo>
                      <a:lnTo>
                        <a:pt x="809" y="656"/>
                      </a:lnTo>
                      <a:lnTo>
                        <a:pt x="808" y="654"/>
                      </a:lnTo>
                      <a:lnTo>
                        <a:pt x="808" y="651"/>
                      </a:lnTo>
                      <a:lnTo>
                        <a:pt x="808" y="649"/>
                      </a:lnTo>
                      <a:lnTo>
                        <a:pt x="809" y="646"/>
                      </a:lnTo>
                      <a:lnTo>
                        <a:pt x="809" y="644"/>
                      </a:lnTo>
                      <a:lnTo>
                        <a:pt x="809" y="641"/>
                      </a:lnTo>
                      <a:lnTo>
                        <a:pt x="812" y="641"/>
                      </a:lnTo>
                      <a:lnTo>
                        <a:pt x="815" y="641"/>
                      </a:lnTo>
                      <a:lnTo>
                        <a:pt x="818" y="640"/>
                      </a:lnTo>
                      <a:lnTo>
                        <a:pt x="820" y="640"/>
                      </a:lnTo>
                      <a:lnTo>
                        <a:pt x="822" y="639"/>
                      </a:lnTo>
                      <a:lnTo>
                        <a:pt x="825" y="640"/>
                      </a:lnTo>
                      <a:lnTo>
                        <a:pt x="829" y="640"/>
                      </a:lnTo>
                      <a:lnTo>
                        <a:pt x="832" y="640"/>
                      </a:lnTo>
                      <a:lnTo>
                        <a:pt x="834" y="639"/>
                      </a:lnTo>
                      <a:lnTo>
                        <a:pt x="845" y="638"/>
                      </a:lnTo>
                      <a:lnTo>
                        <a:pt x="855" y="636"/>
                      </a:lnTo>
                      <a:lnTo>
                        <a:pt x="865" y="633"/>
                      </a:lnTo>
                      <a:lnTo>
                        <a:pt x="866" y="633"/>
                      </a:lnTo>
                      <a:close/>
                      <a:moveTo>
                        <a:pt x="1533" y="625"/>
                      </a:moveTo>
                      <a:lnTo>
                        <a:pt x="1534" y="626"/>
                      </a:lnTo>
                      <a:lnTo>
                        <a:pt x="1535" y="627"/>
                      </a:lnTo>
                      <a:lnTo>
                        <a:pt x="1535" y="628"/>
                      </a:lnTo>
                      <a:lnTo>
                        <a:pt x="1535" y="630"/>
                      </a:lnTo>
                      <a:lnTo>
                        <a:pt x="1535" y="633"/>
                      </a:lnTo>
                      <a:lnTo>
                        <a:pt x="1534" y="635"/>
                      </a:lnTo>
                      <a:lnTo>
                        <a:pt x="1533" y="637"/>
                      </a:lnTo>
                      <a:lnTo>
                        <a:pt x="1532" y="638"/>
                      </a:lnTo>
                      <a:lnTo>
                        <a:pt x="1531" y="638"/>
                      </a:lnTo>
                      <a:lnTo>
                        <a:pt x="1530" y="636"/>
                      </a:lnTo>
                      <a:lnTo>
                        <a:pt x="1530" y="635"/>
                      </a:lnTo>
                      <a:lnTo>
                        <a:pt x="1530" y="632"/>
                      </a:lnTo>
                      <a:lnTo>
                        <a:pt x="1530" y="629"/>
                      </a:lnTo>
                      <a:lnTo>
                        <a:pt x="1531" y="627"/>
                      </a:lnTo>
                      <a:lnTo>
                        <a:pt x="1532" y="626"/>
                      </a:lnTo>
                      <a:lnTo>
                        <a:pt x="1533" y="625"/>
                      </a:lnTo>
                      <a:close/>
                      <a:moveTo>
                        <a:pt x="790" y="624"/>
                      </a:moveTo>
                      <a:lnTo>
                        <a:pt x="792" y="624"/>
                      </a:lnTo>
                      <a:lnTo>
                        <a:pt x="793" y="625"/>
                      </a:lnTo>
                      <a:lnTo>
                        <a:pt x="793" y="625"/>
                      </a:lnTo>
                      <a:lnTo>
                        <a:pt x="793" y="626"/>
                      </a:lnTo>
                      <a:lnTo>
                        <a:pt x="793" y="628"/>
                      </a:lnTo>
                      <a:lnTo>
                        <a:pt x="792" y="629"/>
                      </a:lnTo>
                      <a:lnTo>
                        <a:pt x="791" y="630"/>
                      </a:lnTo>
                      <a:lnTo>
                        <a:pt x="790" y="629"/>
                      </a:lnTo>
                      <a:lnTo>
                        <a:pt x="789" y="628"/>
                      </a:lnTo>
                      <a:lnTo>
                        <a:pt x="788" y="626"/>
                      </a:lnTo>
                      <a:lnTo>
                        <a:pt x="789" y="625"/>
                      </a:lnTo>
                      <a:lnTo>
                        <a:pt x="789" y="624"/>
                      </a:lnTo>
                      <a:lnTo>
                        <a:pt x="790" y="624"/>
                      </a:lnTo>
                      <a:close/>
                      <a:moveTo>
                        <a:pt x="945" y="623"/>
                      </a:moveTo>
                      <a:lnTo>
                        <a:pt x="949" y="623"/>
                      </a:lnTo>
                      <a:lnTo>
                        <a:pt x="951" y="624"/>
                      </a:lnTo>
                      <a:lnTo>
                        <a:pt x="952" y="626"/>
                      </a:lnTo>
                      <a:lnTo>
                        <a:pt x="953" y="628"/>
                      </a:lnTo>
                      <a:lnTo>
                        <a:pt x="951" y="630"/>
                      </a:lnTo>
                      <a:lnTo>
                        <a:pt x="945" y="633"/>
                      </a:lnTo>
                      <a:lnTo>
                        <a:pt x="939" y="635"/>
                      </a:lnTo>
                      <a:lnTo>
                        <a:pt x="932" y="635"/>
                      </a:lnTo>
                      <a:lnTo>
                        <a:pt x="927" y="633"/>
                      </a:lnTo>
                      <a:lnTo>
                        <a:pt x="924" y="628"/>
                      </a:lnTo>
                      <a:lnTo>
                        <a:pt x="926" y="627"/>
                      </a:lnTo>
                      <a:lnTo>
                        <a:pt x="926" y="626"/>
                      </a:lnTo>
                      <a:lnTo>
                        <a:pt x="927" y="626"/>
                      </a:lnTo>
                      <a:lnTo>
                        <a:pt x="928" y="626"/>
                      </a:lnTo>
                      <a:lnTo>
                        <a:pt x="929" y="627"/>
                      </a:lnTo>
                      <a:lnTo>
                        <a:pt x="930" y="628"/>
                      </a:lnTo>
                      <a:lnTo>
                        <a:pt x="932" y="628"/>
                      </a:lnTo>
                      <a:lnTo>
                        <a:pt x="935" y="626"/>
                      </a:lnTo>
                      <a:lnTo>
                        <a:pt x="938" y="624"/>
                      </a:lnTo>
                      <a:lnTo>
                        <a:pt x="940" y="623"/>
                      </a:lnTo>
                      <a:lnTo>
                        <a:pt x="943" y="623"/>
                      </a:lnTo>
                      <a:lnTo>
                        <a:pt x="945" y="623"/>
                      </a:lnTo>
                      <a:close/>
                      <a:moveTo>
                        <a:pt x="1991" y="617"/>
                      </a:moveTo>
                      <a:lnTo>
                        <a:pt x="1990" y="618"/>
                      </a:lnTo>
                      <a:lnTo>
                        <a:pt x="1987" y="618"/>
                      </a:lnTo>
                      <a:lnTo>
                        <a:pt x="1983" y="618"/>
                      </a:lnTo>
                      <a:lnTo>
                        <a:pt x="1981" y="621"/>
                      </a:lnTo>
                      <a:lnTo>
                        <a:pt x="1979" y="621"/>
                      </a:lnTo>
                      <a:lnTo>
                        <a:pt x="1978" y="622"/>
                      </a:lnTo>
                      <a:lnTo>
                        <a:pt x="1977" y="623"/>
                      </a:lnTo>
                      <a:lnTo>
                        <a:pt x="1976" y="624"/>
                      </a:lnTo>
                      <a:lnTo>
                        <a:pt x="1975" y="627"/>
                      </a:lnTo>
                      <a:lnTo>
                        <a:pt x="1972" y="632"/>
                      </a:lnTo>
                      <a:lnTo>
                        <a:pt x="1970" y="637"/>
                      </a:lnTo>
                      <a:lnTo>
                        <a:pt x="1968" y="643"/>
                      </a:lnTo>
                      <a:lnTo>
                        <a:pt x="1968" y="646"/>
                      </a:lnTo>
                      <a:lnTo>
                        <a:pt x="1970" y="646"/>
                      </a:lnTo>
                      <a:lnTo>
                        <a:pt x="1972" y="646"/>
                      </a:lnTo>
                      <a:lnTo>
                        <a:pt x="1975" y="644"/>
                      </a:lnTo>
                      <a:lnTo>
                        <a:pt x="1977" y="643"/>
                      </a:lnTo>
                      <a:lnTo>
                        <a:pt x="1978" y="641"/>
                      </a:lnTo>
                      <a:lnTo>
                        <a:pt x="1979" y="641"/>
                      </a:lnTo>
                      <a:lnTo>
                        <a:pt x="1979" y="639"/>
                      </a:lnTo>
                      <a:lnTo>
                        <a:pt x="1981" y="638"/>
                      </a:lnTo>
                      <a:lnTo>
                        <a:pt x="1981" y="637"/>
                      </a:lnTo>
                      <a:lnTo>
                        <a:pt x="1982" y="636"/>
                      </a:lnTo>
                      <a:lnTo>
                        <a:pt x="1983" y="636"/>
                      </a:lnTo>
                      <a:lnTo>
                        <a:pt x="1986" y="633"/>
                      </a:lnTo>
                      <a:lnTo>
                        <a:pt x="1988" y="628"/>
                      </a:lnTo>
                      <a:lnTo>
                        <a:pt x="1990" y="625"/>
                      </a:lnTo>
                      <a:lnTo>
                        <a:pt x="1990" y="623"/>
                      </a:lnTo>
                      <a:lnTo>
                        <a:pt x="1991" y="622"/>
                      </a:lnTo>
                      <a:lnTo>
                        <a:pt x="1991" y="621"/>
                      </a:lnTo>
                      <a:lnTo>
                        <a:pt x="1991" y="618"/>
                      </a:lnTo>
                      <a:lnTo>
                        <a:pt x="1991" y="618"/>
                      </a:lnTo>
                      <a:lnTo>
                        <a:pt x="1991" y="617"/>
                      </a:lnTo>
                      <a:close/>
                      <a:moveTo>
                        <a:pt x="659" y="613"/>
                      </a:moveTo>
                      <a:lnTo>
                        <a:pt x="661" y="613"/>
                      </a:lnTo>
                      <a:lnTo>
                        <a:pt x="663" y="613"/>
                      </a:lnTo>
                      <a:lnTo>
                        <a:pt x="667" y="613"/>
                      </a:lnTo>
                      <a:lnTo>
                        <a:pt x="668" y="615"/>
                      </a:lnTo>
                      <a:lnTo>
                        <a:pt x="670" y="615"/>
                      </a:lnTo>
                      <a:lnTo>
                        <a:pt x="672" y="616"/>
                      </a:lnTo>
                      <a:lnTo>
                        <a:pt x="675" y="616"/>
                      </a:lnTo>
                      <a:lnTo>
                        <a:pt x="677" y="616"/>
                      </a:lnTo>
                      <a:lnTo>
                        <a:pt x="679" y="617"/>
                      </a:lnTo>
                      <a:lnTo>
                        <a:pt x="689" y="618"/>
                      </a:lnTo>
                      <a:lnTo>
                        <a:pt x="698" y="622"/>
                      </a:lnTo>
                      <a:lnTo>
                        <a:pt x="700" y="623"/>
                      </a:lnTo>
                      <a:lnTo>
                        <a:pt x="703" y="623"/>
                      </a:lnTo>
                      <a:lnTo>
                        <a:pt x="705" y="623"/>
                      </a:lnTo>
                      <a:lnTo>
                        <a:pt x="709" y="623"/>
                      </a:lnTo>
                      <a:lnTo>
                        <a:pt x="713" y="624"/>
                      </a:lnTo>
                      <a:lnTo>
                        <a:pt x="715" y="625"/>
                      </a:lnTo>
                      <a:lnTo>
                        <a:pt x="717" y="627"/>
                      </a:lnTo>
                      <a:lnTo>
                        <a:pt x="720" y="629"/>
                      </a:lnTo>
                      <a:lnTo>
                        <a:pt x="723" y="630"/>
                      </a:lnTo>
                      <a:lnTo>
                        <a:pt x="726" y="630"/>
                      </a:lnTo>
                      <a:lnTo>
                        <a:pt x="731" y="633"/>
                      </a:lnTo>
                      <a:lnTo>
                        <a:pt x="735" y="633"/>
                      </a:lnTo>
                      <a:lnTo>
                        <a:pt x="739" y="633"/>
                      </a:lnTo>
                      <a:lnTo>
                        <a:pt x="747" y="636"/>
                      </a:lnTo>
                      <a:lnTo>
                        <a:pt x="755" y="637"/>
                      </a:lnTo>
                      <a:lnTo>
                        <a:pt x="761" y="638"/>
                      </a:lnTo>
                      <a:lnTo>
                        <a:pt x="767" y="641"/>
                      </a:lnTo>
                      <a:lnTo>
                        <a:pt x="774" y="643"/>
                      </a:lnTo>
                      <a:lnTo>
                        <a:pt x="779" y="643"/>
                      </a:lnTo>
                      <a:lnTo>
                        <a:pt x="782" y="644"/>
                      </a:lnTo>
                      <a:lnTo>
                        <a:pt x="783" y="646"/>
                      </a:lnTo>
                      <a:lnTo>
                        <a:pt x="783" y="647"/>
                      </a:lnTo>
                      <a:lnTo>
                        <a:pt x="782" y="649"/>
                      </a:lnTo>
                      <a:lnTo>
                        <a:pt x="779" y="651"/>
                      </a:lnTo>
                      <a:lnTo>
                        <a:pt x="770" y="656"/>
                      </a:lnTo>
                      <a:lnTo>
                        <a:pt x="760" y="659"/>
                      </a:lnTo>
                      <a:lnTo>
                        <a:pt x="749" y="661"/>
                      </a:lnTo>
                      <a:lnTo>
                        <a:pt x="739" y="661"/>
                      </a:lnTo>
                      <a:lnTo>
                        <a:pt x="736" y="660"/>
                      </a:lnTo>
                      <a:lnTo>
                        <a:pt x="734" y="659"/>
                      </a:lnTo>
                      <a:lnTo>
                        <a:pt x="732" y="658"/>
                      </a:lnTo>
                      <a:lnTo>
                        <a:pt x="730" y="658"/>
                      </a:lnTo>
                      <a:lnTo>
                        <a:pt x="728" y="659"/>
                      </a:lnTo>
                      <a:lnTo>
                        <a:pt x="726" y="661"/>
                      </a:lnTo>
                      <a:lnTo>
                        <a:pt x="725" y="664"/>
                      </a:lnTo>
                      <a:lnTo>
                        <a:pt x="723" y="666"/>
                      </a:lnTo>
                      <a:lnTo>
                        <a:pt x="721" y="667"/>
                      </a:lnTo>
                      <a:lnTo>
                        <a:pt x="719" y="668"/>
                      </a:lnTo>
                      <a:lnTo>
                        <a:pt x="715" y="668"/>
                      </a:lnTo>
                      <a:lnTo>
                        <a:pt x="715" y="666"/>
                      </a:lnTo>
                      <a:lnTo>
                        <a:pt x="715" y="662"/>
                      </a:lnTo>
                      <a:lnTo>
                        <a:pt x="714" y="659"/>
                      </a:lnTo>
                      <a:lnTo>
                        <a:pt x="713" y="656"/>
                      </a:lnTo>
                      <a:lnTo>
                        <a:pt x="712" y="654"/>
                      </a:lnTo>
                      <a:lnTo>
                        <a:pt x="711" y="651"/>
                      </a:lnTo>
                      <a:lnTo>
                        <a:pt x="709" y="650"/>
                      </a:lnTo>
                      <a:lnTo>
                        <a:pt x="706" y="650"/>
                      </a:lnTo>
                      <a:lnTo>
                        <a:pt x="703" y="649"/>
                      </a:lnTo>
                      <a:lnTo>
                        <a:pt x="701" y="649"/>
                      </a:lnTo>
                      <a:lnTo>
                        <a:pt x="700" y="649"/>
                      </a:lnTo>
                      <a:lnTo>
                        <a:pt x="693" y="644"/>
                      </a:lnTo>
                      <a:lnTo>
                        <a:pt x="687" y="639"/>
                      </a:lnTo>
                      <a:lnTo>
                        <a:pt x="679" y="636"/>
                      </a:lnTo>
                      <a:lnTo>
                        <a:pt x="678" y="635"/>
                      </a:lnTo>
                      <a:lnTo>
                        <a:pt x="677" y="636"/>
                      </a:lnTo>
                      <a:lnTo>
                        <a:pt x="675" y="637"/>
                      </a:lnTo>
                      <a:lnTo>
                        <a:pt x="673" y="638"/>
                      </a:lnTo>
                      <a:lnTo>
                        <a:pt x="672" y="639"/>
                      </a:lnTo>
                      <a:lnTo>
                        <a:pt x="670" y="640"/>
                      </a:lnTo>
                      <a:lnTo>
                        <a:pt x="668" y="641"/>
                      </a:lnTo>
                      <a:lnTo>
                        <a:pt x="666" y="641"/>
                      </a:lnTo>
                      <a:lnTo>
                        <a:pt x="663" y="640"/>
                      </a:lnTo>
                      <a:lnTo>
                        <a:pt x="662" y="639"/>
                      </a:lnTo>
                      <a:lnTo>
                        <a:pt x="659" y="638"/>
                      </a:lnTo>
                      <a:lnTo>
                        <a:pt x="657" y="637"/>
                      </a:lnTo>
                      <a:lnTo>
                        <a:pt x="655" y="638"/>
                      </a:lnTo>
                      <a:lnTo>
                        <a:pt x="652" y="639"/>
                      </a:lnTo>
                      <a:lnTo>
                        <a:pt x="650" y="640"/>
                      </a:lnTo>
                      <a:lnTo>
                        <a:pt x="647" y="640"/>
                      </a:lnTo>
                      <a:lnTo>
                        <a:pt x="644" y="640"/>
                      </a:lnTo>
                      <a:lnTo>
                        <a:pt x="643" y="638"/>
                      </a:lnTo>
                      <a:lnTo>
                        <a:pt x="640" y="637"/>
                      </a:lnTo>
                      <a:lnTo>
                        <a:pt x="638" y="636"/>
                      </a:lnTo>
                      <a:lnTo>
                        <a:pt x="635" y="636"/>
                      </a:lnTo>
                      <a:lnTo>
                        <a:pt x="632" y="636"/>
                      </a:lnTo>
                      <a:lnTo>
                        <a:pt x="629" y="636"/>
                      </a:lnTo>
                      <a:lnTo>
                        <a:pt x="626" y="636"/>
                      </a:lnTo>
                      <a:lnTo>
                        <a:pt x="624" y="638"/>
                      </a:lnTo>
                      <a:lnTo>
                        <a:pt x="622" y="640"/>
                      </a:lnTo>
                      <a:lnTo>
                        <a:pt x="621" y="641"/>
                      </a:lnTo>
                      <a:lnTo>
                        <a:pt x="619" y="643"/>
                      </a:lnTo>
                      <a:lnTo>
                        <a:pt x="617" y="644"/>
                      </a:lnTo>
                      <a:lnTo>
                        <a:pt x="615" y="644"/>
                      </a:lnTo>
                      <a:lnTo>
                        <a:pt x="613" y="644"/>
                      </a:lnTo>
                      <a:lnTo>
                        <a:pt x="611" y="645"/>
                      </a:lnTo>
                      <a:lnTo>
                        <a:pt x="603" y="650"/>
                      </a:lnTo>
                      <a:lnTo>
                        <a:pt x="591" y="651"/>
                      </a:lnTo>
                      <a:lnTo>
                        <a:pt x="589" y="651"/>
                      </a:lnTo>
                      <a:lnTo>
                        <a:pt x="586" y="650"/>
                      </a:lnTo>
                      <a:lnTo>
                        <a:pt x="585" y="649"/>
                      </a:lnTo>
                      <a:lnTo>
                        <a:pt x="584" y="648"/>
                      </a:lnTo>
                      <a:lnTo>
                        <a:pt x="584" y="647"/>
                      </a:lnTo>
                      <a:lnTo>
                        <a:pt x="584" y="645"/>
                      </a:lnTo>
                      <a:lnTo>
                        <a:pt x="586" y="644"/>
                      </a:lnTo>
                      <a:lnTo>
                        <a:pt x="588" y="643"/>
                      </a:lnTo>
                      <a:lnTo>
                        <a:pt x="590" y="643"/>
                      </a:lnTo>
                      <a:lnTo>
                        <a:pt x="592" y="641"/>
                      </a:lnTo>
                      <a:lnTo>
                        <a:pt x="594" y="641"/>
                      </a:lnTo>
                      <a:lnTo>
                        <a:pt x="595" y="640"/>
                      </a:lnTo>
                      <a:lnTo>
                        <a:pt x="600" y="637"/>
                      </a:lnTo>
                      <a:lnTo>
                        <a:pt x="603" y="633"/>
                      </a:lnTo>
                      <a:lnTo>
                        <a:pt x="606" y="628"/>
                      </a:lnTo>
                      <a:lnTo>
                        <a:pt x="610" y="626"/>
                      </a:lnTo>
                      <a:lnTo>
                        <a:pt x="615" y="626"/>
                      </a:lnTo>
                      <a:lnTo>
                        <a:pt x="622" y="627"/>
                      </a:lnTo>
                      <a:lnTo>
                        <a:pt x="628" y="628"/>
                      </a:lnTo>
                      <a:lnTo>
                        <a:pt x="635" y="629"/>
                      </a:lnTo>
                      <a:lnTo>
                        <a:pt x="640" y="629"/>
                      </a:lnTo>
                      <a:lnTo>
                        <a:pt x="644" y="626"/>
                      </a:lnTo>
                      <a:lnTo>
                        <a:pt x="648" y="623"/>
                      </a:lnTo>
                      <a:lnTo>
                        <a:pt x="651" y="619"/>
                      </a:lnTo>
                      <a:lnTo>
                        <a:pt x="655" y="616"/>
                      </a:lnTo>
                      <a:lnTo>
                        <a:pt x="659" y="613"/>
                      </a:lnTo>
                      <a:close/>
                      <a:moveTo>
                        <a:pt x="626" y="606"/>
                      </a:moveTo>
                      <a:lnTo>
                        <a:pt x="627" y="606"/>
                      </a:lnTo>
                      <a:lnTo>
                        <a:pt x="628" y="607"/>
                      </a:lnTo>
                      <a:lnTo>
                        <a:pt x="628" y="610"/>
                      </a:lnTo>
                      <a:lnTo>
                        <a:pt x="628" y="611"/>
                      </a:lnTo>
                      <a:lnTo>
                        <a:pt x="627" y="611"/>
                      </a:lnTo>
                      <a:lnTo>
                        <a:pt x="626" y="611"/>
                      </a:lnTo>
                      <a:lnTo>
                        <a:pt x="625" y="610"/>
                      </a:lnTo>
                      <a:lnTo>
                        <a:pt x="624" y="610"/>
                      </a:lnTo>
                      <a:lnTo>
                        <a:pt x="623" y="610"/>
                      </a:lnTo>
                      <a:lnTo>
                        <a:pt x="622" y="608"/>
                      </a:lnTo>
                      <a:lnTo>
                        <a:pt x="622" y="608"/>
                      </a:lnTo>
                      <a:lnTo>
                        <a:pt x="623" y="607"/>
                      </a:lnTo>
                      <a:lnTo>
                        <a:pt x="624" y="607"/>
                      </a:lnTo>
                      <a:lnTo>
                        <a:pt x="626" y="606"/>
                      </a:lnTo>
                      <a:close/>
                      <a:moveTo>
                        <a:pt x="828" y="605"/>
                      </a:moveTo>
                      <a:lnTo>
                        <a:pt x="829" y="605"/>
                      </a:lnTo>
                      <a:lnTo>
                        <a:pt x="830" y="606"/>
                      </a:lnTo>
                      <a:lnTo>
                        <a:pt x="831" y="607"/>
                      </a:lnTo>
                      <a:lnTo>
                        <a:pt x="830" y="610"/>
                      </a:lnTo>
                      <a:lnTo>
                        <a:pt x="830" y="611"/>
                      </a:lnTo>
                      <a:lnTo>
                        <a:pt x="829" y="612"/>
                      </a:lnTo>
                      <a:lnTo>
                        <a:pt x="828" y="612"/>
                      </a:lnTo>
                      <a:lnTo>
                        <a:pt x="826" y="612"/>
                      </a:lnTo>
                      <a:lnTo>
                        <a:pt x="825" y="611"/>
                      </a:lnTo>
                      <a:lnTo>
                        <a:pt x="824" y="610"/>
                      </a:lnTo>
                      <a:lnTo>
                        <a:pt x="825" y="607"/>
                      </a:lnTo>
                      <a:lnTo>
                        <a:pt x="826" y="606"/>
                      </a:lnTo>
                      <a:lnTo>
                        <a:pt x="828" y="605"/>
                      </a:lnTo>
                      <a:close/>
                      <a:moveTo>
                        <a:pt x="801" y="601"/>
                      </a:moveTo>
                      <a:lnTo>
                        <a:pt x="802" y="602"/>
                      </a:lnTo>
                      <a:lnTo>
                        <a:pt x="803" y="604"/>
                      </a:lnTo>
                      <a:lnTo>
                        <a:pt x="803" y="605"/>
                      </a:lnTo>
                      <a:lnTo>
                        <a:pt x="803" y="606"/>
                      </a:lnTo>
                      <a:lnTo>
                        <a:pt x="803" y="606"/>
                      </a:lnTo>
                      <a:lnTo>
                        <a:pt x="802" y="607"/>
                      </a:lnTo>
                      <a:lnTo>
                        <a:pt x="801" y="608"/>
                      </a:lnTo>
                      <a:lnTo>
                        <a:pt x="800" y="608"/>
                      </a:lnTo>
                      <a:lnTo>
                        <a:pt x="799" y="608"/>
                      </a:lnTo>
                      <a:lnTo>
                        <a:pt x="798" y="607"/>
                      </a:lnTo>
                      <a:lnTo>
                        <a:pt x="798" y="605"/>
                      </a:lnTo>
                      <a:lnTo>
                        <a:pt x="799" y="604"/>
                      </a:lnTo>
                      <a:lnTo>
                        <a:pt x="799" y="602"/>
                      </a:lnTo>
                      <a:lnTo>
                        <a:pt x="800" y="601"/>
                      </a:lnTo>
                      <a:lnTo>
                        <a:pt x="801" y="601"/>
                      </a:lnTo>
                      <a:close/>
                      <a:moveTo>
                        <a:pt x="757" y="595"/>
                      </a:moveTo>
                      <a:lnTo>
                        <a:pt x="759" y="595"/>
                      </a:lnTo>
                      <a:lnTo>
                        <a:pt x="760" y="595"/>
                      </a:lnTo>
                      <a:lnTo>
                        <a:pt x="763" y="596"/>
                      </a:lnTo>
                      <a:lnTo>
                        <a:pt x="764" y="597"/>
                      </a:lnTo>
                      <a:lnTo>
                        <a:pt x="766" y="600"/>
                      </a:lnTo>
                      <a:lnTo>
                        <a:pt x="767" y="603"/>
                      </a:lnTo>
                      <a:lnTo>
                        <a:pt x="767" y="605"/>
                      </a:lnTo>
                      <a:lnTo>
                        <a:pt x="767" y="607"/>
                      </a:lnTo>
                      <a:lnTo>
                        <a:pt x="767" y="611"/>
                      </a:lnTo>
                      <a:lnTo>
                        <a:pt x="766" y="612"/>
                      </a:lnTo>
                      <a:lnTo>
                        <a:pt x="766" y="612"/>
                      </a:lnTo>
                      <a:lnTo>
                        <a:pt x="764" y="612"/>
                      </a:lnTo>
                      <a:lnTo>
                        <a:pt x="763" y="611"/>
                      </a:lnTo>
                      <a:lnTo>
                        <a:pt x="761" y="608"/>
                      </a:lnTo>
                      <a:lnTo>
                        <a:pt x="759" y="606"/>
                      </a:lnTo>
                      <a:lnTo>
                        <a:pt x="758" y="604"/>
                      </a:lnTo>
                      <a:lnTo>
                        <a:pt x="757" y="602"/>
                      </a:lnTo>
                      <a:lnTo>
                        <a:pt x="755" y="600"/>
                      </a:lnTo>
                      <a:lnTo>
                        <a:pt x="754" y="599"/>
                      </a:lnTo>
                      <a:lnTo>
                        <a:pt x="754" y="597"/>
                      </a:lnTo>
                      <a:lnTo>
                        <a:pt x="753" y="596"/>
                      </a:lnTo>
                      <a:lnTo>
                        <a:pt x="753" y="596"/>
                      </a:lnTo>
                      <a:lnTo>
                        <a:pt x="754" y="595"/>
                      </a:lnTo>
                      <a:lnTo>
                        <a:pt x="755" y="595"/>
                      </a:lnTo>
                      <a:lnTo>
                        <a:pt x="757" y="595"/>
                      </a:lnTo>
                      <a:close/>
                      <a:moveTo>
                        <a:pt x="1551" y="594"/>
                      </a:moveTo>
                      <a:lnTo>
                        <a:pt x="1555" y="594"/>
                      </a:lnTo>
                      <a:lnTo>
                        <a:pt x="1555" y="596"/>
                      </a:lnTo>
                      <a:lnTo>
                        <a:pt x="1554" y="600"/>
                      </a:lnTo>
                      <a:lnTo>
                        <a:pt x="1554" y="603"/>
                      </a:lnTo>
                      <a:lnTo>
                        <a:pt x="1553" y="606"/>
                      </a:lnTo>
                      <a:lnTo>
                        <a:pt x="1552" y="608"/>
                      </a:lnTo>
                      <a:lnTo>
                        <a:pt x="1550" y="610"/>
                      </a:lnTo>
                      <a:lnTo>
                        <a:pt x="1549" y="610"/>
                      </a:lnTo>
                      <a:lnTo>
                        <a:pt x="1549" y="607"/>
                      </a:lnTo>
                      <a:lnTo>
                        <a:pt x="1548" y="604"/>
                      </a:lnTo>
                      <a:lnTo>
                        <a:pt x="1548" y="602"/>
                      </a:lnTo>
                      <a:lnTo>
                        <a:pt x="1548" y="599"/>
                      </a:lnTo>
                      <a:lnTo>
                        <a:pt x="1549" y="595"/>
                      </a:lnTo>
                      <a:lnTo>
                        <a:pt x="1551" y="594"/>
                      </a:lnTo>
                      <a:close/>
                      <a:moveTo>
                        <a:pt x="1536" y="594"/>
                      </a:moveTo>
                      <a:lnTo>
                        <a:pt x="1541" y="599"/>
                      </a:lnTo>
                      <a:lnTo>
                        <a:pt x="1542" y="606"/>
                      </a:lnTo>
                      <a:lnTo>
                        <a:pt x="1539" y="616"/>
                      </a:lnTo>
                      <a:lnTo>
                        <a:pt x="1538" y="618"/>
                      </a:lnTo>
                      <a:lnTo>
                        <a:pt x="1535" y="618"/>
                      </a:lnTo>
                      <a:lnTo>
                        <a:pt x="1533" y="618"/>
                      </a:lnTo>
                      <a:lnTo>
                        <a:pt x="1531" y="617"/>
                      </a:lnTo>
                      <a:lnTo>
                        <a:pt x="1529" y="616"/>
                      </a:lnTo>
                      <a:lnTo>
                        <a:pt x="1527" y="615"/>
                      </a:lnTo>
                      <a:lnTo>
                        <a:pt x="1525" y="614"/>
                      </a:lnTo>
                      <a:lnTo>
                        <a:pt x="1525" y="614"/>
                      </a:lnTo>
                      <a:lnTo>
                        <a:pt x="1523" y="611"/>
                      </a:lnTo>
                      <a:lnTo>
                        <a:pt x="1524" y="606"/>
                      </a:lnTo>
                      <a:lnTo>
                        <a:pt x="1529" y="602"/>
                      </a:lnTo>
                      <a:lnTo>
                        <a:pt x="1533" y="597"/>
                      </a:lnTo>
                      <a:lnTo>
                        <a:pt x="1536" y="594"/>
                      </a:lnTo>
                      <a:close/>
                      <a:moveTo>
                        <a:pt x="661" y="594"/>
                      </a:moveTo>
                      <a:lnTo>
                        <a:pt x="662" y="595"/>
                      </a:lnTo>
                      <a:lnTo>
                        <a:pt x="662" y="596"/>
                      </a:lnTo>
                      <a:lnTo>
                        <a:pt x="662" y="597"/>
                      </a:lnTo>
                      <a:lnTo>
                        <a:pt x="661" y="600"/>
                      </a:lnTo>
                      <a:lnTo>
                        <a:pt x="659" y="601"/>
                      </a:lnTo>
                      <a:lnTo>
                        <a:pt x="658" y="602"/>
                      </a:lnTo>
                      <a:lnTo>
                        <a:pt x="657" y="603"/>
                      </a:lnTo>
                      <a:lnTo>
                        <a:pt x="654" y="605"/>
                      </a:lnTo>
                      <a:lnTo>
                        <a:pt x="648" y="607"/>
                      </a:lnTo>
                      <a:lnTo>
                        <a:pt x="640" y="608"/>
                      </a:lnTo>
                      <a:lnTo>
                        <a:pt x="635" y="610"/>
                      </a:lnTo>
                      <a:lnTo>
                        <a:pt x="630" y="608"/>
                      </a:lnTo>
                      <a:lnTo>
                        <a:pt x="630" y="607"/>
                      </a:lnTo>
                      <a:lnTo>
                        <a:pt x="632" y="606"/>
                      </a:lnTo>
                      <a:lnTo>
                        <a:pt x="634" y="606"/>
                      </a:lnTo>
                      <a:lnTo>
                        <a:pt x="636" y="605"/>
                      </a:lnTo>
                      <a:lnTo>
                        <a:pt x="638" y="605"/>
                      </a:lnTo>
                      <a:lnTo>
                        <a:pt x="640" y="605"/>
                      </a:lnTo>
                      <a:lnTo>
                        <a:pt x="643" y="605"/>
                      </a:lnTo>
                      <a:lnTo>
                        <a:pt x="643" y="605"/>
                      </a:lnTo>
                      <a:lnTo>
                        <a:pt x="646" y="604"/>
                      </a:lnTo>
                      <a:lnTo>
                        <a:pt x="649" y="604"/>
                      </a:lnTo>
                      <a:lnTo>
                        <a:pt x="652" y="603"/>
                      </a:lnTo>
                      <a:lnTo>
                        <a:pt x="655" y="601"/>
                      </a:lnTo>
                      <a:lnTo>
                        <a:pt x="657" y="600"/>
                      </a:lnTo>
                      <a:lnTo>
                        <a:pt x="658" y="596"/>
                      </a:lnTo>
                      <a:lnTo>
                        <a:pt x="660" y="594"/>
                      </a:lnTo>
                      <a:lnTo>
                        <a:pt x="661" y="594"/>
                      </a:lnTo>
                      <a:close/>
                      <a:moveTo>
                        <a:pt x="737" y="569"/>
                      </a:moveTo>
                      <a:lnTo>
                        <a:pt x="743" y="569"/>
                      </a:lnTo>
                      <a:lnTo>
                        <a:pt x="746" y="571"/>
                      </a:lnTo>
                      <a:lnTo>
                        <a:pt x="748" y="575"/>
                      </a:lnTo>
                      <a:lnTo>
                        <a:pt x="747" y="577"/>
                      </a:lnTo>
                      <a:lnTo>
                        <a:pt x="748" y="578"/>
                      </a:lnTo>
                      <a:lnTo>
                        <a:pt x="748" y="578"/>
                      </a:lnTo>
                      <a:lnTo>
                        <a:pt x="750" y="578"/>
                      </a:lnTo>
                      <a:lnTo>
                        <a:pt x="752" y="578"/>
                      </a:lnTo>
                      <a:lnTo>
                        <a:pt x="753" y="578"/>
                      </a:lnTo>
                      <a:lnTo>
                        <a:pt x="755" y="578"/>
                      </a:lnTo>
                      <a:lnTo>
                        <a:pt x="756" y="579"/>
                      </a:lnTo>
                      <a:lnTo>
                        <a:pt x="756" y="581"/>
                      </a:lnTo>
                      <a:lnTo>
                        <a:pt x="756" y="583"/>
                      </a:lnTo>
                      <a:lnTo>
                        <a:pt x="756" y="585"/>
                      </a:lnTo>
                      <a:lnTo>
                        <a:pt x="755" y="589"/>
                      </a:lnTo>
                      <a:lnTo>
                        <a:pt x="753" y="591"/>
                      </a:lnTo>
                      <a:lnTo>
                        <a:pt x="750" y="591"/>
                      </a:lnTo>
                      <a:lnTo>
                        <a:pt x="749" y="591"/>
                      </a:lnTo>
                      <a:lnTo>
                        <a:pt x="747" y="589"/>
                      </a:lnTo>
                      <a:lnTo>
                        <a:pt x="746" y="586"/>
                      </a:lnTo>
                      <a:lnTo>
                        <a:pt x="745" y="584"/>
                      </a:lnTo>
                      <a:lnTo>
                        <a:pt x="745" y="582"/>
                      </a:lnTo>
                      <a:lnTo>
                        <a:pt x="744" y="580"/>
                      </a:lnTo>
                      <a:lnTo>
                        <a:pt x="742" y="579"/>
                      </a:lnTo>
                      <a:lnTo>
                        <a:pt x="741" y="579"/>
                      </a:lnTo>
                      <a:lnTo>
                        <a:pt x="726" y="579"/>
                      </a:lnTo>
                      <a:lnTo>
                        <a:pt x="724" y="577"/>
                      </a:lnTo>
                      <a:lnTo>
                        <a:pt x="723" y="574"/>
                      </a:lnTo>
                      <a:lnTo>
                        <a:pt x="724" y="573"/>
                      </a:lnTo>
                      <a:lnTo>
                        <a:pt x="726" y="572"/>
                      </a:lnTo>
                      <a:lnTo>
                        <a:pt x="728" y="572"/>
                      </a:lnTo>
                      <a:lnTo>
                        <a:pt x="733" y="570"/>
                      </a:lnTo>
                      <a:lnTo>
                        <a:pt x="737" y="569"/>
                      </a:lnTo>
                      <a:close/>
                      <a:moveTo>
                        <a:pt x="714" y="557"/>
                      </a:moveTo>
                      <a:lnTo>
                        <a:pt x="715" y="557"/>
                      </a:lnTo>
                      <a:lnTo>
                        <a:pt x="717" y="558"/>
                      </a:lnTo>
                      <a:lnTo>
                        <a:pt x="720" y="559"/>
                      </a:lnTo>
                      <a:lnTo>
                        <a:pt x="722" y="560"/>
                      </a:lnTo>
                      <a:lnTo>
                        <a:pt x="724" y="562"/>
                      </a:lnTo>
                      <a:lnTo>
                        <a:pt x="726" y="564"/>
                      </a:lnTo>
                      <a:lnTo>
                        <a:pt x="726" y="567"/>
                      </a:lnTo>
                      <a:lnTo>
                        <a:pt x="725" y="569"/>
                      </a:lnTo>
                      <a:lnTo>
                        <a:pt x="723" y="571"/>
                      </a:lnTo>
                      <a:lnTo>
                        <a:pt x="721" y="571"/>
                      </a:lnTo>
                      <a:lnTo>
                        <a:pt x="719" y="570"/>
                      </a:lnTo>
                      <a:lnTo>
                        <a:pt x="716" y="568"/>
                      </a:lnTo>
                      <a:lnTo>
                        <a:pt x="715" y="564"/>
                      </a:lnTo>
                      <a:lnTo>
                        <a:pt x="714" y="562"/>
                      </a:lnTo>
                      <a:lnTo>
                        <a:pt x="713" y="559"/>
                      </a:lnTo>
                      <a:lnTo>
                        <a:pt x="714" y="557"/>
                      </a:lnTo>
                      <a:close/>
                      <a:moveTo>
                        <a:pt x="1885" y="525"/>
                      </a:moveTo>
                      <a:lnTo>
                        <a:pt x="1885" y="525"/>
                      </a:lnTo>
                      <a:lnTo>
                        <a:pt x="1883" y="526"/>
                      </a:lnTo>
                      <a:lnTo>
                        <a:pt x="1882" y="528"/>
                      </a:lnTo>
                      <a:lnTo>
                        <a:pt x="1881" y="530"/>
                      </a:lnTo>
                      <a:lnTo>
                        <a:pt x="1881" y="531"/>
                      </a:lnTo>
                      <a:lnTo>
                        <a:pt x="1882" y="534"/>
                      </a:lnTo>
                      <a:lnTo>
                        <a:pt x="1883" y="535"/>
                      </a:lnTo>
                      <a:lnTo>
                        <a:pt x="1885" y="536"/>
                      </a:lnTo>
                      <a:lnTo>
                        <a:pt x="1887" y="537"/>
                      </a:lnTo>
                      <a:lnTo>
                        <a:pt x="1888" y="538"/>
                      </a:lnTo>
                      <a:lnTo>
                        <a:pt x="1889" y="538"/>
                      </a:lnTo>
                      <a:lnTo>
                        <a:pt x="1890" y="538"/>
                      </a:lnTo>
                      <a:lnTo>
                        <a:pt x="1892" y="536"/>
                      </a:lnTo>
                      <a:lnTo>
                        <a:pt x="1893" y="534"/>
                      </a:lnTo>
                      <a:lnTo>
                        <a:pt x="1895" y="530"/>
                      </a:lnTo>
                      <a:lnTo>
                        <a:pt x="1895" y="529"/>
                      </a:lnTo>
                      <a:lnTo>
                        <a:pt x="1895" y="528"/>
                      </a:lnTo>
                      <a:lnTo>
                        <a:pt x="1894" y="528"/>
                      </a:lnTo>
                      <a:lnTo>
                        <a:pt x="1893" y="528"/>
                      </a:lnTo>
                      <a:lnTo>
                        <a:pt x="1891" y="528"/>
                      </a:lnTo>
                      <a:lnTo>
                        <a:pt x="1890" y="528"/>
                      </a:lnTo>
                      <a:lnTo>
                        <a:pt x="1889" y="528"/>
                      </a:lnTo>
                      <a:lnTo>
                        <a:pt x="1888" y="527"/>
                      </a:lnTo>
                      <a:lnTo>
                        <a:pt x="1888" y="526"/>
                      </a:lnTo>
                      <a:lnTo>
                        <a:pt x="1887" y="525"/>
                      </a:lnTo>
                      <a:lnTo>
                        <a:pt x="1885" y="525"/>
                      </a:lnTo>
                      <a:close/>
                      <a:moveTo>
                        <a:pt x="32" y="496"/>
                      </a:moveTo>
                      <a:lnTo>
                        <a:pt x="36" y="497"/>
                      </a:lnTo>
                      <a:lnTo>
                        <a:pt x="40" y="498"/>
                      </a:lnTo>
                      <a:lnTo>
                        <a:pt x="45" y="499"/>
                      </a:lnTo>
                      <a:lnTo>
                        <a:pt x="48" y="501"/>
                      </a:lnTo>
                      <a:lnTo>
                        <a:pt x="50" y="504"/>
                      </a:lnTo>
                      <a:lnTo>
                        <a:pt x="50" y="505"/>
                      </a:lnTo>
                      <a:lnTo>
                        <a:pt x="50" y="507"/>
                      </a:lnTo>
                      <a:lnTo>
                        <a:pt x="48" y="509"/>
                      </a:lnTo>
                      <a:lnTo>
                        <a:pt x="46" y="510"/>
                      </a:lnTo>
                      <a:lnTo>
                        <a:pt x="44" y="510"/>
                      </a:lnTo>
                      <a:lnTo>
                        <a:pt x="39" y="508"/>
                      </a:lnTo>
                      <a:lnTo>
                        <a:pt x="36" y="506"/>
                      </a:lnTo>
                      <a:lnTo>
                        <a:pt x="33" y="504"/>
                      </a:lnTo>
                      <a:lnTo>
                        <a:pt x="30" y="501"/>
                      </a:lnTo>
                      <a:lnTo>
                        <a:pt x="30" y="497"/>
                      </a:lnTo>
                      <a:lnTo>
                        <a:pt x="32" y="496"/>
                      </a:lnTo>
                      <a:close/>
                      <a:moveTo>
                        <a:pt x="1" y="479"/>
                      </a:moveTo>
                      <a:lnTo>
                        <a:pt x="2" y="480"/>
                      </a:lnTo>
                      <a:lnTo>
                        <a:pt x="3" y="481"/>
                      </a:lnTo>
                      <a:lnTo>
                        <a:pt x="3" y="481"/>
                      </a:lnTo>
                      <a:lnTo>
                        <a:pt x="3" y="482"/>
                      </a:lnTo>
                      <a:lnTo>
                        <a:pt x="4" y="482"/>
                      </a:lnTo>
                      <a:lnTo>
                        <a:pt x="5" y="483"/>
                      </a:lnTo>
                      <a:lnTo>
                        <a:pt x="7" y="484"/>
                      </a:lnTo>
                      <a:lnTo>
                        <a:pt x="7" y="486"/>
                      </a:lnTo>
                      <a:lnTo>
                        <a:pt x="6" y="488"/>
                      </a:lnTo>
                      <a:lnTo>
                        <a:pt x="5" y="490"/>
                      </a:lnTo>
                      <a:lnTo>
                        <a:pt x="3" y="490"/>
                      </a:lnTo>
                      <a:lnTo>
                        <a:pt x="2" y="488"/>
                      </a:lnTo>
                      <a:lnTo>
                        <a:pt x="1" y="486"/>
                      </a:lnTo>
                      <a:lnTo>
                        <a:pt x="1" y="485"/>
                      </a:lnTo>
                      <a:lnTo>
                        <a:pt x="0" y="484"/>
                      </a:lnTo>
                      <a:lnTo>
                        <a:pt x="0" y="482"/>
                      </a:lnTo>
                      <a:lnTo>
                        <a:pt x="0" y="481"/>
                      </a:lnTo>
                      <a:lnTo>
                        <a:pt x="0" y="480"/>
                      </a:lnTo>
                      <a:lnTo>
                        <a:pt x="0" y="479"/>
                      </a:lnTo>
                      <a:lnTo>
                        <a:pt x="1" y="479"/>
                      </a:lnTo>
                      <a:close/>
                      <a:moveTo>
                        <a:pt x="1028" y="447"/>
                      </a:moveTo>
                      <a:lnTo>
                        <a:pt x="1030" y="448"/>
                      </a:lnTo>
                      <a:lnTo>
                        <a:pt x="1033" y="448"/>
                      </a:lnTo>
                      <a:lnTo>
                        <a:pt x="1036" y="449"/>
                      </a:lnTo>
                      <a:lnTo>
                        <a:pt x="1038" y="450"/>
                      </a:lnTo>
                      <a:lnTo>
                        <a:pt x="1038" y="451"/>
                      </a:lnTo>
                      <a:lnTo>
                        <a:pt x="1038" y="453"/>
                      </a:lnTo>
                      <a:lnTo>
                        <a:pt x="1037" y="454"/>
                      </a:lnTo>
                      <a:lnTo>
                        <a:pt x="1034" y="455"/>
                      </a:lnTo>
                      <a:lnTo>
                        <a:pt x="1032" y="457"/>
                      </a:lnTo>
                      <a:lnTo>
                        <a:pt x="1029" y="458"/>
                      </a:lnTo>
                      <a:lnTo>
                        <a:pt x="1027" y="458"/>
                      </a:lnTo>
                      <a:lnTo>
                        <a:pt x="1025" y="458"/>
                      </a:lnTo>
                      <a:lnTo>
                        <a:pt x="1021" y="457"/>
                      </a:lnTo>
                      <a:lnTo>
                        <a:pt x="1020" y="454"/>
                      </a:lnTo>
                      <a:lnTo>
                        <a:pt x="1020" y="452"/>
                      </a:lnTo>
                      <a:lnTo>
                        <a:pt x="1020" y="450"/>
                      </a:lnTo>
                      <a:lnTo>
                        <a:pt x="1022" y="449"/>
                      </a:lnTo>
                      <a:lnTo>
                        <a:pt x="1025" y="448"/>
                      </a:lnTo>
                      <a:lnTo>
                        <a:pt x="1028" y="447"/>
                      </a:lnTo>
                      <a:close/>
                      <a:moveTo>
                        <a:pt x="962" y="441"/>
                      </a:moveTo>
                      <a:lnTo>
                        <a:pt x="963" y="441"/>
                      </a:lnTo>
                      <a:lnTo>
                        <a:pt x="965" y="442"/>
                      </a:lnTo>
                      <a:lnTo>
                        <a:pt x="967" y="444"/>
                      </a:lnTo>
                      <a:lnTo>
                        <a:pt x="967" y="447"/>
                      </a:lnTo>
                      <a:lnTo>
                        <a:pt x="967" y="450"/>
                      </a:lnTo>
                      <a:lnTo>
                        <a:pt x="966" y="452"/>
                      </a:lnTo>
                      <a:lnTo>
                        <a:pt x="964" y="455"/>
                      </a:lnTo>
                      <a:lnTo>
                        <a:pt x="962" y="457"/>
                      </a:lnTo>
                      <a:lnTo>
                        <a:pt x="961" y="458"/>
                      </a:lnTo>
                      <a:lnTo>
                        <a:pt x="959" y="457"/>
                      </a:lnTo>
                      <a:lnTo>
                        <a:pt x="957" y="454"/>
                      </a:lnTo>
                      <a:lnTo>
                        <a:pt x="956" y="452"/>
                      </a:lnTo>
                      <a:lnTo>
                        <a:pt x="956" y="450"/>
                      </a:lnTo>
                      <a:lnTo>
                        <a:pt x="956" y="447"/>
                      </a:lnTo>
                      <a:lnTo>
                        <a:pt x="957" y="443"/>
                      </a:lnTo>
                      <a:lnTo>
                        <a:pt x="960" y="441"/>
                      </a:lnTo>
                      <a:lnTo>
                        <a:pt x="962" y="441"/>
                      </a:lnTo>
                      <a:close/>
                      <a:moveTo>
                        <a:pt x="2269" y="427"/>
                      </a:moveTo>
                      <a:lnTo>
                        <a:pt x="2271" y="428"/>
                      </a:lnTo>
                      <a:lnTo>
                        <a:pt x="2273" y="429"/>
                      </a:lnTo>
                      <a:lnTo>
                        <a:pt x="2274" y="431"/>
                      </a:lnTo>
                      <a:lnTo>
                        <a:pt x="2275" y="433"/>
                      </a:lnTo>
                      <a:lnTo>
                        <a:pt x="2276" y="436"/>
                      </a:lnTo>
                      <a:lnTo>
                        <a:pt x="2277" y="439"/>
                      </a:lnTo>
                      <a:lnTo>
                        <a:pt x="2278" y="442"/>
                      </a:lnTo>
                      <a:lnTo>
                        <a:pt x="2278" y="446"/>
                      </a:lnTo>
                      <a:lnTo>
                        <a:pt x="2275" y="450"/>
                      </a:lnTo>
                      <a:lnTo>
                        <a:pt x="2272" y="453"/>
                      </a:lnTo>
                      <a:lnTo>
                        <a:pt x="2269" y="457"/>
                      </a:lnTo>
                      <a:lnTo>
                        <a:pt x="2266" y="459"/>
                      </a:lnTo>
                      <a:lnTo>
                        <a:pt x="2265" y="460"/>
                      </a:lnTo>
                      <a:lnTo>
                        <a:pt x="2263" y="462"/>
                      </a:lnTo>
                      <a:lnTo>
                        <a:pt x="2261" y="462"/>
                      </a:lnTo>
                      <a:lnTo>
                        <a:pt x="2260" y="462"/>
                      </a:lnTo>
                      <a:lnTo>
                        <a:pt x="2260" y="452"/>
                      </a:lnTo>
                      <a:lnTo>
                        <a:pt x="2260" y="449"/>
                      </a:lnTo>
                      <a:lnTo>
                        <a:pt x="2260" y="447"/>
                      </a:lnTo>
                      <a:lnTo>
                        <a:pt x="2261" y="444"/>
                      </a:lnTo>
                      <a:lnTo>
                        <a:pt x="2263" y="441"/>
                      </a:lnTo>
                      <a:lnTo>
                        <a:pt x="2263" y="439"/>
                      </a:lnTo>
                      <a:lnTo>
                        <a:pt x="2263" y="437"/>
                      </a:lnTo>
                      <a:lnTo>
                        <a:pt x="2264" y="433"/>
                      </a:lnTo>
                      <a:lnTo>
                        <a:pt x="2265" y="431"/>
                      </a:lnTo>
                      <a:lnTo>
                        <a:pt x="2267" y="429"/>
                      </a:lnTo>
                      <a:lnTo>
                        <a:pt x="2269" y="427"/>
                      </a:lnTo>
                      <a:close/>
                      <a:moveTo>
                        <a:pt x="1691" y="390"/>
                      </a:moveTo>
                      <a:lnTo>
                        <a:pt x="1693" y="390"/>
                      </a:lnTo>
                      <a:lnTo>
                        <a:pt x="1694" y="393"/>
                      </a:lnTo>
                      <a:lnTo>
                        <a:pt x="1692" y="399"/>
                      </a:lnTo>
                      <a:lnTo>
                        <a:pt x="1690" y="407"/>
                      </a:lnTo>
                      <a:lnTo>
                        <a:pt x="1686" y="414"/>
                      </a:lnTo>
                      <a:lnTo>
                        <a:pt x="1682" y="418"/>
                      </a:lnTo>
                      <a:lnTo>
                        <a:pt x="1681" y="416"/>
                      </a:lnTo>
                      <a:lnTo>
                        <a:pt x="1681" y="412"/>
                      </a:lnTo>
                      <a:lnTo>
                        <a:pt x="1683" y="407"/>
                      </a:lnTo>
                      <a:lnTo>
                        <a:pt x="1685" y="400"/>
                      </a:lnTo>
                      <a:lnTo>
                        <a:pt x="1687" y="396"/>
                      </a:lnTo>
                      <a:lnTo>
                        <a:pt x="1690" y="393"/>
                      </a:lnTo>
                      <a:lnTo>
                        <a:pt x="1691" y="390"/>
                      </a:lnTo>
                      <a:close/>
                      <a:moveTo>
                        <a:pt x="1691" y="324"/>
                      </a:moveTo>
                      <a:lnTo>
                        <a:pt x="1692" y="328"/>
                      </a:lnTo>
                      <a:lnTo>
                        <a:pt x="1692" y="330"/>
                      </a:lnTo>
                      <a:lnTo>
                        <a:pt x="1692" y="333"/>
                      </a:lnTo>
                      <a:lnTo>
                        <a:pt x="1691" y="335"/>
                      </a:lnTo>
                      <a:lnTo>
                        <a:pt x="1688" y="339"/>
                      </a:lnTo>
                      <a:lnTo>
                        <a:pt x="1686" y="342"/>
                      </a:lnTo>
                      <a:lnTo>
                        <a:pt x="1686" y="345"/>
                      </a:lnTo>
                      <a:lnTo>
                        <a:pt x="1685" y="348"/>
                      </a:lnTo>
                      <a:lnTo>
                        <a:pt x="1684" y="350"/>
                      </a:lnTo>
                      <a:lnTo>
                        <a:pt x="1683" y="350"/>
                      </a:lnTo>
                      <a:lnTo>
                        <a:pt x="1681" y="350"/>
                      </a:lnTo>
                      <a:lnTo>
                        <a:pt x="1680" y="349"/>
                      </a:lnTo>
                      <a:lnTo>
                        <a:pt x="1679" y="346"/>
                      </a:lnTo>
                      <a:lnTo>
                        <a:pt x="1677" y="345"/>
                      </a:lnTo>
                      <a:lnTo>
                        <a:pt x="1677" y="342"/>
                      </a:lnTo>
                      <a:lnTo>
                        <a:pt x="1677" y="339"/>
                      </a:lnTo>
                      <a:lnTo>
                        <a:pt x="1680" y="335"/>
                      </a:lnTo>
                      <a:lnTo>
                        <a:pt x="1682" y="333"/>
                      </a:lnTo>
                      <a:lnTo>
                        <a:pt x="1684" y="331"/>
                      </a:lnTo>
                      <a:lnTo>
                        <a:pt x="1686" y="329"/>
                      </a:lnTo>
                      <a:lnTo>
                        <a:pt x="1688" y="328"/>
                      </a:lnTo>
                      <a:lnTo>
                        <a:pt x="1690" y="327"/>
                      </a:lnTo>
                      <a:lnTo>
                        <a:pt x="1691" y="327"/>
                      </a:lnTo>
                      <a:lnTo>
                        <a:pt x="1691" y="324"/>
                      </a:lnTo>
                      <a:close/>
                      <a:moveTo>
                        <a:pt x="1555" y="269"/>
                      </a:moveTo>
                      <a:lnTo>
                        <a:pt x="1555" y="270"/>
                      </a:lnTo>
                      <a:lnTo>
                        <a:pt x="1555" y="272"/>
                      </a:lnTo>
                      <a:lnTo>
                        <a:pt x="1555" y="274"/>
                      </a:lnTo>
                      <a:lnTo>
                        <a:pt x="1554" y="277"/>
                      </a:lnTo>
                      <a:lnTo>
                        <a:pt x="1554" y="279"/>
                      </a:lnTo>
                      <a:lnTo>
                        <a:pt x="1553" y="283"/>
                      </a:lnTo>
                      <a:lnTo>
                        <a:pt x="1553" y="285"/>
                      </a:lnTo>
                      <a:lnTo>
                        <a:pt x="1551" y="286"/>
                      </a:lnTo>
                      <a:lnTo>
                        <a:pt x="1550" y="285"/>
                      </a:lnTo>
                      <a:lnTo>
                        <a:pt x="1548" y="284"/>
                      </a:lnTo>
                      <a:lnTo>
                        <a:pt x="1546" y="280"/>
                      </a:lnTo>
                      <a:lnTo>
                        <a:pt x="1546" y="278"/>
                      </a:lnTo>
                      <a:lnTo>
                        <a:pt x="1545" y="275"/>
                      </a:lnTo>
                      <a:lnTo>
                        <a:pt x="1548" y="272"/>
                      </a:lnTo>
                      <a:lnTo>
                        <a:pt x="1549" y="270"/>
                      </a:lnTo>
                      <a:lnTo>
                        <a:pt x="1551" y="269"/>
                      </a:lnTo>
                      <a:lnTo>
                        <a:pt x="1553" y="269"/>
                      </a:lnTo>
                      <a:lnTo>
                        <a:pt x="1555" y="269"/>
                      </a:lnTo>
                      <a:close/>
                      <a:moveTo>
                        <a:pt x="1582" y="251"/>
                      </a:moveTo>
                      <a:lnTo>
                        <a:pt x="1582" y="253"/>
                      </a:lnTo>
                      <a:lnTo>
                        <a:pt x="1582" y="255"/>
                      </a:lnTo>
                      <a:lnTo>
                        <a:pt x="1584" y="256"/>
                      </a:lnTo>
                      <a:lnTo>
                        <a:pt x="1586" y="258"/>
                      </a:lnTo>
                      <a:lnTo>
                        <a:pt x="1587" y="259"/>
                      </a:lnTo>
                      <a:lnTo>
                        <a:pt x="1589" y="261"/>
                      </a:lnTo>
                      <a:lnTo>
                        <a:pt x="1589" y="262"/>
                      </a:lnTo>
                      <a:lnTo>
                        <a:pt x="1590" y="265"/>
                      </a:lnTo>
                      <a:lnTo>
                        <a:pt x="1592" y="268"/>
                      </a:lnTo>
                      <a:lnTo>
                        <a:pt x="1592" y="272"/>
                      </a:lnTo>
                      <a:lnTo>
                        <a:pt x="1590" y="274"/>
                      </a:lnTo>
                      <a:lnTo>
                        <a:pt x="1589" y="277"/>
                      </a:lnTo>
                      <a:lnTo>
                        <a:pt x="1587" y="278"/>
                      </a:lnTo>
                      <a:lnTo>
                        <a:pt x="1585" y="278"/>
                      </a:lnTo>
                      <a:lnTo>
                        <a:pt x="1582" y="278"/>
                      </a:lnTo>
                      <a:lnTo>
                        <a:pt x="1579" y="277"/>
                      </a:lnTo>
                      <a:lnTo>
                        <a:pt x="1577" y="275"/>
                      </a:lnTo>
                      <a:lnTo>
                        <a:pt x="1575" y="274"/>
                      </a:lnTo>
                      <a:lnTo>
                        <a:pt x="1574" y="270"/>
                      </a:lnTo>
                      <a:lnTo>
                        <a:pt x="1574" y="267"/>
                      </a:lnTo>
                      <a:lnTo>
                        <a:pt x="1574" y="265"/>
                      </a:lnTo>
                      <a:lnTo>
                        <a:pt x="1574" y="262"/>
                      </a:lnTo>
                      <a:lnTo>
                        <a:pt x="1575" y="258"/>
                      </a:lnTo>
                      <a:lnTo>
                        <a:pt x="1576" y="256"/>
                      </a:lnTo>
                      <a:lnTo>
                        <a:pt x="1577" y="253"/>
                      </a:lnTo>
                      <a:lnTo>
                        <a:pt x="1579" y="252"/>
                      </a:lnTo>
                      <a:lnTo>
                        <a:pt x="1582" y="251"/>
                      </a:lnTo>
                      <a:close/>
                      <a:moveTo>
                        <a:pt x="1560" y="235"/>
                      </a:moveTo>
                      <a:lnTo>
                        <a:pt x="1563" y="235"/>
                      </a:lnTo>
                      <a:lnTo>
                        <a:pt x="1566" y="236"/>
                      </a:lnTo>
                      <a:lnTo>
                        <a:pt x="1568" y="239"/>
                      </a:lnTo>
                      <a:lnTo>
                        <a:pt x="1571" y="241"/>
                      </a:lnTo>
                      <a:lnTo>
                        <a:pt x="1572" y="243"/>
                      </a:lnTo>
                      <a:lnTo>
                        <a:pt x="1572" y="247"/>
                      </a:lnTo>
                      <a:lnTo>
                        <a:pt x="1572" y="250"/>
                      </a:lnTo>
                      <a:lnTo>
                        <a:pt x="1571" y="252"/>
                      </a:lnTo>
                      <a:lnTo>
                        <a:pt x="1568" y="253"/>
                      </a:lnTo>
                      <a:lnTo>
                        <a:pt x="1567" y="254"/>
                      </a:lnTo>
                      <a:lnTo>
                        <a:pt x="1565" y="255"/>
                      </a:lnTo>
                      <a:lnTo>
                        <a:pt x="1563" y="255"/>
                      </a:lnTo>
                      <a:lnTo>
                        <a:pt x="1561" y="256"/>
                      </a:lnTo>
                      <a:lnTo>
                        <a:pt x="1559" y="257"/>
                      </a:lnTo>
                      <a:lnTo>
                        <a:pt x="1557" y="258"/>
                      </a:lnTo>
                      <a:lnTo>
                        <a:pt x="1556" y="261"/>
                      </a:lnTo>
                      <a:lnTo>
                        <a:pt x="1554" y="263"/>
                      </a:lnTo>
                      <a:lnTo>
                        <a:pt x="1552" y="265"/>
                      </a:lnTo>
                      <a:lnTo>
                        <a:pt x="1550" y="265"/>
                      </a:lnTo>
                      <a:lnTo>
                        <a:pt x="1546" y="265"/>
                      </a:lnTo>
                      <a:lnTo>
                        <a:pt x="1544" y="265"/>
                      </a:lnTo>
                      <a:lnTo>
                        <a:pt x="1542" y="263"/>
                      </a:lnTo>
                      <a:lnTo>
                        <a:pt x="1541" y="262"/>
                      </a:lnTo>
                      <a:lnTo>
                        <a:pt x="1540" y="259"/>
                      </a:lnTo>
                      <a:lnTo>
                        <a:pt x="1541" y="256"/>
                      </a:lnTo>
                      <a:lnTo>
                        <a:pt x="1542" y="255"/>
                      </a:lnTo>
                      <a:lnTo>
                        <a:pt x="1544" y="254"/>
                      </a:lnTo>
                      <a:lnTo>
                        <a:pt x="1546" y="253"/>
                      </a:lnTo>
                      <a:lnTo>
                        <a:pt x="1549" y="252"/>
                      </a:lnTo>
                      <a:lnTo>
                        <a:pt x="1550" y="250"/>
                      </a:lnTo>
                      <a:lnTo>
                        <a:pt x="1551" y="246"/>
                      </a:lnTo>
                      <a:lnTo>
                        <a:pt x="1553" y="242"/>
                      </a:lnTo>
                      <a:lnTo>
                        <a:pt x="1554" y="239"/>
                      </a:lnTo>
                      <a:lnTo>
                        <a:pt x="1556" y="236"/>
                      </a:lnTo>
                      <a:lnTo>
                        <a:pt x="1560" y="235"/>
                      </a:lnTo>
                      <a:close/>
                      <a:moveTo>
                        <a:pt x="864" y="234"/>
                      </a:moveTo>
                      <a:lnTo>
                        <a:pt x="862" y="235"/>
                      </a:lnTo>
                      <a:lnTo>
                        <a:pt x="859" y="237"/>
                      </a:lnTo>
                      <a:lnTo>
                        <a:pt x="862" y="237"/>
                      </a:lnTo>
                      <a:lnTo>
                        <a:pt x="864" y="239"/>
                      </a:lnTo>
                      <a:lnTo>
                        <a:pt x="866" y="240"/>
                      </a:lnTo>
                      <a:lnTo>
                        <a:pt x="868" y="241"/>
                      </a:lnTo>
                      <a:lnTo>
                        <a:pt x="869" y="242"/>
                      </a:lnTo>
                      <a:lnTo>
                        <a:pt x="868" y="237"/>
                      </a:lnTo>
                      <a:lnTo>
                        <a:pt x="867" y="235"/>
                      </a:lnTo>
                      <a:lnTo>
                        <a:pt x="865" y="234"/>
                      </a:lnTo>
                      <a:lnTo>
                        <a:pt x="864" y="234"/>
                      </a:lnTo>
                      <a:close/>
                      <a:moveTo>
                        <a:pt x="2014" y="207"/>
                      </a:moveTo>
                      <a:lnTo>
                        <a:pt x="2015" y="207"/>
                      </a:lnTo>
                      <a:lnTo>
                        <a:pt x="2016" y="208"/>
                      </a:lnTo>
                      <a:lnTo>
                        <a:pt x="2019" y="208"/>
                      </a:lnTo>
                      <a:lnTo>
                        <a:pt x="2020" y="208"/>
                      </a:lnTo>
                      <a:lnTo>
                        <a:pt x="2020" y="208"/>
                      </a:lnTo>
                      <a:lnTo>
                        <a:pt x="2021" y="208"/>
                      </a:lnTo>
                      <a:lnTo>
                        <a:pt x="2023" y="207"/>
                      </a:lnTo>
                      <a:lnTo>
                        <a:pt x="2024" y="207"/>
                      </a:lnTo>
                      <a:lnTo>
                        <a:pt x="2026" y="208"/>
                      </a:lnTo>
                      <a:lnTo>
                        <a:pt x="2027" y="208"/>
                      </a:lnTo>
                      <a:lnTo>
                        <a:pt x="2027" y="210"/>
                      </a:lnTo>
                      <a:lnTo>
                        <a:pt x="2026" y="210"/>
                      </a:lnTo>
                      <a:lnTo>
                        <a:pt x="2025" y="211"/>
                      </a:lnTo>
                      <a:lnTo>
                        <a:pt x="2025" y="212"/>
                      </a:lnTo>
                      <a:lnTo>
                        <a:pt x="2024" y="212"/>
                      </a:lnTo>
                      <a:lnTo>
                        <a:pt x="2023" y="213"/>
                      </a:lnTo>
                      <a:lnTo>
                        <a:pt x="2023" y="213"/>
                      </a:lnTo>
                      <a:lnTo>
                        <a:pt x="2022" y="213"/>
                      </a:lnTo>
                      <a:lnTo>
                        <a:pt x="2022" y="213"/>
                      </a:lnTo>
                      <a:lnTo>
                        <a:pt x="2020" y="213"/>
                      </a:lnTo>
                      <a:lnTo>
                        <a:pt x="2018" y="212"/>
                      </a:lnTo>
                      <a:lnTo>
                        <a:pt x="2015" y="212"/>
                      </a:lnTo>
                      <a:lnTo>
                        <a:pt x="2015" y="212"/>
                      </a:lnTo>
                      <a:lnTo>
                        <a:pt x="2014" y="212"/>
                      </a:lnTo>
                      <a:lnTo>
                        <a:pt x="2012" y="211"/>
                      </a:lnTo>
                      <a:lnTo>
                        <a:pt x="2011" y="211"/>
                      </a:lnTo>
                      <a:lnTo>
                        <a:pt x="2011" y="210"/>
                      </a:lnTo>
                      <a:lnTo>
                        <a:pt x="2011" y="208"/>
                      </a:lnTo>
                      <a:lnTo>
                        <a:pt x="2012" y="207"/>
                      </a:lnTo>
                      <a:lnTo>
                        <a:pt x="2014" y="207"/>
                      </a:lnTo>
                      <a:close/>
                      <a:moveTo>
                        <a:pt x="1841" y="189"/>
                      </a:moveTo>
                      <a:lnTo>
                        <a:pt x="1840" y="196"/>
                      </a:lnTo>
                      <a:lnTo>
                        <a:pt x="1838" y="203"/>
                      </a:lnTo>
                      <a:lnTo>
                        <a:pt x="1835" y="220"/>
                      </a:lnTo>
                      <a:lnTo>
                        <a:pt x="1827" y="233"/>
                      </a:lnTo>
                      <a:lnTo>
                        <a:pt x="1825" y="236"/>
                      </a:lnTo>
                      <a:lnTo>
                        <a:pt x="1822" y="240"/>
                      </a:lnTo>
                      <a:lnTo>
                        <a:pt x="1819" y="244"/>
                      </a:lnTo>
                      <a:lnTo>
                        <a:pt x="1816" y="246"/>
                      </a:lnTo>
                      <a:lnTo>
                        <a:pt x="1814" y="248"/>
                      </a:lnTo>
                      <a:lnTo>
                        <a:pt x="1812" y="250"/>
                      </a:lnTo>
                      <a:lnTo>
                        <a:pt x="1811" y="250"/>
                      </a:lnTo>
                      <a:lnTo>
                        <a:pt x="1810" y="250"/>
                      </a:lnTo>
                      <a:lnTo>
                        <a:pt x="1808" y="248"/>
                      </a:lnTo>
                      <a:lnTo>
                        <a:pt x="1806" y="248"/>
                      </a:lnTo>
                      <a:lnTo>
                        <a:pt x="1805" y="247"/>
                      </a:lnTo>
                      <a:lnTo>
                        <a:pt x="1804" y="247"/>
                      </a:lnTo>
                      <a:lnTo>
                        <a:pt x="1803" y="248"/>
                      </a:lnTo>
                      <a:lnTo>
                        <a:pt x="1801" y="251"/>
                      </a:lnTo>
                      <a:lnTo>
                        <a:pt x="1800" y="253"/>
                      </a:lnTo>
                      <a:lnTo>
                        <a:pt x="1797" y="255"/>
                      </a:lnTo>
                      <a:lnTo>
                        <a:pt x="1796" y="257"/>
                      </a:lnTo>
                      <a:lnTo>
                        <a:pt x="1794" y="259"/>
                      </a:lnTo>
                      <a:lnTo>
                        <a:pt x="1793" y="261"/>
                      </a:lnTo>
                      <a:lnTo>
                        <a:pt x="1792" y="257"/>
                      </a:lnTo>
                      <a:lnTo>
                        <a:pt x="1791" y="255"/>
                      </a:lnTo>
                      <a:lnTo>
                        <a:pt x="1790" y="253"/>
                      </a:lnTo>
                      <a:lnTo>
                        <a:pt x="1789" y="251"/>
                      </a:lnTo>
                      <a:lnTo>
                        <a:pt x="1787" y="248"/>
                      </a:lnTo>
                      <a:lnTo>
                        <a:pt x="1786" y="246"/>
                      </a:lnTo>
                      <a:lnTo>
                        <a:pt x="1785" y="245"/>
                      </a:lnTo>
                      <a:lnTo>
                        <a:pt x="1783" y="245"/>
                      </a:lnTo>
                      <a:lnTo>
                        <a:pt x="1781" y="246"/>
                      </a:lnTo>
                      <a:lnTo>
                        <a:pt x="1778" y="248"/>
                      </a:lnTo>
                      <a:lnTo>
                        <a:pt x="1776" y="250"/>
                      </a:lnTo>
                      <a:lnTo>
                        <a:pt x="1775" y="250"/>
                      </a:lnTo>
                      <a:lnTo>
                        <a:pt x="1773" y="251"/>
                      </a:lnTo>
                      <a:lnTo>
                        <a:pt x="1771" y="251"/>
                      </a:lnTo>
                      <a:lnTo>
                        <a:pt x="1770" y="251"/>
                      </a:lnTo>
                      <a:lnTo>
                        <a:pt x="1769" y="248"/>
                      </a:lnTo>
                      <a:lnTo>
                        <a:pt x="1769" y="247"/>
                      </a:lnTo>
                      <a:lnTo>
                        <a:pt x="1769" y="244"/>
                      </a:lnTo>
                      <a:lnTo>
                        <a:pt x="1770" y="242"/>
                      </a:lnTo>
                      <a:lnTo>
                        <a:pt x="1771" y="240"/>
                      </a:lnTo>
                      <a:lnTo>
                        <a:pt x="1772" y="237"/>
                      </a:lnTo>
                      <a:lnTo>
                        <a:pt x="1772" y="234"/>
                      </a:lnTo>
                      <a:lnTo>
                        <a:pt x="1771" y="232"/>
                      </a:lnTo>
                      <a:lnTo>
                        <a:pt x="1771" y="230"/>
                      </a:lnTo>
                      <a:lnTo>
                        <a:pt x="1770" y="228"/>
                      </a:lnTo>
                      <a:lnTo>
                        <a:pt x="1770" y="226"/>
                      </a:lnTo>
                      <a:lnTo>
                        <a:pt x="1806" y="207"/>
                      </a:lnTo>
                      <a:lnTo>
                        <a:pt x="1807" y="206"/>
                      </a:lnTo>
                      <a:lnTo>
                        <a:pt x="1812" y="203"/>
                      </a:lnTo>
                      <a:lnTo>
                        <a:pt x="1841" y="189"/>
                      </a:lnTo>
                      <a:close/>
                      <a:moveTo>
                        <a:pt x="1942" y="186"/>
                      </a:moveTo>
                      <a:lnTo>
                        <a:pt x="1944" y="187"/>
                      </a:lnTo>
                      <a:lnTo>
                        <a:pt x="1945" y="188"/>
                      </a:lnTo>
                      <a:lnTo>
                        <a:pt x="1947" y="190"/>
                      </a:lnTo>
                      <a:lnTo>
                        <a:pt x="1949" y="191"/>
                      </a:lnTo>
                      <a:lnTo>
                        <a:pt x="1950" y="193"/>
                      </a:lnTo>
                      <a:lnTo>
                        <a:pt x="1952" y="195"/>
                      </a:lnTo>
                      <a:lnTo>
                        <a:pt x="1953" y="196"/>
                      </a:lnTo>
                      <a:lnTo>
                        <a:pt x="1954" y="197"/>
                      </a:lnTo>
                      <a:lnTo>
                        <a:pt x="1954" y="199"/>
                      </a:lnTo>
                      <a:lnTo>
                        <a:pt x="1954" y="200"/>
                      </a:lnTo>
                      <a:lnTo>
                        <a:pt x="1954" y="202"/>
                      </a:lnTo>
                      <a:lnTo>
                        <a:pt x="1953" y="203"/>
                      </a:lnTo>
                      <a:lnTo>
                        <a:pt x="1952" y="204"/>
                      </a:lnTo>
                      <a:lnTo>
                        <a:pt x="1949" y="204"/>
                      </a:lnTo>
                      <a:lnTo>
                        <a:pt x="1948" y="204"/>
                      </a:lnTo>
                      <a:lnTo>
                        <a:pt x="1947" y="203"/>
                      </a:lnTo>
                      <a:lnTo>
                        <a:pt x="1947" y="203"/>
                      </a:lnTo>
                      <a:lnTo>
                        <a:pt x="1945" y="203"/>
                      </a:lnTo>
                      <a:lnTo>
                        <a:pt x="1944" y="202"/>
                      </a:lnTo>
                      <a:lnTo>
                        <a:pt x="1943" y="202"/>
                      </a:lnTo>
                      <a:lnTo>
                        <a:pt x="1942" y="201"/>
                      </a:lnTo>
                      <a:lnTo>
                        <a:pt x="1941" y="200"/>
                      </a:lnTo>
                      <a:lnTo>
                        <a:pt x="1941" y="198"/>
                      </a:lnTo>
                      <a:lnTo>
                        <a:pt x="1939" y="197"/>
                      </a:lnTo>
                      <a:lnTo>
                        <a:pt x="1937" y="196"/>
                      </a:lnTo>
                      <a:lnTo>
                        <a:pt x="1936" y="195"/>
                      </a:lnTo>
                      <a:lnTo>
                        <a:pt x="1935" y="192"/>
                      </a:lnTo>
                      <a:lnTo>
                        <a:pt x="1935" y="190"/>
                      </a:lnTo>
                      <a:lnTo>
                        <a:pt x="1936" y="188"/>
                      </a:lnTo>
                      <a:lnTo>
                        <a:pt x="1938" y="187"/>
                      </a:lnTo>
                      <a:lnTo>
                        <a:pt x="1939" y="186"/>
                      </a:lnTo>
                      <a:lnTo>
                        <a:pt x="1942" y="186"/>
                      </a:lnTo>
                      <a:close/>
                      <a:moveTo>
                        <a:pt x="1857" y="186"/>
                      </a:moveTo>
                      <a:lnTo>
                        <a:pt x="1858" y="187"/>
                      </a:lnTo>
                      <a:lnTo>
                        <a:pt x="1858" y="187"/>
                      </a:lnTo>
                      <a:lnTo>
                        <a:pt x="1858" y="188"/>
                      </a:lnTo>
                      <a:lnTo>
                        <a:pt x="1858" y="190"/>
                      </a:lnTo>
                      <a:lnTo>
                        <a:pt x="1857" y="191"/>
                      </a:lnTo>
                      <a:lnTo>
                        <a:pt x="1857" y="191"/>
                      </a:lnTo>
                      <a:lnTo>
                        <a:pt x="1857" y="192"/>
                      </a:lnTo>
                      <a:lnTo>
                        <a:pt x="1855" y="192"/>
                      </a:lnTo>
                      <a:lnTo>
                        <a:pt x="1854" y="192"/>
                      </a:lnTo>
                      <a:lnTo>
                        <a:pt x="1852" y="191"/>
                      </a:lnTo>
                      <a:lnTo>
                        <a:pt x="1852" y="189"/>
                      </a:lnTo>
                      <a:lnTo>
                        <a:pt x="1854" y="188"/>
                      </a:lnTo>
                      <a:lnTo>
                        <a:pt x="1855" y="187"/>
                      </a:lnTo>
                      <a:lnTo>
                        <a:pt x="1857" y="186"/>
                      </a:lnTo>
                      <a:close/>
                      <a:moveTo>
                        <a:pt x="1862" y="177"/>
                      </a:moveTo>
                      <a:lnTo>
                        <a:pt x="1862" y="177"/>
                      </a:lnTo>
                      <a:lnTo>
                        <a:pt x="1861" y="177"/>
                      </a:lnTo>
                      <a:lnTo>
                        <a:pt x="1862" y="177"/>
                      </a:lnTo>
                      <a:close/>
                      <a:moveTo>
                        <a:pt x="1869" y="175"/>
                      </a:moveTo>
                      <a:lnTo>
                        <a:pt x="1869" y="175"/>
                      </a:lnTo>
                      <a:lnTo>
                        <a:pt x="1869" y="178"/>
                      </a:lnTo>
                      <a:lnTo>
                        <a:pt x="1868" y="181"/>
                      </a:lnTo>
                      <a:lnTo>
                        <a:pt x="1867" y="182"/>
                      </a:lnTo>
                      <a:lnTo>
                        <a:pt x="1866" y="184"/>
                      </a:lnTo>
                      <a:lnTo>
                        <a:pt x="1865" y="184"/>
                      </a:lnTo>
                      <a:lnTo>
                        <a:pt x="1863" y="184"/>
                      </a:lnTo>
                      <a:lnTo>
                        <a:pt x="1863" y="181"/>
                      </a:lnTo>
                      <a:lnTo>
                        <a:pt x="1862" y="180"/>
                      </a:lnTo>
                      <a:lnTo>
                        <a:pt x="1862" y="177"/>
                      </a:lnTo>
                      <a:lnTo>
                        <a:pt x="1862" y="177"/>
                      </a:lnTo>
                      <a:lnTo>
                        <a:pt x="1863" y="177"/>
                      </a:lnTo>
                      <a:lnTo>
                        <a:pt x="1865" y="177"/>
                      </a:lnTo>
                      <a:lnTo>
                        <a:pt x="1867" y="176"/>
                      </a:lnTo>
                      <a:lnTo>
                        <a:pt x="1868" y="175"/>
                      </a:lnTo>
                      <a:lnTo>
                        <a:pt x="1869" y="175"/>
                      </a:lnTo>
                      <a:close/>
                      <a:moveTo>
                        <a:pt x="1866" y="170"/>
                      </a:moveTo>
                      <a:lnTo>
                        <a:pt x="1866" y="171"/>
                      </a:lnTo>
                      <a:lnTo>
                        <a:pt x="1866" y="174"/>
                      </a:lnTo>
                      <a:lnTo>
                        <a:pt x="1865" y="176"/>
                      </a:lnTo>
                      <a:lnTo>
                        <a:pt x="1865" y="176"/>
                      </a:lnTo>
                      <a:lnTo>
                        <a:pt x="1863" y="177"/>
                      </a:lnTo>
                      <a:lnTo>
                        <a:pt x="1862" y="177"/>
                      </a:lnTo>
                      <a:lnTo>
                        <a:pt x="1862" y="175"/>
                      </a:lnTo>
                      <a:lnTo>
                        <a:pt x="1862" y="172"/>
                      </a:lnTo>
                      <a:lnTo>
                        <a:pt x="1862" y="170"/>
                      </a:lnTo>
                      <a:lnTo>
                        <a:pt x="1865" y="170"/>
                      </a:lnTo>
                      <a:lnTo>
                        <a:pt x="1866" y="170"/>
                      </a:lnTo>
                      <a:lnTo>
                        <a:pt x="1866" y="170"/>
                      </a:lnTo>
                      <a:close/>
                      <a:moveTo>
                        <a:pt x="1880" y="167"/>
                      </a:moveTo>
                      <a:lnTo>
                        <a:pt x="1879" y="169"/>
                      </a:lnTo>
                      <a:lnTo>
                        <a:pt x="1878" y="170"/>
                      </a:lnTo>
                      <a:lnTo>
                        <a:pt x="1877" y="172"/>
                      </a:lnTo>
                      <a:lnTo>
                        <a:pt x="1876" y="174"/>
                      </a:lnTo>
                      <a:lnTo>
                        <a:pt x="1874" y="174"/>
                      </a:lnTo>
                      <a:lnTo>
                        <a:pt x="1873" y="174"/>
                      </a:lnTo>
                      <a:lnTo>
                        <a:pt x="1873" y="172"/>
                      </a:lnTo>
                      <a:lnTo>
                        <a:pt x="1873" y="171"/>
                      </a:lnTo>
                      <a:lnTo>
                        <a:pt x="1872" y="171"/>
                      </a:lnTo>
                      <a:lnTo>
                        <a:pt x="1872" y="170"/>
                      </a:lnTo>
                      <a:lnTo>
                        <a:pt x="1872" y="169"/>
                      </a:lnTo>
                      <a:lnTo>
                        <a:pt x="1873" y="169"/>
                      </a:lnTo>
                      <a:lnTo>
                        <a:pt x="1873" y="168"/>
                      </a:lnTo>
                      <a:lnTo>
                        <a:pt x="1876" y="168"/>
                      </a:lnTo>
                      <a:lnTo>
                        <a:pt x="1877" y="167"/>
                      </a:lnTo>
                      <a:lnTo>
                        <a:pt x="1880" y="167"/>
                      </a:lnTo>
                      <a:close/>
                      <a:moveTo>
                        <a:pt x="1867" y="167"/>
                      </a:moveTo>
                      <a:lnTo>
                        <a:pt x="1870" y="167"/>
                      </a:lnTo>
                      <a:lnTo>
                        <a:pt x="1870" y="170"/>
                      </a:lnTo>
                      <a:lnTo>
                        <a:pt x="1869" y="174"/>
                      </a:lnTo>
                      <a:lnTo>
                        <a:pt x="1869" y="175"/>
                      </a:lnTo>
                      <a:lnTo>
                        <a:pt x="1868" y="172"/>
                      </a:lnTo>
                      <a:lnTo>
                        <a:pt x="1868" y="169"/>
                      </a:lnTo>
                      <a:lnTo>
                        <a:pt x="1867" y="167"/>
                      </a:lnTo>
                      <a:close/>
                      <a:moveTo>
                        <a:pt x="1866" y="167"/>
                      </a:moveTo>
                      <a:lnTo>
                        <a:pt x="1867" y="167"/>
                      </a:lnTo>
                      <a:lnTo>
                        <a:pt x="1867" y="169"/>
                      </a:lnTo>
                      <a:lnTo>
                        <a:pt x="1866" y="170"/>
                      </a:lnTo>
                      <a:lnTo>
                        <a:pt x="1866" y="167"/>
                      </a:lnTo>
                      <a:close/>
                      <a:moveTo>
                        <a:pt x="1921" y="139"/>
                      </a:moveTo>
                      <a:lnTo>
                        <a:pt x="1923" y="142"/>
                      </a:lnTo>
                      <a:lnTo>
                        <a:pt x="1923" y="144"/>
                      </a:lnTo>
                      <a:lnTo>
                        <a:pt x="1923" y="146"/>
                      </a:lnTo>
                      <a:lnTo>
                        <a:pt x="1924" y="148"/>
                      </a:lnTo>
                      <a:lnTo>
                        <a:pt x="1924" y="149"/>
                      </a:lnTo>
                      <a:lnTo>
                        <a:pt x="1924" y="152"/>
                      </a:lnTo>
                      <a:lnTo>
                        <a:pt x="1923" y="155"/>
                      </a:lnTo>
                      <a:lnTo>
                        <a:pt x="1923" y="164"/>
                      </a:lnTo>
                      <a:lnTo>
                        <a:pt x="1915" y="177"/>
                      </a:lnTo>
                      <a:lnTo>
                        <a:pt x="1914" y="180"/>
                      </a:lnTo>
                      <a:lnTo>
                        <a:pt x="1912" y="181"/>
                      </a:lnTo>
                      <a:lnTo>
                        <a:pt x="1911" y="184"/>
                      </a:lnTo>
                      <a:lnTo>
                        <a:pt x="1909" y="184"/>
                      </a:lnTo>
                      <a:lnTo>
                        <a:pt x="1907" y="181"/>
                      </a:lnTo>
                      <a:lnTo>
                        <a:pt x="1907" y="178"/>
                      </a:lnTo>
                      <a:lnTo>
                        <a:pt x="1909" y="174"/>
                      </a:lnTo>
                      <a:lnTo>
                        <a:pt x="1910" y="169"/>
                      </a:lnTo>
                      <a:lnTo>
                        <a:pt x="1910" y="166"/>
                      </a:lnTo>
                      <a:lnTo>
                        <a:pt x="1911" y="163"/>
                      </a:lnTo>
                      <a:lnTo>
                        <a:pt x="1912" y="160"/>
                      </a:lnTo>
                      <a:lnTo>
                        <a:pt x="1912" y="157"/>
                      </a:lnTo>
                      <a:lnTo>
                        <a:pt x="1911" y="155"/>
                      </a:lnTo>
                      <a:lnTo>
                        <a:pt x="1910" y="153"/>
                      </a:lnTo>
                      <a:lnTo>
                        <a:pt x="1910" y="147"/>
                      </a:lnTo>
                      <a:lnTo>
                        <a:pt x="1910" y="146"/>
                      </a:lnTo>
                      <a:lnTo>
                        <a:pt x="1914" y="144"/>
                      </a:lnTo>
                      <a:lnTo>
                        <a:pt x="1915" y="143"/>
                      </a:lnTo>
                      <a:lnTo>
                        <a:pt x="1917" y="142"/>
                      </a:lnTo>
                      <a:lnTo>
                        <a:pt x="1921" y="139"/>
                      </a:lnTo>
                      <a:close/>
                      <a:moveTo>
                        <a:pt x="1914" y="139"/>
                      </a:moveTo>
                      <a:lnTo>
                        <a:pt x="1916" y="139"/>
                      </a:lnTo>
                      <a:lnTo>
                        <a:pt x="1916" y="141"/>
                      </a:lnTo>
                      <a:lnTo>
                        <a:pt x="1916" y="142"/>
                      </a:lnTo>
                      <a:lnTo>
                        <a:pt x="1915" y="143"/>
                      </a:lnTo>
                      <a:lnTo>
                        <a:pt x="1913" y="144"/>
                      </a:lnTo>
                      <a:lnTo>
                        <a:pt x="1910" y="146"/>
                      </a:lnTo>
                      <a:lnTo>
                        <a:pt x="1910" y="147"/>
                      </a:lnTo>
                      <a:lnTo>
                        <a:pt x="1907" y="149"/>
                      </a:lnTo>
                      <a:lnTo>
                        <a:pt x="1907" y="146"/>
                      </a:lnTo>
                      <a:lnTo>
                        <a:pt x="1909" y="146"/>
                      </a:lnTo>
                      <a:lnTo>
                        <a:pt x="1910" y="145"/>
                      </a:lnTo>
                      <a:lnTo>
                        <a:pt x="1910" y="145"/>
                      </a:lnTo>
                      <a:lnTo>
                        <a:pt x="1911" y="145"/>
                      </a:lnTo>
                      <a:lnTo>
                        <a:pt x="1912" y="144"/>
                      </a:lnTo>
                      <a:lnTo>
                        <a:pt x="1912" y="143"/>
                      </a:lnTo>
                      <a:lnTo>
                        <a:pt x="1912" y="141"/>
                      </a:lnTo>
                      <a:lnTo>
                        <a:pt x="1913" y="141"/>
                      </a:lnTo>
                      <a:lnTo>
                        <a:pt x="1914" y="139"/>
                      </a:lnTo>
                      <a:close/>
                      <a:moveTo>
                        <a:pt x="1970" y="116"/>
                      </a:moveTo>
                      <a:lnTo>
                        <a:pt x="1970" y="116"/>
                      </a:lnTo>
                      <a:lnTo>
                        <a:pt x="1971" y="119"/>
                      </a:lnTo>
                      <a:lnTo>
                        <a:pt x="1974" y="122"/>
                      </a:lnTo>
                      <a:lnTo>
                        <a:pt x="1976" y="125"/>
                      </a:lnTo>
                      <a:lnTo>
                        <a:pt x="1977" y="127"/>
                      </a:lnTo>
                      <a:lnTo>
                        <a:pt x="1980" y="130"/>
                      </a:lnTo>
                      <a:lnTo>
                        <a:pt x="1981" y="134"/>
                      </a:lnTo>
                      <a:lnTo>
                        <a:pt x="1981" y="141"/>
                      </a:lnTo>
                      <a:lnTo>
                        <a:pt x="1981" y="148"/>
                      </a:lnTo>
                      <a:lnTo>
                        <a:pt x="1980" y="148"/>
                      </a:lnTo>
                      <a:lnTo>
                        <a:pt x="1980" y="147"/>
                      </a:lnTo>
                      <a:lnTo>
                        <a:pt x="1979" y="145"/>
                      </a:lnTo>
                      <a:lnTo>
                        <a:pt x="1978" y="143"/>
                      </a:lnTo>
                      <a:lnTo>
                        <a:pt x="1977" y="141"/>
                      </a:lnTo>
                      <a:lnTo>
                        <a:pt x="1976" y="138"/>
                      </a:lnTo>
                      <a:lnTo>
                        <a:pt x="1976" y="136"/>
                      </a:lnTo>
                      <a:lnTo>
                        <a:pt x="1974" y="136"/>
                      </a:lnTo>
                      <a:lnTo>
                        <a:pt x="1972" y="137"/>
                      </a:lnTo>
                      <a:lnTo>
                        <a:pt x="1972" y="139"/>
                      </a:lnTo>
                      <a:lnTo>
                        <a:pt x="1971" y="142"/>
                      </a:lnTo>
                      <a:lnTo>
                        <a:pt x="1971" y="143"/>
                      </a:lnTo>
                      <a:lnTo>
                        <a:pt x="1970" y="147"/>
                      </a:lnTo>
                      <a:lnTo>
                        <a:pt x="1969" y="149"/>
                      </a:lnTo>
                      <a:lnTo>
                        <a:pt x="1969" y="152"/>
                      </a:lnTo>
                      <a:lnTo>
                        <a:pt x="1970" y="154"/>
                      </a:lnTo>
                      <a:lnTo>
                        <a:pt x="1971" y="157"/>
                      </a:lnTo>
                      <a:lnTo>
                        <a:pt x="1971" y="163"/>
                      </a:lnTo>
                      <a:lnTo>
                        <a:pt x="1969" y="169"/>
                      </a:lnTo>
                      <a:lnTo>
                        <a:pt x="1967" y="177"/>
                      </a:lnTo>
                      <a:lnTo>
                        <a:pt x="1966" y="178"/>
                      </a:lnTo>
                      <a:lnTo>
                        <a:pt x="1965" y="179"/>
                      </a:lnTo>
                      <a:lnTo>
                        <a:pt x="1964" y="180"/>
                      </a:lnTo>
                      <a:lnTo>
                        <a:pt x="1963" y="181"/>
                      </a:lnTo>
                      <a:lnTo>
                        <a:pt x="1960" y="181"/>
                      </a:lnTo>
                      <a:lnTo>
                        <a:pt x="1959" y="181"/>
                      </a:lnTo>
                      <a:lnTo>
                        <a:pt x="1959" y="179"/>
                      </a:lnTo>
                      <a:lnTo>
                        <a:pt x="1959" y="177"/>
                      </a:lnTo>
                      <a:lnTo>
                        <a:pt x="1960" y="174"/>
                      </a:lnTo>
                      <a:lnTo>
                        <a:pt x="1963" y="170"/>
                      </a:lnTo>
                      <a:lnTo>
                        <a:pt x="1963" y="166"/>
                      </a:lnTo>
                      <a:lnTo>
                        <a:pt x="1963" y="155"/>
                      </a:lnTo>
                      <a:lnTo>
                        <a:pt x="1961" y="147"/>
                      </a:lnTo>
                      <a:lnTo>
                        <a:pt x="1959" y="142"/>
                      </a:lnTo>
                      <a:lnTo>
                        <a:pt x="1957" y="136"/>
                      </a:lnTo>
                      <a:lnTo>
                        <a:pt x="1956" y="134"/>
                      </a:lnTo>
                      <a:lnTo>
                        <a:pt x="1955" y="132"/>
                      </a:lnTo>
                      <a:lnTo>
                        <a:pt x="1954" y="130"/>
                      </a:lnTo>
                      <a:lnTo>
                        <a:pt x="1953" y="127"/>
                      </a:lnTo>
                      <a:lnTo>
                        <a:pt x="1950" y="126"/>
                      </a:lnTo>
                      <a:lnTo>
                        <a:pt x="1948" y="125"/>
                      </a:lnTo>
                      <a:lnTo>
                        <a:pt x="1946" y="125"/>
                      </a:lnTo>
                      <a:lnTo>
                        <a:pt x="1944" y="125"/>
                      </a:lnTo>
                      <a:lnTo>
                        <a:pt x="1944" y="123"/>
                      </a:lnTo>
                      <a:lnTo>
                        <a:pt x="1947" y="121"/>
                      </a:lnTo>
                      <a:lnTo>
                        <a:pt x="1948" y="122"/>
                      </a:lnTo>
                      <a:lnTo>
                        <a:pt x="1950" y="125"/>
                      </a:lnTo>
                      <a:lnTo>
                        <a:pt x="1953" y="126"/>
                      </a:lnTo>
                      <a:lnTo>
                        <a:pt x="1963" y="121"/>
                      </a:lnTo>
                      <a:lnTo>
                        <a:pt x="1970" y="116"/>
                      </a:lnTo>
                      <a:close/>
                      <a:moveTo>
                        <a:pt x="1923" y="104"/>
                      </a:moveTo>
                      <a:lnTo>
                        <a:pt x="1924" y="105"/>
                      </a:lnTo>
                      <a:lnTo>
                        <a:pt x="1924" y="108"/>
                      </a:lnTo>
                      <a:lnTo>
                        <a:pt x="1924" y="110"/>
                      </a:lnTo>
                      <a:lnTo>
                        <a:pt x="1923" y="113"/>
                      </a:lnTo>
                      <a:lnTo>
                        <a:pt x="1923" y="116"/>
                      </a:lnTo>
                      <a:lnTo>
                        <a:pt x="1922" y="119"/>
                      </a:lnTo>
                      <a:lnTo>
                        <a:pt x="1922" y="121"/>
                      </a:lnTo>
                      <a:lnTo>
                        <a:pt x="1922" y="122"/>
                      </a:lnTo>
                      <a:lnTo>
                        <a:pt x="1922" y="124"/>
                      </a:lnTo>
                      <a:lnTo>
                        <a:pt x="1922" y="126"/>
                      </a:lnTo>
                      <a:lnTo>
                        <a:pt x="1922" y="127"/>
                      </a:lnTo>
                      <a:lnTo>
                        <a:pt x="1921" y="128"/>
                      </a:lnTo>
                      <a:lnTo>
                        <a:pt x="1921" y="128"/>
                      </a:lnTo>
                      <a:lnTo>
                        <a:pt x="1919" y="126"/>
                      </a:lnTo>
                      <a:lnTo>
                        <a:pt x="1919" y="124"/>
                      </a:lnTo>
                      <a:lnTo>
                        <a:pt x="1919" y="121"/>
                      </a:lnTo>
                      <a:lnTo>
                        <a:pt x="1917" y="119"/>
                      </a:lnTo>
                      <a:lnTo>
                        <a:pt x="1917" y="116"/>
                      </a:lnTo>
                      <a:lnTo>
                        <a:pt x="1916" y="114"/>
                      </a:lnTo>
                      <a:lnTo>
                        <a:pt x="1917" y="113"/>
                      </a:lnTo>
                      <a:lnTo>
                        <a:pt x="1919" y="111"/>
                      </a:lnTo>
                      <a:lnTo>
                        <a:pt x="1920" y="110"/>
                      </a:lnTo>
                      <a:lnTo>
                        <a:pt x="1921" y="109"/>
                      </a:lnTo>
                      <a:lnTo>
                        <a:pt x="1922" y="106"/>
                      </a:lnTo>
                      <a:lnTo>
                        <a:pt x="1922" y="104"/>
                      </a:lnTo>
                      <a:lnTo>
                        <a:pt x="1923" y="104"/>
                      </a:lnTo>
                      <a:close/>
                      <a:moveTo>
                        <a:pt x="503" y="89"/>
                      </a:moveTo>
                      <a:lnTo>
                        <a:pt x="506" y="90"/>
                      </a:lnTo>
                      <a:lnTo>
                        <a:pt x="508" y="93"/>
                      </a:lnTo>
                      <a:lnTo>
                        <a:pt x="507" y="97"/>
                      </a:lnTo>
                      <a:lnTo>
                        <a:pt x="507" y="100"/>
                      </a:lnTo>
                      <a:lnTo>
                        <a:pt x="507" y="100"/>
                      </a:lnTo>
                      <a:lnTo>
                        <a:pt x="502" y="98"/>
                      </a:lnTo>
                      <a:lnTo>
                        <a:pt x="493" y="94"/>
                      </a:lnTo>
                      <a:lnTo>
                        <a:pt x="491" y="97"/>
                      </a:lnTo>
                      <a:lnTo>
                        <a:pt x="490" y="95"/>
                      </a:lnTo>
                      <a:lnTo>
                        <a:pt x="494" y="93"/>
                      </a:lnTo>
                      <a:lnTo>
                        <a:pt x="498" y="90"/>
                      </a:lnTo>
                      <a:lnTo>
                        <a:pt x="503" y="89"/>
                      </a:lnTo>
                      <a:close/>
                      <a:moveTo>
                        <a:pt x="2053" y="57"/>
                      </a:moveTo>
                      <a:lnTo>
                        <a:pt x="2052" y="62"/>
                      </a:lnTo>
                      <a:lnTo>
                        <a:pt x="2050" y="70"/>
                      </a:lnTo>
                      <a:lnTo>
                        <a:pt x="2047" y="77"/>
                      </a:lnTo>
                      <a:lnTo>
                        <a:pt x="2046" y="80"/>
                      </a:lnTo>
                      <a:lnTo>
                        <a:pt x="2046" y="82"/>
                      </a:lnTo>
                      <a:lnTo>
                        <a:pt x="2045" y="84"/>
                      </a:lnTo>
                      <a:lnTo>
                        <a:pt x="2045" y="88"/>
                      </a:lnTo>
                      <a:lnTo>
                        <a:pt x="2045" y="90"/>
                      </a:lnTo>
                      <a:lnTo>
                        <a:pt x="2045" y="92"/>
                      </a:lnTo>
                      <a:lnTo>
                        <a:pt x="2046" y="94"/>
                      </a:lnTo>
                      <a:lnTo>
                        <a:pt x="2046" y="98"/>
                      </a:lnTo>
                      <a:lnTo>
                        <a:pt x="2047" y="101"/>
                      </a:lnTo>
                      <a:lnTo>
                        <a:pt x="2046" y="104"/>
                      </a:lnTo>
                      <a:lnTo>
                        <a:pt x="2045" y="108"/>
                      </a:lnTo>
                      <a:lnTo>
                        <a:pt x="2044" y="110"/>
                      </a:lnTo>
                      <a:lnTo>
                        <a:pt x="2043" y="111"/>
                      </a:lnTo>
                      <a:lnTo>
                        <a:pt x="2041" y="111"/>
                      </a:lnTo>
                      <a:lnTo>
                        <a:pt x="2038" y="113"/>
                      </a:lnTo>
                      <a:lnTo>
                        <a:pt x="2036" y="114"/>
                      </a:lnTo>
                      <a:lnTo>
                        <a:pt x="2034" y="115"/>
                      </a:lnTo>
                      <a:lnTo>
                        <a:pt x="2032" y="119"/>
                      </a:lnTo>
                      <a:lnTo>
                        <a:pt x="2031" y="120"/>
                      </a:lnTo>
                      <a:lnTo>
                        <a:pt x="2029" y="120"/>
                      </a:lnTo>
                      <a:lnTo>
                        <a:pt x="2027" y="120"/>
                      </a:lnTo>
                      <a:lnTo>
                        <a:pt x="2025" y="120"/>
                      </a:lnTo>
                      <a:lnTo>
                        <a:pt x="2023" y="121"/>
                      </a:lnTo>
                      <a:lnTo>
                        <a:pt x="2021" y="122"/>
                      </a:lnTo>
                      <a:lnTo>
                        <a:pt x="2020" y="125"/>
                      </a:lnTo>
                      <a:lnTo>
                        <a:pt x="2019" y="128"/>
                      </a:lnTo>
                      <a:lnTo>
                        <a:pt x="2018" y="132"/>
                      </a:lnTo>
                      <a:lnTo>
                        <a:pt x="2016" y="135"/>
                      </a:lnTo>
                      <a:lnTo>
                        <a:pt x="2015" y="137"/>
                      </a:lnTo>
                      <a:lnTo>
                        <a:pt x="2014" y="139"/>
                      </a:lnTo>
                      <a:lnTo>
                        <a:pt x="2012" y="139"/>
                      </a:lnTo>
                      <a:lnTo>
                        <a:pt x="2011" y="142"/>
                      </a:lnTo>
                      <a:lnTo>
                        <a:pt x="2010" y="144"/>
                      </a:lnTo>
                      <a:lnTo>
                        <a:pt x="2010" y="146"/>
                      </a:lnTo>
                      <a:lnTo>
                        <a:pt x="2011" y="147"/>
                      </a:lnTo>
                      <a:lnTo>
                        <a:pt x="2011" y="148"/>
                      </a:lnTo>
                      <a:lnTo>
                        <a:pt x="2012" y="149"/>
                      </a:lnTo>
                      <a:lnTo>
                        <a:pt x="2012" y="150"/>
                      </a:lnTo>
                      <a:lnTo>
                        <a:pt x="2012" y="153"/>
                      </a:lnTo>
                      <a:lnTo>
                        <a:pt x="2012" y="156"/>
                      </a:lnTo>
                      <a:lnTo>
                        <a:pt x="2012" y="158"/>
                      </a:lnTo>
                      <a:lnTo>
                        <a:pt x="2012" y="160"/>
                      </a:lnTo>
                      <a:lnTo>
                        <a:pt x="2012" y="163"/>
                      </a:lnTo>
                      <a:lnTo>
                        <a:pt x="2014" y="165"/>
                      </a:lnTo>
                      <a:lnTo>
                        <a:pt x="2016" y="165"/>
                      </a:lnTo>
                      <a:lnTo>
                        <a:pt x="2018" y="167"/>
                      </a:lnTo>
                      <a:lnTo>
                        <a:pt x="2018" y="170"/>
                      </a:lnTo>
                      <a:lnTo>
                        <a:pt x="2018" y="174"/>
                      </a:lnTo>
                      <a:lnTo>
                        <a:pt x="2018" y="176"/>
                      </a:lnTo>
                      <a:lnTo>
                        <a:pt x="2016" y="178"/>
                      </a:lnTo>
                      <a:lnTo>
                        <a:pt x="2014" y="178"/>
                      </a:lnTo>
                      <a:lnTo>
                        <a:pt x="2013" y="177"/>
                      </a:lnTo>
                      <a:lnTo>
                        <a:pt x="2011" y="177"/>
                      </a:lnTo>
                      <a:lnTo>
                        <a:pt x="2010" y="178"/>
                      </a:lnTo>
                      <a:lnTo>
                        <a:pt x="2009" y="180"/>
                      </a:lnTo>
                      <a:lnTo>
                        <a:pt x="2008" y="182"/>
                      </a:lnTo>
                      <a:lnTo>
                        <a:pt x="2007" y="186"/>
                      </a:lnTo>
                      <a:lnTo>
                        <a:pt x="2005" y="189"/>
                      </a:lnTo>
                      <a:lnTo>
                        <a:pt x="2004" y="191"/>
                      </a:lnTo>
                      <a:lnTo>
                        <a:pt x="2002" y="192"/>
                      </a:lnTo>
                      <a:lnTo>
                        <a:pt x="2000" y="193"/>
                      </a:lnTo>
                      <a:lnTo>
                        <a:pt x="1998" y="192"/>
                      </a:lnTo>
                      <a:lnTo>
                        <a:pt x="1996" y="192"/>
                      </a:lnTo>
                      <a:lnTo>
                        <a:pt x="1994" y="191"/>
                      </a:lnTo>
                      <a:lnTo>
                        <a:pt x="1994" y="189"/>
                      </a:lnTo>
                      <a:lnTo>
                        <a:pt x="1994" y="186"/>
                      </a:lnTo>
                      <a:lnTo>
                        <a:pt x="1994" y="182"/>
                      </a:lnTo>
                      <a:lnTo>
                        <a:pt x="1994" y="179"/>
                      </a:lnTo>
                      <a:lnTo>
                        <a:pt x="1994" y="176"/>
                      </a:lnTo>
                      <a:lnTo>
                        <a:pt x="1994" y="175"/>
                      </a:lnTo>
                      <a:lnTo>
                        <a:pt x="1994" y="172"/>
                      </a:lnTo>
                      <a:lnTo>
                        <a:pt x="1993" y="171"/>
                      </a:lnTo>
                      <a:lnTo>
                        <a:pt x="1992" y="171"/>
                      </a:lnTo>
                      <a:lnTo>
                        <a:pt x="1991" y="171"/>
                      </a:lnTo>
                      <a:lnTo>
                        <a:pt x="1989" y="171"/>
                      </a:lnTo>
                      <a:lnTo>
                        <a:pt x="1988" y="170"/>
                      </a:lnTo>
                      <a:lnTo>
                        <a:pt x="1987" y="169"/>
                      </a:lnTo>
                      <a:lnTo>
                        <a:pt x="1986" y="167"/>
                      </a:lnTo>
                      <a:lnTo>
                        <a:pt x="1985" y="161"/>
                      </a:lnTo>
                      <a:lnTo>
                        <a:pt x="1986" y="154"/>
                      </a:lnTo>
                      <a:lnTo>
                        <a:pt x="1987" y="146"/>
                      </a:lnTo>
                      <a:lnTo>
                        <a:pt x="1988" y="139"/>
                      </a:lnTo>
                      <a:lnTo>
                        <a:pt x="1989" y="136"/>
                      </a:lnTo>
                      <a:lnTo>
                        <a:pt x="1989" y="133"/>
                      </a:lnTo>
                      <a:lnTo>
                        <a:pt x="1989" y="130"/>
                      </a:lnTo>
                      <a:lnTo>
                        <a:pt x="1989" y="127"/>
                      </a:lnTo>
                      <a:lnTo>
                        <a:pt x="1990" y="124"/>
                      </a:lnTo>
                      <a:lnTo>
                        <a:pt x="1990" y="122"/>
                      </a:lnTo>
                      <a:lnTo>
                        <a:pt x="1991" y="120"/>
                      </a:lnTo>
                      <a:lnTo>
                        <a:pt x="1991" y="117"/>
                      </a:lnTo>
                      <a:lnTo>
                        <a:pt x="1991" y="116"/>
                      </a:lnTo>
                      <a:lnTo>
                        <a:pt x="1990" y="113"/>
                      </a:lnTo>
                      <a:lnTo>
                        <a:pt x="1990" y="110"/>
                      </a:lnTo>
                      <a:lnTo>
                        <a:pt x="1989" y="106"/>
                      </a:lnTo>
                      <a:lnTo>
                        <a:pt x="1988" y="104"/>
                      </a:lnTo>
                      <a:lnTo>
                        <a:pt x="1987" y="102"/>
                      </a:lnTo>
                      <a:lnTo>
                        <a:pt x="1985" y="101"/>
                      </a:lnTo>
                      <a:lnTo>
                        <a:pt x="1983" y="99"/>
                      </a:lnTo>
                      <a:lnTo>
                        <a:pt x="1990" y="94"/>
                      </a:lnTo>
                      <a:lnTo>
                        <a:pt x="1991" y="95"/>
                      </a:lnTo>
                      <a:lnTo>
                        <a:pt x="1992" y="98"/>
                      </a:lnTo>
                      <a:lnTo>
                        <a:pt x="1994" y="100"/>
                      </a:lnTo>
                      <a:lnTo>
                        <a:pt x="2053" y="57"/>
                      </a:lnTo>
                      <a:close/>
                      <a:moveTo>
                        <a:pt x="2090" y="28"/>
                      </a:moveTo>
                      <a:lnTo>
                        <a:pt x="2090" y="29"/>
                      </a:lnTo>
                      <a:lnTo>
                        <a:pt x="2090" y="30"/>
                      </a:lnTo>
                      <a:lnTo>
                        <a:pt x="2089" y="32"/>
                      </a:lnTo>
                      <a:lnTo>
                        <a:pt x="2089" y="32"/>
                      </a:lnTo>
                      <a:lnTo>
                        <a:pt x="2089" y="30"/>
                      </a:lnTo>
                      <a:lnTo>
                        <a:pt x="2089" y="33"/>
                      </a:lnTo>
                      <a:lnTo>
                        <a:pt x="2089" y="36"/>
                      </a:lnTo>
                      <a:lnTo>
                        <a:pt x="2090" y="38"/>
                      </a:lnTo>
                      <a:lnTo>
                        <a:pt x="2090" y="40"/>
                      </a:lnTo>
                      <a:lnTo>
                        <a:pt x="2090" y="44"/>
                      </a:lnTo>
                      <a:lnTo>
                        <a:pt x="2089" y="46"/>
                      </a:lnTo>
                      <a:lnTo>
                        <a:pt x="2087" y="48"/>
                      </a:lnTo>
                      <a:lnTo>
                        <a:pt x="2085" y="50"/>
                      </a:lnTo>
                      <a:lnTo>
                        <a:pt x="2085" y="52"/>
                      </a:lnTo>
                      <a:lnTo>
                        <a:pt x="2085" y="55"/>
                      </a:lnTo>
                      <a:lnTo>
                        <a:pt x="2084" y="55"/>
                      </a:lnTo>
                      <a:lnTo>
                        <a:pt x="2084" y="56"/>
                      </a:lnTo>
                      <a:lnTo>
                        <a:pt x="2083" y="55"/>
                      </a:lnTo>
                      <a:lnTo>
                        <a:pt x="2083" y="55"/>
                      </a:lnTo>
                      <a:lnTo>
                        <a:pt x="2081" y="52"/>
                      </a:lnTo>
                      <a:lnTo>
                        <a:pt x="2080" y="50"/>
                      </a:lnTo>
                      <a:lnTo>
                        <a:pt x="2080" y="48"/>
                      </a:lnTo>
                      <a:lnTo>
                        <a:pt x="2080" y="46"/>
                      </a:lnTo>
                      <a:lnTo>
                        <a:pt x="2080" y="45"/>
                      </a:lnTo>
                      <a:lnTo>
                        <a:pt x="2078" y="43"/>
                      </a:lnTo>
                      <a:lnTo>
                        <a:pt x="2077" y="43"/>
                      </a:lnTo>
                      <a:lnTo>
                        <a:pt x="2076" y="43"/>
                      </a:lnTo>
                      <a:lnTo>
                        <a:pt x="2076" y="41"/>
                      </a:lnTo>
                      <a:lnTo>
                        <a:pt x="2075" y="40"/>
                      </a:lnTo>
                      <a:lnTo>
                        <a:pt x="2076" y="40"/>
                      </a:lnTo>
                      <a:lnTo>
                        <a:pt x="2076" y="39"/>
                      </a:lnTo>
                      <a:lnTo>
                        <a:pt x="2076" y="38"/>
                      </a:lnTo>
                      <a:lnTo>
                        <a:pt x="2079" y="35"/>
                      </a:lnTo>
                      <a:lnTo>
                        <a:pt x="2084" y="33"/>
                      </a:lnTo>
                      <a:lnTo>
                        <a:pt x="2086" y="30"/>
                      </a:lnTo>
                      <a:lnTo>
                        <a:pt x="2086" y="32"/>
                      </a:lnTo>
                      <a:lnTo>
                        <a:pt x="2086" y="33"/>
                      </a:lnTo>
                      <a:lnTo>
                        <a:pt x="2086" y="33"/>
                      </a:lnTo>
                      <a:lnTo>
                        <a:pt x="2090" y="29"/>
                      </a:lnTo>
                      <a:lnTo>
                        <a:pt x="2090" y="28"/>
                      </a:lnTo>
                      <a:close/>
                      <a:moveTo>
                        <a:pt x="501" y="1"/>
                      </a:moveTo>
                      <a:lnTo>
                        <a:pt x="498" y="2"/>
                      </a:lnTo>
                      <a:lnTo>
                        <a:pt x="496" y="4"/>
                      </a:lnTo>
                      <a:lnTo>
                        <a:pt x="493" y="6"/>
                      </a:lnTo>
                      <a:lnTo>
                        <a:pt x="491" y="8"/>
                      </a:lnTo>
                      <a:lnTo>
                        <a:pt x="488" y="12"/>
                      </a:lnTo>
                      <a:lnTo>
                        <a:pt x="487" y="14"/>
                      </a:lnTo>
                      <a:lnTo>
                        <a:pt x="487" y="16"/>
                      </a:lnTo>
                      <a:lnTo>
                        <a:pt x="488" y="21"/>
                      </a:lnTo>
                      <a:lnTo>
                        <a:pt x="495" y="24"/>
                      </a:lnTo>
                      <a:lnTo>
                        <a:pt x="502" y="25"/>
                      </a:lnTo>
                      <a:lnTo>
                        <a:pt x="507" y="23"/>
                      </a:lnTo>
                      <a:lnTo>
                        <a:pt x="509" y="15"/>
                      </a:lnTo>
                      <a:lnTo>
                        <a:pt x="507" y="7"/>
                      </a:lnTo>
                      <a:lnTo>
                        <a:pt x="503" y="1"/>
                      </a:lnTo>
                      <a:lnTo>
                        <a:pt x="501" y="1"/>
                      </a:lnTo>
                      <a:close/>
                      <a:moveTo>
                        <a:pt x="2232" y="0"/>
                      </a:moveTo>
                      <a:lnTo>
                        <a:pt x="2232" y="0"/>
                      </a:lnTo>
                      <a:lnTo>
                        <a:pt x="2230" y="1"/>
                      </a:lnTo>
                      <a:lnTo>
                        <a:pt x="2229" y="2"/>
                      </a:lnTo>
                      <a:lnTo>
                        <a:pt x="2228" y="3"/>
                      </a:lnTo>
                      <a:lnTo>
                        <a:pt x="2227" y="4"/>
                      </a:lnTo>
                      <a:lnTo>
                        <a:pt x="2226" y="5"/>
                      </a:lnTo>
                      <a:lnTo>
                        <a:pt x="2223" y="7"/>
                      </a:lnTo>
                      <a:lnTo>
                        <a:pt x="2222" y="11"/>
                      </a:lnTo>
                      <a:lnTo>
                        <a:pt x="2220" y="15"/>
                      </a:lnTo>
                      <a:lnTo>
                        <a:pt x="2220" y="19"/>
                      </a:lnTo>
                      <a:lnTo>
                        <a:pt x="2219" y="24"/>
                      </a:lnTo>
                      <a:lnTo>
                        <a:pt x="2218" y="28"/>
                      </a:lnTo>
                      <a:lnTo>
                        <a:pt x="2218" y="29"/>
                      </a:lnTo>
                      <a:lnTo>
                        <a:pt x="2218" y="33"/>
                      </a:lnTo>
                      <a:lnTo>
                        <a:pt x="2218" y="36"/>
                      </a:lnTo>
                      <a:lnTo>
                        <a:pt x="2219" y="39"/>
                      </a:lnTo>
                      <a:lnTo>
                        <a:pt x="2219" y="41"/>
                      </a:lnTo>
                      <a:lnTo>
                        <a:pt x="2220" y="44"/>
                      </a:lnTo>
                      <a:lnTo>
                        <a:pt x="2222" y="44"/>
                      </a:lnTo>
                      <a:lnTo>
                        <a:pt x="2223" y="43"/>
                      </a:lnTo>
                      <a:lnTo>
                        <a:pt x="2225" y="43"/>
                      </a:lnTo>
                      <a:lnTo>
                        <a:pt x="2226" y="43"/>
                      </a:lnTo>
                      <a:lnTo>
                        <a:pt x="2226" y="43"/>
                      </a:lnTo>
                      <a:lnTo>
                        <a:pt x="2227" y="41"/>
                      </a:lnTo>
                      <a:lnTo>
                        <a:pt x="2228" y="40"/>
                      </a:lnTo>
                      <a:lnTo>
                        <a:pt x="2230" y="38"/>
                      </a:lnTo>
                      <a:lnTo>
                        <a:pt x="2230" y="36"/>
                      </a:lnTo>
                      <a:lnTo>
                        <a:pt x="2231" y="33"/>
                      </a:lnTo>
                      <a:lnTo>
                        <a:pt x="2231" y="30"/>
                      </a:lnTo>
                      <a:lnTo>
                        <a:pt x="2232" y="28"/>
                      </a:lnTo>
                      <a:lnTo>
                        <a:pt x="2233" y="26"/>
                      </a:lnTo>
                      <a:lnTo>
                        <a:pt x="2234" y="23"/>
                      </a:lnTo>
                      <a:lnTo>
                        <a:pt x="2236" y="21"/>
                      </a:lnTo>
                      <a:lnTo>
                        <a:pt x="2236" y="17"/>
                      </a:lnTo>
                      <a:lnTo>
                        <a:pt x="2236" y="15"/>
                      </a:lnTo>
                      <a:lnTo>
                        <a:pt x="2234" y="13"/>
                      </a:lnTo>
                      <a:lnTo>
                        <a:pt x="2234" y="11"/>
                      </a:lnTo>
                      <a:lnTo>
                        <a:pt x="2233" y="8"/>
                      </a:lnTo>
                      <a:lnTo>
                        <a:pt x="2234" y="6"/>
                      </a:lnTo>
                      <a:lnTo>
                        <a:pt x="2236" y="5"/>
                      </a:lnTo>
                      <a:lnTo>
                        <a:pt x="2236" y="3"/>
                      </a:lnTo>
                      <a:lnTo>
                        <a:pt x="2234" y="2"/>
                      </a:lnTo>
                      <a:lnTo>
                        <a:pt x="2233" y="2"/>
                      </a:lnTo>
                      <a:lnTo>
                        <a:pt x="2233" y="1"/>
                      </a:lnTo>
                      <a:lnTo>
                        <a:pt x="2232"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35" name="Freeform 32"/>
                <p:cNvSpPr>
                  <a:spLocks noEditPoints="1"/>
                </p:cNvSpPr>
                <p:nvPr/>
              </p:nvSpPr>
              <p:spPr bwMode="auto">
                <a:xfrm>
                  <a:off x="5566" y="833"/>
                  <a:ext cx="438" cy="180"/>
                </a:xfrm>
                <a:custGeom>
                  <a:avLst/>
                  <a:gdLst>
                    <a:gd name="T0" fmla="*/ 2823 w 3068"/>
                    <a:gd name="T1" fmla="*/ 354 h 1258"/>
                    <a:gd name="T2" fmla="*/ 2836 w 3068"/>
                    <a:gd name="T3" fmla="*/ 404 h 1258"/>
                    <a:gd name="T4" fmla="*/ 2846 w 3068"/>
                    <a:gd name="T5" fmla="*/ 338 h 1258"/>
                    <a:gd name="T6" fmla="*/ 2848 w 3068"/>
                    <a:gd name="T7" fmla="*/ 278 h 1258"/>
                    <a:gd name="T8" fmla="*/ 2949 w 3068"/>
                    <a:gd name="T9" fmla="*/ 250 h 1258"/>
                    <a:gd name="T10" fmla="*/ 22 w 3068"/>
                    <a:gd name="T11" fmla="*/ 166 h 1258"/>
                    <a:gd name="T12" fmla="*/ 924 w 3068"/>
                    <a:gd name="T13" fmla="*/ 209 h 1258"/>
                    <a:gd name="T14" fmla="*/ 406 w 3068"/>
                    <a:gd name="T15" fmla="*/ 176 h 1258"/>
                    <a:gd name="T16" fmla="*/ 932 w 3068"/>
                    <a:gd name="T17" fmla="*/ 142 h 1258"/>
                    <a:gd name="T18" fmla="*/ 948 w 3068"/>
                    <a:gd name="T19" fmla="*/ 138 h 1258"/>
                    <a:gd name="T20" fmla="*/ 56 w 3068"/>
                    <a:gd name="T21" fmla="*/ 136 h 1258"/>
                    <a:gd name="T22" fmla="*/ 65 w 3068"/>
                    <a:gd name="T23" fmla="*/ 111 h 1258"/>
                    <a:gd name="T24" fmla="*/ 108 w 3068"/>
                    <a:gd name="T25" fmla="*/ 111 h 1258"/>
                    <a:gd name="T26" fmla="*/ 2448 w 3068"/>
                    <a:gd name="T27" fmla="*/ 187 h 1258"/>
                    <a:gd name="T28" fmla="*/ 2423 w 3068"/>
                    <a:gd name="T29" fmla="*/ 126 h 1258"/>
                    <a:gd name="T30" fmla="*/ 2442 w 3068"/>
                    <a:gd name="T31" fmla="*/ 96 h 1258"/>
                    <a:gd name="T32" fmla="*/ 86 w 3068"/>
                    <a:gd name="T33" fmla="*/ 104 h 1258"/>
                    <a:gd name="T34" fmla="*/ 400 w 3068"/>
                    <a:gd name="T35" fmla="*/ 78 h 1258"/>
                    <a:gd name="T36" fmla="*/ 369 w 3068"/>
                    <a:gd name="T37" fmla="*/ 47 h 1258"/>
                    <a:gd name="T38" fmla="*/ 3046 w 3068"/>
                    <a:gd name="T39" fmla="*/ 349 h 1258"/>
                    <a:gd name="T40" fmla="*/ 2949 w 3068"/>
                    <a:gd name="T41" fmla="*/ 602 h 1258"/>
                    <a:gd name="T42" fmla="*/ 2915 w 3068"/>
                    <a:gd name="T43" fmla="*/ 684 h 1258"/>
                    <a:gd name="T44" fmla="*/ 2906 w 3068"/>
                    <a:gd name="T45" fmla="*/ 572 h 1258"/>
                    <a:gd name="T46" fmla="*/ 2882 w 3068"/>
                    <a:gd name="T47" fmla="*/ 538 h 1258"/>
                    <a:gd name="T48" fmla="*/ 2834 w 3068"/>
                    <a:gd name="T49" fmla="*/ 530 h 1258"/>
                    <a:gd name="T50" fmla="*/ 2798 w 3068"/>
                    <a:gd name="T51" fmla="*/ 505 h 1258"/>
                    <a:gd name="T52" fmla="*/ 2830 w 3068"/>
                    <a:gd name="T53" fmla="*/ 546 h 1258"/>
                    <a:gd name="T54" fmla="*/ 2830 w 3068"/>
                    <a:gd name="T55" fmla="*/ 610 h 1258"/>
                    <a:gd name="T56" fmla="*/ 2778 w 3068"/>
                    <a:gd name="T57" fmla="*/ 681 h 1258"/>
                    <a:gd name="T58" fmla="*/ 2737 w 3068"/>
                    <a:gd name="T59" fmla="*/ 689 h 1258"/>
                    <a:gd name="T60" fmla="*/ 2719 w 3068"/>
                    <a:gd name="T61" fmla="*/ 562 h 1258"/>
                    <a:gd name="T62" fmla="*/ 2710 w 3068"/>
                    <a:gd name="T63" fmla="*/ 660 h 1258"/>
                    <a:gd name="T64" fmla="*/ 2730 w 3068"/>
                    <a:gd name="T65" fmla="*/ 732 h 1258"/>
                    <a:gd name="T66" fmla="*/ 2761 w 3068"/>
                    <a:gd name="T67" fmla="*/ 751 h 1258"/>
                    <a:gd name="T68" fmla="*/ 2658 w 3068"/>
                    <a:gd name="T69" fmla="*/ 919 h 1258"/>
                    <a:gd name="T70" fmla="*/ 2604 w 3068"/>
                    <a:gd name="T71" fmla="*/ 1045 h 1258"/>
                    <a:gd name="T72" fmla="*/ 2510 w 3068"/>
                    <a:gd name="T73" fmla="*/ 1191 h 1258"/>
                    <a:gd name="T74" fmla="*/ 2414 w 3068"/>
                    <a:gd name="T75" fmla="*/ 1258 h 1258"/>
                    <a:gd name="T76" fmla="*/ 2413 w 3068"/>
                    <a:gd name="T77" fmla="*/ 1217 h 1258"/>
                    <a:gd name="T78" fmla="*/ 2420 w 3068"/>
                    <a:gd name="T79" fmla="*/ 1110 h 1258"/>
                    <a:gd name="T80" fmla="*/ 2461 w 3068"/>
                    <a:gd name="T81" fmla="*/ 1024 h 1258"/>
                    <a:gd name="T82" fmla="*/ 2475 w 3068"/>
                    <a:gd name="T83" fmla="*/ 912 h 1258"/>
                    <a:gd name="T84" fmla="*/ 2430 w 3068"/>
                    <a:gd name="T85" fmla="*/ 907 h 1258"/>
                    <a:gd name="T86" fmla="*/ 2311 w 3068"/>
                    <a:gd name="T87" fmla="*/ 961 h 1258"/>
                    <a:gd name="T88" fmla="*/ 2274 w 3068"/>
                    <a:gd name="T89" fmla="*/ 914 h 1258"/>
                    <a:gd name="T90" fmla="*/ 2294 w 3068"/>
                    <a:gd name="T91" fmla="*/ 759 h 1258"/>
                    <a:gd name="T92" fmla="*/ 2425 w 3068"/>
                    <a:gd name="T93" fmla="*/ 555 h 1258"/>
                    <a:gd name="T94" fmla="*/ 2500 w 3068"/>
                    <a:gd name="T95" fmla="*/ 500 h 1258"/>
                    <a:gd name="T96" fmla="*/ 2563 w 3068"/>
                    <a:gd name="T97" fmla="*/ 474 h 1258"/>
                    <a:gd name="T98" fmla="*/ 2574 w 3068"/>
                    <a:gd name="T99" fmla="*/ 526 h 1258"/>
                    <a:gd name="T100" fmla="*/ 2616 w 3068"/>
                    <a:gd name="T101" fmla="*/ 556 h 1258"/>
                    <a:gd name="T102" fmla="*/ 2667 w 3068"/>
                    <a:gd name="T103" fmla="*/ 526 h 1258"/>
                    <a:gd name="T104" fmla="*/ 2708 w 3068"/>
                    <a:gd name="T105" fmla="*/ 505 h 1258"/>
                    <a:gd name="T106" fmla="*/ 2741 w 3068"/>
                    <a:gd name="T107" fmla="*/ 436 h 1258"/>
                    <a:gd name="T108" fmla="*/ 2695 w 3068"/>
                    <a:gd name="T109" fmla="*/ 445 h 1258"/>
                    <a:gd name="T110" fmla="*/ 2719 w 3068"/>
                    <a:gd name="T111" fmla="*/ 372 h 1258"/>
                    <a:gd name="T112" fmla="*/ 2779 w 3068"/>
                    <a:gd name="T113" fmla="*/ 338 h 1258"/>
                    <a:gd name="T114" fmla="*/ 2768 w 3068"/>
                    <a:gd name="T115" fmla="*/ 272 h 1258"/>
                    <a:gd name="T116" fmla="*/ 2655 w 3068"/>
                    <a:gd name="T117" fmla="*/ 29 h 1258"/>
                    <a:gd name="T118" fmla="*/ 2768 w 3068"/>
                    <a:gd name="T119" fmla="*/ 13 h 1258"/>
                    <a:gd name="T120" fmla="*/ 368 w 3068"/>
                    <a:gd name="T121" fmla="*/ 18 h 1258"/>
                    <a:gd name="T122" fmla="*/ 182 w 3068"/>
                    <a:gd name="T123" fmla="*/ 9 h 1258"/>
                    <a:gd name="T124" fmla="*/ 178 w 3068"/>
                    <a:gd name="T125" fmla="*/ 1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8" h="1258">
                      <a:moveTo>
                        <a:pt x="2843" y="243"/>
                      </a:moveTo>
                      <a:lnTo>
                        <a:pt x="2840" y="245"/>
                      </a:lnTo>
                      <a:lnTo>
                        <a:pt x="2838" y="246"/>
                      </a:lnTo>
                      <a:lnTo>
                        <a:pt x="2836" y="248"/>
                      </a:lnTo>
                      <a:lnTo>
                        <a:pt x="2836" y="250"/>
                      </a:lnTo>
                      <a:lnTo>
                        <a:pt x="2835" y="252"/>
                      </a:lnTo>
                      <a:lnTo>
                        <a:pt x="2834" y="254"/>
                      </a:lnTo>
                      <a:lnTo>
                        <a:pt x="2832" y="256"/>
                      </a:lnTo>
                      <a:lnTo>
                        <a:pt x="2830" y="257"/>
                      </a:lnTo>
                      <a:lnTo>
                        <a:pt x="2828" y="257"/>
                      </a:lnTo>
                      <a:lnTo>
                        <a:pt x="2827" y="257"/>
                      </a:lnTo>
                      <a:lnTo>
                        <a:pt x="2825" y="257"/>
                      </a:lnTo>
                      <a:lnTo>
                        <a:pt x="2823" y="259"/>
                      </a:lnTo>
                      <a:lnTo>
                        <a:pt x="2822" y="261"/>
                      </a:lnTo>
                      <a:lnTo>
                        <a:pt x="2821" y="264"/>
                      </a:lnTo>
                      <a:lnTo>
                        <a:pt x="2821" y="268"/>
                      </a:lnTo>
                      <a:lnTo>
                        <a:pt x="2819" y="271"/>
                      </a:lnTo>
                      <a:lnTo>
                        <a:pt x="2818" y="274"/>
                      </a:lnTo>
                      <a:lnTo>
                        <a:pt x="2816" y="281"/>
                      </a:lnTo>
                      <a:lnTo>
                        <a:pt x="2815" y="287"/>
                      </a:lnTo>
                      <a:lnTo>
                        <a:pt x="2814" y="296"/>
                      </a:lnTo>
                      <a:lnTo>
                        <a:pt x="2814" y="318"/>
                      </a:lnTo>
                      <a:lnTo>
                        <a:pt x="2815" y="323"/>
                      </a:lnTo>
                      <a:lnTo>
                        <a:pt x="2816" y="327"/>
                      </a:lnTo>
                      <a:lnTo>
                        <a:pt x="2816" y="332"/>
                      </a:lnTo>
                      <a:lnTo>
                        <a:pt x="2817" y="334"/>
                      </a:lnTo>
                      <a:lnTo>
                        <a:pt x="2818" y="336"/>
                      </a:lnTo>
                      <a:lnTo>
                        <a:pt x="2819" y="338"/>
                      </a:lnTo>
                      <a:lnTo>
                        <a:pt x="2821" y="340"/>
                      </a:lnTo>
                      <a:lnTo>
                        <a:pt x="2821" y="349"/>
                      </a:lnTo>
                      <a:lnTo>
                        <a:pt x="2822" y="350"/>
                      </a:lnTo>
                      <a:lnTo>
                        <a:pt x="2823" y="354"/>
                      </a:lnTo>
                      <a:lnTo>
                        <a:pt x="2823" y="357"/>
                      </a:lnTo>
                      <a:lnTo>
                        <a:pt x="2823" y="360"/>
                      </a:lnTo>
                      <a:lnTo>
                        <a:pt x="2822" y="363"/>
                      </a:lnTo>
                      <a:lnTo>
                        <a:pt x="2819" y="367"/>
                      </a:lnTo>
                      <a:lnTo>
                        <a:pt x="2818" y="370"/>
                      </a:lnTo>
                      <a:lnTo>
                        <a:pt x="2818" y="372"/>
                      </a:lnTo>
                      <a:lnTo>
                        <a:pt x="2817" y="377"/>
                      </a:lnTo>
                      <a:lnTo>
                        <a:pt x="2816" y="381"/>
                      </a:lnTo>
                      <a:lnTo>
                        <a:pt x="2816" y="385"/>
                      </a:lnTo>
                      <a:lnTo>
                        <a:pt x="2816" y="388"/>
                      </a:lnTo>
                      <a:lnTo>
                        <a:pt x="2815" y="391"/>
                      </a:lnTo>
                      <a:lnTo>
                        <a:pt x="2815" y="393"/>
                      </a:lnTo>
                      <a:lnTo>
                        <a:pt x="2816" y="396"/>
                      </a:lnTo>
                      <a:lnTo>
                        <a:pt x="2816" y="398"/>
                      </a:lnTo>
                      <a:lnTo>
                        <a:pt x="2817" y="398"/>
                      </a:lnTo>
                      <a:lnTo>
                        <a:pt x="2817" y="398"/>
                      </a:lnTo>
                      <a:lnTo>
                        <a:pt x="2818" y="399"/>
                      </a:lnTo>
                      <a:lnTo>
                        <a:pt x="2818" y="399"/>
                      </a:lnTo>
                      <a:lnTo>
                        <a:pt x="2821" y="401"/>
                      </a:lnTo>
                      <a:lnTo>
                        <a:pt x="2822" y="403"/>
                      </a:lnTo>
                      <a:lnTo>
                        <a:pt x="2823" y="405"/>
                      </a:lnTo>
                      <a:lnTo>
                        <a:pt x="2823" y="409"/>
                      </a:lnTo>
                      <a:lnTo>
                        <a:pt x="2823" y="410"/>
                      </a:lnTo>
                      <a:lnTo>
                        <a:pt x="2824" y="411"/>
                      </a:lnTo>
                      <a:lnTo>
                        <a:pt x="2825" y="412"/>
                      </a:lnTo>
                      <a:lnTo>
                        <a:pt x="2826" y="413"/>
                      </a:lnTo>
                      <a:lnTo>
                        <a:pt x="2828" y="412"/>
                      </a:lnTo>
                      <a:lnTo>
                        <a:pt x="2829" y="410"/>
                      </a:lnTo>
                      <a:lnTo>
                        <a:pt x="2832" y="407"/>
                      </a:lnTo>
                      <a:lnTo>
                        <a:pt x="2834" y="405"/>
                      </a:lnTo>
                      <a:lnTo>
                        <a:pt x="2835" y="405"/>
                      </a:lnTo>
                      <a:lnTo>
                        <a:pt x="2836" y="404"/>
                      </a:lnTo>
                      <a:lnTo>
                        <a:pt x="2837" y="404"/>
                      </a:lnTo>
                      <a:lnTo>
                        <a:pt x="2838" y="403"/>
                      </a:lnTo>
                      <a:lnTo>
                        <a:pt x="2839" y="402"/>
                      </a:lnTo>
                      <a:lnTo>
                        <a:pt x="2840" y="401"/>
                      </a:lnTo>
                      <a:lnTo>
                        <a:pt x="2840" y="400"/>
                      </a:lnTo>
                      <a:lnTo>
                        <a:pt x="2840" y="396"/>
                      </a:lnTo>
                      <a:lnTo>
                        <a:pt x="2841" y="382"/>
                      </a:lnTo>
                      <a:lnTo>
                        <a:pt x="2843" y="368"/>
                      </a:lnTo>
                      <a:lnTo>
                        <a:pt x="2843" y="366"/>
                      </a:lnTo>
                      <a:lnTo>
                        <a:pt x="2843" y="363"/>
                      </a:lnTo>
                      <a:lnTo>
                        <a:pt x="2843" y="361"/>
                      </a:lnTo>
                      <a:lnTo>
                        <a:pt x="2841" y="360"/>
                      </a:lnTo>
                      <a:lnTo>
                        <a:pt x="2840" y="360"/>
                      </a:lnTo>
                      <a:lnTo>
                        <a:pt x="2839" y="359"/>
                      </a:lnTo>
                      <a:lnTo>
                        <a:pt x="2838" y="358"/>
                      </a:lnTo>
                      <a:lnTo>
                        <a:pt x="2838" y="356"/>
                      </a:lnTo>
                      <a:lnTo>
                        <a:pt x="2838" y="354"/>
                      </a:lnTo>
                      <a:lnTo>
                        <a:pt x="2838" y="351"/>
                      </a:lnTo>
                      <a:lnTo>
                        <a:pt x="2839" y="350"/>
                      </a:lnTo>
                      <a:lnTo>
                        <a:pt x="2839" y="350"/>
                      </a:lnTo>
                      <a:lnTo>
                        <a:pt x="2840" y="350"/>
                      </a:lnTo>
                      <a:lnTo>
                        <a:pt x="2840" y="351"/>
                      </a:lnTo>
                      <a:lnTo>
                        <a:pt x="2843" y="351"/>
                      </a:lnTo>
                      <a:lnTo>
                        <a:pt x="2844" y="351"/>
                      </a:lnTo>
                      <a:lnTo>
                        <a:pt x="2846" y="351"/>
                      </a:lnTo>
                      <a:lnTo>
                        <a:pt x="2847" y="351"/>
                      </a:lnTo>
                      <a:lnTo>
                        <a:pt x="2848" y="349"/>
                      </a:lnTo>
                      <a:lnTo>
                        <a:pt x="2848" y="347"/>
                      </a:lnTo>
                      <a:lnTo>
                        <a:pt x="2848" y="344"/>
                      </a:lnTo>
                      <a:lnTo>
                        <a:pt x="2847" y="341"/>
                      </a:lnTo>
                      <a:lnTo>
                        <a:pt x="2847" y="340"/>
                      </a:lnTo>
                      <a:lnTo>
                        <a:pt x="2846" y="338"/>
                      </a:lnTo>
                      <a:lnTo>
                        <a:pt x="2846" y="336"/>
                      </a:lnTo>
                      <a:lnTo>
                        <a:pt x="2845" y="334"/>
                      </a:lnTo>
                      <a:lnTo>
                        <a:pt x="2844" y="333"/>
                      </a:lnTo>
                      <a:lnTo>
                        <a:pt x="2843" y="333"/>
                      </a:lnTo>
                      <a:lnTo>
                        <a:pt x="2840" y="334"/>
                      </a:lnTo>
                      <a:lnTo>
                        <a:pt x="2839" y="333"/>
                      </a:lnTo>
                      <a:lnTo>
                        <a:pt x="2839" y="332"/>
                      </a:lnTo>
                      <a:lnTo>
                        <a:pt x="2839" y="329"/>
                      </a:lnTo>
                      <a:lnTo>
                        <a:pt x="2839" y="327"/>
                      </a:lnTo>
                      <a:lnTo>
                        <a:pt x="2840" y="325"/>
                      </a:lnTo>
                      <a:lnTo>
                        <a:pt x="2840" y="323"/>
                      </a:lnTo>
                      <a:lnTo>
                        <a:pt x="2840" y="321"/>
                      </a:lnTo>
                      <a:lnTo>
                        <a:pt x="2840" y="318"/>
                      </a:lnTo>
                      <a:lnTo>
                        <a:pt x="2839" y="316"/>
                      </a:lnTo>
                      <a:lnTo>
                        <a:pt x="2837" y="315"/>
                      </a:lnTo>
                      <a:lnTo>
                        <a:pt x="2836" y="314"/>
                      </a:lnTo>
                      <a:lnTo>
                        <a:pt x="2836" y="312"/>
                      </a:lnTo>
                      <a:lnTo>
                        <a:pt x="2836" y="301"/>
                      </a:lnTo>
                      <a:lnTo>
                        <a:pt x="2836" y="298"/>
                      </a:lnTo>
                      <a:lnTo>
                        <a:pt x="2835" y="296"/>
                      </a:lnTo>
                      <a:lnTo>
                        <a:pt x="2834" y="294"/>
                      </a:lnTo>
                      <a:lnTo>
                        <a:pt x="2834" y="290"/>
                      </a:lnTo>
                      <a:lnTo>
                        <a:pt x="2835" y="285"/>
                      </a:lnTo>
                      <a:lnTo>
                        <a:pt x="2837" y="282"/>
                      </a:lnTo>
                      <a:lnTo>
                        <a:pt x="2838" y="279"/>
                      </a:lnTo>
                      <a:lnTo>
                        <a:pt x="2839" y="276"/>
                      </a:lnTo>
                      <a:lnTo>
                        <a:pt x="2841" y="274"/>
                      </a:lnTo>
                      <a:lnTo>
                        <a:pt x="2843" y="274"/>
                      </a:lnTo>
                      <a:lnTo>
                        <a:pt x="2845" y="274"/>
                      </a:lnTo>
                      <a:lnTo>
                        <a:pt x="2847" y="276"/>
                      </a:lnTo>
                      <a:lnTo>
                        <a:pt x="2847" y="276"/>
                      </a:lnTo>
                      <a:lnTo>
                        <a:pt x="2848" y="278"/>
                      </a:lnTo>
                      <a:lnTo>
                        <a:pt x="2849" y="278"/>
                      </a:lnTo>
                      <a:lnTo>
                        <a:pt x="2850" y="279"/>
                      </a:lnTo>
                      <a:lnTo>
                        <a:pt x="2851" y="278"/>
                      </a:lnTo>
                      <a:lnTo>
                        <a:pt x="2851" y="276"/>
                      </a:lnTo>
                      <a:lnTo>
                        <a:pt x="2851" y="272"/>
                      </a:lnTo>
                      <a:lnTo>
                        <a:pt x="2850" y="268"/>
                      </a:lnTo>
                      <a:lnTo>
                        <a:pt x="2849" y="263"/>
                      </a:lnTo>
                      <a:lnTo>
                        <a:pt x="2847" y="256"/>
                      </a:lnTo>
                      <a:lnTo>
                        <a:pt x="2845" y="248"/>
                      </a:lnTo>
                      <a:lnTo>
                        <a:pt x="2843" y="243"/>
                      </a:lnTo>
                      <a:close/>
                      <a:moveTo>
                        <a:pt x="2956" y="241"/>
                      </a:moveTo>
                      <a:lnTo>
                        <a:pt x="2953" y="241"/>
                      </a:lnTo>
                      <a:lnTo>
                        <a:pt x="2950" y="242"/>
                      </a:lnTo>
                      <a:lnTo>
                        <a:pt x="2948" y="243"/>
                      </a:lnTo>
                      <a:lnTo>
                        <a:pt x="2947" y="247"/>
                      </a:lnTo>
                      <a:lnTo>
                        <a:pt x="2946" y="250"/>
                      </a:lnTo>
                      <a:lnTo>
                        <a:pt x="2945" y="252"/>
                      </a:lnTo>
                      <a:lnTo>
                        <a:pt x="2944" y="254"/>
                      </a:lnTo>
                      <a:lnTo>
                        <a:pt x="2944" y="258"/>
                      </a:lnTo>
                      <a:lnTo>
                        <a:pt x="2944" y="261"/>
                      </a:lnTo>
                      <a:lnTo>
                        <a:pt x="2944" y="264"/>
                      </a:lnTo>
                      <a:lnTo>
                        <a:pt x="2944" y="268"/>
                      </a:lnTo>
                      <a:lnTo>
                        <a:pt x="2945" y="267"/>
                      </a:lnTo>
                      <a:lnTo>
                        <a:pt x="2945" y="265"/>
                      </a:lnTo>
                      <a:lnTo>
                        <a:pt x="2945" y="263"/>
                      </a:lnTo>
                      <a:lnTo>
                        <a:pt x="2946" y="260"/>
                      </a:lnTo>
                      <a:lnTo>
                        <a:pt x="2946" y="258"/>
                      </a:lnTo>
                      <a:lnTo>
                        <a:pt x="2946" y="257"/>
                      </a:lnTo>
                      <a:lnTo>
                        <a:pt x="2947" y="256"/>
                      </a:lnTo>
                      <a:lnTo>
                        <a:pt x="2948" y="253"/>
                      </a:lnTo>
                      <a:lnTo>
                        <a:pt x="2949" y="251"/>
                      </a:lnTo>
                      <a:lnTo>
                        <a:pt x="2949" y="250"/>
                      </a:lnTo>
                      <a:lnTo>
                        <a:pt x="2950" y="250"/>
                      </a:lnTo>
                      <a:lnTo>
                        <a:pt x="2953" y="249"/>
                      </a:lnTo>
                      <a:lnTo>
                        <a:pt x="2955" y="248"/>
                      </a:lnTo>
                      <a:lnTo>
                        <a:pt x="2958" y="247"/>
                      </a:lnTo>
                      <a:lnTo>
                        <a:pt x="2959" y="246"/>
                      </a:lnTo>
                      <a:lnTo>
                        <a:pt x="2960" y="246"/>
                      </a:lnTo>
                      <a:lnTo>
                        <a:pt x="2960" y="246"/>
                      </a:lnTo>
                      <a:lnTo>
                        <a:pt x="2961" y="245"/>
                      </a:lnTo>
                      <a:lnTo>
                        <a:pt x="2963" y="243"/>
                      </a:lnTo>
                      <a:lnTo>
                        <a:pt x="2960" y="245"/>
                      </a:lnTo>
                      <a:lnTo>
                        <a:pt x="2959" y="243"/>
                      </a:lnTo>
                      <a:lnTo>
                        <a:pt x="2958" y="242"/>
                      </a:lnTo>
                      <a:lnTo>
                        <a:pt x="2957" y="241"/>
                      </a:lnTo>
                      <a:lnTo>
                        <a:pt x="2956" y="241"/>
                      </a:lnTo>
                      <a:close/>
                      <a:moveTo>
                        <a:pt x="0" y="174"/>
                      </a:moveTo>
                      <a:lnTo>
                        <a:pt x="2" y="174"/>
                      </a:lnTo>
                      <a:lnTo>
                        <a:pt x="4" y="175"/>
                      </a:lnTo>
                      <a:lnTo>
                        <a:pt x="4" y="176"/>
                      </a:lnTo>
                      <a:lnTo>
                        <a:pt x="4" y="178"/>
                      </a:lnTo>
                      <a:lnTo>
                        <a:pt x="3" y="180"/>
                      </a:lnTo>
                      <a:lnTo>
                        <a:pt x="2" y="181"/>
                      </a:lnTo>
                      <a:lnTo>
                        <a:pt x="1" y="182"/>
                      </a:lnTo>
                      <a:lnTo>
                        <a:pt x="0" y="183"/>
                      </a:lnTo>
                      <a:lnTo>
                        <a:pt x="0" y="183"/>
                      </a:lnTo>
                      <a:lnTo>
                        <a:pt x="0" y="174"/>
                      </a:lnTo>
                      <a:close/>
                      <a:moveTo>
                        <a:pt x="17" y="165"/>
                      </a:moveTo>
                      <a:lnTo>
                        <a:pt x="28" y="165"/>
                      </a:lnTo>
                      <a:lnTo>
                        <a:pt x="28" y="166"/>
                      </a:lnTo>
                      <a:lnTo>
                        <a:pt x="26" y="167"/>
                      </a:lnTo>
                      <a:lnTo>
                        <a:pt x="25" y="167"/>
                      </a:lnTo>
                      <a:lnTo>
                        <a:pt x="24" y="167"/>
                      </a:lnTo>
                      <a:lnTo>
                        <a:pt x="22" y="166"/>
                      </a:lnTo>
                      <a:lnTo>
                        <a:pt x="21" y="166"/>
                      </a:lnTo>
                      <a:lnTo>
                        <a:pt x="19" y="167"/>
                      </a:lnTo>
                      <a:lnTo>
                        <a:pt x="18" y="169"/>
                      </a:lnTo>
                      <a:lnTo>
                        <a:pt x="17" y="170"/>
                      </a:lnTo>
                      <a:lnTo>
                        <a:pt x="15" y="172"/>
                      </a:lnTo>
                      <a:lnTo>
                        <a:pt x="14" y="173"/>
                      </a:lnTo>
                      <a:lnTo>
                        <a:pt x="13" y="172"/>
                      </a:lnTo>
                      <a:lnTo>
                        <a:pt x="12" y="171"/>
                      </a:lnTo>
                      <a:lnTo>
                        <a:pt x="12" y="170"/>
                      </a:lnTo>
                      <a:lnTo>
                        <a:pt x="13" y="169"/>
                      </a:lnTo>
                      <a:lnTo>
                        <a:pt x="15" y="167"/>
                      </a:lnTo>
                      <a:lnTo>
                        <a:pt x="17" y="166"/>
                      </a:lnTo>
                      <a:lnTo>
                        <a:pt x="17" y="165"/>
                      </a:lnTo>
                      <a:close/>
                      <a:moveTo>
                        <a:pt x="908" y="161"/>
                      </a:moveTo>
                      <a:lnTo>
                        <a:pt x="904" y="161"/>
                      </a:lnTo>
                      <a:lnTo>
                        <a:pt x="901" y="163"/>
                      </a:lnTo>
                      <a:lnTo>
                        <a:pt x="901" y="167"/>
                      </a:lnTo>
                      <a:lnTo>
                        <a:pt x="902" y="171"/>
                      </a:lnTo>
                      <a:lnTo>
                        <a:pt x="903" y="172"/>
                      </a:lnTo>
                      <a:lnTo>
                        <a:pt x="905" y="174"/>
                      </a:lnTo>
                      <a:lnTo>
                        <a:pt x="908" y="175"/>
                      </a:lnTo>
                      <a:lnTo>
                        <a:pt x="910" y="176"/>
                      </a:lnTo>
                      <a:lnTo>
                        <a:pt x="914" y="178"/>
                      </a:lnTo>
                      <a:lnTo>
                        <a:pt x="915" y="181"/>
                      </a:lnTo>
                      <a:lnTo>
                        <a:pt x="916" y="183"/>
                      </a:lnTo>
                      <a:lnTo>
                        <a:pt x="917" y="186"/>
                      </a:lnTo>
                      <a:lnTo>
                        <a:pt x="917" y="188"/>
                      </a:lnTo>
                      <a:lnTo>
                        <a:pt x="918" y="192"/>
                      </a:lnTo>
                      <a:lnTo>
                        <a:pt x="919" y="195"/>
                      </a:lnTo>
                      <a:lnTo>
                        <a:pt x="920" y="201"/>
                      </a:lnTo>
                      <a:lnTo>
                        <a:pt x="921" y="206"/>
                      </a:lnTo>
                      <a:lnTo>
                        <a:pt x="924" y="209"/>
                      </a:lnTo>
                      <a:lnTo>
                        <a:pt x="925" y="209"/>
                      </a:lnTo>
                      <a:lnTo>
                        <a:pt x="926" y="204"/>
                      </a:lnTo>
                      <a:lnTo>
                        <a:pt x="926" y="197"/>
                      </a:lnTo>
                      <a:lnTo>
                        <a:pt x="925" y="192"/>
                      </a:lnTo>
                      <a:lnTo>
                        <a:pt x="926" y="182"/>
                      </a:lnTo>
                      <a:lnTo>
                        <a:pt x="925" y="172"/>
                      </a:lnTo>
                      <a:lnTo>
                        <a:pt x="923" y="169"/>
                      </a:lnTo>
                      <a:lnTo>
                        <a:pt x="918" y="165"/>
                      </a:lnTo>
                      <a:lnTo>
                        <a:pt x="914" y="162"/>
                      </a:lnTo>
                      <a:lnTo>
                        <a:pt x="908" y="161"/>
                      </a:lnTo>
                      <a:close/>
                      <a:moveTo>
                        <a:pt x="401" y="148"/>
                      </a:moveTo>
                      <a:lnTo>
                        <a:pt x="402" y="149"/>
                      </a:lnTo>
                      <a:lnTo>
                        <a:pt x="403" y="149"/>
                      </a:lnTo>
                      <a:lnTo>
                        <a:pt x="405" y="150"/>
                      </a:lnTo>
                      <a:lnTo>
                        <a:pt x="406" y="151"/>
                      </a:lnTo>
                      <a:lnTo>
                        <a:pt x="407" y="152"/>
                      </a:lnTo>
                      <a:lnTo>
                        <a:pt x="408" y="152"/>
                      </a:lnTo>
                      <a:lnTo>
                        <a:pt x="408" y="155"/>
                      </a:lnTo>
                      <a:lnTo>
                        <a:pt x="408" y="156"/>
                      </a:lnTo>
                      <a:lnTo>
                        <a:pt x="407" y="158"/>
                      </a:lnTo>
                      <a:lnTo>
                        <a:pt x="406" y="159"/>
                      </a:lnTo>
                      <a:lnTo>
                        <a:pt x="406" y="160"/>
                      </a:lnTo>
                      <a:lnTo>
                        <a:pt x="406" y="161"/>
                      </a:lnTo>
                      <a:lnTo>
                        <a:pt x="406" y="163"/>
                      </a:lnTo>
                      <a:lnTo>
                        <a:pt x="407" y="165"/>
                      </a:lnTo>
                      <a:lnTo>
                        <a:pt x="410" y="169"/>
                      </a:lnTo>
                      <a:lnTo>
                        <a:pt x="412" y="174"/>
                      </a:lnTo>
                      <a:lnTo>
                        <a:pt x="413" y="177"/>
                      </a:lnTo>
                      <a:lnTo>
                        <a:pt x="412" y="181"/>
                      </a:lnTo>
                      <a:lnTo>
                        <a:pt x="410" y="182"/>
                      </a:lnTo>
                      <a:lnTo>
                        <a:pt x="407" y="180"/>
                      </a:lnTo>
                      <a:lnTo>
                        <a:pt x="406" y="176"/>
                      </a:lnTo>
                      <a:lnTo>
                        <a:pt x="405" y="173"/>
                      </a:lnTo>
                      <a:lnTo>
                        <a:pt x="404" y="169"/>
                      </a:lnTo>
                      <a:lnTo>
                        <a:pt x="403" y="165"/>
                      </a:lnTo>
                      <a:lnTo>
                        <a:pt x="402" y="163"/>
                      </a:lnTo>
                      <a:lnTo>
                        <a:pt x="401" y="160"/>
                      </a:lnTo>
                      <a:lnTo>
                        <a:pt x="399" y="156"/>
                      </a:lnTo>
                      <a:lnTo>
                        <a:pt x="399" y="154"/>
                      </a:lnTo>
                      <a:lnTo>
                        <a:pt x="400" y="153"/>
                      </a:lnTo>
                      <a:lnTo>
                        <a:pt x="400" y="152"/>
                      </a:lnTo>
                      <a:lnTo>
                        <a:pt x="401" y="151"/>
                      </a:lnTo>
                      <a:lnTo>
                        <a:pt x="401" y="149"/>
                      </a:lnTo>
                      <a:lnTo>
                        <a:pt x="401" y="148"/>
                      </a:lnTo>
                      <a:close/>
                      <a:moveTo>
                        <a:pt x="40" y="141"/>
                      </a:moveTo>
                      <a:lnTo>
                        <a:pt x="41" y="142"/>
                      </a:lnTo>
                      <a:lnTo>
                        <a:pt x="42" y="143"/>
                      </a:lnTo>
                      <a:lnTo>
                        <a:pt x="43" y="144"/>
                      </a:lnTo>
                      <a:lnTo>
                        <a:pt x="43" y="147"/>
                      </a:lnTo>
                      <a:lnTo>
                        <a:pt x="43" y="148"/>
                      </a:lnTo>
                      <a:lnTo>
                        <a:pt x="44" y="149"/>
                      </a:lnTo>
                      <a:lnTo>
                        <a:pt x="44" y="150"/>
                      </a:lnTo>
                      <a:lnTo>
                        <a:pt x="43" y="151"/>
                      </a:lnTo>
                      <a:lnTo>
                        <a:pt x="42" y="151"/>
                      </a:lnTo>
                      <a:lnTo>
                        <a:pt x="41" y="151"/>
                      </a:lnTo>
                      <a:lnTo>
                        <a:pt x="40" y="151"/>
                      </a:lnTo>
                      <a:lnTo>
                        <a:pt x="39" y="150"/>
                      </a:lnTo>
                      <a:lnTo>
                        <a:pt x="37" y="148"/>
                      </a:lnTo>
                      <a:lnTo>
                        <a:pt x="37" y="145"/>
                      </a:lnTo>
                      <a:lnTo>
                        <a:pt x="39" y="142"/>
                      </a:lnTo>
                      <a:lnTo>
                        <a:pt x="40" y="141"/>
                      </a:lnTo>
                      <a:close/>
                      <a:moveTo>
                        <a:pt x="941" y="138"/>
                      </a:moveTo>
                      <a:lnTo>
                        <a:pt x="936" y="139"/>
                      </a:lnTo>
                      <a:lnTo>
                        <a:pt x="932" y="142"/>
                      </a:lnTo>
                      <a:lnTo>
                        <a:pt x="931" y="148"/>
                      </a:lnTo>
                      <a:lnTo>
                        <a:pt x="932" y="151"/>
                      </a:lnTo>
                      <a:lnTo>
                        <a:pt x="934" y="154"/>
                      </a:lnTo>
                      <a:lnTo>
                        <a:pt x="936" y="156"/>
                      </a:lnTo>
                      <a:lnTo>
                        <a:pt x="938" y="159"/>
                      </a:lnTo>
                      <a:lnTo>
                        <a:pt x="941" y="161"/>
                      </a:lnTo>
                      <a:lnTo>
                        <a:pt x="943" y="162"/>
                      </a:lnTo>
                      <a:lnTo>
                        <a:pt x="945" y="163"/>
                      </a:lnTo>
                      <a:lnTo>
                        <a:pt x="945" y="164"/>
                      </a:lnTo>
                      <a:lnTo>
                        <a:pt x="945" y="166"/>
                      </a:lnTo>
                      <a:lnTo>
                        <a:pt x="945" y="170"/>
                      </a:lnTo>
                      <a:lnTo>
                        <a:pt x="947" y="178"/>
                      </a:lnTo>
                      <a:lnTo>
                        <a:pt x="952" y="187"/>
                      </a:lnTo>
                      <a:lnTo>
                        <a:pt x="958" y="194"/>
                      </a:lnTo>
                      <a:lnTo>
                        <a:pt x="961" y="197"/>
                      </a:lnTo>
                      <a:lnTo>
                        <a:pt x="967" y="202"/>
                      </a:lnTo>
                      <a:lnTo>
                        <a:pt x="972" y="207"/>
                      </a:lnTo>
                      <a:lnTo>
                        <a:pt x="978" y="210"/>
                      </a:lnTo>
                      <a:lnTo>
                        <a:pt x="980" y="212"/>
                      </a:lnTo>
                      <a:lnTo>
                        <a:pt x="981" y="208"/>
                      </a:lnTo>
                      <a:lnTo>
                        <a:pt x="980" y="203"/>
                      </a:lnTo>
                      <a:lnTo>
                        <a:pt x="978" y="196"/>
                      </a:lnTo>
                      <a:lnTo>
                        <a:pt x="975" y="192"/>
                      </a:lnTo>
                      <a:lnTo>
                        <a:pt x="973" y="187"/>
                      </a:lnTo>
                      <a:lnTo>
                        <a:pt x="972" y="180"/>
                      </a:lnTo>
                      <a:lnTo>
                        <a:pt x="971" y="170"/>
                      </a:lnTo>
                      <a:lnTo>
                        <a:pt x="971" y="160"/>
                      </a:lnTo>
                      <a:lnTo>
                        <a:pt x="969" y="151"/>
                      </a:lnTo>
                      <a:lnTo>
                        <a:pt x="966" y="143"/>
                      </a:lnTo>
                      <a:lnTo>
                        <a:pt x="958" y="139"/>
                      </a:lnTo>
                      <a:lnTo>
                        <a:pt x="953" y="139"/>
                      </a:lnTo>
                      <a:lnTo>
                        <a:pt x="948" y="138"/>
                      </a:lnTo>
                      <a:lnTo>
                        <a:pt x="941" y="138"/>
                      </a:lnTo>
                      <a:close/>
                      <a:moveTo>
                        <a:pt x="58" y="128"/>
                      </a:moveTo>
                      <a:lnTo>
                        <a:pt x="61" y="128"/>
                      </a:lnTo>
                      <a:lnTo>
                        <a:pt x="63" y="130"/>
                      </a:lnTo>
                      <a:lnTo>
                        <a:pt x="65" y="133"/>
                      </a:lnTo>
                      <a:lnTo>
                        <a:pt x="65" y="133"/>
                      </a:lnTo>
                      <a:lnTo>
                        <a:pt x="64" y="134"/>
                      </a:lnTo>
                      <a:lnTo>
                        <a:pt x="62" y="137"/>
                      </a:lnTo>
                      <a:lnTo>
                        <a:pt x="59" y="138"/>
                      </a:lnTo>
                      <a:lnTo>
                        <a:pt x="58" y="139"/>
                      </a:lnTo>
                      <a:lnTo>
                        <a:pt x="56" y="140"/>
                      </a:lnTo>
                      <a:lnTo>
                        <a:pt x="55" y="140"/>
                      </a:lnTo>
                      <a:lnTo>
                        <a:pt x="55" y="140"/>
                      </a:lnTo>
                      <a:lnTo>
                        <a:pt x="54" y="140"/>
                      </a:lnTo>
                      <a:lnTo>
                        <a:pt x="53" y="141"/>
                      </a:lnTo>
                      <a:lnTo>
                        <a:pt x="53" y="143"/>
                      </a:lnTo>
                      <a:lnTo>
                        <a:pt x="52" y="144"/>
                      </a:lnTo>
                      <a:lnTo>
                        <a:pt x="51" y="144"/>
                      </a:lnTo>
                      <a:lnTo>
                        <a:pt x="50" y="144"/>
                      </a:lnTo>
                      <a:lnTo>
                        <a:pt x="48" y="143"/>
                      </a:lnTo>
                      <a:lnTo>
                        <a:pt x="47" y="141"/>
                      </a:lnTo>
                      <a:lnTo>
                        <a:pt x="47" y="140"/>
                      </a:lnTo>
                      <a:lnTo>
                        <a:pt x="48" y="138"/>
                      </a:lnTo>
                      <a:lnTo>
                        <a:pt x="48" y="137"/>
                      </a:lnTo>
                      <a:lnTo>
                        <a:pt x="50" y="136"/>
                      </a:lnTo>
                      <a:lnTo>
                        <a:pt x="51" y="136"/>
                      </a:lnTo>
                      <a:lnTo>
                        <a:pt x="52" y="136"/>
                      </a:lnTo>
                      <a:lnTo>
                        <a:pt x="53" y="137"/>
                      </a:lnTo>
                      <a:lnTo>
                        <a:pt x="53" y="137"/>
                      </a:lnTo>
                      <a:lnTo>
                        <a:pt x="54" y="137"/>
                      </a:lnTo>
                      <a:lnTo>
                        <a:pt x="55" y="136"/>
                      </a:lnTo>
                      <a:lnTo>
                        <a:pt x="56" y="136"/>
                      </a:lnTo>
                      <a:lnTo>
                        <a:pt x="57" y="136"/>
                      </a:lnTo>
                      <a:lnTo>
                        <a:pt x="57" y="134"/>
                      </a:lnTo>
                      <a:lnTo>
                        <a:pt x="56" y="133"/>
                      </a:lnTo>
                      <a:lnTo>
                        <a:pt x="55" y="131"/>
                      </a:lnTo>
                      <a:lnTo>
                        <a:pt x="56" y="130"/>
                      </a:lnTo>
                      <a:lnTo>
                        <a:pt x="57" y="128"/>
                      </a:lnTo>
                      <a:lnTo>
                        <a:pt x="58" y="128"/>
                      </a:lnTo>
                      <a:close/>
                      <a:moveTo>
                        <a:pt x="73" y="110"/>
                      </a:moveTo>
                      <a:lnTo>
                        <a:pt x="75" y="110"/>
                      </a:lnTo>
                      <a:lnTo>
                        <a:pt x="77" y="110"/>
                      </a:lnTo>
                      <a:lnTo>
                        <a:pt x="77" y="111"/>
                      </a:lnTo>
                      <a:lnTo>
                        <a:pt x="79" y="112"/>
                      </a:lnTo>
                      <a:lnTo>
                        <a:pt x="82" y="114"/>
                      </a:lnTo>
                      <a:lnTo>
                        <a:pt x="82" y="116"/>
                      </a:lnTo>
                      <a:lnTo>
                        <a:pt x="82" y="119"/>
                      </a:lnTo>
                      <a:lnTo>
                        <a:pt x="82" y="121"/>
                      </a:lnTo>
                      <a:lnTo>
                        <a:pt x="79" y="122"/>
                      </a:lnTo>
                      <a:lnTo>
                        <a:pt x="77" y="123"/>
                      </a:lnTo>
                      <a:lnTo>
                        <a:pt x="75" y="123"/>
                      </a:lnTo>
                      <a:lnTo>
                        <a:pt x="72" y="123"/>
                      </a:lnTo>
                      <a:lnTo>
                        <a:pt x="68" y="126"/>
                      </a:lnTo>
                      <a:lnTo>
                        <a:pt x="66" y="127"/>
                      </a:lnTo>
                      <a:lnTo>
                        <a:pt x="65" y="127"/>
                      </a:lnTo>
                      <a:lnTo>
                        <a:pt x="64" y="127"/>
                      </a:lnTo>
                      <a:lnTo>
                        <a:pt x="62" y="126"/>
                      </a:lnTo>
                      <a:lnTo>
                        <a:pt x="61" y="123"/>
                      </a:lnTo>
                      <a:lnTo>
                        <a:pt x="59" y="121"/>
                      </a:lnTo>
                      <a:lnTo>
                        <a:pt x="61" y="119"/>
                      </a:lnTo>
                      <a:lnTo>
                        <a:pt x="62" y="118"/>
                      </a:lnTo>
                      <a:lnTo>
                        <a:pt x="64" y="116"/>
                      </a:lnTo>
                      <a:lnTo>
                        <a:pt x="65" y="114"/>
                      </a:lnTo>
                      <a:lnTo>
                        <a:pt x="65" y="111"/>
                      </a:lnTo>
                      <a:lnTo>
                        <a:pt x="67" y="110"/>
                      </a:lnTo>
                      <a:lnTo>
                        <a:pt x="69" y="110"/>
                      </a:lnTo>
                      <a:lnTo>
                        <a:pt x="73" y="110"/>
                      </a:lnTo>
                      <a:close/>
                      <a:moveTo>
                        <a:pt x="399" y="109"/>
                      </a:moveTo>
                      <a:lnTo>
                        <a:pt x="402" y="110"/>
                      </a:lnTo>
                      <a:lnTo>
                        <a:pt x="404" y="111"/>
                      </a:lnTo>
                      <a:lnTo>
                        <a:pt x="406" y="115"/>
                      </a:lnTo>
                      <a:lnTo>
                        <a:pt x="407" y="118"/>
                      </a:lnTo>
                      <a:lnTo>
                        <a:pt x="408" y="122"/>
                      </a:lnTo>
                      <a:lnTo>
                        <a:pt x="406" y="125"/>
                      </a:lnTo>
                      <a:lnTo>
                        <a:pt x="404" y="126"/>
                      </a:lnTo>
                      <a:lnTo>
                        <a:pt x="402" y="128"/>
                      </a:lnTo>
                      <a:lnTo>
                        <a:pt x="401" y="130"/>
                      </a:lnTo>
                      <a:lnTo>
                        <a:pt x="399" y="132"/>
                      </a:lnTo>
                      <a:lnTo>
                        <a:pt x="399" y="134"/>
                      </a:lnTo>
                      <a:lnTo>
                        <a:pt x="396" y="137"/>
                      </a:lnTo>
                      <a:lnTo>
                        <a:pt x="394" y="137"/>
                      </a:lnTo>
                      <a:lnTo>
                        <a:pt x="393" y="134"/>
                      </a:lnTo>
                      <a:lnTo>
                        <a:pt x="392" y="132"/>
                      </a:lnTo>
                      <a:lnTo>
                        <a:pt x="392" y="129"/>
                      </a:lnTo>
                      <a:lnTo>
                        <a:pt x="392" y="127"/>
                      </a:lnTo>
                      <a:lnTo>
                        <a:pt x="392" y="125"/>
                      </a:lnTo>
                      <a:lnTo>
                        <a:pt x="391" y="121"/>
                      </a:lnTo>
                      <a:lnTo>
                        <a:pt x="391" y="119"/>
                      </a:lnTo>
                      <a:lnTo>
                        <a:pt x="391" y="117"/>
                      </a:lnTo>
                      <a:lnTo>
                        <a:pt x="392" y="115"/>
                      </a:lnTo>
                      <a:lnTo>
                        <a:pt x="394" y="111"/>
                      </a:lnTo>
                      <a:lnTo>
                        <a:pt x="396" y="110"/>
                      </a:lnTo>
                      <a:lnTo>
                        <a:pt x="399" y="109"/>
                      </a:lnTo>
                      <a:close/>
                      <a:moveTo>
                        <a:pt x="105" y="109"/>
                      </a:moveTo>
                      <a:lnTo>
                        <a:pt x="106" y="110"/>
                      </a:lnTo>
                      <a:lnTo>
                        <a:pt x="108" y="111"/>
                      </a:lnTo>
                      <a:lnTo>
                        <a:pt x="109" y="112"/>
                      </a:lnTo>
                      <a:lnTo>
                        <a:pt x="109" y="115"/>
                      </a:lnTo>
                      <a:lnTo>
                        <a:pt x="109" y="117"/>
                      </a:lnTo>
                      <a:lnTo>
                        <a:pt x="108" y="118"/>
                      </a:lnTo>
                      <a:lnTo>
                        <a:pt x="107" y="119"/>
                      </a:lnTo>
                      <a:lnTo>
                        <a:pt x="107" y="118"/>
                      </a:lnTo>
                      <a:lnTo>
                        <a:pt x="105" y="118"/>
                      </a:lnTo>
                      <a:lnTo>
                        <a:pt x="104" y="118"/>
                      </a:lnTo>
                      <a:lnTo>
                        <a:pt x="102" y="117"/>
                      </a:lnTo>
                      <a:lnTo>
                        <a:pt x="102" y="115"/>
                      </a:lnTo>
                      <a:lnTo>
                        <a:pt x="102" y="114"/>
                      </a:lnTo>
                      <a:lnTo>
                        <a:pt x="102" y="112"/>
                      </a:lnTo>
                      <a:lnTo>
                        <a:pt x="102" y="110"/>
                      </a:lnTo>
                      <a:lnTo>
                        <a:pt x="104" y="109"/>
                      </a:lnTo>
                      <a:lnTo>
                        <a:pt x="105" y="109"/>
                      </a:lnTo>
                      <a:close/>
                      <a:moveTo>
                        <a:pt x="2451" y="90"/>
                      </a:moveTo>
                      <a:lnTo>
                        <a:pt x="2455" y="97"/>
                      </a:lnTo>
                      <a:lnTo>
                        <a:pt x="2458" y="105"/>
                      </a:lnTo>
                      <a:lnTo>
                        <a:pt x="2459" y="111"/>
                      </a:lnTo>
                      <a:lnTo>
                        <a:pt x="2462" y="118"/>
                      </a:lnTo>
                      <a:lnTo>
                        <a:pt x="2461" y="125"/>
                      </a:lnTo>
                      <a:lnTo>
                        <a:pt x="2458" y="130"/>
                      </a:lnTo>
                      <a:lnTo>
                        <a:pt x="2456" y="134"/>
                      </a:lnTo>
                      <a:lnTo>
                        <a:pt x="2456" y="155"/>
                      </a:lnTo>
                      <a:lnTo>
                        <a:pt x="2456" y="159"/>
                      </a:lnTo>
                      <a:lnTo>
                        <a:pt x="2456" y="162"/>
                      </a:lnTo>
                      <a:lnTo>
                        <a:pt x="2455" y="164"/>
                      </a:lnTo>
                      <a:lnTo>
                        <a:pt x="2455" y="166"/>
                      </a:lnTo>
                      <a:lnTo>
                        <a:pt x="2454" y="169"/>
                      </a:lnTo>
                      <a:lnTo>
                        <a:pt x="2452" y="174"/>
                      </a:lnTo>
                      <a:lnTo>
                        <a:pt x="2451" y="181"/>
                      </a:lnTo>
                      <a:lnTo>
                        <a:pt x="2448" y="187"/>
                      </a:lnTo>
                      <a:lnTo>
                        <a:pt x="2447" y="192"/>
                      </a:lnTo>
                      <a:lnTo>
                        <a:pt x="2444" y="194"/>
                      </a:lnTo>
                      <a:lnTo>
                        <a:pt x="2441" y="192"/>
                      </a:lnTo>
                      <a:lnTo>
                        <a:pt x="2440" y="191"/>
                      </a:lnTo>
                      <a:lnTo>
                        <a:pt x="2440" y="188"/>
                      </a:lnTo>
                      <a:lnTo>
                        <a:pt x="2438" y="186"/>
                      </a:lnTo>
                      <a:lnTo>
                        <a:pt x="2438" y="185"/>
                      </a:lnTo>
                      <a:lnTo>
                        <a:pt x="2437" y="185"/>
                      </a:lnTo>
                      <a:lnTo>
                        <a:pt x="2436" y="185"/>
                      </a:lnTo>
                      <a:lnTo>
                        <a:pt x="2434" y="188"/>
                      </a:lnTo>
                      <a:lnTo>
                        <a:pt x="2432" y="190"/>
                      </a:lnTo>
                      <a:lnTo>
                        <a:pt x="2431" y="191"/>
                      </a:lnTo>
                      <a:lnTo>
                        <a:pt x="2429" y="188"/>
                      </a:lnTo>
                      <a:lnTo>
                        <a:pt x="2425" y="185"/>
                      </a:lnTo>
                      <a:lnTo>
                        <a:pt x="2423" y="178"/>
                      </a:lnTo>
                      <a:lnTo>
                        <a:pt x="2422" y="171"/>
                      </a:lnTo>
                      <a:lnTo>
                        <a:pt x="2425" y="164"/>
                      </a:lnTo>
                      <a:lnTo>
                        <a:pt x="2426" y="162"/>
                      </a:lnTo>
                      <a:lnTo>
                        <a:pt x="2426" y="160"/>
                      </a:lnTo>
                      <a:lnTo>
                        <a:pt x="2427" y="156"/>
                      </a:lnTo>
                      <a:lnTo>
                        <a:pt x="2427" y="153"/>
                      </a:lnTo>
                      <a:lnTo>
                        <a:pt x="2429" y="151"/>
                      </a:lnTo>
                      <a:lnTo>
                        <a:pt x="2429" y="149"/>
                      </a:lnTo>
                      <a:lnTo>
                        <a:pt x="2430" y="147"/>
                      </a:lnTo>
                      <a:lnTo>
                        <a:pt x="2431" y="145"/>
                      </a:lnTo>
                      <a:lnTo>
                        <a:pt x="2431" y="142"/>
                      </a:lnTo>
                      <a:lnTo>
                        <a:pt x="2429" y="140"/>
                      </a:lnTo>
                      <a:lnTo>
                        <a:pt x="2426" y="137"/>
                      </a:lnTo>
                      <a:lnTo>
                        <a:pt x="2424" y="133"/>
                      </a:lnTo>
                      <a:lnTo>
                        <a:pt x="2423" y="130"/>
                      </a:lnTo>
                      <a:lnTo>
                        <a:pt x="2423" y="128"/>
                      </a:lnTo>
                      <a:lnTo>
                        <a:pt x="2423" y="126"/>
                      </a:lnTo>
                      <a:lnTo>
                        <a:pt x="2424" y="122"/>
                      </a:lnTo>
                      <a:lnTo>
                        <a:pt x="2424" y="120"/>
                      </a:lnTo>
                      <a:lnTo>
                        <a:pt x="2426" y="118"/>
                      </a:lnTo>
                      <a:lnTo>
                        <a:pt x="2427" y="116"/>
                      </a:lnTo>
                      <a:lnTo>
                        <a:pt x="2429" y="116"/>
                      </a:lnTo>
                      <a:lnTo>
                        <a:pt x="2431" y="115"/>
                      </a:lnTo>
                      <a:lnTo>
                        <a:pt x="2433" y="114"/>
                      </a:lnTo>
                      <a:lnTo>
                        <a:pt x="2434" y="112"/>
                      </a:lnTo>
                      <a:lnTo>
                        <a:pt x="2435" y="112"/>
                      </a:lnTo>
                      <a:lnTo>
                        <a:pt x="2436" y="114"/>
                      </a:lnTo>
                      <a:lnTo>
                        <a:pt x="2437" y="116"/>
                      </a:lnTo>
                      <a:lnTo>
                        <a:pt x="2438" y="118"/>
                      </a:lnTo>
                      <a:lnTo>
                        <a:pt x="2441" y="121"/>
                      </a:lnTo>
                      <a:lnTo>
                        <a:pt x="2442" y="123"/>
                      </a:lnTo>
                      <a:lnTo>
                        <a:pt x="2443" y="125"/>
                      </a:lnTo>
                      <a:lnTo>
                        <a:pt x="2443" y="125"/>
                      </a:lnTo>
                      <a:lnTo>
                        <a:pt x="2443" y="123"/>
                      </a:lnTo>
                      <a:lnTo>
                        <a:pt x="2443" y="122"/>
                      </a:lnTo>
                      <a:lnTo>
                        <a:pt x="2443" y="121"/>
                      </a:lnTo>
                      <a:lnTo>
                        <a:pt x="2443" y="120"/>
                      </a:lnTo>
                      <a:lnTo>
                        <a:pt x="2443" y="118"/>
                      </a:lnTo>
                      <a:lnTo>
                        <a:pt x="2443" y="118"/>
                      </a:lnTo>
                      <a:lnTo>
                        <a:pt x="2443" y="109"/>
                      </a:lnTo>
                      <a:lnTo>
                        <a:pt x="2443" y="107"/>
                      </a:lnTo>
                      <a:lnTo>
                        <a:pt x="2443" y="106"/>
                      </a:lnTo>
                      <a:lnTo>
                        <a:pt x="2442" y="105"/>
                      </a:lnTo>
                      <a:lnTo>
                        <a:pt x="2440" y="104"/>
                      </a:lnTo>
                      <a:lnTo>
                        <a:pt x="2438" y="104"/>
                      </a:lnTo>
                      <a:lnTo>
                        <a:pt x="2440" y="100"/>
                      </a:lnTo>
                      <a:lnTo>
                        <a:pt x="2440" y="98"/>
                      </a:lnTo>
                      <a:lnTo>
                        <a:pt x="2441" y="97"/>
                      </a:lnTo>
                      <a:lnTo>
                        <a:pt x="2442" y="96"/>
                      </a:lnTo>
                      <a:lnTo>
                        <a:pt x="2443" y="95"/>
                      </a:lnTo>
                      <a:lnTo>
                        <a:pt x="2444" y="95"/>
                      </a:lnTo>
                      <a:lnTo>
                        <a:pt x="2446" y="95"/>
                      </a:lnTo>
                      <a:lnTo>
                        <a:pt x="2448" y="93"/>
                      </a:lnTo>
                      <a:lnTo>
                        <a:pt x="2451" y="90"/>
                      </a:lnTo>
                      <a:close/>
                      <a:moveTo>
                        <a:pt x="87" y="85"/>
                      </a:moveTo>
                      <a:lnTo>
                        <a:pt x="88" y="85"/>
                      </a:lnTo>
                      <a:lnTo>
                        <a:pt x="90" y="86"/>
                      </a:lnTo>
                      <a:lnTo>
                        <a:pt x="91" y="87"/>
                      </a:lnTo>
                      <a:lnTo>
                        <a:pt x="93" y="88"/>
                      </a:lnTo>
                      <a:lnTo>
                        <a:pt x="94" y="89"/>
                      </a:lnTo>
                      <a:lnTo>
                        <a:pt x="94" y="92"/>
                      </a:lnTo>
                      <a:lnTo>
                        <a:pt x="95" y="94"/>
                      </a:lnTo>
                      <a:lnTo>
                        <a:pt x="96" y="95"/>
                      </a:lnTo>
                      <a:lnTo>
                        <a:pt x="97" y="97"/>
                      </a:lnTo>
                      <a:lnTo>
                        <a:pt x="99" y="97"/>
                      </a:lnTo>
                      <a:lnTo>
                        <a:pt x="99" y="98"/>
                      </a:lnTo>
                      <a:lnTo>
                        <a:pt x="100" y="99"/>
                      </a:lnTo>
                      <a:lnTo>
                        <a:pt x="100" y="101"/>
                      </a:lnTo>
                      <a:lnTo>
                        <a:pt x="100" y="104"/>
                      </a:lnTo>
                      <a:lnTo>
                        <a:pt x="99" y="104"/>
                      </a:lnTo>
                      <a:lnTo>
                        <a:pt x="97" y="104"/>
                      </a:lnTo>
                      <a:lnTo>
                        <a:pt x="96" y="104"/>
                      </a:lnTo>
                      <a:lnTo>
                        <a:pt x="94" y="103"/>
                      </a:lnTo>
                      <a:lnTo>
                        <a:pt x="93" y="103"/>
                      </a:lnTo>
                      <a:lnTo>
                        <a:pt x="90" y="101"/>
                      </a:lnTo>
                      <a:lnTo>
                        <a:pt x="89" y="100"/>
                      </a:lnTo>
                      <a:lnTo>
                        <a:pt x="89" y="99"/>
                      </a:lnTo>
                      <a:lnTo>
                        <a:pt x="88" y="99"/>
                      </a:lnTo>
                      <a:lnTo>
                        <a:pt x="87" y="100"/>
                      </a:lnTo>
                      <a:lnTo>
                        <a:pt x="87" y="101"/>
                      </a:lnTo>
                      <a:lnTo>
                        <a:pt x="86" y="104"/>
                      </a:lnTo>
                      <a:lnTo>
                        <a:pt x="86" y="106"/>
                      </a:lnTo>
                      <a:lnTo>
                        <a:pt x="86" y="107"/>
                      </a:lnTo>
                      <a:lnTo>
                        <a:pt x="86" y="109"/>
                      </a:lnTo>
                      <a:lnTo>
                        <a:pt x="85" y="109"/>
                      </a:lnTo>
                      <a:lnTo>
                        <a:pt x="83" y="109"/>
                      </a:lnTo>
                      <a:lnTo>
                        <a:pt x="82" y="108"/>
                      </a:lnTo>
                      <a:lnTo>
                        <a:pt x="80" y="107"/>
                      </a:lnTo>
                      <a:lnTo>
                        <a:pt x="79" y="106"/>
                      </a:lnTo>
                      <a:lnTo>
                        <a:pt x="78" y="106"/>
                      </a:lnTo>
                      <a:lnTo>
                        <a:pt x="77" y="106"/>
                      </a:lnTo>
                      <a:lnTo>
                        <a:pt x="76" y="105"/>
                      </a:lnTo>
                      <a:lnTo>
                        <a:pt x="75" y="105"/>
                      </a:lnTo>
                      <a:lnTo>
                        <a:pt x="74" y="104"/>
                      </a:lnTo>
                      <a:lnTo>
                        <a:pt x="75" y="100"/>
                      </a:lnTo>
                      <a:lnTo>
                        <a:pt x="75" y="99"/>
                      </a:lnTo>
                      <a:lnTo>
                        <a:pt x="75" y="98"/>
                      </a:lnTo>
                      <a:lnTo>
                        <a:pt x="76" y="97"/>
                      </a:lnTo>
                      <a:lnTo>
                        <a:pt x="78" y="97"/>
                      </a:lnTo>
                      <a:lnTo>
                        <a:pt x="79" y="96"/>
                      </a:lnTo>
                      <a:lnTo>
                        <a:pt x="82" y="95"/>
                      </a:lnTo>
                      <a:lnTo>
                        <a:pt x="84" y="93"/>
                      </a:lnTo>
                      <a:lnTo>
                        <a:pt x="85" y="89"/>
                      </a:lnTo>
                      <a:lnTo>
                        <a:pt x="85" y="87"/>
                      </a:lnTo>
                      <a:lnTo>
                        <a:pt x="86" y="86"/>
                      </a:lnTo>
                      <a:lnTo>
                        <a:pt x="87" y="85"/>
                      </a:lnTo>
                      <a:close/>
                      <a:moveTo>
                        <a:pt x="389" y="72"/>
                      </a:moveTo>
                      <a:lnTo>
                        <a:pt x="389" y="73"/>
                      </a:lnTo>
                      <a:lnTo>
                        <a:pt x="391" y="74"/>
                      </a:lnTo>
                      <a:lnTo>
                        <a:pt x="393" y="75"/>
                      </a:lnTo>
                      <a:lnTo>
                        <a:pt x="395" y="76"/>
                      </a:lnTo>
                      <a:lnTo>
                        <a:pt x="397" y="77"/>
                      </a:lnTo>
                      <a:lnTo>
                        <a:pt x="400" y="78"/>
                      </a:lnTo>
                      <a:lnTo>
                        <a:pt x="402" y="83"/>
                      </a:lnTo>
                      <a:lnTo>
                        <a:pt x="403" y="87"/>
                      </a:lnTo>
                      <a:lnTo>
                        <a:pt x="405" y="92"/>
                      </a:lnTo>
                      <a:lnTo>
                        <a:pt x="405" y="93"/>
                      </a:lnTo>
                      <a:lnTo>
                        <a:pt x="405" y="95"/>
                      </a:lnTo>
                      <a:lnTo>
                        <a:pt x="406" y="97"/>
                      </a:lnTo>
                      <a:lnTo>
                        <a:pt x="406" y="99"/>
                      </a:lnTo>
                      <a:lnTo>
                        <a:pt x="406" y="101"/>
                      </a:lnTo>
                      <a:lnTo>
                        <a:pt x="406" y="103"/>
                      </a:lnTo>
                      <a:lnTo>
                        <a:pt x="405" y="103"/>
                      </a:lnTo>
                      <a:lnTo>
                        <a:pt x="403" y="104"/>
                      </a:lnTo>
                      <a:lnTo>
                        <a:pt x="402" y="104"/>
                      </a:lnTo>
                      <a:lnTo>
                        <a:pt x="401" y="103"/>
                      </a:lnTo>
                      <a:lnTo>
                        <a:pt x="400" y="103"/>
                      </a:lnTo>
                      <a:lnTo>
                        <a:pt x="399" y="101"/>
                      </a:lnTo>
                      <a:lnTo>
                        <a:pt x="397" y="103"/>
                      </a:lnTo>
                      <a:lnTo>
                        <a:pt x="396" y="103"/>
                      </a:lnTo>
                      <a:lnTo>
                        <a:pt x="394" y="105"/>
                      </a:lnTo>
                      <a:lnTo>
                        <a:pt x="393" y="106"/>
                      </a:lnTo>
                      <a:lnTo>
                        <a:pt x="392" y="107"/>
                      </a:lnTo>
                      <a:lnTo>
                        <a:pt x="390" y="108"/>
                      </a:lnTo>
                      <a:lnTo>
                        <a:pt x="388" y="108"/>
                      </a:lnTo>
                      <a:lnTo>
                        <a:pt x="385" y="107"/>
                      </a:lnTo>
                      <a:lnTo>
                        <a:pt x="386" y="103"/>
                      </a:lnTo>
                      <a:lnTo>
                        <a:pt x="388" y="98"/>
                      </a:lnTo>
                      <a:lnTo>
                        <a:pt x="389" y="94"/>
                      </a:lnTo>
                      <a:lnTo>
                        <a:pt x="388" y="88"/>
                      </a:lnTo>
                      <a:lnTo>
                        <a:pt x="385" y="83"/>
                      </a:lnTo>
                      <a:lnTo>
                        <a:pt x="385" y="77"/>
                      </a:lnTo>
                      <a:lnTo>
                        <a:pt x="389" y="72"/>
                      </a:lnTo>
                      <a:close/>
                      <a:moveTo>
                        <a:pt x="368" y="46"/>
                      </a:moveTo>
                      <a:lnTo>
                        <a:pt x="369" y="47"/>
                      </a:lnTo>
                      <a:lnTo>
                        <a:pt x="370" y="47"/>
                      </a:lnTo>
                      <a:lnTo>
                        <a:pt x="370" y="47"/>
                      </a:lnTo>
                      <a:lnTo>
                        <a:pt x="370" y="49"/>
                      </a:lnTo>
                      <a:lnTo>
                        <a:pt x="370" y="50"/>
                      </a:lnTo>
                      <a:lnTo>
                        <a:pt x="369" y="51"/>
                      </a:lnTo>
                      <a:lnTo>
                        <a:pt x="368" y="52"/>
                      </a:lnTo>
                      <a:lnTo>
                        <a:pt x="366" y="51"/>
                      </a:lnTo>
                      <a:lnTo>
                        <a:pt x="364" y="50"/>
                      </a:lnTo>
                      <a:lnTo>
                        <a:pt x="363" y="49"/>
                      </a:lnTo>
                      <a:lnTo>
                        <a:pt x="364" y="47"/>
                      </a:lnTo>
                      <a:lnTo>
                        <a:pt x="366" y="46"/>
                      </a:lnTo>
                      <a:lnTo>
                        <a:pt x="368" y="46"/>
                      </a:lnTo>
                      <a:close/>
                      <a:moveTo>
                        <a:pt x="22" y="46"/>
                      </a:moveTo>
                      <a:lnTo>
                        <a:pt x="23" y="46"/>
                      </a:lnTo>
                      <a:lnTo>
                        <a:pt x="24" y="47"/>
                      </a:lnTo>
                      <a:lnTo>
                        <a:pt x="25" y="49"/>
                      </a:lnTo>
                      <a:lnTo>
                        <a:pt x="28" y="49"/>
                      </a:lnTo>
                      <a:lnTo>
                        <a:pt x="28" y="50"/>
                      </a:lnTo>
                      <a:lnTo>
                        <a:pt x="26" y="51"/>
                      </a:lnTo>
                      <a:lnTo>
                        <a:pt x="25" y="52"/>
                      </a:lnTo>
                      <a:lnTo>
                        <a:pt x="23" y="52"/>
                      </a:lnTo>
                      <a:lnTo>
                        <a:pt x="22" y="52"/>
                      </a:lnTo>
                      <a:lnTo>
                        <a:pt x="20" y="51"/>
                      </a:lnTo>
                      <a:lnTo>
                        <a:pt x="19" y="50"/>
                      </a:lnTo>
                      <a:lnTo>
                        <a:pt x="19" y="47"/>
                      </a:lnTo>
                      <a:lnTo>
                        <a:pt x="20" y="46"/>
                      </a:lnTo>
                      <a:lnTo>
                        <a:pt x="21" y="46"/>
                      </a:lnTo>
                      <a:lnTo>
                        <a:pt x="22" y="46"/>
                      </a:lnTo>
                      <a:close/>
                      <a:moveTo>
                        <a:pt x="3068" y="35"/>
                      </a:moveTo>
                      <a:lnTo>
                        <a:pt x="3068" y="155"/>
                      </a:lnTo>
                      <a:lnTo>
                        <a:pt x="3060" y="253"/>
                      </a:lnTo>
                      <a:lnTo>
                        <a:pt x="3046" y="349"/>
                      </a:lnTo>
                      <a:lnTo>
                        <a:pt x="3027" y="444"/>
                      </a:lnTo>
                      <a:lnTo>
                        <a:pt x="3002" y="535"/>
                      </a:lnTo>
                      <a:lnTo>
                        <a:pt x="3002" y="533"/>
                      </a:lnTo>
                      <a:lnTo>
                        <a:pt x="3000" y="532"/>
                      </a:lnTo>
                      <a:lnTo>
                        <a:pt x="2999" y="533"/>
                      </a:lnTo>
                      <a:lnTo>
                        <a:pt x="2998" y="534"/>
                      </a:lnTo>
                      <a:lnTo>
                        <a:pt x="2998" y="535"/>
                      </a:lnTo>
                      <a:lnTo>
                        <a:pt x="2998" y="537"/>
                      </a:lnTo>
                      <a:lnTo>
                        <a:pt x="2994" y="541"/>
                      </a:lnTo>
                      <a:lnTo>
                        <a:pt x="2992" y="544"/>
                      </a:lnTo>
                      <a:lnTo>
                        <a:pt x="2989" y="546"/>
                      </a:lnTo>
                      <a:lnTo>
                        <a:pt x="2987" y="548"/>
                      </a:lnTo>
                      <a:lnTo>
                        <a:pt x="2983" y="549"/>
                      </a:lnTo>
                      <a:lnTo>
                        <a:pt x="2981" y="553"/>
                      </a:lnTo>
                      <a:lnTo>
                        <a:pt x="2980" y="555"/>
                      </a:lnTo>
                      <a:lnTo>
                        <a:pt x="2978" y="558"/>
                      </a:lnTo>
                      <a:lnTo>
                        <a:pt x="2976" y="562"/>
                      </a:lnTo>
                      <a:lnTo>
                        <a:pt x="2974" y="564"/>
                      </a:lnTo>
                      <a:lnTo>
                        <a:pt x="2971" y="567"/>
                      </a:lnTo>
                      <a:lnTo>
                        <a:pt x="2969" y="570"/>
                      </a:lnTo>
                      <a:lnTo>
                        <a:pt x="2967" y="573"/>
                      </a:lnTo>
                      <a:lnTo>
                        <a:pt x="2967" y="575"/>
                      </a:lnTo>
                      <a:lnTo>
                        <a:pt x="2966" y="577"/>
                      </a:lnTo>
                      <a:lnTo>
                        <a:pt x="2965" y="579"/>
                      </a:lnTo>
                      <a:lnTo>
                        <a:pt x="2963" y="583"/>
                      </a:lnTo>
                      <a:lnTo>
                        <a:pt x="2959" y="586"/>
                      </a:lnTo>
                      <a:lnTo>
                        <a:pt x="2958" y="588"/>
                      </a:lnTo>
                      <a:lnTo>
                        <a:pt x="2956" y="590"/>
                      </a:lnTo>
                      <a:lnTo>
                        <a:pt x="2955" y="592"/>
                      </a:lnTo>
                      <a:lnTo>
                        <a:pt x="2953" y="595"/>
                      </a:lnTo>
                      <a:lnTo>
                        <a:pt x="2952" y="598"/>
                      </a:lnTo>
                      <a:lnTo>
                        <a:pt x="2949" y="602"/>
                      </a:lnTo>
                      <a:lnTo>
                        <a:pt x="2947" y="607"/>
                      </a:lnTo>
                      <a:lnTo>
                        <a:pt x="2945" y="610"/>
                      </a:lnTo>
                      <a:lnTo>
                        <a:pt x="2942" y="612"/>
                      </a:lnTo>
                      <a:lnTo>
                        <a:pt x="2941" y="614"/>
                      </a:lnTo>
                      <a:lnTo>
                        <a:pt x="2938" y="617"/>
                      </a:lnTo>
                      <a:lnTo>
                        <a:pt x="2936" y="620"/>
                      </a:lnTo>
                      <a:lnTo>
                        <a:pt x="2934" y="623"/>
                      </a:lnTo>
                      <a:lnTo>
                        <a:pt x="2933" y="628"/>
                      </a:lnTo>
                      <a:lnTo>
                        <a:pt x="2932" y="630"/>
                      </a:lnTo>
                      <a:lnTo>
                        <a:pt x="2932" y="633"/>
                      </a:lnTo>
                      <a:lnTo>
                        <a:pt x="2931" y="635"/>
                      </a:lnTo>
                      <a:lnTo>
                        <a:pt x="2931" y="638"/>
                      </a:lnTo>
                      <a:lnTo>
                        <a:pt x="2931" y="640"/>
                      </a:lnTo>
                      <a:lnTo>
                        <a:pt x="2932" y="640"/>
                      </a:lnTo>
                      <a:lnTo>
                        <a:pt x="2932" y="641"/>
                      </a:lnTo>
                      <a:lnTo>
                        <a:pt x="2933" y="642"/>
                      </a:lnTo>
                      <a:lnTo>
                        <a:pt x="2933" y="644"/>
                      </a:lnTo>
                      <a:lnTo>
                        <a:pt x="2932" y="646"/>
                      </a:lnTo>
                      <a:lnTo>
                        <a:pt x="2931" y="650"/>
                      </a:lnTo>
                      <a:lnTo>
                        <a:pt x="2929" y="652"/>
                      </a:lnTo>
                      <a:lnTo>
                        <a:pt x="2928" y="653"/>
                      </a:lnTo>
                      <a:lnTo>
                        <a:pt x="2927" y="656"/>
                      </a:lnTo>
                      <a:lnTo>
                        <a:pt x="2926" y="658"/>
                      </a:lnTo>
                      <a:lnTo>
                        <a:pt x="2925" y="662"/>
                      </a:lnTo>
                      <a:lnTo>
                        <a:pt x="2924" y="664"/>
                      </a:lnTo>
                      <a:lnTo>
                        <a:pt x="2922" y="668"/>
                      </a:lnTo>
                      <a:lnTo>
                        <a:pt x="2921" y="671"/>
                      </a:lnTo>
                      <a:lnTo>
                        <a:pt x="2920" y="673"/>
                      </a:lnTo>
                      <a:lnTo>
                        <a:pt x="2918" y="676"/>
                      </a:lnTo>
                      <a:lnTo>
                        <a:pt x="2917" y="678"/>
                      </a:lnTo>
                      <a:lnTo>
                        <a:pt x="2917" y="682"/>
                      </a:lnTo>
                      <a:lnTo>
                        <a:pt x="2915" y="684"/>
                      </a:lnTo>
                      <a:lnTo>
                        <a:pt x="2915" y="685"/>
                      </a:lnTo>
                      <a:lnTo>
                        <a:pt x="2915" y="687"/>
                      </a:lnTo>
                      <a:lnTo>
                        <a:pt x="2914" y="690"/>
                      </a:lnTo>
                      <a:lnTo>
                        <a:pt x="2913" y="693"/>
                      </a:lnTo>
                      <a:lnTo>
                        <a:pt x="2911" y="696"/>
                      </a:lnTo>
                      <a:lnTo>
                        <a:pt x="2910" y="698"/>
                      </a:lnTo>
                      <a:lnTo>
                        <a:pt x="2909" y="699"/>
                      </a:lnTo>
                      <a:lnTo>
                        <a:pt x="2907" y="700"/>
                      </a:lnTo>
                      <a:lnTo>
                        <a:pt x="2906" y="699"/>
                      </a:lnTo>
                      <a:lnTo>
                        <a:pt x="2906" y="699"/>
                      </a:lnTo>
                      <a:lnTo>
                        <a:pt x="2905" y="698"/>
                      </a:lnTo>
                      <a:lnTo>
                        <a:pt x="2906" y="696"/>
                      </a:lnTo>
                      <a:lnTo>
                        <a:pt x="2906" y="695"/>
                      </a:lnTo>
                      <a:lnTo>
                        <a:pt x="2906" y="693"/>
                      </a:lnTo>
                      <a:lnTo>
                        <a:pt x="2905" y="690"/>
                      </a:lnTo>
                      <a:lnTo>
                        <a:pt x="2905" y="687"/>
                      </a:lnTo>
                      <a:lnTo>
                        <a:pt x="2904" y="685"/>
                      </a:lnTo>
                      <a:lnTo>
                        <a:pt x="2904" y="682"/>
                      </a:lnTo>
                      <a:lnTo>
                        <a:pt x="2904" y="660"/>
                      </a:lnTo>
                      <a:lnTo>
                        <a:pt x="2903" y="650"/>
                      </a:lnTo>
                      <a:lnTo>
                        <a:pt x="2902" y="638"/>
                      </a:lnTo>
                      <a:lnTo>
                        <a:pt x="2902" y="627"/>
                      </a:lnTo>
                      <a:lnTo>
                        <a:pt x="2902" y="614"/>
                      </a:lnTo>
                      <a:lnTo>
                        <a:pt x="2902" y="610"/>
                      </a:lnTo>
                      <a:lnTo>
                        <a:pt x="2903" y="606"/>
                      </a:lnTo>
                      <a:lnTo>
                        <a:pt x="2904" y="601"/>
                      </a:lnTo>
                      <a:lnTo>
                        <a:pt x="2904" y="590"/>
                      </a:lnTo>
                      <a:lnTo>
                        <a:pt x="2905" y="585"/>
                      </a:lnTo>
                      <a:lnTo>
                        <a:pt x="2905" y="581"/>
                      </a:lnTo>
                      <a:lnTo>
                        <a:pt x="2906" y="577"/>
                      </a:lnTo>
                      <a:lnTo>
                        <a:pt x="2906" y="573"/>
                      </a:lnTo>
                      <a:lnTo>
                        <a:pt x="2906" y="572"/>
                      </a:lnTo>
                      <a:lnTo>
                        <a:pt x="2906" y="569"/>
                      </a:lnTo>
                      <a:lnTo>
                        <a:pt x="2906" y="568"/>
                      </a:lnTo>
                      <a:lnTo>
                        <a:pt x="2905" y="567"/>
                      </a:lnTo>
                      <a:lnTo>
                        <a:pt x="2905" y="567"/>
                      </a:lnTo>
                      <a:lnTo>
                        <a:pt x="2904" y="568"/>
                      </a:lnTo>
                      <a:lnTo>
                        <a:pt x="2904" y="570"/>
                      </a:lnTo>
                      <a:lnTo>
                        <a:pt x="2902" y="575"/>
                      </a:lnTo>
                      <a:lnTo>
                        <a:pt x="2900" y="578"/>
                      </a:lnTo>
                      <a:lnTo>
                        <a:pt x="2898" y="579"/>
                      </a:lnTo>
                      <a:lnTo>
                        <a:pt x="2895" y="580"/>
                      </a:lnTo>
                      <a:lnTo>
                        <a:pt x="2893" y="581"/>
                      </a:lnTo>
                      <a:lnTo>
                        <a:pt x="2892" y="581"/>
                      </a:lnTo>
                      <a:lnTo>
                        <a:pt x="2891" y="580"/>
                      </a:lnTo>
                      <a:lnTo>
                        <a:pt x="2890" y="579"/>
                      </a:lnTo>
                      <a:lnTo>
                        <a:pt x="2890" y="577"/>
                      </a:lnTo>
                      <a:lnTo>
                        <a:pt x="2889" y="575"/>
                      </a:lnTo>
                      <a:lnTo>
                        <a:pt x="2889" y="573"/>
                      </a:lnTo>
                      <a:lnTo>
                        <a:pt x="2889" y="570"/>
                      </a:lnTo>
                      <a:lnTo>
                        <a:pt x="2889" y="559"/>
                      </a:lnTo>
                      <a:lnTo>
                        <a:pt x="2889" y="557"/>
                      </a:lnTo>
                      <a:lnTo>
                        <a:pt x="2889" y="555"/>
                      </a:lnTo>
                      <a:lnTo>
                        <a:pt x="2887" y="553"/>
                      </a:lnTo>
                      <a:lnTo>
                        <a:pt x="2887" y="552"/>
                      </a:lnTo>
                      <a:lnTo>
                        <a:pt x="2887" y="551"/>
                      </a:lnTo>
                      <a:lnTo>
                        <a:pt x="2887" y="549"/>
                      </a:lnTo>
                      <a:lnTo>
                        <a:pt x="2885" y="548"/>
                      </a:lnTo>
                      <a:lnTo>
                        <a:pt x="2884" y="548"/>
                      </a:lnTo>
                      <a:lnTo>
                        <a:pt x="2883" y="546"/>
                      </a:lnTo>
                      <a:lnTo>
                        <a:pt x="2882" y="544"/>
                      </a:lnTo>
                      <a:lnTo>
                        <a:pt x="2882" y="542"/>
                      </a:lnTo>
                      <a:lnTo>
                        <a:pt x="2882" y="540"/>
                      </a:lnTo>
                      <a:lnTo>
                        <a:pt x="2882" y="538"/>
                      </a:lnTo>
                      <a:lnTo>
                        <a:pt x="2882" y="536"/>
                      </a:lnTo>
                      <a:lnTo>
                        <a:pt x="2881" y="535"/>
                      </a:lnTo>
                      <a:lnTo>
                        <a:pt x="2880" y="535"/>
                      </a:lnTo>
                      <a:lnTo>
                        <a:pt x="2878" y="535"/>
                      </a:lnTo>
                      <a:lnTo>
                        <a:pt x="2876" y="537"/>
                      </a:lnTo>
                      <a:lnTo>
                        <a:pt x="2873" y="540"/>
                      </a:lnTo>
                      <a:lnTo>
                        <a:pt x="2871" y="540"/>
                      </a:lnTo>
                      <a:lnTo>
                        <a:pt x="2869" y="540"/>
                      </a:lnTo>
                      <a:lnTo>
                        <a:pt x="2867" y="542"/>
                      </a:lnTo>
                      <a:lnTo>
                        <a:pt x="2865" y="542"/>
                      </a:lnTo>
                      <a:lnTo>
                        <a:pt x="2862" y="543"/>
                      </a:lnTo>
                      <a:lnTo>
                        <a:pt x="2860" y="544"/>
                      </a:lnTo>
                      <a:lnTo>
                        <a:pt x="2851" y="544"/>
                      </a:lnTo>
                      <a:lnTo>
                        <a:pt x="2849" y="544"/>
                      </a:lnTo>
                      <a:lnTo>
                        <a:pt x="2847" y="545"/>
                      </a:lnTo>
                      <a:lnTo>
                        <a:pt x="2845" y="546"/>
                      </a:lnTo>
                      <a:lnTo>
                        <a:pt x="2844" y="546"/>
                      </a:lnTo>
                      <a:lnTo>
                        <a:pt x="2843" y="546"/>
                      </a:lnTo>
                      <a:lnTo>
                        <a:pt x="2841" y="547"/>
                      </a:lnTo>
                      <a:lnTo>
                        <a:pt x="2840" y="547"/>
                      </a:lnTo>
                      <a:lnTo>
                        <a:pt x="2839" y="547"/>
                      </a:lnTo>
                      <a:lnTo>
                        <a:pt x="2838" y="546"/>
                      </a:lnTo>
                      <a:lnTo>
                        <a:pt x="2838" y="544"/>
                      </a:lnTo>
                      <a:lnTo>
                        <a:pt x="2838" y="542"/>
                      </a:lnTo>
                      <a:lnTo>
                        <a:pt x="2838" y="538"/>
                      </a:lnTo>
                      <a:lnTo>
                        <a:pt x="2838" y="535"/>
                      </a:lnTo>
                      <a:lnTo>
                        <a:pt x="2838" y="532"/>
                      </a:lnTo>
                      <a:lnTo>
                        <a:pt x="2837" y="530"/>
                      </a:lnTo>
                      <a:lnTo>
                        <a:pt x="2837" y="529"/>
                      </a:lnTo>
                      <a:lnTo>
                        <a:pt x="2836" y="529"/>
                      </a:lnTo>
                      <a:lnTo>
                        <a:pt x="2835" y="529"/>
                      </a:lnTo>
                      <a:lnTo>
                        <a:pt x="2834" y="530"/>
                      </a:lnTo>
                      <a:lnTo>
                        <a:pt x="2834" y="532"/>
                      </a:lnTo>
                      <a:lnTo>
                        <a:pt x="2833" y="533"/>
                      </a:lnTo>
                      <a:lnTo>
                        <a:pt x="2832" y="535"/>
                      </a:lnTo>
                      <a:lnTo>
                        <a:pt x="2829" y="537"/>
                      </a:lnTo>
                      <a:lnTo>
                        <a:pt x="2828" y="540"/>
                      </a:lnTo>
                      <a:lnTo>
                        <a:pt x="2827" y="542"/>
                      </a:lnTo>
                      <a:lnTo>
                        <a:pt x="2825" y="543"/>
                      </a:lnTo>
                      <a:lnTo>
                        <a:pt x="2823" y="544"/>
                      </a:lnTo>
                      <a:lnTo>
                        <a:pt x="2821" y="544"/>
                      </a:lnTo>
                      <a:lnTo>
                        <a:pt x="2819" y="543"/>
                      </a:lnTo>
                      <a:lnTo>
                        <a:pt x="2817" y="542"/>
                      </a:lnTo>
                      <a:lnTo>
                        <a:pt x="2816" y="540"/>
                      </a:lnTo>
                      <a:lnTo>
                        <a:pt x="2815" y="536"/>
                      </a:lnTo>
                      <a:lnTo>
                        <a:pt x="2814" y="533"/>
                      </a:lnTo>
                      <a:lnTo>
                        <a:pt x="2813" y="529"/>
                      </a:lnTo>
                      <a:lnTo>
                        <a:pt x="2812" y="524"/>
                      </a:lnTo>
                      <a:lnTo>
                        <a:pt x="2812" y="523"/>
                      </a:lnTo>
                      <a:lnTo>
                        <a:pt x="2811" y="522"/>
                      </a:lnTo>
                      <a:lnTo>
                        <a:pt x="2811" y="521"/>
                      </a:lnTo>
                      <a:lnTo>
                        <a:pt x="2809" y="520"/>
                      </a:lnTo>
                      <a:lnTo>
                        <a:pt x="2809" y="518"/>
                      </a:lnTo>
                      <a:lnTo>
                        <a:pt x="2808" y="515"/>
                      </a:lnTo>
                      <a:lnTo>
                        <a:pt x="2807" y="513"/>
                      </a:lnTo>
                      <a:lnTo>
                        <a:pt x="2807" y="511"/>
                      </a:lnTo>
                      <a:lnTo>
                        <a:pt x="2807" y="509"/>
                      </a:lnTo>
                      <a:lnTo>
                        <a:pt x="2807" y="507"/>
                      </a:lnTo>
                      <a:lnTo>
                        <a:pt x="2806" y="505"/>
                      </a:lnTo>
                      <a:lnTo>
                        <a:pt x="2805" y="504"/>
                      </a:lnTo>
                      <a:lnTo>
                        <a:pt x="2803" y="504"/>
                      </a:lnTo>
                      <a:lnTo>
                        <a:pt x="2801" y="504"/>
                      </a:lnTo>
                      <a:lnTo>
                        <a:pt x="2800" y="504"/>
                      </a:lnTo>
                      <a:lnTo>
                        <a:pt x="2798" y="505"/>
                      </a:lnTo>
                      <a:lnTo>
                        <a:pt x="2797" y="509"/>
                      </a:lnTo>
                      <a:lnTo>
                        <a:pt x="2796" y="512"/>
                      </a:lnTo>
                      <a:lnTo>
                        <a:pt x="2796" y="518"/>
                      </a:lnTo>
                      <a:lnTo>
                        <a:pt x="2795" y="525"/>
                      </a:lnTo>
                      <a:lnTo>
                        <a:pt x="2796" y="533"/>
                      </a:lnTo>
                      <a:lnTo>
                        <a:pt x="2798" y="540"/>
                      </a:lnTo>
                      <a:lnTo>
                        <a:pt x="2800" y="548"/>
                      </a:lnTo>
                      <a:lnTo>
                        <a:pt x="2803" y="559"/>
                      </a:lnTo>
                      <a:lnTo>
                        <a:pt x="2803" y="562"/>
                      </a:lnTo>
                      <a:lnTo>
                        <a:pt x="2803" y="564"/>
                      </a:lnTo>
                      <a:lnTo>
                        <a:pt x="2804" y="566"/>
                      </a:lnTo>
                      <a:lnTo>
                        <a:pt x="2805" y="568"/>
                      </a:lnTo>
                      <a:lnTo>
                        <a:pt x="2805" y="569"/>
                      </a:lnTo>
                      <a:lnTo>
                        <a:pt x="2805" y="572"/>
                      </a:lnTo>
                      <a:lnTo>
                        <a:pt x="2805" y="573"/>
                      </a:lnTo>
                      <a:lnTo>
                        <a:pt x="2806" y="574"/>
                      </a:lnTo>
                      <a:lnTo>
                        <a:pt x="2807" y="575"/>
                      </a:lnTo>
                      <a:lnTo>
                        <a:pt x="2807" y="575"/>
                      </a:lnTo>
                      <a:lnTo>
                        <a:pt x="2809" y="575"/>
                      </a:lnTo>
                      <a:lnTo>
                        <a:pt x="2811" y="574"/>
                      </a:lnTo>
                      <a:lnTo>
                        <a:pt x="2813" y="573"/>
                      </a:lnTo>
                      <a:lnTo>
                        <a:pt x="2814" y="570"/>
                      </a:lnTo>
                      <a:lnTo>
                        <a:pt x="2816" y="567"/>
                      </a:lnTo>
                      <a:lnTo>
                        <a:pt x="2818" y="564"/>
                      </a:lnTo>
                      <a:lnTo>
                        <a:pt x="2821" y="562"/>
                      </a:lnTo>
                      <a:lnTo>
                        <a:pt x="2822" y="559"/>
                      </a:lnTo>
                      <a:lnTo>
                        <a:pt x="2824" y="557"/>
                      </a:lnTo>
                      <a:lnTo>
                        <a:pt x="2825" y="555"/>
                      </a:lnTo>
                      <a:lnTo>
                        <a:pt x="2826" y="553"/>
                      </a:lnTo>
                      <a:lnTo>
                        <a:pt x="2827" y="551"/>
                      </a:lnTo>
                      <a:lnTo>
                        <a:pt x="2829" y="548"/>
                      </a:lnTo>
                      <a:lnTo>
                        <a:pt x="2830" y="546"/>
                      </a:lnTo>
                      <a:lnTo>
                        <a:pt x="2832" y="544"/>
                      </a:lnTo>
                      <a:lnTo>
                        <a:pt x="2832" y="544"/>
                      </a:lnTo>
                      <a:lnTo>
                        <a:pt x="2833" y="544"/>
                      </a:lnTo>
                      <a:lnTo>
                        <a:pt x="2833" y="546"/>
                      </a:lnTo>
                      <a:lnTo>
                        <a:pt x="2832" y="548"/>
                      </a:lnTo>
                      <a:lnTo>
                        <a:pt x="2832" y="551"/>
                      </a:lnTo>
                      <a:lnTo>
                        <a:pt x="2830" y="553"/>
                      </a:lnTo>
                      <a:lnTo>
                        <a:pt x="2830" y="556"/>
                      </a:lnTo>
                      <a:lnTo>
                        <a:pt x="2829" y="558"/>
                      </a:lnTo>
                      <a:lnTo>
                        <a:pt x="2829" y="559"/>
                      </a:lnTo>
                      <a:lnTo>
                        <a:pt x="2830" y="563"/>
                      </a:lnTo>
                      <a:lnTo>
                        <a:pt x="2833" y="565"/>
                      </a:lnTo>
                      <a:lnTo>
                        <a:pt x="2835" y="566"/>
                      </a:lnTo>
                      <a:lnTo>
                        <a:pt x="2837" y="567"/>
                      </a:lnTo>
                      <a:lnTo>
                        <a:pt x="2838" y="568"/>
                      </a:lnTo>
                      <a:lnTo>
                        <a:pt x="2838" y="568"/>
                      </a:lnTo>
                      <a:lnTo>
                        <a:pt x="2839" y="567"/>
                      </a:lnTo>
                      <a:lnTo>
                        <a:pt x="2839" y="567"/>
                      </a:lnTo>
                      <a:lnTo>
                        <a:pt x="2840" y="567"/>
                      </a:lnTo>
                      <a:lnTo>
                        <a:pt x="2840" y="568"/>
                      </a:lnTo>
                      <a:lnTo>
                        <a:pt x="2840" y="570"/>
                      </a:lnTo>
                      <a:lnTo>
                        <a:pt x="2840" y="574"/>
                      </a:lnTo>
                      <a:lnTo>
                        <a:pt x="2841" y="576"/>
                      </a:lnTo>
                      <a:lnTo>
                        <a:pt x="2843" y="579"/>
                      </a:lnTo>
                      <a:lnTo>
                        <a:pt x="2843" y="586"/>
                      </a:lnTo>
                      <a:lnTo>
                        <a:pt x="2840" y="592"/>
                      </a:lnTo>
                      <a:lnTo>
                        <a:pt x="2836" y="599"/>
                      </a:lnTo>
                      <a:lnTo>
                        <a:pt x="2835" y="600"/>
                      </a:lnTo>
                      <a:lnTo>
                        <a:pt x="2833" y="602"/>
                      </a:lnTo>
                      <a:lnTo>
                        <a:pt x="2832" y="605"/>
                      </a:lnTo>
                      <a:lnTo>
                        <a:pt x="2832" y="608"/>
                      </a:lnTo>
                      <a:lnTo>
                        <a:pt x="2830" y="610"/>
                      </a:lnTo>
                      <a:lnTo>
                        <a:pt x="2829" y="612"/>
                      </a:lnTo>
                      <a:lnTo>
                        <a:pt x="2829" y="617"/>
                      </a:lnTo>
                      <a:lnTo>
                        <a:pt x="2828" y="618"/>
                      </a:lnTo>
                      <a:lnTo>
                        <a:pt x="2827" y="620"/>
                      </a:lnTo>
                      <a:lnTo>
                        <a:pt x="2825" y="622"/>
                      </a:lnTo>
                      <a:lnTo>
                        <a:pt x="2824" y="624"/>
                      </a:lnTo>
                      <a:lnTo>
                        <a:pt x="2823" y="625"/>
                      </a:lnTo>
                      <a:lnTo>
                        <a:pt x="2822" y="627"/>
                      </a:lnTo>
                      <a:lnTo>
                        <a:pt x="2821" y="627"/>
                      </a:lnTo>
                      <a:lnTo>
                        <a:pt x="2821" y="628"/>
                      </a:lnTo>
                      <a:lnTo>
                        <a:pt x="2819" y="630"/>
                      </a:lnTo>
                      <a:lnTo>
                        <a:pt x="2818" y="631"/>
                      </a:lnTo>
                      <a:lnTo>
                        <a:pt x="2816" y="634"/>
                      </a:lnTo>
                      <a:lnTo>
                        <a:pt x="2814" y="638"/>
                      </a:lnTo>
                      <a:lnTo>
                        <a:pt x="2812" y="641"/>
                      </a:lnTo>
                      <a:lnTo>
                        <a:pt x="2809" y="643"/>
                      </a:lnTo>
                      <a:lnTo>
                        <a:pt x="2807" y="644"/>
                      </a:lnTo>
                      <a:lnTo>
                        <a:pt x="2806" y="646"/>
                      </a:lnTo>
                      <a:lnTo>
                        <a:pt x="2805" y="649"/>
                      </a:lnTo>
                      <a:lnTo>
                        <a:pt x="2804" y="652"/>
                      </a:lnTo>
                      <a:lnTo>
                        <a:pt x="2803" y="654"/>
                      </a:lnTo>
                      <a:lnTo>
                        <a:pt x="2801" y="655"/>
                      </a:lnTo>
                      <a:lnTo>
                        <a:pt x="2801" y="656"/>
                      </a:lnTo>
                      <a:lnTo>
                        <a:pt x="2800" y="656"/>
                      </a:lnTo>
                      <a:lnTo>
                        <a:pt x="2798" y="656"/>
                      </a:lnTo>
                      <a:lnTo>
                        <a:pt x="2797" y="657"/>
                      </a:lnTo>
                      <a:lnTo>
                        <a:pt x="2796" y="657"/>
                      </a:lnTo>
                      <a:lnTo>
                        <a:pt x="2790" y="671"/>
                      </a:lnTo>
                      <a:lnTo>
                        <a:pt x="2786" y="674"/>
                      </a:lnTo>
                      <a:lnTo>
                        <a:pt x="2784" y="676"/>
                      </a:lnTo>
                      <a:lnTo>
                        <a:pt x="2781" y="678"/>
                      </a:lnTo>
                      <a:lnTo>
                        <a:pt x="2778" y="681"/>
                      </a:lnTo>
                      <a:lnTo>
                        <a:pt x="2774" y="684"/>
                      </a:lnTo>
                      <a:lnTo>
                        <a:pt x="2774" y="685"/>
                      </a:lnTo>
                      <a:lnTo>
                        <a:pt x="2773" y="686"/>
                      </a:lnTo>
                      <a:lnTo>
                        <a:pt x="2771" y="687"/>
                      </a:lnTo>
                      <a:lnTo>
                        <a:pt x="2770" y="688"/>
                      </a:lnTo>
                      <a:lnTo>
                        <a:pt x="2769" y="689"/>
                      </a:lnTo>
                      <a:lnTo>
                        <a:pt x="2768" y="690"/>
                      </a:lnTo>
                      <a:lnTo>
                        <a:pt x="2768" y="692"/>
                      </a:lnTo>
                      <a:lnTo>
                        <a:pt x="2767" y="694"/>
                      </a:lnTo>
                      <a:lnTo>
                        <a:pt x="2765" y="695"/>
                      </a:lnTo>
                      <a:lnTo>
                        <a:pt x="2763" y="696"/>
                      </a:lnTo>
                      <a:lnTo>
                        <a:pt x="2762" y="697"/>
                      </a:lnTo>
                      <a:lnTo>
                        <a:pt x="2760" y="699"/>
                      </a:lnTo>
                      <a:lnTo>
                        <a:pt x="2759" y="701"/>
                      </a:lnTo>
                      <a:lnTo>
                        <a:pt x="2757" y="704"/>
                      </a:lnTo>
                      <a:lnTo>
                        <a:pt x="2753" y="706"/>
                      </a:lnTo>
                      <a:lnTo>
                        <a:pt x="2750" y="708"/>
                      </a:lnTo>
                      <a:lnTo>
                        <a:pt x="2748" y="710"/>
                      </a:lnTo>
                      <a:lnTo>
                        <a:pt x="2746" y="711"/>
                      </a:lnTo>
                      <a:lnTo>
                        <a:pt x="2743" y="712"/>
                      </a:lnTo>
                      <a:lnTo>
                        <a:pt x="2741" y="715"/>
                      </a:lnTo>
                      <a:lnTo>
                        <a:pt x="2740" y="716"/>
                      </a:lnTo>
                      <a:lnTo>
                        <a:pt x="2738" y="716"/>
                      </a:lnTo>
                      <a:lnTo>
                        <a:pt x="2737" y="715"/>
                      </a:lnTo>
                      <a:lnTo>
                        <a:pt x="2736" y="714"/>
                      </a:lnTo>
                      <a:lnTo>
                        <a:pt x="2736" y="712"/>
                      </a:lnTo>
                      <a:lnTo>
                        <a:pt x="2735" y="711"/>
                      </a:lnTo>
                      <a:lnTo>
                        <a:pt x="2734" y="709"/>
                      </a:lnTo>
                      <a:lnTo>
                        <a:pt x="2734" y="707"/>
                      </a:lnTo>
                      <a:lnTo>
                        <a:pt x="2735" y="704"/>
                      </a:lnTo>
                      <a:lnTo>
                        <a:pt x="2736" y="696"/>
                      </a:lnTo>
                      <a:lnTo>
                        <a:pt x="2737" y="689"/>
                      </a:lnTo>
                      <a:lnTo>
                        <a:pt x="2737" y="682"/>
                      </a:lnTo>
                      <a:lnTo>
                        <a:pt x="2737" y="674"/>
                      </a:lnTo>
                      <a:lnTo>
                        <a:pt x="2736" y="668"/>
                      </a:lnTo>
                      <a:lnTo>
                        <a:pt x="2735" y="662"/>
                      </a:lnTo>
                      <a:lnTo>
                        <a:pt x="2735" y="658"/>
                      </a:lnTo>
                      <a:lnTo>
                        <a:pt x="2735" y="654"/>
                      </a:lnTo>
                      <a:lnTo>
                        <a:pt x="2734" y="650"/>
                      </a:lnTo>
                      <a:lnTo>
                        <a:pt x="2734" y="646"/>
                      </a:lnTo>
                      <a:lnTo>
                        <a:pt x="2732" y="644"/>
                      </a:lnTo>
                      <a:lnTo>
                        <a:pt x="2731" y="644"/>
                      </a:lnTo>
                      <a:lnTo>
                        <a:pt x="2729" y="643"/>
                      </a:lnTo>
                      <a:lnTo>
                        <a:pt x="2728" y="643"/>
                      </a:lnTo>
                      <a:lnTo>
                        <a:pt x="2727" y="643"/>
                      </a:lnTo>
                      <a:lnTo>
                        <a:pt x="2727" y="642"/>
                      </a:lnTo>
                      <a:lnTo>
                        <a:pt x="2728" y="640"/>
                      </a:lnTo>
                      <a:lnTo>
                        <a:pt x="2728" y="635"/>
                      </a:lnTo>
                      <a:lnTo>
                        <a:pt x="2729" y="632"/>
                      </a:lnTo>
                      <a:lnTo>
                        <a:pt x="2730" y="628"/>
                      </a:lnTo>
                      <a:lnTo>
                        <a:pt x="2730" y="623"/>
                      </a:lnTo>
                      <a:lnTo>
                        <a:pt x="2730" y="619"/>
                      </a:lnTo>
                      <a:lnTo>
                        <a:pt x="2730" y="617"/>
                      </a:lnTo>
                      <a:lnTo>
                        <a:pt x="2730" y="612"/>
                      </a:lnTo>
                      <a:lnTo>
                        <a:pt x="2730" y="609"/>
                      </a:lnTo>
                      <a:lnTo>
                        <a:pt x="2730" y="606"/>
                      </a:lnTo>
                      <a:lnTo>
                        <a:pt x="2728" y="599"/>
                      </a:lnTo>
                      <a:lnTo>
                        <a:pt x="2726" y="595"/>
                      </a:lnTo>
                      <a:lnTo>
                        <a:pt x="2724" y="590"/>
                      </a:lnTo>
                      <a:lnTo>
                        <a:pt x="2721" y="579"/>
                      </a:lnTo>
                      <a:lnTo>
                        <a:pt x="2721" y="568"/>
                      </a:lnTo>
                      <a:lnTo>
                        <a:pt x="2720" y="566"/>
                      </a:lnTo>
                      <a:lnTo>
                        <a:pt x="2720" y="564"/>
                      </a:lnTo>
                      <a:lnTo>
                        <a:pt x="2719" y="562"/>
                      </a:lnTo>
                      <a:lnTo>
                        <a:pt x="2719" y="559"/>
                      </a:lnTo>
                      <a:lnTo>
                        <a:pt x="2718" y="558"/>
                      </a:lnTo>
                      <a:lnTo>
                        <a:pt x="2717" y="557"/>
                      </a:lnTo>
                      <a:lnTo>
                        <a:pt x="2716" y="558"/>
                      </a:lnTo>
                      <a:lnTo>
                        <a:pt x="2715" y="559"/>
                      </a:lnTo>
                      <a:lnTo>
                        <a:pt x="2714" y="561"/>
                      </a:lnTo>
                      <a:lnTo>
                        <a:pt x="2713" y="562"/>
                      </a:lnTo>
                      <a:lnTo>
                        <a:pt x="2712" y="563"/>
                      </a:lnTo>
                      <a:lnTo>
                        <a:pt x="2710" y="564"/>
                      </a:lnTo>
                      <a:lnTo>
                        <a:pt x="2710" y="570"/>
                      </a:lnTo>
                      <a:lnTo>
                        <a:pt x="2712" y="584"/>
                      </a:lnTo>
                      <a:lnTo>
                        <a:pt x="2713" y="597"/>
                      </a:lnTo>
                      <a:lnTo>
                        <a:pt x="2713" y="598"/>
                      </a:lnTo>
                      <a:lnTo>
                        <a:pt x="2714" y="601"/>
                      </a:lnTo>
                      <a:lnTo>
                        <a:pt x="2714" y="605"/>
                      </a:lnTo>
                      <a:lnTo>
                        <a:pt x="2715" y="608"/>
                      </a:lnTo>
                      <a:lnTo>
                        <a:pt x="2713" y="609"/>
                      </a:lnTo>
                      <a:lnTo>
                        <a:pt x="2713" y="612"/>
                      </a:lnTo>
                      <a:lnTo>
                        <a:pt x="2713" y="616"/>
                      </a:lnTo>
                      <a:lnTo>
                        <a:pt x="2713" y="619"/>
                      </a:lnTo>
                      <a:lnTo>
                        <a:pt x="2712" y="621"/>
                      </a:lnTo>
                      <a:lnTo>
                        <a:pt x="2712" y="623"/>
                      </a:lnTo>
                      <a:lnTo>
                        <a:pt x="2713" y="624"/>
                      </a:lnTo>
                      <a:lnTo>
                        <a:pt x="2714" y="627"/>
                      </a:lnTo>
                      <a:lnTo>
                        <a:pt x="2715" y="630"/>
                      </a:lnTo>
                      <a:lnTo>
                        <a:pt x="2715" y="631"/>
                      </a:lnTo>
                      <a:lnTo>
                        <a:pt x="2715" y="634"/>
                      </a:lnTo>
                      <a:lnTo>
                        <a:pt x="2715" y="636"/>
                      </a:lnTo>
                      <a:lnTo>
                        <a:pt x="2715" y="640"/>
                      </a:lnTo>
                      <a:lnTo>
                        <a:pt x="2714" y="646"/>
                      </a:lnTo>
                      <a:lnTo>
                        <a:pt x="2713" y="653"/>
                      </a:lnTo>
                      <a:lnTo>
                        <a:pt x="2710" y="660"/>
                      </a:lnTo>
                      <a:lnTo>
                        <a:pt x="2710" y="664"/>
                      </a:lnTo>
                      <a:lnTo>
                        <a:pt x="2713" y="666"/>
                      </a:lnTo>
                      <a:lnTo>
                        <a:pt x="2714" y="666"/>
                      </a:lnTo>
                      <a:lnTo>
                        <a:pt x="2715" y="666"/>
                      </a:lnTo>
                      <a:lnTo>
                        <a:pt x="2716" y="668"/>
                      </a:lnTo>
                      <a:lnTo>
                        <a:pt x="2717" y="671"/>
                      </a:lnTo>
                      <a:lnTo>
                        <a:pt x="2717" y="673"/>
                      </a:lnTo>
                      <a:lnTo>
                        <a:pt x="2717" y="677"/>
                      </a:lnTo>
                      <a:lnTo>
                        <a:pt x="2716" y="684"/>
                      </a:lnTo>
                      <a:lnTo>
                        <a:pt x="2715" y="690"/>
                      </a:lnTo>
                      <a:lnTo>
                        <a:pt x="2715" y="697"/>
                      </a:lnTo>
                      <a:lnTo>
                        <a:pt x="2715" y="700"/>
                      </a:lnTo>
                      <a:lnTo>
                        <a:pt x="2716" y="703"/>
                      </a:lnTo>
                      <a:lnTo>
                        <a:pt x="2717" y="704"/>
                      </a:lnTo>
                      <a:lnTo>
                        <a:pt x="2718" y="705"/>
                      </a:lnTo>
                      <a:lnTo>
                        <a:pt x="2720" y="705"/>
                      </a:lnTo>
                      <a:lnTo>
                        <a:pt x="2721" y="706"/>
                      </a:lnTo>
                      <a:lnTo>
                        <a:pt x="2724" y="707"/>
                      </a:lnTo>
                      <a:lnTo>
                        <a:pt x="2726" y="708"/>
                      </a:lnTo>
                      <a:lnTo>
                        <a:pt x="2728" y="710"/>
                      </a:lnTo>
                      <a:lnTo>
                        <a:pt x="2728" y="711"/>
                      </a:lnTo>
                      <a:lnTo>
                        <a:pt x="2729" y="712"/>
                      </a:lnTo>
                      <a:lnTo>
                        <a:pt x="2729" y="712"/>
                      </a:lnTo>
                      <a:lnTo>
                        <a:pt x="2730" y="712"/>
                      </a:lnTo>
                      <a:lnTo>
                        <a:pt x="2730" y="715"/>
                      </a:lnTo>
                      <a:lnTo>
                        <a:pt x="2731" y="716"/>
                      </a:lnTo>
                      <a:lnTo>
                        <a:pt x="2730" y="719"/>
                      </a:lnTo>
                      <a:lnTo>
                        <a:pt x="2730" y="721"/>
                      </a:lnTo>
                      <a:lnTo>
                        <a:pt x="2730" y="723"/>
                      </a:lnTo>
                      <a:lnTo>
                        <a:pt x="2730" y="728"/>
                      </a:lnTo>
                      <a:lnTo>
                        <a:pt x="2730" y="730"/>
                      </a:lnTo>
                      <a:lnTo>
                        <a:pt x="2730" y="732"/>
                      </a:lnTo>
                      <a:lnTo>
                        <a:pt x="2730" y="736"/>
                      </a:lnTo>
                      <a:lnTo>
                        <a:pt x="2731" y="739"/>
                      </a:lnTo>
                      <a:lnTo>
                        <a:pt x="2732" y="741"/>
                      </a:lnTo>
                      <a:lnTo>
                        <a:pt x="2735" y="743"/>
                      </a:lnTo>
                      <a:lnTo>
                        <a:pt x="2737" y="743"/>
                      </a:lnTo>
                      <a:lnTo>
                        <a:pt x="2739" y="742"/>
                      </a:lnTo>
                      <a:lnTo>
                        <a:pt x="2741" y="740"/>
                      </a:lnTo>
                      <a:lnTo>
                        <a:pt x="2743" y="737"/>
                      </a:lnTo>
                      <a:lnTo>
                        <a:pt x="2745" y="736"/>
                      </a:lnTo>
                      <a:lnTo>
                        <a:pt x="2746" y="734"/>
                      </a:lnTo>
                      <a:lnTo>
                        <a:pt x="2747" y="734"/>
                      </a:lnTo>
                      <a:lnTo>
                        <a:pt x="2748" y="734"/>
                      </a:lnTo>
                      <a:lnTo>
                        <a:pt x="2750" y="733"/>
                      </a:lnTo>
                      <a:lnTo>
                        <a:pt x="2752" y="732"/>
                      </a:lnTo>
                      <a:lnTo>
                        <a:pt x="2754" y="730"/>
                      </a:lnTo>
                      <a:lnTo>
                        <a:pt x="2756" y="728"/>
                      </a:lnTo>
                      <a:lnTo>
                        <a:pt x="2758" y="726"/>
                      </a:lnTo>
                      <a:lnTo>
                        <a:pt x="2759" y="725"/>
                      </a:lnTo>
                      <a:lnTo>
                        <a:pt x="2761" y="723"/>
                      </a:lnTo>
                      <a:lnTo>
                        <a:pt x="2763" y="722"/>
                      </a:lnTo>
                      <a:lnTo>
                        <a:pt x="2765" y="721"/>
                      </a:lnTo>
                      <a:lnTo>
                        <a:pt x="2768" y="719"/>
                      </a:lnTo>
                      <a:lnTo>
                        <a:pt x="2769" y="718"/>
                      </a:lnTo>
                      <a:lnTo>
                        <a:pt x="2771" y="716"/>
                      </a:lnTo>
                      <a:lnTo>
                        <a:pt x="2771" y="716"/>
                      </a:lnTo>
                      <a:lnTo>
                        <a:pt x="2772" y="715"/>
                      </a:lnTo>
                      <a:lnTo>
                        <a:pt x="2773" y="716"/>
                      </a:lnTo>
                      <a:lnTo>
                        <a:pt x="2773" y="720"/>
                      </a:lnTo>
                      <a:lnTo>
                        <a:pt x="2771" y="727"/>
                      </a:lnTo>
                      <a:lnTo>
                        <a:pt x="2769" y="732"/>
                      </a:lnTo>
                      <a:lnTo>
                        <a:pt x="2768" y="737"/>
                      </a:lnTo>
                      <a:lnTo>
                        <a:pt x="2761" y="751"/>
                      </a:lnTo>
                      <a:lnTo>
                        <a:pt x="2754" y="765"/>
                      </a:lnTo>
                      <a:lnTo>
                        <a:pt x="2741" y="792"/>
                      </a:lnTo>
                      <a:lnTo>
                        <a:pt x="2735" y="805"/>
                      </a:lnTo>
                      <a:lnTo>
                        <a:pt x="2728" y="816"/>
                      </a:lnTo>
                      <a:lnTo>
                        <a:pt x="2726" y="818"/>
                      </a:lnTo>
                      <a:lnTo>
                        <a:pt x="2724" y="821"/>
                      </a:lnTo>
                      <a:lnTo>
                        <a:pt x="2721" y="825"/>
                      </a:lnTo>
                      <a:lnTo>
                        <a:pt x="2719" y="826"/>
                      </a:lnTo>
                      <a:lnTo>
                        <a:pt x="2717" y="827"/>
                      </a:lnTo>
                      <a:lnTo>
                        <a:pt x="2715" y="827"/>
                      </a:lnTo>
                      <a:lnTo>
                        <a:pt x="2713" y="829"/>
                      </a:lnTo>
                      <a:lnTo>
                        <a:pt x="2710" y="832"/>
                      </a:lnTo>
                      <a:lnTo>
                        <a:pt x="2708" y="836"/>
                      </a:lnTo>
                      <a:lnTo>
                        <a:pt x="2706" y="839"/>
                      </a:lnTo>
                      <a:lnTo>
                        <a:pt x="2704" y="842"/>
                      </a:lnTo>
                      <a:lnTo>
                        <a:pt x="2704" y="845"/>
                      </a:lnTo>
                      <a:lnTo>
                        <a:pt x="2702" y="847"/>
                      </a:lnTo>
                      <a:lnTo>
                        <a:pt x="2702" y="849"/>
                      </a:lnTo>
                      <a:lnTo>
                        <a:pt x="2701" y="851"/>
                      </a:lnTo>
                      <a:lnTo>
                        <a:pt x="2699" y="853"/>
                      </a:lnTo>
                      <a:lnTo>
                        <a:pt x="2697" y="856"/>
                      </a:lnTo>
                      <a:lnTo>
                        <a:pt x="2695" y="858"/>
                      </a:lnTo>
                      <a:lnTo>
                        <a:pt x="2695" y="860"/>
                      </a:lnTo>
                      <a:lnTo>
                        <a:pt x="2685" y="872"/>
                      </a:lnTo>
                      <a:lnTo>
                        <a:pt x="2676" y="885"/>
                      </a:lnTo>
                      <a:lnTo>
                        <a:pt x="2667" y="898"/>
                      </a:lnTo>
                      <a:lnTo>
                        <a:pt x="2665" y="903"/>
                      </a:lnTo>
                      <a:lnTo>
                        <a:pt x="2662" y="907"/>
                      </a:lnTo>
                      <a:lnTo>
                        <a:pt x="2659" y="912"/>
                      </a:lnTo>
                      <a:lnTo>
                        <a:pt x="2659" y="914"/>
                      </a:lnTo>
                      <a:lnTo>
                        <a:pt x="2658" y="916"/>
                      </a:lnTo>
                      <a:lnTo>
                        <a:pt x="2658" y="919"/>
                      </a:lnTo>
                      <a:lnTo>
                        <a:pt x="2656" y="921"/>
                      </a:lnTo>
                      <a:lnTo>
                        <a:pt x="2655" y="927"/>
                      </a:lnTo>
                      <a:lnTo>
                        <a:pt x="2653" y="935"/>
                      </a:lnTo>
                      <a:lnTo>
                        <a:pt x="2652" y="943"/>
                      </a:lnTo>
                      <a:lnTo>
                        <a:pt x="2652" y="948"/>
                      </a:lnTo>
                      <a:lnTo>
                        <a:pt x="2652" y="952"/>
                      </a:lnTo>
                      <a:lnTo>
                        <a:pt x="2652" y="957"/>
                      </a:lnTo>
                      <a:lnTo>
                        <a:pt x="2652" y="960"/>
                      </a:lnTo>
                      <a:lnTo>
                        <a:pt x="2652" y="965"/>
                      </a:lnTo>
                      <a:lnTo>
                        <a:pt x="2651" y="968"/>
                      </a:lnTo>
                      <a:lnTo>
                        <a:pt x="2650" y="973"/>
                      </a:lnTo>
                      <a:lnTo>
                        <a:pt x="2648" y="978"/>
                      </a:lnTo>
                      <a:lnTo>
                        <a:pt x="2645" y="987"/>
                      </a:lnTo>
                      <a:lnTo>
                        <a:pt x="2643" y="993"/>
                      </a:lnTo>
                      <a:lnTo>
                        <a:pt x="2641" y="1000"/>
                      </a:lnTo>
                      <a:lnTo>
                        <a:pt x="2640" y="1003"/>
                      </a:lnTo>
                      <a:lnTo>
                        <a:pt x="2639" y="1007"/>
                      </a:lnTo>
                      <a:lnTo>
                        <a:pt x="2637" y="1011"/>
                      </a:lnTo>
                      <a:lnTo>
                        <a:pt x="2634" y="1014"/>
                      </a:lnTo>
                      <a:lnTo>
                        <a:pt x="2630" y="1017"/>
                      </a:lnTo>
                      <a:lnTo>
                        <a:pt x="2629" y="1020"/>
                      </a:lnTo>
                      <a:lnTo>
                        <a:pt x="2627" y="1021"/>
                      </a:lnTo>
                      <a:lnTo>
                        <a:pt x="2625" y="1023"/>
                      </a:lnTo>
                      <a:lnTo>
                        <a:pt x="2621" y="1026"/>
                      </a:lnTo>
                      <a:lnTo>
                        <a:pt x="2619" y="1028"/>
                      </a:lnTo>
                      <a:lnTo>
                        <a:pt x="2617" y="1032"/>
                      </a:lnTo>
                      <a:lnTo>
                        <a:pt x="2615" y="1035"/>
                      </a:lnTo>
                      <a:lnTo>
                        <a:pt x="2612" y="1036"/>
                      </a:lnTo>
                      <a:lnTo>
                        <a:pt x="2610" y="1037"/>
                      </a:lnTo>
                      <a:lnTo>
                        <a:pt x="2608" y="1039"/>
                      </a:lnTo>
                      <a:lnTo>
                        <a:pt x="2606" y="1042"/>
                      </a:lnTo>
                      <a:lnTo>
                        <a:pt x="2604" y="1045"/>
                      </a:lnTo>
                      <a:lnTo>
                        <a:pt x="2601" y="1048"/>
                      </a:lnTo>
                      <a:lnTo>
                        <a:pt x="2597" y="1054"/>
                      </a:lnTo>
                      <a:lnTo>
                        <a:pt x="2592" y="1060"/>
                      </a:lnTo>
                      <a:lnTo>
                        <a:pt x="2586" y="1068"/>
                      </a:lnTo>
                      <a:lnTo>
                        <a:pt x="2584" y="1070"/>
                      </a:lnTo>
                      <a:lnTo>
                        <a:pt x="2584" y="1074"/>
                      </a:lnTo>
                      <a:lnTo>
                        <a:pt x="2584" y="1076"/>
                      </a:lnTo>
                      <a:lnTo>
                        <a:pt x="2584" y="1078"/>
                      </a:lnTo>
                      <a:lnTo>
                        <a:pt x="2584" y="1081"/>
                      </a:lnTo>
                      <a:lnTo>
                        <a:pt x="2582" y="1086"/>
                      </a:lnTo>
                      <a:lnTo>
                        <a:pt x="2581" y="1090"/>
                      </a:lnTo>
                      <a:lnTo>
                        <a:pt x="2579" y="1094"/>
                      </a:lnTo>
                      <a:lnTo>
                        <a:pt x="2578" y="1097"/>
                      </a:lnTo>
                      <a:lnTo>
                        <a:pt x="2577" y="1099"/>
                      </a:lnTo>
                      <a:lnTo>
                        <a:pt x="2576" y="1102"/>
                      </a:lnTo>
                      <a:lnTo>
                        <a:pt x="2575" y="1105"/>
                      </a:lnTo>
                      <a:lnTo>
                        <a:pt x="2573" y="1110"/>
                      </a:lnTo>
                      <a:lnTo>
                        <a:pt x="2570" y="1113"/>
                      </a:lnTo>
                      <a:lnTo>
                        <a:pt x="2566" y="1115"/>
                      </a:lnTo>
                      <a:lnTo>
                        <a:pt x="2563" y="1118"/>
                      </a:lnTo>
                      <a:lnTo>
                        <a:pt x="2560" y="1121"/>
                      </a:lnTo>
                      <a:lnTo>
                        <a:pt x="2555" y="1124"/>
                      </a:lnTo>
                      <a:lnTo>
                        <a:pt x="2552" y="1129"/>
                      </a:lnTo>
                      <a:lnTo>
                        <a:pt x="2549" y="1133"/>
                      </a:lnTo>
                      <a:lnTo>
                        <a:pt x="2546" y="1138"/>
                      </a:lnTo>
                      <a:lnTo>
                        <a:pt x="2541" y="1148"/>
                      </a:lnTo>
                      <a:lnTo>
                        <a:pt x="2535" y="1157"/>
                      </a:lnTo>
                      <a:lnTo>
                        <a:pt x="2522" y="1177"/>
                      </a:lnTo>
                      <a:lnTo>
                        <a:pt x="2519" y="1180"/>
                      </a:lnTo>
                      <a:lnTo>
                        <a:pt x="2516" y="1184"/>
                      </a:lnTo>
                      <a:lnTo>
                        <a:pt x="2513" y="1187"/>
                      </a:lnTo>
                      <a:lnTo>
                        <a:pt x="2510" y="1191"/>
                      </a:lnTo>
                      <a:lnTo>
                        <a:pt x="2507" y="1195"/>
                      </a:lnTo>
                      <a:lnTo>
                        <a:pt x="2503" y="1198"/>
                      </a:lnTo>
                      <a:lnTo>
                        <a:pt x="2501" y="1200"/>
                      </a:lnTo>
                      <a:lnTo>
                        <a:pt x="2499" y="1202"/>
                      </a:lnTo>
                      <a:lnTo>
                        <a:pt x="2496" y="1203"/>
                      </a:lnTo>
                      <a:lnTo>
                        <a:pt x="2494" y="1208"/>
                      </a:lnTo>
                      <a:lnTo>
                        <a:pt x="2491" y="1211"/>
                      </a:lnTo>
                      <a:lnTo>
                        <a:pt x="2489" y="1214"/>
                      </a:lnTo>
                      <a:lnTo>
                        <a:pt x="2485" y="1217"/>
                      </a:lnTo>
                      <a:lnTo>
                        <a:pt x="2481" y="1219"/>
                      </a:lnTo>
                      <a:lnTo>
                        <a:pt x="2478" y="1221"/>
                      </a:lnTo>
                      <a:lnTo>
                        <a:pt x="2476" y="1223"/>
                      </a:lnTo>
                      <a:lnTo>
                        <a:pt x="2475" y="1224"/>
                      </a:lnTo>
                      <a:lnTo>
                        <a:pt x="2473" y="1225"/>
                      </a:lnTo>
                      <a:lnTo>
                        <a:pt x="2470" y="1227"/>
                      </a:lnTo>
                      <a:lnTo>
                        <a:pt x="2469" y="1228"/>
                      </a:lnTo>
                      <a:lnTo>
                        <a:pt x="2466" y="1230"/>
                      </a:lnTo>
                      <a:lnTo>
                        <a:pt x="2464" y="1232"/>
                      </a:lnTo>
                      <a:lnTo>
                        <a:pt x="2461" y="1234"/>
                      </a:lnTo>
                      <a:lnTo>
                        <a:pt x="2458" y="1236"/>
                      </a:lnTo>
                      <a:lnTo>
                        <a:pt x="2456" y="1236"/>
                      </a:lnTo>
                      <a:lnTo>
                        <a:pt x="2454" y="1238"/>
                      </a:lnTo>
                      <a:lnTo>
                        <a:pt x="2452" y="1239"/>
                      </a:lnTo>
                      <a:lnTo>
                        <a:pt x="2450" y="1239"/>
                      </a:lnTo>
                      <a:lnTo>
                        <a:pt x="2446" y="1241"/>
                      </a:lnTo>
                      <a:lnTo>
                        <a:pt x="2443" y="1243"/>
                      </a:lnTo>
                      <a:lnTo>
                        <a:pt x="2438" y="1243"/>
                      </a:lnTo>
                      <a:lnTo>
                        <a:pt x="2432" y="1250"/>
                      </a:lnTo>
                      <a:lnTo>
                        <a:pt x="2427" y="1253"/>
                      </a:lnTo>
                      <a:lnTo>
                        <a:pt x="2422" y="1256"/>
                      </a:lnTo>
                      <a:lnTo>
                        <a:pt x="2416" y="1257"/>
                      </a:lnTo>
                      <a:lnTo>
                        <a:pt x="2414" y="1258"/>
                      </a:lnTo>
                      <a:lnTo>
                        <a:pt x="2412" y="1258"/>
                      </a:lnTo>
                      <a:lnTo>
                        <a:pt x="2412" y="1257"/>
                      </a:lnTo>
                      <a:lnTo>
                        <a:pt x="2411" y="1256"/>
                      </a:lnTo>
                      <a:lnTo>
                        <a:pt x="2410" y="1256"/>
                      </a:lnTo>
                      <a:lnTo>
                        <a:pt x="2408" y="1256"/>
                      </a:lnTo>
                      <a:lnTo>
                        <a:pt x="2408" y="1255"/>
                      </a:lnTo>
                      <a:lnTo>
                        <a:pt x="2408" y="1254"/>
                      </a:lnTo>
                      <a:lnTo>
                        <a:pt x="2408" y="1252"/>
                      </a:lnTo>
                      <a:lnTo>
                        <a:pt x="2408" y="1251"/>
                      </a:lnTo>
                      <a:lnTo>
                        <a:pt x="2408" y="1250"/>
                      </a:lnTo>
                      <a:lnTo>
                        <a:pt x="2408" y="1249"/>
                      </a:lnTo>
                      <a:lnTo>
                        <a:pt x="2409" y="1247"/>
                      </a:lnTo>
                      <a:lnTo>
                        <a:pt x="2410" y="1245"/>
                      </a:lnTo>
                      <a:lnTo>
                        <a:pt x="2410" y="1244"/>
                      </a:lnTo>
                      <a:lnTo>
                        <a:pt x="2411" y="1243"/>
                      </a:lnTo>
                      <a:lnTo>
                        <a:pt x="2412" y="1241"/>
                      </a:lnTo>
                      <a:lnTo>
                        <a:pt x="2413" y="1239"/>
                      </a:lnTo>
                      <a:lnTo>
                        <a:pt x="2414" y="1236"/>
                      </a:lnTo>
                      <a:lnTo>
                        <a:pt x="2415" y="1233"/>
                      </a:lnTo>
                      <a:lnTo>
                        <a:pt x="2415" y="1230"/>
                      </a:lnTo>
                      <a:lnTo>
                        <a:pt x="2415" y="1228"/>
                      </a:lnTo>
                      <a:lnTo>
                        <a:pt x="2414" y="1225"/>
                      </a:lnTo>
                      <a:lnTo>
                        <a:pt x="2413" y="1225"/>
                      </a:lnTo>
                      <a:lnTo>
                        <a:pt x="2413" y="1224"/>
                      </a:lnTo>
                      <a:lnTo>
                        <a:pt x="2412" y="1224"/>
                      </a:lnTo>
                      <a:lnTo>
                        <a:pt x="2412" y="1224"/>
                      </a:lnTo>
                      <a:lnTo>
                        <a:pt x="2411" y="1223"/>
                      </a:lnTo>
                      <a:lnTo>
                        <a:pt x="2411" y="1223"/>
                      </a:lnTo>
                      <a:lnTo>
                        <a:pt x="2412" y="1221"/>
                      </a:lnTo>
                      <a:lnTo>
                        <a:pt x="2412" y="1220"/>
                      </a:lnTo>
                      <a:lnTo>
                        <a:pt x="2412" y="1218"/>
                      </a:lnTo>
                      <a:lnTo>
                        <a:pt x="2413" y="1217"/>
                      </a:lnTo>
                      <a:lnTo>
                        <a:pt x="2413" y="1216"/>
                      </a:lnTo>
                      <a:lnTo>
                        <a:pt x="2414" y="1214"/>
                      </a:lnTo>
                      <a:lnTo>
                        <a:pt x="2412" y="1211"/>
                      </a:lnTo>
                      <a:lnTo>
                        <a:pt x="2411" y="1209"/>
                      </a:lnTo>
                      <a:lnTo>
                        <a:pt x="2410" y="1206"/>
                      </a:lnTo>
                      <a:lnTo>
                        <a:pt x="2410" y="1203"/>
                      </a:lnTo>
                      <a:lnTo>
                        <a:pt x="2409" y="1202"/>
                      </a:lnTo>
                      <a:lnTo>
                        <a:pt x="2409" y="1200"/>
                      </a:lnTo>
                      <a:lnTo>
                        <a:pt x="2409" y="1198"/>
                      </a:lnTo>
                      <a:lnTo>
                        <a:pt x="2409" y="1197"/>
                      </a:lnTo>
                      <a:lnTo>
                        <a:pt x="2410" y="1195"/>
                      </a:lnTo>
                      <a:lnTo>
                        <a:pt x="2410" y="1186"/>
                      </a:lnTo>
                      <a:lnTo>
                        <a:pt x="2410" y="1185"/>
                      </a:lnTo>
                      <a:lnTo>
                        <a:pt x="2411" y="1183"/>
                      </a:lnTo>
                      <a:lnTo>
                        <a:pt x="2412" y="1180"/>
                      </a:lnTo>
                      <a:lnTo>
                        <a:pt x="2413" y="1179"/>
                      </a:lnTo>
                      <a:lnTo>
                        <a:pt x="2414" y="1177"/>
                      </a:lnTo>
                      <a:lnTo>
                        <a:pt x="2415" y="1174"/>
                      </a:lnTo>
                      <a:lnTo>
                        <a:pt x="2416" y="1172"/>
                      </a:lnTo>
                      <a:lnTo>
                        <a:pt x="2418" y="1168"/>
                      </a:lnTo>
                      <a:lnTo>
                        <a:pt x="2419" y="1166"/>
                      </a:lnTo>
                      <a:lnTo>
                        <a:pt x="2421" y="1156"/>
                      </a:lnTo>
                      <a:lnTo>
                        <a:pt x="2421" y="1147"/>
                      </a:lnTo>
                      <a:lnTo>
                        <a:pt x="2419" y="1141"/>
                      </a:lnTo>
                      <a:lnTo>
                        <a:pt x="2416" y="1134"/>
                      </a:lnTo>
                      <a:lnTo>
                        <a:pt x="2415" y="1131"/>
                      </a:lnTo>
                      <a:lnTo>
                        <a:pt x="2414" y="1129"/>
                      </a:lnTo>
                      <a:lnTo>
                        <a:pt x="2414" y="1125"/>
                      </a:lnTo>
                      <a:lnTo>
                        <a:pt x="2415" y="1121"/>
                      </a:lnTo>
                      <a:lnTo>
                        <a:pt x="2416" y="1116"/>
                      </a:lnTo>
                      <a:lnTo>
                        <a:pt x="2419" y="1113"/>
                      </a:lnTo>
                      <a:lnTo>
                        <a:pt x="2420" y="1110"/>
                      </a:lnTo>
                      <a:lnTo>
                        <a:pt x="2421" y="1105"/>
                      </a:lnTo>
                      <a:lnTo>
                        <a:pt x="2422" y="1103"/>
                      </a:lnTo>
                      <a:lnTo>
                        <a:pt x="2423" y="1101"/>
                      </a:lnTo>
                      <a:lnTo>
                        <a:pt x="2423" y="1098"/>
                      </a:lnTo>
                      <a:lnTo>
                        <a:pt x="2425" y="1097"/>
                      </a:lnTo>
                      <a:lnTo>
                        <a:pt x="2429" y="1092"/>
                      </a:lnTo>
                      <a:lnTo>
                        <a:pt x="2432" y="1088"/>
                      </a:lnTo>
                      <a:lnTo>
                        <a:pt x="2434" y="1086"/>
                      </a:lnTo>
                      <a:lnTo>
                        <a:pt x="2434" y="1082"/>
                      </a:lnTo>
                      <a:lnTo>
                        <a:pt x="2435" y="1080"/>
                      </a:lnTo>
                      <a:lnTo>
                        <a:pt x="2436" y="1078"/>
                      </a:lnTo>
                      <a:lnTo>
                        <a:pt x="2438" y="1075"/>
                      </a:lnTo>
                      <a:lnTo>
                        <a:pt x="2442" y="1071"/>
                      </a:lnTo>
                      <a:lnTo>
                        <a:pt x="2446" y="1068"/>
                      </a:lnTo>
                      <a:lnTo>
                        <a:pt x="2450" y="1064"/>
                      </a:lnTo>
                      <a:lnTo>
                        <a:pt x="2454" y="1059"/>
                      </a:lnTo>
                      <a:lnTo>
                        <a:pt x="2456" y="1056"/>
                      </a:lnTo>
                      <a:lnTo>
                        <a:pt x="2457" y="1053"/>
                      </a:lnTo>
                      <a:lnTo>
                        <a:pt x="2458" y="1048"/>
                      </a:lnTo>
                      <a:lnTo>
                        <a:pt x="2458" y="1047"/>
                      </a:lnTo>
                      <a:lnTo>
                        <a:pt x="2458" y="1046"/>
                      </a:lnTo>
                      <a:lnTo>
                        <a:pt x="2458" y="1046"/>
                      </a:lnTo>
                      <a:lnTo>
                        <a:pt x="2457" y="1045"/>
                      </a:lnTo>
                      <a:lnTo>
                        <a:pt x="2456" y="1044"/>
                      </a:lnTo>
                      <a:lnTo>
                        <a:pt x="2456" y="1042"/>
                      </a:lnTo>
                      <a:lnTo>
                        <a:pt x="2456" y="1041"/>
                      </a:lnTo>
                      <a:lnTo>
                        <a:pt x="2457" y="1038"/>
                      </a:lnTo>
                      <a:lnTo>
                        <a:pt x="2458" y="1035"/>
                      </a:lnTo>
                      <a:lnTo>
                        <a:pt x="2459" y="1032"/>
                      </a:lnTo>
                      <a:lnTo>
                        <a:pt x="2459" y="1029"/>
                      </a:lnTo>
                      <a:lnTo>
                        <a:pt x="2461" y="1027"/>
                      </a:lnTo>
                      <a:lnTo>
                        <a:pt x="2461" y="1024"/>
                      </a:lnTo>
                      <a:lnTo>
                        <a:pt x="2461" y="1015"/>
                      </a:lnTo>
                      <a:lnTo>
                        <a:pt x="2461" y="1013"/>
                      </a:lnTo>
                      <a:lnTo>
                        <a:pt x="2461" y="1011"/>
                      </a:lnTo>
                      <a:lnTo>
                        <a:pt x="2462" y="1009"/>
                      </a:lnTo>
                      <a:lnTo>
                        <a:pt x="2463" y="1006"/>
                      </a:lnTo>
                      <a:lnTo>
                        <a:pt x="2464" y="1002"/>
                      </a:lnTo>
                      <a:lnTo>
                        <a:pt x="2464" y="998"/>
                      </a:lnTo>
                      <a:lnTo>
                        <a:pt x="2464" y="995"/>
                      </a:lnTo>
                      <a:lnTo>
                        <a:pt x="2464" y="993"/>
                      </a:lnTo>
                      <a:lnTo>
                        <a:pt x="2463" y="991"/>
                      </a:lnTo>
                      <a:lnTo>
                        <a:pt x="2459" y="988"/>
                      </a:lnTo>
                      <a:lnTo>
                        <a:pt x="2457" y="983"/>
                      </a:lnTo>
                      <a:lnTo>
                        <a:pt x="2455" y="979"/>
                      </a:lnTo>
                      <a:lnTo>
                        <a:pt x="2454" y="976"/>
                      </a:lnTo>
                      <a:lnTo>
                        <a:pt x="2453" y="974"/>
                      </a:lnTo>
                      <a:lnTo>
                        <a:pt x="2452" y="973"/>
                      </a:lnTo>
                      <a:lnTo>
                        <a:pt x="2451" y="972"/>
                      </a:lnTo>
                      <a:lnTo>
                        <a:pt x="2450" y="971"/>
                      </a:lnTo>
                      <a:lnTo>
                        <a:pt x="2450" y="969"/>
                      </a:lnTo>
                      <a:lnTo>
                        <a:pt x="2450" y="966"/>
                      </a:lnTo>
                      <a:lnTo>
                        <a:pt x="2452" y="962"/>
                      </a:lnTo>
                      <a:lnTo>
                        <a:pt x="2458" y="949"/>
                      </a:lnTo>
                      <a:lnTo>
                        <a:pt x="2465" y="936"/>
                      </a:lnTo>
                      <a:lnTo>
                        <a:pt x="2467" y="933"/>
                      </a:lnTo>
                      <a:lnTo>
                        <a:pt x="2469" y="929"/>
                      </a:lnTo>
                      <a:lnTo>
                        <a:pt x="2472" y="925"/>
                      </a:lnTo>
                      <a:lnTo>
                        <a:pt x="2473" y="924"/>
                      </a:lnTo>
                      <a:lnTo>
                        <a:pt x="2474" y="921"/>
                      </a:lnTo>
                      <a:lnTo>
                        <a:pt x="2475" y="917"/>
                      </a:lnTo>
                      <a:lnTo>
                        <a:pt x="2476" y="914"/>
                      </a:lnTo>
                      <a:lnTo>
                        <a:pt x="2476" y="913"/>
                      </a:lnTo>
                      <a:lnTo>
                        <a:pt x="2475" y="912"/>
                      </a:lnTo>
                      <a:lnTo>
                        <a:pt x="2474" y="912"/>
                      </a:lnTo>
                      <a:lnTo>
                        <a:pt x="2473" y="911"/>
                      </a:lnTo>
                      <a:lnTo>
                        <a:pt x="2472" y="909"/>
                      </a:lnTo>
                      <a:lnTo>
                        <a:pt x="2470" y="909"/>
                      </a:lnTo>
                      <a:lnTo>
                        <a:pt x="2470" y="908"/>
                      </a:lnTo>
                      <a:lnTo>
                        <a:pt x="2470" y="907"/>
                      </a:lnTo>
                      <a:lnTo>
                        <a:pt x="2470" y="906"/>
                      </a:lnTo>
                      <a:lnTo>
                        <a:pt x="2469" y="905"/>
                      </a:lnTo>
                      <a:lnTo>
                        <a:pt x="2468" y="904"/>
                      </a:lnTo>
                      <a:lnTo>
                        <a:pt x="2466" y="905"/>
                      </a:lnTo>
                      <a:lnTo>
                        <a:pt x="2464" y="906"/>
                      </a:lnTo>
                      <a:lnTo>
                        <a:pt x="2462" y="907"/>
                      </a:lnTo>
                      <a:lnTo>
                        <a:pt x="2459" y="909"/>
                      </a:lnTo>
                      <a:lnTo>
                        <a:pt x="2456" y="913"/>
                      </a:lnTo>
                      <a:lnTo>
                        <a:pt x="2454" y="914"/>
                      </a:lnTo>
                      <a:lnTo>
                        <a:pt x="2451" y="916"/>
                      </a:lnTo>
                      <a:lnTo>
                        <a:pt x="2447" y="918"/>
                      </a:lnTo>
                      <a:lnTo>
                        <a:pt x="2445" y="918"/>
                      </a:lnTo>
                      <a:lnTo>
                        <a:pt x="2444" y="918"/>
                      </a:lnTo>
                      <a:lnTo>
                        <a:pt x="2443" y="917"/>
                      </a:lnTo>
                      <a:lnTo>
                        <a:pt x="2443" y="914"/>
                      </a:lnTo>
                      <a:lnTo>
                        <a:pt x="2443" y="912"/>
                      </a:lnTo>
                      <a:lnTo>
                        <a:pt x="2442" y="909"/>
                      </a:lnTo>
                      <a:lnTo>
                        <a:pt x="2442" y="907"/>
                      </a:lnTo>
                      <a:lnTo>
                        <a:pt x="2441" y="905"/>
                      </a:lnTo>
                      <a:lnTo>
                        <a:pt x="2440" y="904"/>
                      </a:lnTo>
                      <a:lnTo>
                        <a:pt x="2438" y="903"/>
                      </a:lnTo>
                      <a:lnTo>
                        <a:pt x="2436" y="904"/>
                      </a:lnTo>
                      <a:lnTo>
                        <a:pt x="2435" y="905"/>
                      </a:lnTo>
                      <a:lnTo>
                        <a:pt x="2433" y="906"/>
                      </a:lnTo>
                      <a:lnTo>
                        <a:pt x="2431" y="907"/>
                      </a:lnTo>
                      <a:lnTo>
                        <a:pt x="2430" y="907"/>
                      </a:lnTo>
                      <a:lnTo>
                        <a:pt x="2423" y="907"/>
                      </a:lnTo>
                      <a:lnTo>
                        <a:pt x="2421" y="908"/>
                      </a:lnTo>
                      <a:lnTo>
                        <a:pt x="2419" y="908"/>
                      </a:lnTo>
                      <a:lnTo>
                        <a:pt x="2416" y="909"/>
                      </a:lnTo>
                      <a:lnTo>
                        <a:pt x="2414" y="912"/>
                      </a:lnTo>
                      <a:lnTo>
                        <a:pt x="2414" y="914"/>
                      </a:lnTo>
                      <a:lnTo>
                        <a:pt x="2413" y="917"/>
                      </a:lnTo>
                      <a:lnTo>
                        <a:pt x="2412" y="918"/>
                      </a:lnTo>
                      <a:lnTo>
                        <a:pt x="2408" y="922"/>
                      </a:lnTo>
                      <a:lnTo>
                        <a:pt x="2404" y="925"/>
                      </a:lnTo>
                      <a:lnTo>
                        <a:pt x="2400" y="927"/>
                      </a:lnTo>
                      <a:lnTo>
                        <a:pt x="2397" y="929"/>
                      </a:lnTo>
                      <a:lnTo>
                        <a:pt x="2393" y="929"/>
                      </a:lnTo>
                      <a:lnTo>
                        <a:pt x="2392" y="930"/>
                      </a:lnTo>
                      <a:lnTo>
                        <a:pt x="2390" y="932"/>
                      </a:lnTo>
                      <a:lnTo>
                        <a:pt x="2388" y="933"/>
                      </a:lnTo>
                      <a:lnTo>
                        <a:pt x="2386" y="935"/>
                      </a:lnTo>
                      <a:lnTo>
                        <a:pt x="2385" y="937"/>
                      </a:lnTo>
                      <a:lnTo>
                        <a:pt x="2382" y="938"/>
                      </a:lnTo>
                      <a:lnTo>
                        <a:pt x="2377" y="941"/>
                      </a:lnTo>
                      <a:lnTo>
                        <a:pt x="2371" y="945"/>
                      </a:lnTo>
                      <a:lnTo>
                        <a:pt x="2366" y="947"/>
                      </a:lnTo>
                      <a:lnTo>
                        <a:pt x="2363" y="945"/>
                      </a:lnTo>
                      <a:lnTo>
                        <a:pt x="2360" y="940"/>
                      </a:lnTo>
                      <a:lnTo>
                        <a:pt x="2357" y="940"/>
                      </a:lnTo>
                      <a:lnTo>
                        <a:pt x="2352" y="943"/>
                      </a:lnTo>
                      <a:lnTo>
                        <a:pt x="2345" y="947"/>
                      </a:lnTo>
                      <a:lnTo>
                        <a:pt x="2334" y="955"/>
                      </a:lnTo>
                      <a:lnTo>
                        <a:pt x="2321" y="962"/>
                      </a:lnTo>
                      <a:lnTo>
                        <a:pt x="2317" y="963"/>
                      </a:lnTo>
                      <a:lnTo>
                        <a:pt x="2314" y="962"/>
                      </a:lnTo>
                      <a:lnTo>
                        <a:pt x="2311" y="961"/>
                      </a:lnTo>
                      <a:lnTo>
                        <a:pt x="2309" y="959"/>
                      </a:lnTo>
                      <a:lnTo>
                        <a:pt x="2305" y="956"/>
                      </a:lnTo>
                      <a:lnTo>
                        <a:pt x="2305" y="954"/>
                      </a:lnTo>
                      <a:lnTo>
                        <a:pt x="2303" y="952"/>
                      </a:lnTo>
                      <a:lnTo>
                        <a:pt x="2301" y="951"/>
                      </a:lnTo>
                      <a:lnTo>
                        <a:pt x="2300" y="950"/>
                      </a:lnTo>
                      <a:lnTo>
                        <a:pt x="2298" y="950"/>
                      </a:lnTo>
                      <a:lnTo>
                        <a:pt x="2296" y="950"/>
                      </a:lnTo>
                      <a:lnTo>
                        <a:pt x="2294" y="949"/>
                      </a:lnTo>
                      <a:lnTo>
                        <a:pt x="2294" y="948"/>
                      </a:lnTo>
                      <a:lnTo>
                        <a:pt x="2294" y="946"/>
                      </a:lnTo>
                      <a:lnTo>
                        <a:pt x="2294" y="945"/>
                      </a:lnTo>
                      <a:lnTo>
                        <a:pt x="2293" y="944"/>
                      </a:lnTo>
                      <a:lnTo>
                        <a:pt x="2292" y="943"/>
                      </a:lnTo>
                      <a:lnTo>
                        <a:pt x="2291" y="943"/>
                      </a:lnTo>
                      <a:lnTo>
                        <a:pt x="2289" y="941"/>
                      </a:lnTo>
                      <a:lnTo>
                        <a:pt x="2287" y="943"/>
                      </a:lnTo>
                      <a:lnTo>
                        <a:pt x="2285" y="943"/>
                      </a:lnTo>
                      <a:lnTo>
                        <a:pt x="2283" y="943"/>
                      </a:lnTo>
                      <a:lnTo>
                        <a:pt x="2281" y="943"/>
                      </a:lnTo>
                      <a:lnTo>
                        <a:pt x="2280" y="941"/>
                      </a:lnTo>
                      <a:lnTo>
                        <a:pt x="2279" y="940"/>
                      </a:lnTo>
                      <a:lnTo>
                        <a:pt x="2279" y="938"/>
                      </a:lnTo>
                      <a:lnTo>
                        <a:pt x="2279" y="936"/>
                      </a:lnTo>
                      <a:lnTo>
                        <a:pt x="2279" y="934"/>
                      </a:lnTo>
                      <a:lnTo>
                        <a:pt x="2279" y="930"/>
                      </a:lnTo>
                      <a:lnTo>
                        <a:pt x="2278" y="928"/>
                      </a:lnTo>
                      <a:lnTo>
                        <a:pt x="2277" y="925"/>
                      </a:lnTo>
                      <a:lnTo>
                        <a:pt x="2276" y="924"/>
                      </a:lnTo>
                      <a:lnTo>
                        <a:pt x="2274" y="921"/>
                      </a:lnTo>
                      <a:lnTo>
                        <a:pt x="2274" y="917"/>
                      </a:lnTo>
                      <a:lnTo>
                        <a:pt x="2274" y="914"/>
                      </a:lnTo>
                      <a:lnTo>
                        <a:pt x="2274" y="913"/>
                      </a:lnTo>
                      <a:lnTo>
                        <a:pt x="2274" y="909"/>
                      </a:lnTo>
                      <a:lnTo>
                        <a:pt x="2273" y="907"/>
                      </a:lnTo>
                      <a:lnTo>
                        <a:pt x="2272" y="905"/>
                      </a:lnTo>
                      <a:lnTo>
                        <a:pt x="2272" y="904"/>
                      </a:lnTo>
                      <a:lnTo>
                        <a:pt x="2270" y="902"/>
                      </a:lnTo>
                      <a:lnTo>
                        <a:pt x="2269" y="902"/>
                      </a:lnTo>
                      <a:lnTo>
                        <a:pt x="2266" y="902"/>
                      </a:lnTo>
                      <a:lnTo>
                        <a:pt x="2263" y="903"/>
                      </a:lnTo>
                      <a:lnTo>
                        <a:pt x="2260" y="903"/>
                      </a:lnTo>
                      <a:lnTo>
                        <a:pt x="2259" y="902"/>
                      </a:lnTo>
                      <a:lnTo>
                        <a:pt x="2257" y="901"/>
                      </a:lnTo>
                      <a:lnTo>
                        <a:pt x="2257" y="898"/>
                      </a:lnTo>
                      <a:lnTo>
                        <a:pt x="2256" y="895"/>
                      </a:lnTo>
                      <a:lnTo>
                        <a:pt x="2257" y="889"/>
                      </a:lnTo>
                      <a:lnTo>
                        <a:pt x="2260" y="883"/>
                      </a:lnTo>
                      <a:lnTo>
                        <a:pt x="2263" y="878"/>
                      </a:lnTo>
                      <a:lnTo>
                        <a:pt x="2266" y="868"/>
                      </a:lnTo>
                      <a:lnTo>
                        <a:pt x="2268" y="858"/>
                      </a:lnTo>
                      <a:lnTo>
                        <a:pt x="2272" y="849"/>
                      </a:lnTo>
                      <a:lnTo>
                        <a:pt x="2278" y="839"/>
                      </a:lnTo>
                      <a:lnTo>
                        <a:pt x="2282" y="830"/>
                      </a:lnTo>
                      <a:lnTo>
                        <a:pt x="2285" y="820"/>
                      </a:lnTo>
                      <a:lnTo>
                        <a:pt x="2287" y="816"/>
                      </a:lnTo>
                      <a:lnTo>
                        <a:pt x="2287" y="813"/>
                      </a:lnTo>
                      <a:lnTo>
                        <a:pt x="2287" y="810"/>
                      </a:lnTo>
                      <a:lnTo>
                        <a:pt x="2285" y="807"/>
                      </a:lnTo>
                      <a:lnTo>
                        <a:pt x="2285" y="805"/>
                      </a:lnTo>
                      <a:lnTo>
                        <a:pt x="2285" y="789"/>
                      </a:lnTo>
                      <a:lnTo>
                        <a:pt x="2288" y="780"/>
                      </a:lnTo>
                      <a:lnTo>
                        <a:pt x="2290" y="769"/>
                      </a:lnTo>
                      <a:lnTo>
                        <a:pt x="2294" y="759"/>
                      </a:lnTo>
                      <a:lnTo>
                        <a:pt x="2306" y="743"/>
                      </a:lnTo>
                      <a:lnTo>
                        <a:pt x="2314" y="728"/>
                      </a:lnTo>
                      <a:lnTo>
                        <a:pt x="2321" y="716"/>
                      </a:lnTo>
                      <a:lnTo>
                        <a:pt x="2327" y="705"/>
                      </a:lnTo>
                      <a:lnTo>
                        <a:pt x="2332" y="693"/>
                      </a:lnTo>
                      <a:lnTo>
                        <a:pt x="2336" y="688"/>
                      </a:lnTo>
                      <a:lnTo>
                        <a:pt x="2339" y="684"/>
                      </a:lnTo>
                      <a:lnTo>
                        <a:pt x="2343" y="679"/>
                      </a:lnTo>
                      <a:lnTo>
                        <a:pt x="2345" y="675"/>
                      </a:lnTo>
                      <a:lnTo>
                        <a:pt x="2347" y="672"/>
                      </a:lnTo>
                      <a:lnTo>
                        <a:pt x="2349" y="668"/>
                      </a:lnTo>
                      <a:lnTo>
                        <a:pt x="2353" y="666"/>
                      </a:lnTo>
                      <a:lnTo>
                        <a:pt x="2355" y="664"/>
                      </a:lnTo>
                      <a:lnTo>
                        <a:pt x="2357" y="662"/>
                      </a:lnTo>
                      <a:lnTo>
                        <a:pt x="2358" y="660"/>
                      </a:lnTo>
                      <a:lnTo>
                        <a:pt x="2361" y="658"/>
                      </a:lnTo>
                      <a:lnTo>
                        <a:pt x="2364" y="656"/>
                      </a:lnTo>
                      <a:lnTo>
                        <a:pt x="2367" y="654"/>
                      </a:lnTo>
                      <a:lnTo>
                        <a:pt x="2369" y="651"/>
                      </a:lnTo>
                      <a:lnTo>
                        <a:pt x="2377" y="643"/>
                      </a:lnTo>
                      <a:lnTo>
                        <a:pt x="2383" y="635"/>
                      </a:lnTo>
                      <a:lnTo>
                        <a:pt x="2390" y="625"/>
                      </a:lnTo>
                      <a:lnTo>
                        <a:pt x="2391" y="621"/>
                      </a:lnTo>
                      <a:lnTo>
                        <a:pt x="2391" y="617"/>
                      </a:lnTo>
                      <a:lnTo>
                        <a:pt x="2391" y="612"/>
                      </a:lnTo>
                      <a:lnTo>
                        <a:pt x="2392" y="608"/>
                      </a:lnTo>
                      <a:lnTo>
                        <a:pt x="2399" y="595"/>
                      </a:lnTo>
                      <a:lnTo>
                        <a:pt x="2402" y="584"/>
                      </a:lnTo>
                      <a:lnTo>
                        <a:pt x="2407" y="574"/>
                      </a:lnTo>
                      <a:lnTo>
                        <a:pt x="2414" y="566"/>
                      </a:lnTo>
                      <a:lnTo>
                        <a:pt x="2420" y="561"/>
                      </a:lnTo>
                      <a:lnTo>
                        <a:pt x="2425" y="555"/>
                      </a:lnTo>
                      <a:lnTo>
                        <a:pt x="2432" y="546"/>
                      </a:lnTo>
                      <a:lnTo>
                        <a:pt x="2434" y="538"/>
                      </a:lnTo>
                      <a:lnTo>
                        <a:pt x="2437" y="531"/>
                      </a:lnTo>
                      <a:lnTo>
                        <a:pt x="2441" y="524"/>
                      </a:lnTo>
                      <a:lnTo>
                        <a:pt x="2442" y="522"/>
                      </a:lnTo>
                      <a:lnTo>
                        <a:pt x="2443" y="522"/>
                      </a:lnTo>
                      <a:lnTo>
                        <a:pt x="2444" y="522"/>
                      </a:lnTo>
                      <a:lnTo>
                        <a:pt x="2445" y="523"/>
                      </a:lnTo>
                      <a:lnTo>
                        <a:pt x="2447" y="524"/>
                      </a:lnTo>
                      <a:lnTo>
                        <a:pt x="2448" y="524"/>
                      </a:lnTo>
                      <a:lnTo>
                        <a:pt x="2452" y="524"/>
                      </a:lnTo>
                      <a:lnTo>
                        <a:pt x="2454" y="525"/>
                      </a:lnTo>
                      <a:lnTo>
                        <a:pt x="2456" y="526"/>
                      </a:lnTo>
                      <a:lnTo>
                        <a:pt x="2457" y="526"/>
                      </a:lnTo>
                      <a:lnTo>
                        <a:pt x="2459" y="526"/>
                      </a:lnTo>
                      <a:lnTo>
                        <a:pt x="2462" y="525"/>
                      </a:lnTo>
                      <a:lnTo>
                        <a:pt x="2464" y="524"/>
                      </a:lnTo>
                      <a:lnTo>
                        <a:pt x="2467" y="524"/>
                      </a:lnTo>
                      <a:lnTo>
                        <a:pt x="2469" y="523"/>
                      </a:lnTo>
                      <a:lnTo>
                        <a:pt x="2472" y="522"/>
                      </a:lnTo>
                      <a:lnTo>
                        <a:pt x="2476" y="520"/>
                      </a:lnTo>
                      <a:lnTo>
                        <a:pt x="2479" y="516"/>
                      </a:lnTo>
                      <a:lnTo>
                        <a:pt x="2481" y="515"/>
                      </a:lnTo>
                      <a:lnTo>
                        <a:pt x="2485" y="514"/>
                      </a:lnTo>
                      <a:lnTo>
                        <a:pt x="2487" y="512"/>
                      </a:lnTo>
                      <a:lnTo>
                        <a:pt x="2489" y="510"/>
                      </a:lnTo>
                      <a:lnTo>
                        <a:pt x="2491" y="507"/>
                      </a:lnTo>
                      <a:lnTo>
                        <a:pt x="2492" y="503"/>
                      </a:lnTo>
                      <a:lnTo>
                        <a:pt x="2494" y="501"/>
                      </a:lnTo>
                      <a:lnTo>
                        <a:pt x="2496" y="500"/>
                      </a:lnTo>
                      <a:lnTo>
                        <a:pt x="2498" y="500"/>
                      </a:lnTo>
                      <a:lnTo>
                        <a:pt x="2500" y="500"/>
                      </a:lnTo>
                      <a:lnTo>
                        <a:pt x="2501" y="500"/>
                      </a:lnTo>
                      <a:lnTo>
                        <a:pt x="2503" y="500"/>
                      </a:lnTo>
                      <a:lnTo>
                        <a:pt x="2505" y="498"/>
                      </a:lnTo>
                      <a:lnTo>
                        <a:pt x="2507" y="496"/>
                      </a:lnTo>
                      <a:lnTo>
                        <a:pt x="2507" y="493"/>
                      </a:lnTo>
                      <a:lnTo>
                        <a:pt x="2507" y="490"/>
                      </a:lnTo>
                      <a:lnTo>
                        <a:pt x="2507" y="489"/>
                      </a:lnTo>
                      <a:lnTo>
                        <a:pt x="2508" y="487"/>
                      </a:lnTo>
                      <a:lnTo>
                        <a:pt x="2509" y="487"/>
                      </a:lnTo>
                      <a:lnTo>
                        <a:pt x="2511" y="486"/>
                      </a:lnTo>
                      <a:lnTo>
                        <a:pt x="2512" y="486"/>
                      </a:lnTo>
                      <a:lnTo>
                        <a:pt x="2513" y="486"/>
                      </a:lnTo>
                      <a:lnTo>
                        <a:pt x="2514" y="487"/>
                      </a:lnTo>
                      <a:lnTo>
                        <a:pt x="2516" y="487"/>
                      </a:lnTo>
                      <a:lnTo>
                        <a:pt x="2521" y="487"/>
                      </a:lnTo>
                      <a:lnTo>
                        <a:pt x="2527" y="483"/>
                      </a:lnTo>
                      <a:lnTo>
                        <a:pt x="2533" y="480"/>
                      </a:lnTo>
                      <a:lnTo>
                        <a:pt x="2535" y="480"/>
                      </a:lnTo>
                      <a:lnTo>
                        <a:pt x="2536" y="480"/>
                      </a:lnTo>
                      <a:lnTo>
                        <a:pt x="2539" y="479"/>
                      </a:lnTo>
                      <a:lnTo>
                        <a:pt x="2542" y="478"/>
                      </a:lnTo>
                      <a:lnTo>
                        <a:pt x="2543" y="476"/>
                      </a:lnTo>
                      <a:lnTo>
                        <a:pt x="2544" y="474"/>
                      </a:lnTo>
                      <a:lnTo>
                        <a:pt x="2545" y="471"/>
                      </a:lnTo>
                      <a:lnTo>
                        <a:pt x="2546" y="469"/>
                      </a:lnTo>
                      <a:lnTo>
                        <a:pt x="2549" y="469"/>
                      </a:lnTo>
                      <a:lnTo>
                        <a:pt x="2552" y="470"/>
                      </a:lnTo>
                      <a:lnTo>
                        <a:pt x="2554" y="471"/>
                      </a:lnTo>
                      <a:lnTo>
                        <a:pt x="2556" y="472"/>
                      </a:lnTo>
                      <a:lnTo>
                        <a:pt x="2557" y="474"/>
                      </a:lnTo>
                      <a:lnTo>
                        <a:pt x="2560" y="475"/>
                      </a:lnTo>
                      <a:lnTo>
                        <a:pt x="2563" y="474"/>
                      </a:lnTo>
                      <a:lnTo>
                        <a:pt x="2565" y="472"/>
                      </a:lnTo>
                      <a:lnTo>
                        <a:pt x="2567" y="469"/>
                      </a:lnTo>
                      <a:lnTo>
                        <a:pt x="2568" y="467"/>
                      </a:lnTo>
                      <a:lnTo>
                        <a:pt x="2570" y="466"/>
                      </a:lnTo>
                      <a:lnTo>
                        <a:pt x="2571" y="465"/>
                      </a:lnTo>
                      <a:lnTo>
                        <a:pt x="2572" y="464"/>
                      </a:lnTo>
                      <a:lnTo>
                        <a:pt x="2573" y="464"/>
                      </a:lnTo>
                      <a:lnTo>
                        <a:pt x="2574" y="464"/>
                      </a:lnTo>
                      <a:lnTo>
                        <a:pt x="2575" y="465"/>
                      </a:lnTo>
                      <a:lnTo>
                        <a:pt x="2575" y="467"/>
                      </a:lnTo>
                      <a:lnTo>
                        <a:pt x="2575" y="469"/>
                      </a:lnTo>
                      <a:lnTo>
                        <a:pt x="2575" y="471"/>
                      </a:lnTo>
                      <a:lnTo>
                        <a:pt x="2574" y="474"/>
                      </a:lnTo>
                      <a:lnTo>
                        <a:pt x="2574" y="476"/>
                      </a:lnTo>
                      <a:lnTo>
                        <a:pt x="2575" y="478"/>
                      </a:lnTo>
                      <a:lnTo>
                        <a:pt x="2576" y="485"/>
                      </a:lnTo>
                      <a:lnTo>
                        <a:pt x="2578" y="490"/>
                      </a:lnTo>
                      <a:lnTo>
                        <a:pt x="2579" y="498"/>
                      </a:lnTo>
                      <a:lnTo>
                        <a:pt x="2579" y="501"/>
                      </a:lnTo>
                      <a:lnTo>
                        <a:pt x="2577" y="503"/>
                      </a:lnTo>
                      <a:lnTo>
                        <a:pt x="2575" y="507"/>
                      </a:lnTo>
                      <a:lnTo>
                        <a:pt x="2573" y="510"/>
                      </a:lnTo>
                      <a:lnTo>
                        <a:pt x="2571" y="513"/>
                      </a:lnTo>
                      <a:lnTo>
                        <a:pt x="2570" y="515"/>
                      </a:lnTo>
                      <a:lnTo>
                        <a:pt x="2570" y="518"/>
                      </a:lnTo>
                      <a:lnTo>
                        <a:pt x="2571" y="519"/>
                      </a:lnTo>
                      <a:lnTo>
                        <a:pt x="2571" y="520"/>
                      </a:lnTo>
                      <a:lnTo>
                        <a:pt x="2572" y="520"/>
                      </a:lnTo>
                      <a:lnTo>
                        <a:pt x="2573" y="520"/>
                      </a:lnTo>
                      <a:lnTo>
                        <a:pt x="2573" y="522"/>
                      </a:lnTo>
                      <a:lnTo>
                        <a:pt x="2573" y="524"/>
                      </a:lnTo>
                      <a:lnTo>
                        <a:pt x="2574" y="526"/>
                      </a:lnTo>
                      <a:lnTo>
                        <a:pt x="2574" y="529"/>
                      </a:lnTo>
                      <a:lnTo>
                        <a:pt x="2575" y="531"/>
                      </a:lnTo>
                      <a:lnTo>
                        <a:pt x="2576" y="532"/>
                      </a:lnTo>
                      <a:lnTo>
                        <a:pt x="2577" y="532"/>
                      </a:lnTo>
                      <a:lnTo>
                        <a:pt x="2578" y="532"/>
                      </a:lnTo>
                      <a:lnTo>
                        <a:pt x="2581" y="532"/>
                      </a:lnTo>
                      <a:lnTo>
                        <a:pt x="2582" y="533"/>
                      </a:lnTo>
                      <a:lnTo>
                        <a:pt x="2583" y="533"/>
                      </a:lnTo>
                      <a:lnTo>
                        <a:pt x="2584" y="534"/>
                      </a:lnTo>
                      <a:lnTo>
                        <a:pt x="2584" y="535"/>
                      </a:lnTo>
                      <a:lnTo>
                        <a:pt x="2585" y="536"/>
                      </a:lnTo>
                      <a:lnTo>
                        <a:pt x="2586" y="537"/>
                      </a:lnTo>
                      <a:lnTo>
                        <a:pt x="2588" y="536"/>
                      </a:lnTo>
                      <a:lnTo>
                        <a:pt x="2590" y="535"/>
                      </a:lnTo>
                      <a:lnTo>
                        <a:pt x="2593" y="535"/>
                      </a:lnTo>
                      <a:lnTo>
                        <a:pt x="2595" y="535"/>
                      </a:lnTo>
                      <a:lnTo>
                        <a:pt x="2597" y="537"/>
                      </a:lnTo>
                      <a:lnTo>
                        <a:pt x="2597" y="540"/>
                      </a:lnTo>
                      <a:lnTo>
                        <a:pt x="2598" y="542"/>
                      </a:lnTo>
                      <a:lnTo>
                        <a:pt x="2599" y="544"/>
                      </a:lnTo>
                      <a:lnTo>
                        <a:pt x="2600" y="546"/>
                      </a:lnTo>
                      <a:lnTo>
                        <a:pt x="2601" y="548"/>
                      </a:lnTo>
                      <a:lnTo>
                        <a:pt x="2603" y="549"/>
                      </a:lnTo>
                      <a:lnTo>
                        <a:pt x="2603" y="551"/>
                      </a:lnTo>
                      <a:lnTo>
                        <a:pt x="2605" y="551"/>
                      </a:lnTo>
                      <a:lnTo>
                        <a:pt x="2606" y="551"/>
                      </a:lnTo>
                      <a:lnTo>
                        <a:pt x="2608" y="552"/>
                      </a:lnTo>
                      <a:lnTo>
                        <a:pt x="2610" y="553"/>
                      </a:lnTo>
                      <a:lnTo>
                        <a:pt x="2612" y="553"/>
                      </a:lnTo>
                      <a:lnTo>
                        <a:pt x="2614" y="554"/>
                      </a:lnTo>
                      <a:lnTo>
                        <a:pt x="2615" y="556"/>
                      </a:lnTo>
                      <a:lnTo>
                        <a:pt x="2616" y="556"/>
                      </a:lnTo>
                      <a:lnTo>
                        <a:pt x="2617" y="557"/>
                      </a:lnTo>
                      <a:lnTo>
                        <a:pt x="2620" y="557"/>
                      </a:lnTo>
                      <a:lnTo>
                        <a:pt x="2621" y="557"/>
                      </a:lnTo>
                      <a:lnTo>
                        <a:pt x="2623" y="555"/>
                      </a:lnTo>
                      <a:lnTo>
                        <a:pt x="2626" y="553"/>
                      </a:lnTo>
                      <a:lnTo>
                        <a:pt x="2628" y="551"/>
                      </a:lnTo>
                      <a:lnTo>
                        <a:pt x="2631" y="548"/>
                      </a:lnTo>
                      <a:lnTo>
                        <a:pt x="2632" y="546"/>
                      </a:lnTo>
                      <a:lnTo>
                        <a:pt x="2632" y="544"/>
                      </a:lnTo>
                      <a:lnTo>
                        <a:pt x="2632" y="541"/>
                      </a:lnTo>
                      <a:lnTo>
                        <a:pt x="2632" y="538"/>
                      </a:lnTo>
                      <a:lnTo>
                        <a:pt x="2632" y="535"/>
                      </a:lnTo>
                      <a:lnTo>
                        <a:pt x="2633" y="532"/>
                      </a:lnTo>
                      <a:lnTo>
                        <a:pt x="2633" y="531"/>
                      </a:lnTo>
                      <a:lnTo>
                        <a:pt x="2636" y="529"/>
                      </a:lnTo>
                      <a:lnTo>
                        <a:pt x="2637" y="527"/>
                      </a:lnTo>
                      <a:lnTo>
                        <a:pt x="2638" y="526"/>
                      </a:lnTo>
                      <a:lnTo>
                        <a:pt x="2639" y="524"/>
                      </a:lnTo>
                      <a:lnTo>
                        <a:pt x="2641" y="521"/>
                      </a:lnTo>
                      <a:lnTo>
                        <a:pt x="2643" y="518"/>
                      </a:lnTo>
                      <a:lnTo>
                        <a:pt x="2645" y="515"/>
                      </a:lnTo>
                      <a:lnTo>
                        <a:pt x="2648" y="514"/>
                      </a:lnTo>
                      <a:lnTo>
                        <a:pt x="2650" y="513"/>
                      </a:lnTo>
                      <a:lnTo>
                        <a:pt x="2651" y="514"/>
                      </a:lnTo>
                      <a:lnTo>
                        <a:pt x="2653" y="516"/>
                      </a:lnTo>
                      <a:lnTo>
                        <a:pt x="2655" y="519"/>
                      </a:lnTo>
                      <a:lnTo>
                        <a:pt x="2656" y="522"/>
                      </a:lnTo>
                      <a:lnTo>
                        <a:pt x="2659" y="524"/>
                      </a:lnTo>
                      <a:lnTo>
                        <a:pt x="2661" y="525"/>
                      </a:lnTo>
                      <a:lnTo>
                        <a:pt x="2663" y="526"/>
                      </a:lnTo>
                      <a:lnTo>
                        <a:pt x="2665" y="526"/>
                      </a:lnTo>
                      <a:lnTo>
                        <a:pt x="2667" y="526"/>
                      </a:lnTo>
                      <a:lnTo>
                        <a:pt x="2670" y="525"/>
                      </a:lnTo>
                      <a:lnTo>
                        <a:pt x="2672" y="525"/>
                      </a:lnTo>
                      <a:lnTo>
                        <a:pt x="2674" y="526"/>
                      </a:lnTo>
                      <a:lnTo>
                        <a:pt x="2675" y="526"/>
                      </a:lnTo>
                      <a:lnTo>
                        <a:pt x="2675" y="525"/>
                      </a:lnTo>
                      <a:lnTo>
                        <a:pt x="2675" y="523"/>
                      </a:lnTo>
                      <a:lnTo>
                        <a:pt x="2676" y="522"/>
                      </a:lnTo>
                      <a:lnTo>
                        <a:pt x="2676" y="522"/>
                      </a:lnTo>
                      <a:lnTo>
                        <a:pt x="2678" y="521"/>
                      </a:lnTo>
                      <a:lnTo>
                        <a:pt x="2681" y="521"/>
                      </a:lnTo>
                      <a:lnTo>
                        <a:pt x="2682" y="522"/>
                      </a:lnTo>
                      <a:lnTo>
                        <a:pt x="2684" y="523"/>
                      </a:lnTo>
                      <a:lnTo>
                        <a:pt x="2686" y="524"/>
                      </a:lnTo>
                      <a:lnTo>
                        <a:pt x="2686" y="525"/>
                      </a:lnTo>
                      <a:lnTo>
                        <a:pt x="2686" y="525"/>
                      </a:lnTo>
                      <a:lnTo>
                        <a:pt x="2687" y="524"/>
                      </a:lnTo>
                      <a:lnTo>
                        <a:pt x="2688" y="523"/>
                      </a:lnTo>
                      <a:lnTo>
                        <a:pt x="2691" y="522"/>
                      </a:lnTo>
                      <a:lnTo>
                        <a:pt x="2692" y="520"/>
                      </a:lnTo>
                      <a:lnTo>
                        <a:pt x="2692" y="519"/>
                      </a:lnTo>
                      <a:lnTo>
                        <a:pt x="2693" y="518"/>
                      </a:lnTo>
                      <a:lnTo>
                        <a:pt x="2694" y="518"/>
                      </a:lnTo>
                      <a:lnTo>
                        <a:pt x="2695" y="518"/>
                      </a:lnTo>
                      <a:lnTo>
                        <a:pt x="2696" y="515"/>
                      </a:lnTo>
                      <a:lnTo>
                        <a:pt x="2698" y="513"/>
                      </a:lnTo>
                      <a:lnTo>
                        <a:pt x="2701" y="510"/>
                      </a:lnTo>
                      <a:lnTo>
                        <a:pt x="2702" y="508"/>
                      </a:lnTo>
                      <a:lnTo>
                        <a:pt x="2704" y="505"/>
                      </a:lnTo>
                      <a:lnTo>
                        <a:pt x="2706" y="504"/>
                      </a:lnTo>
                      <a:lnTo>
                        <a:pt x="2707" y="504"/>
                      </a:lnTo>
                      <a:lnTo>
                        <a:pt x="2707" y="505"/>
                      </a:lnTo>
                      <a:lnTo>
                        <a:pt x="2708" y="505"/>
                      </a:lnTo>
                      <a:lnTo>
                        <a:pt x="2709" y="505"/>
                      </a:lnTo>
                      <a:lnTo>
                        <a:pt x="2710" y="504"/>
                      </a:lnTo>
                      <a:lnTo>
                        <a:pt x="2712" y="504"/>
                      </a:lnTo>
                      <a:lnTo>
                        <a:pt x="2713" y="503"/>
                      </a:lnTo>
                      <a:lnTo>
                        <a:pt x="2714" y="501"/>
                      </a:lnTo>
                      <a:lnTo>
                        <a:pt x="2714" y="500"/>
                      </a:lnTo>
                      <a:lnTo>
                        <a:pt x="2715" y="500"/>
                      </a:lnTo>
                      <a:lnTo>
                        <a:pt x="2716" y="500"/>
                      </a:lnTo>
                      <a:lnTo>
                        <a:pt x="2718" y="500"/>
                      </a:lnTo>
                      <a:lnTo>
                        <a:pt x="2719" y="500"/>
                      </a:lnTo>
                      <a:lnTo>
                        <a:pt x="2721" y="500"/>
                      </a:lnTo>
                      <a:lnTo>
                        <a:pt x="2723" y="499"/>
                      </a:lnTo>
                      <a:lnTo>
                        <a:pt x="2724" y="498"/>
                      </a:lnTo>
                      <a:lnTo>
                        <a:pt x="2724" y="497"/>
                      </a:lnTo>
                      <a:lnTo>
                        <a:pt x="2724" y="493"/>
                      </a:lnTo>
                      <a:lnTo>
                        <a:pt x="2723" y="491"/>
                      </a:lnTo>
                      <a:lnTo>
                        <a:pt x="2724" y="489"/>
                      </a:lnTo>
                      <a:lnTo>
                        <a:pt x="2725" y="488"/>
                      </a:lnTo>
                      <a:lnTo>
                        <a:pt x="2726" y="487"/>
                      </a:lnTo>
                      <a:lnTo>
                        <a:pt x="2727" y="486"/>
                      </a:lnTo>
                      <a:lnTo>
                        <a:pt x="2729" y="486"/>
                      </a:lnTo>
                      <a:lnTo>
                        <a:pt x="2730" y="485"/>
                      </a:lnTo>
                      <a:lnTo>
                        <a:pt x="2731" y="482"/>
                      </a:lnTo>
                      <a:lnTo>
                        <a:pt x="2732" y="480"/>
                      </a:lnTo>
                      <a:lnTo>
                        <a:pt x="2734" y="477"/>
                      </a:lnTo>
                      <a:lnTo>
                        <a:pt x="2735" y="474"/>
                      </a:lnTo>
                      <a:lnTo>
                        <a:pt x="2736" y="469"/>
                      </a:lnTo>
                      <a:lnTo>
                        <a:pt x="2737" y="465"/>
                      </a:lnTo>
                      <a:lnTo>
                        <a:pt x="2737" y="460"/>
                      </a:lnTo>
                      <a:lnTo>
                        <a:pt x="2739" y="453"/>
                      </a:lnTo>
                      <a:lnTo>
                        <a:pt x="2740" y="444"/>
                      </a:lnTo>
                      <a:lnTo>
                        <a:pt x="2741" y="436"/>
                      </a:lnTo>
                      <a:lnTo>
                        <a:pt x="2740" y="434"/>
                      </a:lnTo>
                      <a:lnTo>
                        <a:pt x="2740" y="432"/>
                      </a:lnTo>
                      <a:lnTo>
                        <a:pt x="2739" y="432"/>
                      </a:lnTo>
                      <a:lnTo>
                        <a:pt x="2737" y="432"/>
                      </a:lnTo>
                      <a:lnTo>
                        <a:pt x="2736" y="432"/>
                      </a:lnTo>
                      <a:lnTo>
                        <a:pt x="2735" y="433"/>
                      </a:lnTo>
                      <a:lnTo>
                        <a:pt x="2734" y="435"/>
                      </a:lnTo>
                      <a:lnTo>
                        <a:pt x="2732" y="436"/>
                      </a:lnTo>
                      <a:lnTo>
                        <a:pt x="2726" y="443"/>
                      </a:lnTo>
                      <a:lnTo>
                        <a:pt x="2725" y="444"/>
                      </a:lnTo>
                      <a:lnTo>
                        <a:pt x="2725" y="445"/>
                      </a:lnTo>
                      <a:lnTo>
                        <a:pt x="2724" y="446"/>
                      </a:lnTo>
                      <a:lnTo>
                        <a:pt x="2724" y="446"/>
                      </a:lnTo>
                      <a:lnTo>
                        <a:pt x="2724" y="445"/>
                      </a:lnTo>
                      <a:lnTo>
                        <a:pt x="2721" y="445"/>
                      </a:lnTo>
                      <a:lnTo>
                        <a:pt x="2720" y="443"/>
                      </a:lnTo>
                      <a:lnTo>
                        <a:pt x="2718" y="441"/>
                      </a:lnTo>
                      <a:lnTo>
                        <a:pt x="2717" y="438"/>
                      </a:lnTo>
                      <a:lnTo>
                        <a:pt x="2715" y="438"/>
                      </a:lnTo>
                      <a:lnTo>
                        <a:pt x="2713" y="438"/>
                      </a:lnTo>
                      <a:lnTo>
                        <a:pt x="2710" y="436"/>
                      </a:lnTo>
                      <a:lnTo>
                        <a:pt x="2708" y="436"/>
                      </a:lnTo>
                      <a:lnTo>
                        <a:pt x="2707" y="437"/>
                      </a:lnTo>
                      <a:lnTo>
                        <a:pt x="2705" y="438"/>
                      </a:lnTo>
                      <a:lnTo>
                        <a:pt x="2704" y="441"/>
                      </a:lnTo>
                      <a:lnTo>
                        <a:pt x="2703" y="442"/>
                      </a:lnTo>
                      <a:lnTo>
                        <a:pt x="2702" y="443"/>
                      </a:lnTo>
                      <a:lnTo>
                        <a:pt x="2699" y="444"/>
                      </a:lnTo>
                      <a:lnTo>
                        <a:pt x="2698" y="445"/>
                      </a:lnTo>
                      <a:lnTo>
                        <a:pt x="2697" y="446"/>
                      </a:lnTo>
                      <a:lnTo>
                        <a:pt x="2696" y="446"/>
                      </a:lnTo>
                      <a:lnTo>
                        <a:pt x="2695" y="445"/>
                      </a:lnTo>
                      <a:lnTo>
                        <a:pt x="2695" y="443"/>
                      </a:lnTo>
                      <a:lnTo>
                        <a:pt x="2694" y="441"/>
                      </a:lnTo>
                      <a:lnTo>
                        <a:pt x="2694" y="438"/>
                      </a:lnTo>
                      <a:lnTo>
                        <a:pt x="2693" y="436"/>
                      </a:lnTo>
                      <a:lnTo>
                        <a:pt x="2692" y="435"/>
                      </a:lnTo>
                      <a:lnTo>
                        <a:pt x="2691" y="433"/>
                      </a:lnTo>
                      <a:lnTo>
                        <a:pt x="2691" y="429"/>
                      </a:lnTo>
                      <a:lnTo>
                        <a:pt x="2689" y="427"/>
                      </a:lnTo>
                      <a:lnTo>
                        <a:pt x="2689" y="424"/>
                      </a:lnTo>
                      <a:lnTo>
                        <a:pt x="2688" y="422"/>
                      </a:lnTo>
                      <a:lnTo>
                        <a:pt x="2688" y="418"/>
                      </a:lnTo>
                      <a:lnTo>
                        <a:pt x="2688" y="416"/>
                      </a:lnTo>
                      <a:lnTo>
                        <a:pt x="2689" y="414"/>
                      </a:lnTo>
                      <a:lnTo>
                        <a:pt x="2689" y="411"/>
                      </a:lnTo>
                      <a:lnTo>
                        <a:pt x="2691" y="407"/>
                      </a:lnTo>
                      <a:lnTo>
                        <a:pt x="2691" y="394"/>
                      </a:lnTo>
                      <a:lnTo>
                        <a:pt x="2691" y="391"/>
                      </a:lnTo>
                      <a:lnTo>
                        <a:pt x="2691" y="388"/>
                      </a:lnTo>
                      <a:lnTo>
                        <a:pt x="2693" y="385"/>
                      </a:lnTo>
                      <a:lnTo>
                        <a:pt x="2694" y="383"/>
                      </a:lnTo>
                      <a:lnTo>
                        <a:pt x="2696" y="381"/>
                      </a:lnTo>
                      <a:lnTo>
                        <a:pt x="2697" y="381"/>
                      </a:lnTo>
                      <a:lnTo>
                        <a:pt x="2698" y="381"/>
                      </a:lnTo>
                      <a:lnTo>
                        <a:pt x="2701" y="381"/>
                      </a:lnTo>
                      <a:lnTo>
                        <a:pt x="2702" y="381"/>
                      </a:lnTo>
                      <a:lnTo>
                        <a:pt x="2704" y="381"/>
                      </a:lnTo>
                      <a:lnTo>
                        <a:pt x="2708" y="381"/>
                      </a:lnTo>
                      <a:lnTo>
                        <a:pt x="2710" y="378"/>
                      </a:lnTo>
                      <a:lnTo>
                        <a:pt x="2713" y="376"/>
                      </a:lnTo>
                      <a:lnTo>
                        <a:pt x="2715" y="374"/>
                      </a:lnTo>
                      <a:lnTo>
                        <a:pt x="2717" y="374"/>
                      </a:lnTo>
                      <a:lnTo>
                        <a:pt x="2719" y="372"/>
                      </a:lnTo>
                      <a:lnTo>
                        <a:pt x="2721" y="371"/>
                      </a:lnTo>
                      <a:lnTo>
                        <a:pt x="2721" y="367"/>
                      </a:lnTo>
                      <a:lnTo>
                        <a:pt x="2724" y="362"/>
                      </a:lnTo>
                      <a:lnTo>
                        <a:pt x="2726" y="360"/>
                      </a:lnTo>
                      <a:lnTo>
                        <a:pt x="2726" y="358"/>
                      </a:lnTo>
                      <a:lnTo>
                        <a:pt x="2727" y="358"/>
                      </a:lnTo>
                      <a:lnTo>
                        <a:pt x="2728" y="357"/>
                      </a:lnTo>
                      <a:lnTo>
                        <a:pt x="2730" y="356"/>
                      </a:lnTo>
                      <a:lnTo>
                        <a:pt x="2732" y="355"/>
                      </a:lnTo>
                      <a:lnTo>
                        <a:pt x="2735" y="352"/>
                      </a:lnTo>
                      <a:lnTo>
                        <a:pt x="2737" y="351"/>
                      </a:lnTo>
                      <a:lnTo>
                        <a:pt x="2742" y="350"/>
                      </a:lnTo>
                      <a:lnTo>
                        <a:pt x="2749" y="352"/>
                      </a:lnTo>
                      <a:lnTo>
                        <a:pt x="2753" y="357"/>
                      </a:lnTo>
                      <a:lnTo>
                        <a:pt x="2759" y="362"/>
                      </a:lnTo>
                      <a:lnTo>
                        <a:pt x="2760" y="363"/>
                      </a:lnTo>
                      <a:lnTo>
                        <a:pt x="2762" y="365"/>
                      </a:lnTo>
                      <a:lnTo>
                        <a:pt x="2764" y="365"/>
                      </a:lnTo>
                      <a:lnTo>
                        <a:pt x="2767" y="363"/>
                      </a:lnTo>
                      <a:lnTo>
                        <a:pt x="2770" y="361"/>
                      </a:lnTo>
                      <a:lnTo>
                        <a:pt x="2772" y="360"/>
                      </a:lnTo>
                      <a:lnTo>
                        <a:pt x="2773" y="358"/>
                      </a:lnTo>
                      <a:lnTo>
                        <a:pt x="2775" y="358"/>
                      </a:lnTo>
                      <a:lnTo>
                        <a:pt x="2778" y="356"/>
                      </a:lnTo>
                      <a:lnTo>
                        <a:pt x="2779" y="354"/>
                      </a:lnTo>
                      <a:lnTo>
                        <a:pt x="2781" y="351"/>
                      </a:lnTo>
                      <a:lnTo>
                        <a:pt x="2781" y="343"/>
                      </a:lnTo>
                      <a:lnTo>
                        <a:pt x="2780" y="341"/>
                      </a:lnTo>
                      <a:lnTo>
                        <a:pt x="2779" y="340"/>
                      </a:lnTo>
                      <a:lnTo>
                        <a:pt x="2778" y="339"/>
                      </a:lnTo>
                      <a:lnTo>
                        <a:pt x="2778" y="339"/>
                      </a:lnTo>
                      <a:lnTo>
                        <a:pt x="2779" y="338"/>
                      </a:lnTo>
                      <a:lnTo>
                        <a:pt x="2779" y="336"/>
                      </a:lnTo>
                      <a:lnTo>
                        <a:pt x="2780" y="334"/>
                      </a:lnTo>
                      <a:lnTo>
                        <a:pt x="2781" y="332"/>
                      </a:lnTo>
                      <a:lnTo>
                        <a:pt x="2781" y="329"/>
                      </a:lnTo>
                      <a:lnTo>
                        <a:pt x="2780" y="329"/>
                      </a:lnTo>
                      <a:lnTo>
                        <a:pt x="2779" y="328"/>
                      </a:lnTo>
                      <a:lnTo>
                        <a:pt x="2779" y="327"/>
                      </a:lnTo>
                      <a:lnTo>
                        <a:pt x="2776" y="324"/>
                      </a:lnTo>
                      <a:lnTo>
                        <a:pt x="2774" y="321"/>
                      </a:lnTo>
                      <a:lnTo>
                        <a:pt x="2772" y="318"/>
                      </a:lnTo>
                      <a:lnTo>
                        <a:pt x="2772" y="316"/>
                      </a:lnTo>
                      <a:lnTo>
                        <a:pt x="2770" y="312"/>
                      </a:lnTo>
                      <a:lnTo>
                        <a:pt x="2770" y="309"/>
                      </a:lnTo>
                      <a:lnTo>
                        <a:pt x="2768" y="307"/>
                      </a:lnTo>
                      <a:lnTo>
                        <a:pt x="2767" y="305"/>
                      </a:lnTo>
                      <a:lnTo>
                        <a:pt x="2765" y="303"/>
                      </a:lnTo>
                      <a:lnTo>
                        <a:pt x="2764" y="303"/>
                      </a:lnTo>
                      <a:lnTo>
                        <a:pt x="2763" y="303"/>
                      </a:lnTo>
                      <a:lnTo>
                        <a:pt x="2762" y="302"/>
                      </a:lnTo>
                      <a:lnTo>
                        <a:pt x="2761" y="301"/>
                      </a:lnTo>
                      <a:lnTo>
                        <a:pt x="2761" y="298"/>
                      </a:lnTo>
                      <a:lnTo>
                        <a:pt x="2760" y="296"/>
                      </a:lnTo>
                      <a:lnTo>
                        <a:pt x="2760" y="295"/>
                      </a:lnTo>
                      <a:lnTo>
                        <a:pt x="2761" y="293"/>
                      </a:lnTo>
                      <a:lnTo>
                        <a:pt x="2762" y="291"/>
                      </a:lnTo>
                      <a:lnTo>
                        <a:pt x="2763" y="290"/>
                      </a:lnTo>
                      <a:lnTo>
                        <a:pt x="2765" y="285"/>
                      </a:lnTo>
                      <a:lnTo>
                        <a:pt x="2768" y="282"/>
                      </a:lnTo>
                      <a:lnTo>
                        <a:pt x="2770" y="279"/>
                      </a:lnTo>
                      <a:lnTo>
                        <a:pt x="2770" y="275"/>
                      </a:lnTo>
                      <a:lnTo>
                        <a:pt x="2769" y="274"/>
                      </a:lnTo>
                      <a:lnTo>
                        <a:pt x="2768" y="272"/>
                      </a:lnTo>
                      <a:lnTo>
                        <a:pt x="2767" y="271"/>
                      </a:lnTo>
                      <a:lnTo>
                        <a:pt x="2765" y="270"/>
                      </a:lnTo>
                      <a:lnTo>
                        <a:pt x="2765" y="268"/>
                      </a:lnTo>
                      <a:lnTo>
                        <a:pt x="2825" y="219"/>
                      </a:lnTo>
                      <a:lnTo>
                        <a:pt x="2882" y="172"/>
                      </a:lnTo>
                      <a:lnTo>
                        <a:pt x="2936" y="127"/>
                      </a:lnTo>
                      <a:lnTo>
                        <a:pt x="2989" y="86"/>
                      </a:lnTo>
                      <a:lnTo>
                        <a:pt x="3042" y="51"/>
                      </a:lnTo>
                      <a:lnTo>
                        <a:pt x="3055" y="43"/>
                      </a:lnTo>
                      <a:lnTo>
                        <a:pt x="3068" y="35"/>
                      </a:lnTo>
                      <a:close/>
                      <a:moveTo>
                        <a:pt x="2655" y="29"/>
                      </a:moveTo>
                      <a:lnTo>
                        <a:pt x="2656" y="30"/>
                      </a:lnTo>
                      <a:lnTo>
                        <a:pt x="2658" y="31"/>
                      </a:lnTo>
                      <a:lnTo>
                        <a:pt x="2659" y="34"/>
                      </a:lnTo>
                      <a:lnTo>
                        <a:pt x="2659" y="36"/>
                      </a:lnTo>
                      <a:lnTo>
                        <a:pt x="2659" y="40"/>
                      </a:lnTo>
                      <a:lnTo>
                        <a:pt x="2658" y="42"/>
                      </a:lnTo>
                      <a:lnTo>
                        <a:pt x="2658" y="44"/>
                      </a:lnTo>
                      <a:lnTo>
                        <a:pt x="2658" y="45"/>
                      </a:lnTo>
                      <a:lnTo>
                        <a:pt x="2656" y="47"/>
                      </a:lnTo>
                      <a:lnTo>
                        <a:pt x="2656" y="49"/>
                      </a:lnTo>
                      <a:lnTo>
                        <a:pt x="2655" y="50"/>
                      </a:lnTo>
                      <a:lnTo>
                        <a:pt x="2654" y="50"/>
                      </a:lnTo>
                      <a:lnTo>
                        <a:pt x="2653" y="49"/>
                      </a:lnTo>
                      <a:lnTo>
                        <a:pt x="2652" y="44"/>
                      </a:lnTo>
                      <a:lnTo>
                        <a:pt x="2652" y="40"/>
                      </a:lnTo>
                      <a:lnTo>
                        <a:pt x="2652" y="36"/>
                      </a:lnTo>
                      <a:lnTo>
                        <a:pt x="2653" y="33"/>
                      </a:lnTo>
                      <a:lnTo>
                        <a:pt x="2653" y="31"/>
                      </a:lnTo>
                      <a:lnTo>
                        <a:pt x="2654" y="30"/>
                      </a:lnTo>
                      <a:lnTo>
                        <a:pt x="2654" y="29"/>
                      </a:lnTo>
                      <a:lnTo>
                        <a:pt x="2655" y="29"/>
                      </a:lnTo>
                      <a:close/>
                      <a:moveTo>
                        <a:pt x="1333" y="18"/>
                      </a:moveTo>
                      <a:lnTo>
                        <a:pt x="1335" y="18"/>
                      </a:lnTo>
                      <a:lnTo>
                        <a:pt x="1338" y="19"/>
                      </a:lnTo>
                      <a:lnTo>
                        <a:pt x="1339" y="21"/>
                      </a:lnTo>
                      <a:lnTo>
                        <a:pt x="1340" y="22"/>
                      </a:lnTo>
                      <a:lnTo>
                        <a:pt x="1340" y="24"/>
                      </a:lnTo>
                      <a:lnTo>
                        <a:pt x="1341" y="31"/>
                      </a:lnTo>
                      <a:lnTo>
                        <a:pt x="1345" y="36"/>
                      </a:lnTo>
                      <a:lnTo>
                        <a:pt x="1350" y="42"/>
                      </a:lnTo>
                      <a:lnTo>
                        <a:pt x="1351" y="47"/>
                      </a:lnTo>
                      <a:lnTo>
                        <a:pt x="1350" y="53"/>
                      </a:lnTo>
                      <a:lnTo>
                        <a:pt x="1343" y="57"/>
                      </a:lnTo>
                      <a:lnTo>
                        <a:pt x="1334" y="61"/>
                      </a:lnTo>
                      <a:lnTo>
                        <a:pt x="1328" y="61"/>
                      </a:lnTo>
                      <a:lnTo>
                        <a:pt x="1324" y="57"/>
                      </a:lnTo>
                      <a:lnTo>
                        <a:pt x="1324" y="52"/>
                      </a:lnTo>
                      <a:lnTo>
                        <a:pt x="1326" y="46"/>
                      </a:lnTo>
                      <a:lnTo>
                        <a:pt x="1328" y="40"/>
                      </a:lnTo>
                      <a:lnTo>
                        <a:pt x="1330" y="34"/>
                      </a:lnTo>
                      <a:lnTo>
                        <a:pt x="1330" y="30"/>
                      </a:lnTo>
                      <a:lnTo>
                        <a:pt x="1330" y="29"/>
                      </a:lnTo>
                      <a:lnTo>
                        <a:pt x="1330" y="28"/>
                      </a:lnTo>
                      <a:lnTo>
                        <a:pt x="1329" y="25"/>
                      </a:lnTo>
                      <a:lnTo>
                        <a:pt x="1328" y="23"/>
                      </a:lnTo>
                      <a:lnTo>
                        <a:pt x="1328" y="21"/>
                      </a:lnTo>
                      <a:lnTo>
                        <a:pt x="1329" y="20"/>
                      </a:lnTo>
                      <a:lnTo>
                        <a:pt x="1330" y="19"/>
                      </a:lnTo>
                      <a:lnTo>
                        <a:pt x="1333" y="18"/>
                      </a:lnTo>
                      <a:close/>
                      <a:moveTo>
                        <a:pt x="2768" y="10"/>
                      </a:moveTo>
                      <a:lnTo>
                        <a:pt x="2768" y="10"/>
                      </a:lnTo>
                      <a:lnTo>
                        <a:pt x="2768" y="11"/>
                      </a:lnTo>
                      <a:lnTo>
                        <a:pt x="2768" y="13"/>
                      </a:lnTo>
                      <a:lnTo>
                        <a:pt x="2768" y="16"/>
                      </a:lnTo>
                      <a:lnTo>
                        <a:pt x="2769" y="17"/>
                      </a:lnTo>
                      <a:lnTo>
                        <a:pt x="2769" y="18"/>
                      </a:lnTo>
                      <a:lnTo>
                        <a:pt x="2770" y="19"/>
                      </a:lnTo>
                      <a:lnTo>
                        <a:pt x="2770" y="20"/>
                      </a:lnTo>
                      <a:lnTo>
                        <a:pt x="2771" y="22"/>
                      </a:lnTo>
                      <a:lnTo>
                        <a:pt x="2772" y="24"/>
                      </a:lnTo>
                      <a:lnTo>
                        <a:pt x="2772" y="27"/>
                      </a:lnTo>
                      <a:lnTo>
                        <a:pt x="2772" y="29"/>
                      </a:lnTo>
                      <a:lnTo>
                        <a:pt x="2773" y="30"/>
                      </a:lnTo>
                      <a:lnTo>
                        <a:pt x="2775" y="30"/>
                      </a:lnTo>
                      <a:lnTo>
                        <a:pt x="2776" y="29"/>
                      </a:lnTo>
                      <a:lnTo>
                        <a:pt x="2776" y="27"/>
                      </a:lnTo>
                      <a:lnTo>
                        <a:pt x="2778" y="24"/>
                      </a:lnTo>
                      <a:lnTo>
                        <a:pt x="2778" y="22"/>
                      </a:lnTo>
                      <a:lnTo>
                        <a:pt x="2776" y="21"/>
                      </a:lnTo>
                      <a:lnTo>
                        <a:pt x="2775" y="20"/>
                      </a:lnTo>
                      <a:lnTo>
                        <a:pt x="2774" y="18"/>
                      </a:lnTo>
                      <a:lnTo>
                        <a:pt x="2774" y="17"/>
                      </a:lnTo>
                      <a:lnTo>
                        <a:pt x="2774" y="16"/>
                      </a:lnTo>
                      <a:lnTo>
                        <a:pt x="2773" y="14"/>
                      </a:lnTo>
                      <a:lnTo>
                        <a:pt x="2772" y="13"/>
                      </a:lnTo>
                      <a:lnTo>
                        <a:pt x="2771" y="13"/>
                      </a:lnTo>
                      <a:lnTo>
                        <a:pt x="2770" y="12"/>
                      </a:lnTo>
                      <a:lnTo>
                        <a:pt x="2769" y="11"/>
                      </a:lnTo>
                      <a:lnTo>
                        <a:pt x="2769" y="11"/>
                      </a:lnTo>
                      <a:lnTo>
                        <a:pt x="2768" y="10"/>
                      </a:lnTo>
                      <a:close/>
                      <a:moveTo>
                        <a:pt x="357" y="2"/>
                      </a:moveTo>
                      <a:lnTo>
                        <a:pt x="359" y="2"/>
                      </a:lnTo>
                      <a:lnTo>
                        <a:pt x="361" y="5"/>
                      </a:lnTo>
                      <a:lnTo>
                        <a:pt x="367" y="17"/>
                      </a:lnTo>
                      <a:lnTo>
                        <a:pt x="368" y="18"/>
                      </a:lnTo>
                      <a:lnTo>
                        <a:pt x="369" y="19"/>
                      </a:lnTo>
                      <a:lnTo>
                        <a:pt x="370" y="20"/>
                      </a:lnTo>
                      <a:lnTo>
                        <a:pt x="371" y="21"/>
                      </a:lnTo>
                      <a:lnTo>
                        <a:pt x="371" y="23"/>
                      </a:lnTo>
                      <a:lnTo>
                        <a:pt x="371" y="27"/>
                      </a:lnTo>
                      <a:lnTo>
                        <a:pt x="370" y="29"/>
                      </a:lnTo>
                      <a:lnTo>
                        <a:pt x="369" y="30"/>
                      </a:lnTo>
                      <a:lnTo>
                        <a:pt x="368" y="30"/>
                      </a:lnTo>
                      <a:lnTo>
                        <a:pt x="367" y="30"/>
                      </a:lnTo>
                      <a:lnTo>
                        <a:pt x="366" y="29"/>
                      </a:lnTo>
                      <a:lnTo>
                        <a:pt x="364" y="28"/>
                      </a:lnTo>
                      <a:lnTo>
                        <a:pt x="362" y="27"/>
                      </a:lnTo>
                      <a:lnTo>
                        <a:pt x="361" y="24"/>
                      </a:lnTo>
                      <a:lnTo>
                        <a:pt x="361" y="23"/>
                      </a:lnTo>
                      <a:lnTo>
                        <a:pt x="360" y="22"/>
                      </a:lnTo>
                      <a:lnTo>
                        <a:pt x="359" y="21"/>
                      </a:lnTo>
                      <a:lnTo>
                        <a:pt x="359" y="21"/>
                      </a:lnTo>
                      <a:lnTo>
                        <a:pt x="357" y="21"/>
                      </a:lnTo>
                      <a:lnTo>
                        <a:pt x="356" y="20"/>
                      </a:lnTo>
                      <a:lnTo>
                        <a:pt x="355" y="19"/>
                      </a:lnTo>
                      <a:lnTo>
                        <a:pt x="353" y="17"/>
                      </a:lnTo>
                      <a:lnTo>
                        <a:pt x="353" y="11"/>
                      </a:lnTo>
                      <a:lnTo>
                        <a:pt x="355" y="7"/>
                      </a:lnTo>
                      <a:lnTo>
                        <a:pt x="356" y="3"/>
                      </a:lnTo>
                      <a:lnTo>
                        <a:pt x="357" y="2"/>
                      </a:lnTo>
                      <a:close/>
                      <a:moveTo>
                        <a:pt x="183" y="0"/>
                      </a:moveTo>
                      <a:lnTo>
                        <a:pt x="183" y="0"/>
                      </a:lnTo>
                      <a:lnTo>
                        <a:pt x="184" y="1"/>
                      </a:lnTo>
                      <a:lnTo>
                        <a:pt x="184" y="3"/>
                      </a:lnTo>
                      <a:lnTo>
                        <a:pt x="183" y="6"/>
                      </a:lnTo>
                      <a:lnTo>
                        <a:pt x="183" y="7"/>
                      </a:lnTo>
                      <a:lnTo>
                        <a:pt x="182" y="9"/>
                      </a:lnTo>
                      <a:lnTo>
                        <a:pt x="181" y="10"/>
                      </a:lnTo>
                      <a:lnTo>
                        <a:pt x="181" y="17"/>
                      </a:lnTo>
                      <a:lnTo>
                        <a:pt x="183" y="23"/>
                      </a:lnTo>
                      <a:lnTo>
                        <a:pt x="181" y="29"/>
                      </a:lnTo>
                      <a:lnTo>
                        <a:pt x="179" y="31"/>
                      </a:lnTo>
                      <a:lnTo>
                        <a:pt x="177" y="33"/>
                      </a:lnTo>
                      <a:lnTo>
                        <a:pt x="175" y="34"/>
                      </a:lnTo>
                      <a:lnTo>
                        <a:pt x="173" y="36"/>
                      </a:lnTo>
                      <a:lnTo>
                        <a:pt x="171" y="38"/>
                      </a:lnTo>
                      <a:lnTo>
                        <a:pt x="170" y="41"/>
                      </a:lnTo>
                      <a:lnTo>
                        <a:pt x="167" y="42"/>
                      </a:lnTo>
                      <a:lnTo>
                        <a:pt x="166" y="42"/>
                      </a:lnTo>
                      <a:lnTo>
                        <a:pt x="166" y="43"/>
                      </a:lnTo>
                      <a:lnTo>
                        <a:pt x="165" y="43"/>
                      </a:lnTo>
                      <a:lnTo>
                        <a:pt x="164" y="43"/>
                      </a:lnTo>
                      <a:lnTo>
                        <a:pt x="162" y="42"/>
                      </a:lnTo>
                      <a:lnTo>
                        <a:pt x="160" y="42"/>
                      </a:lnTo>
                      <a:lnTo>
                        <a:pt x="159" y="41"/>
                      </a:lnTo>
                      <a:lnTo>
                        <a:pt x="157" y="39"/>
                      </a:lnTo>
                      <a:lnTo>
                        <a:pt x="159" y="34"/>
                      </a:lnTo>
                      <a:lnTo>
                        <a:pt x="160" y="31"/>
                      </a:lnTo>
                      <a:lnTo>
                        <a:pt x="162" y="29"/>
                      </a:lnTo>
                      <a:lnTo>
                        <a:pt x="164" y="27"/>
                      </a:lnTo>
                      <a:lnTo>
                        <a:pt x="165" y="24"/>
                      </a:lnTo>
                      <a:lnTo>
                        <a:pt x="168" y="22"/>
                      </a:lnTo>
                      <a:lnTo>
                        <a:pt x="171" y="21"/>
                      </a:lnTo>
                      <a:lnTo>
                        <a:pt x="172" y="18"/>
                      </a:lnTo>
                      <a:lnTo>
                        <a:pt x="174" y="16"/>
                      </a:lnTo>
                      <a:lnTo>
                        <a:pt x="174" y="11"/>
                      </a:lnTo>
                      <a:lnTo>
                        <a:pt x="174" y="8"/>
                      </a:lnTo>
                      <a:lnTo>
                        <a:pt x="176" y="5"/>
                      </a:lnTo>
                      <a:lnTo>
                        <a:pt x="178" y="1"/>
                      </a:lnTo>
                      <a:lnTo>
                        <a:pt x="181" y="0"/>
                      </a:lnTo>
                      <a:lnTo>
                        <a:pt x="183"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36" name="Freeform 33"/>
                <p:cNvSpPr>
                  <a:spLocks noEditPoints="1"/>
                </p:cNvSpPr>
                <p:nvPr/>
              </p:nvSpPr>
              <p:spPr bwMode="auto">
                <a:xfrm>
                  <a:off x="5569" y="806"/>
                  <a:ext cx="391" cy="258"/>
                </a:xfrm>
                <a:custGeom>
                  <a:avLst/>
                  <a:gdLst>
                    <a:gd name="T0" fmla="*/ 2478 w 2739"/>
                    <a:gd name="T1" fmla="*/ 300 h 1807"/>
                    <a:gd name="T2" fmla="*/ 2447 w 2739"/>
                    <a:gd name="T3" fmla="*/ 417 h 1807"/>
                    <a:gd name="T4" fmla="*/ 2459 w 2739"/>
                    <a:gd name="T5" fmla="*/ 309 h 1807"/>
                    <a:gd name="T6" fmla="*/ 2439 w 2739"/>
                    <a:gd name="T7" fmla="*/ 235 h 1807"/>
                    <a:gd name="T8" fmla="*/ 2458 w 2739"/>
                    <a:gd name="T9" fmla="*/ 180 h 1807"/>
                    <a:gd name="T10" fmla="*/ 2704 w 2739"/>
                    <a:gd name="T11" fmla="*/ 125 h 1807"/>
                    <a:gd name="T12" fmla="*/ 703 w 2739"/>
                    <a:gd name="T13" fmla="*/ 154 h 1807"/>
                    <a:gd name="T14" fmla="*/ 2734 w 2739"/>
                    <a:gd name="T15" fmla="*/ 120 h 1807"/>
                    <a:gd name="T16" fmla="*/ 1551 w 2739"/>
                    <a:gd name="T17" fmla="*/ 70 h 1807"/>
                    <a:gd name="T18" fmla="*/ 6 w 2739"/>
                    <a:gd name="T19" fmla="*/ 67 h 1807"/>
                    <a:gd name="T20" fmla="*/ 95 w 2739"/>
                    <a:gd name="T21" fmla="*/ 1 h 1807"/>
                    <a:gd name="T22" fmla="*/ 1088 w 2739"/>
                    <a:gd name="T23" fmla="*/ 558 h 1807"/>
                    <a:gd name="T24" fmla="*/ 1155 w 2739"/>
                    <a:gd name="T25" fmla="*/ 617 h 1807"/>
                    <a:gd name="T26" fmla="*/ 1233 w 2739"/>
                    <a:gd name="T27" fmla="*/ 604 h 1807"/>
                    <a:gd name="T28" fmla="*/ 1304 w 2739"/>
                    <a:gd name="T29" fmla="*/ 617 h 1807"/>
                    <a:gd name="T30" fmla="*/ 1383 w 2739"/>
                    <a:gd name="T31" fmla="*/ 650 h 1807"/>
                    <a:gd name="T32" fmla="*/ 1459 w 2739"/>
                    <a:gd name="T33" fmla="*/ 709 h 1807"/>
                    <a:gd name="T34" fmla="*/ 1379 w 2739"/>
                    <a:gd name="T35" fmla="*/ 842 h 1807"/>
                    <a:gd name="T36" fmla="*/ 1298 w 2739"/>
                    <a:gd name="T37" fmla="*/ 1027 h 1807"/>
                    <a:gd name="T38" fmla="*/ 1116 w 2739"/>
                    <a:gd name="T39" fmla="*/ 944 h 1807"/>
                    <a:gd name="T40" fmla="*/ 977 w 2739"/>
                    <a:gd name="T41" fmla="*/ 1044 h 1807"/>
                    <a:gd name="T42" fmla="*/ 1100 w 2739"/>
                    <a:gd name="T43" fmla="*/ 1137 h 1807"/>
                    <a:gd name="T44" fmla="*/ 1163 w 2739"/>
                    <a:gd name="T45" fmla="*/ 1180 h 1807"/>
                    <a:gd name="T46" fmla="*/ 1297 w 2739"/>
                    <a:gd name="T47" fmla="*/ 1268 h 1807"/>
                    <a:gd name="T48" fmla="*/ 1464 w 2739"/>
                    <a:gd name="T49" fmla="*/ 1220 h 1807"/>
                    <a:gd name="T50" fmla="*/ 1482 w 2739"/>
                    <a:gd name="T51" fmla="*/ 1227 h 1807"/>
                    <a:gd name="T52" fmla="*/ 1592 w 2739"/>
                    <a:gd name="T53" fmla="*/ 1228 h 1807"/>
                    <a:gd name="T54" fmla="*/ 1658 w 2739"/>
                    <a:gd name="T55" fmla="*/ 1262 h 1807"/>
                    <a:gd name="T56" fmla="*/ 1771 w 2739"/>
                    <a:gd name="T57" fmla="*/ 1338 h 1807"/>
                    <a:gd name="T58" fmla="*/ 1789 w 2739"/>
                    <a:gd name="T59" fmla="*/ 1345 h 1807"/>
                    <a:gd name="T60" fmla="*/ 1856 w 2739"/>
                    <a:gd name="T61" fmla="*/ 1357 h 1807"/>
                    <a:gd name="T62" fmla="*/ 1902 w 2739"/>
                    <a:gd name="T63" fmla="*/ 1452 h 1807"/>
                    <a:gd name="T64" fmla="*/ 1814 w 2739"/>
                    <a:gd name="T65" fmla="*/ 1560 h 1807"/>
                    <a:gd name="T66" fmla="*/ 1728 w 2739"/>
                    <a:gd name="T67" fmla="*/ 1623 h 1807"/>
                    <a:gd name="T68" fmla="*/ 1618 w 2739"/>
                    <a:gd name="T69" fmla="*/ 1677 h 1807"/>
                    <a:gd name="T70" fmla="*/ 1574 w 2739"/>
                    <a:gd name="T71" fmla="*/ 1731 h 1807"/>
                    <a:gd name="T72" fmla="*/ 1537 w 2739"/>
                    <a:gd name="T73" fmla="*/ 1763 h 1807"/>
                    <a:gd name="T74" fmla="*/ 1506 w 2739"/>
                    <a:gd name="T75" fmla="*/ 1806 h 1807"/>
                    <a:gd name="T76" fmla="*/ 1453 w 2739"/>
                    <a:gd name="T77" fmla="*/ 1774 h 1807"/>
                    <a:gd name="T78" fmla="*/ 1446 w 2739"/>
                    <a:gd name="T79" fmla="*/ 1729 h 1807"/>
                    <a:gd name="T80" fmla="*/ 1446 w 2739"/>
                    <a:gd name="T81" fmla="*/ 1648 h 1807"/>
                    <a:gd name="T82" fmla="*/ 1450 w 2739"/>
                    <a:gd name="T83" fmla="*/ 1571 h 1807"/>
                    <a:gd name="T84" fmla="*/ 1323 w 2739"/>
                    <a:gd name="T85" fmla="*/ 1492 h 1807"/>
                    <a:gd name="T86" fmla="*/ 1278 w 2739"/>
                    <a:gd name="T87" fmla="*/ 1412 h 1807"/>
                    <a:gd name="T88" fmla="*/ 1328 w 2739"/>
                    <a:gd name="T89" fmla="*/ 1354 h 1807"/>
                    <a:gd name="T90" fmla="*/ 1260 w 2739"/>
                    <a:gd name="T91" fmla="*/ 1293 h 1807"/>
                    <a:gd name="T92" fmla="*/ 1080 w 2739"/>
                    <a:gd name="T93" fmla="*/ 1186 h 1807"/>
                    <a:gd name="T94" fmla="*/ 798 w 2739"/>
                    <a:gd name="T95" fmla="*/ 1021 h 1807"/>
                    <a:gd name="T96" fmla="*/ 741 w 2739"/>
                    <a:gd name="T97" fmla="*/ 992 h 1807"/>
                    <a:gd name="T98" fmla="*/ 692 w 2739"/>
                    <a:gd name="T99" fmla="*/ 967 h 1807"/>
                    <a:gd name="T100" fmla="*/ 490 w 2739"/>
                    <a:gd name="T101" fmla="*/ 606 h 1807"/>
                    <a:gd name="T102" fmla="*/ 433 w 2739"/>
                    <a:gd name="T103" fmla="*/ 371 h 1807"/>
                    <a:gd name="T104" fmla="*/ 393 w 2739"/>
                    <a:gd name="T105" fmla="*/ 286 h 1807"/>
                    <a:gd name="T106" fmla="*/ 351 w 2739"/>
                    <a:gd name="T107" fmla="*/ 190 h 1807"/>
                    <a:gd name="T108" fmla="*/ 289 w 2739"/>
                    <a:gd name="T109" fmla="*/ 116 h 1807"/>
                    <a:gd name="T110" fmla="*/ 199 w 2739"/>
                    <a:gd name="T111" fmla="*/ 136 h 1807"/>
                    <a:gd name="T112" fmla="*/ 177 w 2739"/>
                    <a:gd name="T113" fmla="*/ 98 h 1807"/>
                    <a:gd name="T114" fmla="*/ 134 w 2739"/>
                    <a:gd name="T115" fmla="*/ 205 h 1807"/>
                    <a:gd name="T116" fmla="*/ 102 w 2739"/>
                    <a:gd name="T117" fmla="*/ 222 h 1807"/>
                    <a:gd name="T118" fmla="*/ 80 w 2739"/>
                    <a:gd name="T119" fmla="*/ 182 h 1807"/>
                    <a:gd name="T120" fmla="*/ 39 w 2739"/>
                    <a:gd name="T121" fmla="*/ 137 h 1807"/>
                    <a:gd name="T122" fmla="*/ 54 w 2739"/>
                    <a:gd name="T123" fmla="*/ 57 h 1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39" h="1807">
                      <a:moveTo>
                        <a:pt x="2459" y="188"/>
                      </a:moveTo>
                      <a:lnTo>
                        <a:pt x="2460" y="189"/>
                      </a:lnTo>
                      <a:lnTo>
                        <a:pt x="2461" y="191"/>
                      </a:lnTo>
                      <a:lnTo>
                        <a:pt x="2461" y="196"/>
                      </a:lnTo>
                      <a:lnTo>
                        <a:pt x="2458" y="202"/>
                      </a:lnTo>
                      <a:lnTo>
                        <a:pt x="2456" y="209"/>
                      </a:lnTo>
                      <a:lnTo>
                        <a:pt x="2455" y="215"/>
                      </a:lnTo>
                      <a:lnTo>
                        <a:pt x="2457" y="220"/>
                      </a:lnTo>
                      <a:lnTo>
                        <a:pt x="2459" y="221"/>
                      </a:lnTo>
                      <a:lnTo>
                        <a:pt x="2460" y="221"/>
                      </a:lnTo>
                      <a:lnTo>
                        <a:pt x="2463" y="220"/>
                      </a:lnTo>
                      <a:lnTo>
                        <a:pt x="2464" y="220"/>
                      </a:lnTo>
                      <a:lnTo>
                        <a:pt x="2466" y="220"/>
                      </a:lnTo>
                      <a:lnTo>
                        <a:pt x="2468" y="221"/>
                      </a:lnTo>
                      <a:lnTo>
                        <a:pt x="2470" y="222"/>
                      </a:lnTo>
                      <a:lnTo>
                        <a:pt x="2471" y="223"/>
                      </a:lnTo>
                      <a:lnTo>
                        <a:pt x="2472" y="224"/>
                      </a:lnTo>
                      <a:lnTo>
                        <a:pt x="2472" y="226"/>
                      </a:lnTo>
                      <a:lnTo>
                        <a:pt x="2474" y="229"/>
                      </a:lnTo>
                      <a:lnTo>
                        <a:pt x="2474" y="232"/>
                      </a:lnTo>
                      <a:lnTo>
                        <a:pt x="2472" y="234"/>
                      </a:lnTo>
                      <a:lnTo>
                        <a:pt x="2471" y="237"/>
                      </a:lnTo>
                      <a:lnTo>
                        <a:pt x="2470" y="240"/>
                      </a:lnTo>
                      <a:lnTo>
                        <a:pt x="2469" y="244"/>
                      </a:lnTo>
                      <a:lnTo>
                        <a:pt x="2468" y="247"/>
                      </a:lnTo>
                      <a:lnTo>
                        <a:pt x="2467" y="252"/>
                      </a:lnTo>
                      <a:lnTo>
                        <a:pt x="2466" y="256"/>
                      </a:lnTo>
                      <a:lnTo>
                        <a:pt x="2466" y="258"/>
                      </a:lnTo>
                      <a:lnTo>
                        <a:pt x="2465" y="261"/>
                      </a:lnTo>
                      <a:lnTo>
                        <a:pt x="2465" y="263"/>
                      </a:lnTo>
                      <a:lnTo>
                        <a:pt x="2466" y="265"/>
                      </a:lnTo>
                      <a:lnTo>
                        <a:pt x="2468" y="266"/>
                      </a:lnTo>
                      <a:lnTo>
                        <a:pt x="2470" y="267"/>
                      </a:lnTo>
                      <a:lnTo>
                        <a:pt x="2472" y="269"/>
                      </a:lnTo>
                      <a:lnTo>
                        <a:pt x="2472" y="270"/>
                      </a:lnTo>
                      <a:lnTo>
                        <a:pt x="2472" y="272"/>
                      </a:lnTo>
                      <a:lnTo>
                        <a:pt x="2474" y="274"/>
                      </a:lnTo>
                      <a:lnTo>
                        <a:pt x="2474" y="277"/>
                      </a:lnTo>
                      <a:lnTo>
                        <a:pt x="2474" y="280"/>
                      </a:lnTo>
                      <a:lnTo>
                        <a:pt x="2475" y="283"/>
                      </a:lnTo>
                      <a:lnTo>
                        <a:pt x="2475" y="284"/>
                      </a:lnTo>
                      <a:lnTo>
                        <a:pt x="2476" y="286"/>
                      </a:lnTo>
                      <a:lnTo>
                        <a:pt x="2476" y="287"/>
                      </a:lnTo>
                      <a:lnTo>
                        <a:pt x="2476" y="289"/>
                      </a:lnTo>
                      <a:lnTo>
                        <a:pt x="2477" y="291"/>
                      </a:lnTo>
                      <a:lnTo>
                        <a:pt x="2477" y="295"/>
                      </a:lnTo>
                      <a:lnTo>
                        <a:pt x="2477" y="297"/>
                      </a:lnTo>
                      <a:lnTo>
                        <a:pt x="2477" y="299"/>
                      </a:lnTo>
                      <a:lnTo>
                        <a:pt x="2478" y="300"/>
                      </a:lnTo>
                      <a:lnTo>
                        <a:pt x="2479" y="302"/>
                      </a:lnTo>
                      <a:lnTo>
                        <a:pt x="2480" y="305"/>
                      </a:lnTo>
                      <a:lnTo>
                        <a:pt x="2481" y="307"/>
                      </a:lnTo>
                      <a:lnTo>
                        <a:pt x="2482" y="308"/>
                      </a:lnTo>
                      <a:lnTo>
                        <a:pt x="2482" y="309"/>
                      </a:lnTo>
                      <a:lnTo>
                        <a:pt x="2483" y="313"/>
                      </a:lnTo>
                      <a:lnTo>
                        <a:pt x="2485" y="318"/>
                      </a:lnTo>
                      <a:lnTo>
                        <a:pt x="2487" y="322"/>
                      </a:lnTo>
                      <a:lnTo>
                        <a:pt x="2489" y="331"/>
                      </a:lnTo>
                      <a:lnTo>
                        <a:pt x="2491" y="341"/>
                      </a:lnTo>
                      <a:lnTo>
                        <a:pt x="2493" y="344"/>
                      </a:lnTo>
                      <a:lnTo>
                        <a:pt x="2494" y="347"/>
                      </a:lnTo>
                      <a:lnTo>
                        <a:pt x="2497" y="352"/>
                      </a:lnTo>
                      <a:lnTo>
                        <a:pt x="2500" y="358"/>
                      </a:lnTo>
                      <a:lnTo>
                        <a:pt x="2500" y="366"/>
                      </a:lnTo>
                      <a:lnTo>
                        <a:pt x="2499" y="376"/>
                      </a:lnTo>
                      <a:lnTo>
                        <a:pt x="2497" y="382"/>
                      </a:lnTo>
                      <a:lnTo>
                        <a:pt x="2496" y="387"/>
                      </a:lnTo>
                      <a:lnTo>
                        <a:pt x="2494" y="394"/>
                      </a:lnTo>
                      <a:lnTo>
                        <a:pt x="2494" y="397"/>
                      </a:lnTo>
                      <a:lnTo>
                        <a:pt x="2494" y="399"/>
                      </a:lnTo>
                      <a:lnTo>
                        <a:pt x="2493" y="400"/>
                      </a:lnTo>
                      <a:lnTo>
                        <a:pt x="2492" y="401"/>
                      </a:lnTo>
                      <a:lnTo>
                        <a:pt x="2491" y="403"/>
                      </a:lnTo>
                      <a:lnTo>
                        <a:pt x="2489" y="405"/>
                      </a:lnTo>
                      <a:lnTo>
                        <a:pt x="2488" y="405"/>
                      </a:lnTo>
                      <a:lnTo>
                        <a:pt x="2487" y="404"/>
                      </a:lnTo>
                      <a:lnTo>
                        <a:pt x="2486" y="403"/>
                      </a:lnTo>
                      <a:lnTo>
                        <a:pt x="2485" y="400"/>
                      </a:lnTo>
                      <a:lnTo>
                        <a:pt x="2480" y="400"/>
                      </a:lnTo>
                      <a:lnTo>
                        <a:pt x="2480" y="401"/>
                      </a:lnTo>
                      <a:lnTo>
                        <a:pt x="2480" y="401"/>
                      </a:lnTo>
                      <a:lnTo>
                        <a:pt x="2479" y="403"/>
                      </a:lnTo>
                      <a:lnTo>
                        <a:pt x="2478" y="403"/>
                      </a:lnTo>
                      <a:lnTo>
                        <a:pt x="2477" y="405"/>
                      </a:lnTo>
                      <a:lnTo>
                        <a:pt x="2474" y="405"/>
                      </a:lnTo>
                      <a:lnTo>
                        <a:pt x="2471" y="405"/>
                      </a:lnTo>
                      <a:lnTo>
                        <a:pt x="2470" y="405"/>
                      </a:lnTo>
                      <a:lnTo>
                        <a:pt x="2467" y="406"/>
                      </a:lnTo>
                      <a:lnTo>
                        <a:pt x="2465" y="407"/>
                      </a:lnTo>
                      <a:lnTo>
                        <a:pt x="2463" y="409"/>
                      </a:lnTo>
                      <a:lnTo>
                        <a:pt x="2461" y="411"/>
                      </a:lnTo>
                      <a:lnTo>
                        <a:pt x="2459" y="414"/>
                      </a:lnTo>
                      <a:lnTo>
                        <a:pt x="2457" y="415"/>
                      </a:lnTo>
                      <a:lnTo>
                        <a:pt x="2455" y="416"/>
                      </a:lnTo>
                      <a:lnTo>
                        <a:pt x="2453" y="417"/>
                      </a:lnTo>
                      <a:lnTo>
                        <a:pt x="2450" y="418"/>
                      </a:lnTo>
                      <a:lnTo>
                        <a:pt x="2448" y="418"/>
                      </a:lnTo>
                      <a:lnTo>
                        <a:pt x="2447" y="417"/>
                      </a:lnTo>
                      <a:lnTo>
                        <a:pt x="2445" y="412"/>
                      </a:lnTo>
                      <a:lnTo>
                        <a:pt x="2447" y="407"/>
                      </a:lnTo>
                      <a:lnTo>
                        <a:pt x="2450" y="403"/>
                      </a:lnTo>
                      <a:lnTo>
                        <a:pt x="2455" y="398"/>
                      </a:lnTo>
                      <a:lnTo>
                        <a:pt x="2457" y="396"/>
                      </a:lnTo>
                      <a:lnTo>
                        <a:pt x="2459" y="393"/>
                      </a:lnTo>
                      <a:lnTo>
                        <a:pt x="2463" y="387"/>
                      </a:lnTo>
                      <a:lnTo>
                        <a:pt x="2464" y="382"/>
                      </a:lnTo>
                      <a:lnTo>
                        <a:pt x="2461" y="376"/>
                      </a:lnTo>
                      <a:lnTo>
                        <a:pt x="2461" y="376"/>
                      </a:lnTo>
                      <a:lnTo>
                        <a:pt x="2460" y="377"/>
                      </a:lnTo>
                      <a:lnTo>
                        <a:pt x="2459" y="377"/>
                      </a:lnTo>
                      <a:lnTo>
                        <a:pt x="2458" y="377"/>
                      </a:lnTo>
                      <a:lnTo>
                        <a:pt x="2457" y="376"/>
                      </a:lnTo>
                      <a:lnTo>
                        <a:pt x="2457" y="369"/>
                      </a:lnTo>
                      <a:lnTo>
                        <a:pt x="2456" y="367"/>
                      </a:lnTo>
                      <a:lnTo>
                        <a:pt x="2455" y="366"/>
                      </a:lnTo>
                      <a:lnTo>
                        <a:pt x="2455" y="364"/>
                      </a:lnTo>
                      <a:lnTo>
                        <a:pt x="2455" y="363"/>
                      </a:lnTo>
                      <a:lnTo>
                        <a:pt x="2455" y="360"/>
                      </a:lnTo>
                      <a:lnTo>
                        <a:pt x="2455" y="356"/>
                      </a:lnTo>
                      <a:lnTo>
                        <a:pt x="2455" y="354"/>
                      </a:lnTo>
                      <a:lnTo>
                        <a:pt x="2454" y="351"/>
                      </a:lnTo>
                      <a:lnTo>
                        <a:pt x="2453" y="347"/>
                      </a:lnTo>
                      <a:lnTo>
                        <a:pt x="2452" y="343"/>
                      </a:lnTo>
                      <a:lnTo>
                        <a:pt x="2452" y="339"/>
                      </a:lnTo>
                      <a:lnTo>
                        <a:pt x="2452" y="334"/>
                      </a:lnTo>
                      <a:lnTo>
                        <a:pt x="2452" y="333"/>
                      </a:lnTo>
                      <a:lnTo>
                        <a:pt x="2453" y="335"/>
                      </a:lnTo>
                      <a:lnTo>
                        <a:pt x="2454" y="336"/>
                      </a:lnTo>
                      <a:lnTo>
                        <a:pt x="2456" y="339"/>
                      </a:lnTo>
                      <a:lnTo>
                        <a:pt x="2457" y="341"/>
                      </a:lnTo>
                      <a:lnTo>
                        <a:pt x="2458" y="343"/>
                      </a:lnTo>
                      <a:lnTo>
                        <a:pt x="2460" y="343"/>
                      </a:lnTo>
                      <a:lnTo>
                        <a:pt x="2461" y="343"/>
                      </a:lnTo>
                      <a:lnTo>
                        <a:pt x="2463" y="340"/>
                      </a:lnTo>
                      <a:lnTo>
                        <a:pt x="2463" y="336"/>
                      </a:lnTo>
                      <a:lnTo>
                        <a:pt x="2463" y="333"/>
                      </a:lnTo>
                      <a:lnTo>
                        <a:pt x="2461" y="330"/>
                      </a:lnTo>
                      <a:lnTo>
                        <a:pt x="2461" y="327"/>
                      </a:lnTo>
                      <a:lnTo>
                        <a:pt x="2463" y="324"/>
                      </a:lnTo>
                      <a:lnTo>
                        <a:pt x="2463" y="323"/>
                      </a:lnTo>
                      <a:lnTo>
                        <a:pt x="2463" y="322"/>
                      </a:lnTo>
                      <a:lnTo>
                        <a:pt x="2463" y="320"/>
                      </a:lnTo>
                      <a:lnTo>
                        <a:pt x="2461" y="318"/>
                      </a:lnTo>
                      <a:lnTo>
                        <a:pt x="2461" y="317"/>
                      </a:lnTo>
                      <a:lnTo>
                        <a:pt x="2461" y="314"/>
                      </a:lnTo>
                      <a:lnTo>
                        <a:pt x="2460" y="312"/>
                      </a:lnTo>
                      <a:lnTo>
                        <a:pt x="2459" y="309"/>
                      </a:lnTo>
                      <a:lnTo>
                        <a:pt x="2459" y="308"/>
                      </a:lnTo>
                      <a:lnTo>
                        <a:pt x="2459" y="306"/>
                      </a:lnTo>
                      <a:lnTo>
                        <a:pt x="2459" y="303"/>
                      </a:lnTo>
                      <a:lnTo>
                        <a:pt x="2459" y="301"/>
                      </a:lnTo>
                      <a:lnTo>
                        <a:pt x="2459" y="299"/>
                      </a:lnTo>
                      <a:lnTo>
                        <a:pt x="2458" y="298"/>
                      </a:lnTo>
                      <a:lnTo>
                        <a:pt x="2457" y="298"/>
                      </a:lnTo>
                      <a:lnTo>
                        <a:pt x="2455" y="298"/>
                      </a:lnTo>
                      <a:lnTo>
                        <a:pt x="2455" y="299"/>
                      </a:lnTo>
                      <a:lnTo>
                        <a:pt x="2454" y="299"/>
                      </a:lnTo>
                      <a:lnTo>
                        <a:pt x="2452" y="300"/>
                      </a:lnTo>
                      <a:lnTo>
                        <a:pt x="2450" y="301"/>
                      </a:lnTo>
                      <a:lnTo>
                        <a:pt x="2449" y="300"/>
                      </a:lnTo>
                      <a:lnTo>
                        <a:pt x="2447" y="298"/>
                      </a:lnTo>
                      <a:lnTo>
                        <a:pt x="2447" y="296"/>
                      </a:lnTo>
                      <a:lnTo>
                        <a:pt x="2447" y="294"/>
                      </a:lnTo>
                      <a:lnTo>
                        <a:pt x="2448" y="291"/>
                      </a:lnTo>
                      <a:lnTo>
                        <a:pt x="2449" y="290"/>
                      </a:lnTo>
                      <a:lnTo>
                        <a:pt x="2449" y="288"/>
                      </a:lnTo>
                      <a:lnTo>
                        <a:pt x="2452" y="285"/>
                      </a:lnTo>
                      <a:lnTo>
                        <a:pt x="2450" y="283"/>
                      </a:lnTo>
                      <a:lnTo>
                        <a:pt x="2450" y="281"/>
                      </a:lnTo>
                      <a:lnTo>
                        <a:pt x="2449" y="279"/>
                      </a:lnTo>
                      <a:lnTo>
                        <a:pt x="2449" y="276"/>
                      </a:lnTo>
                      <a:lnTo>
                        <a:pt x="2448" y="274"/>
                      </a:lnTo>
                      <a:lnTo>
                        <a:pt x="2448" y="272"/>
                      </a:lnTo>
                      <a:lnTo>
                        <a:pt x="2447" y="272"/>
                      </a:lnTo>
                      <a:lnTo>
                        <a:pt x="2446" y="272"/>
                      </a:lnTo>
                      <a:lnTo>
                        <a:pt x="2445" y="270"/>
                      </a:lnTo>
                      <a:lnTo>
                        <a:pt x="2444" y="270"/>
                      </a:lnTo>
                      <a:lnTo>
                        <a:pt x="2444" y="269"/>
                      </a:lnTo>
                      <a:lnTo>
                        <a:pt x="2443" y="267"/>
                      </a:lnTo>
                      <a:lnTo>
                        <a:pt x="2443" y="265"/>
                      </a:lnTo>
                      <a:lnTo>
                        <a:pt x="2443" y="262"/>
                      </a:lnTo>
                      <a:lnTo>
                        <a:pt x="2444" y="259"/>
                      </a:lnTo>
                      <a:lnTo>
                        <a:pt x="2445" y="257"/>
                      </a:lnTo>
                      <a:lnTo>
                        <a:pt x="2445" y="256"/>
                      </a:lnTo>
                      <a:lnTo>
                        <a:pt x="2443" y="254"/>
                      </a:lnTo>
                      <a:lnTo>
                        <a:pt x="2442" y="254"/>
                      </a:lnTo>
                      <a:lnTo>
                        <a:pt x="2441" y="254"/>
                      </a:lnTo>
                      <a:lnTo>
                        <a:pt x="2439" y="252"/>
                      </a:lnTo>
                      <a:lnTo>
                        <a:pt x="2438" y="249"/>
                      </a:lnTo>
                      <a:lnTo>
                        <a:pt x="2438" y="246"/>
                      </a:lnTo>
                      <a:lnTo>
                        <a:pt x="2438" y="244"/>
                      </a:lnTo>
                      <a:lnTo>
                        <a:pt x="2439" y="242"/>
                      </a:lnTo>
                      <a:lnTo>
                        <a:pt x="2441" y="240"/>
                      </a:lnTo>
                      <a:lnTo>
                        <a:pt x="2441" y="237"/>
                      </a:lnTo>
                      <a:lnTo>
                        <a:pt x="2441" y="236"/>
                      </a:lnTo>
                      <a:lnTo>
                        <a:pt x="2439" y="235"/>
                      </a:lnTo>
                      <a:lnTo>
                        <a:pt x="2438" y="233"/>
                      </a:lnTo>
                      <a:lnTo>
                        <a:pt x="2438" y="232"/>
                      </a:lnTo>
                      <a:lnTo>
                        <a:pt x="2439" y="229"/>
                      </a:lnTo>
                      <a:lnTo>
                        <a:pt x="2439" y="226"/>
                      </a:lnTo>
                      <a:lnTo>
                        <a:pt x="2441" y="224"/>
                      </a:lnTo>
                      <a:lnTo>
                        <a:pt x="2441" y="222"/>
                      </a:lnTo>
                      <a:lnTo>
                        <a:pt x="2441" y="219"/>
                      </a:lnTo>
                      <a:lnTo>
                        <a:pt x="2442" y="215"/>
                      </a:lnTo>
                      <a:lnTo>
                        <a:pt x="2443" y="211"/>
                      </a:lnTo>
                      <a:lnTo>
                        <a:pt x="2443" y="207"/>
                      </a:lnTo>
                      <a:lnTo>
                        <a:pt x="2443" y="201"/>
                      </a:lnTo>
                      <a:lnTo>
                        <a:pt x="2445" y="194"/>
                      </a:lnTo>
                      <a:lnTo>
                        <a:pt x="2447" y="189"/>
                      </a:lnTo>
                      <a:lnTo>
                        <a:pt x="2448" y="191"/>
                      </a:lnTo>
                      <a:lnTo>
                        <a:pt x="2450" y="193"/>
                      </a:lnTo>
                      <a:lnTo>
                        <a:pt x="2452" y="193"/>
                      </a:lnTo>
                      <a:lnTo>
                        <a:pt x="2453" y="192"/>
                      </a:lnTo>
                      <a:lnTo>
                        <a:pt x="2455" y="191"/>
                      </a:lnTo>
                      <a:lnTo>
                        <a:pt x="2456" y="190"/>
                      </a:lnTo>
                      <a:lnTo>
                        <a:pt x="2457" y="189"/>
                      </a:lnTo>
                      <a:lnTo>
                        <a:pt x="2458" y="188"/>
                      </a:lnTo>
                      <a:lnTo>
                        <a:pt x="2459" y="188"/>
                      </a:lnTo>
                      <a:close/>
                      <a:moveTo>
                        <a:pt x="1310" y="180"/>
                      </a:moveTo>
                      <a:lnTo>
                        <a:pt x="1312" y="181"/>
                      </a:lnTo>
                      <a:lnTo>
                        <a:pt x="1313" y="182"/>
                      </a:lnTo>
                      <a:lnTo>
                        <a:pt x="1313" y="185"/>
                      </a:lnTo>
                      <a:lnTo>
                        <a:pt x="1314" y="187"/>
                      </a:lnTo>
                      <a:lnTo>
                        <a:pt x="1313" y="188"/>
                      </a:lnTo>
                      <a:lnTo>
                        <a:pt x="1312" y="188"/>
                      </a:lnTo>
                      <a:lnTo>
                        <a:pt x="1310" y="188"/>
                      </a:lnTo>
                      <a:lnTo>
                        <a:pt x="1308" y="187"/>
                      </a:lnTo>
                      <a:lnTo>
                        <a:pt x="1307" y="185"/>
                      </a:lnTo>
                      <a:lnTo>
                        <a:pt x="1307" y="182"/>
                      </a:lnTo>
                      <a:lnTo>
                        <a:pt x="1308" y="181"/>
                      </a:lnTo>
                      <a:lnTo>
                        <a:pt x="1310" y="180"/>
                      </a:lnTo>
                      <a:close/>
                      <a:moveTo>
                        <a:pt x="2459" y="171"/>
                      </a:moveTo>
                      <a:lnTo>
                        <a:pt x="2460" y="171"/>
                      </a:lnTo>
                      <a:lnTo>
                        <a:pt x="2461" y="171"/>
                      </a:lnTo>
                      <a:lnTo>
                        <a:pt x="2461" y="172"/>
                      </a:lnTo>
                      <a:lnTo>
                        <a:pt x="2463" y="175"/>
                      </a:lnTo>
                      <a:lnTo>
                        <a:pt x="2464" y="177"/>
                      </a:lnTo>
                      <a:lnTo>
                        <a:pt x="2464" y="179"/>
                      </a:lnTo>
                      <a:lnTo>
                        <a:pt x="2463" y="181"/>
                      </a:lnTo>
                      <a:lnTo>
                        <a:pt x="2461" y="182"/>
                      </a:lnTo>
                      <a:lnTo>
                        <a:pt x="2461" y="185"/>
                      </a:lnTo>
                      <a:lnTo>
                        <a:pt x="2460" y="185"/>
                      </a:lnTo>
                      <a:lnTo>
                        <a:pt x="2460" y="183"/>
                      </a:lnTo>
                      <a:lnTo>
                        <a:pt x="2458" y="182"/>
                      </a:lnTo>
                      <a:lnTo>
                        <a:pt x="2458" y="180"/>
                      </a:lnTo>
                      <a:lnTo>
                        <a:pt x="2457" y="178"/>
                      </a:lnTo>
                      <a:lnTo>
                        <a:pt x="2457" y="175"/>
                      </a:lnTo>
                      <a:lnTo>
                        <a:pt x="2457" y="172"/>
                      </a:lnTo>
                      <a:lnTo>
                        <a:pt x="2458" y="171"/>
                      </a:lnTo>
                      <a:lnTo>
                        <a:pt x="2459" y="171"/>
                      </a:lnTo>
                      <a:close/>
                      <a:moveTo>
                        <a:pt x="39" y="155"/>
                      </a:moveTo>
                      <a:lnTo>
                        <a:pt x="42" y="155"/>
                      </a:lnTo>
                      <a:lnTo>
                        <a:pt x="43" y="156"/>
                      </a:lnTo>
                      <a:lnTo>
                        <a:pt x="44" y="158"/>
                      </a:lnTo>
                      <a:lnTo>
                        <a:pt x="43" y="161"/>
                      </a:lnTo>
                      <a:lnTo>
                        <a:pt x="42" y="164"/>
                      </a:lnTo>
                      <a:lnTo>
                        <a:pt x="41" y="167"/>
                      </a:lnTo>
                      <a:lnTo>
                        <a:pt x="39" y="169"/>
                      </a:lnTo>
                      <a:lnTo>
                        <a:pt x="38" y="171"/>
                      </a:lnTo>
                      <a:lnTo>
                        <a:pt x="37" y="174"/>
                      </a:lnTo>
                      <a:lnTo>
                        <a:pt x="36" y="174"/>
                      </a:lnTo>
                      <a:lnTo>
                        <a:pt x="36" y="174"/>
                      </a:lnTo>
                      <a:lnTo>
                        <a:pt x="35" y="172"/>
                      </a:lnTo>
                      <a:lnTo>
                        <a:pt x="34" y="170"/>
                      </a:lnTo>
                      <a:lnTo>
                        <a:pt x="34" y="168"/>
                      </a:lnTo>
                      <a:lnTo>
                        <a:pt x="33" y="167"/>
                      </a:lnTo>
                      <a:lnTo>
                        <a:pt x="32" y="166"/>
                      </a:lnTo>
                      <a:lnTo>
                        <a:pt x="31" y="165"/>
                      </a:lnTo>
                      <a:lnTo>
                        <a:pt x="31" y="161"/>
                      </a:lnTo>
                      <a:lnTo>
                        <a:pt x="31" y="159"/>
                      </a:lnTo>
                      <a:lnTo>
                        <a:pt x="32" y="157"/>
                      </a:lnTo>
                      <a:lnTo>
                        <a:pt x="34" y="156"/>
                      </a:lnTo>
                      <a:lnTo>
                        <a:pt x="37" y="155"/>
                      </a:lnTo>
                      <a:lnTo>
                        <a:pt x="39" y="155"/>
                      </a:lnTo>
                      <a:close/>
                      <a:moveTo>
                        <a:pt x="2476" y="134"/>
                      </a:moveTo>
                      <a:lnTo>
                        <a:pt x="2477" y="134"/>
                      </a:lnTo>
                      <a:lnTo>
                        <a:pt x="2479" y="134"/>
                      </a:lnTo>
                      <a:lnTo>
                        <a:pt x="2481" y="134"/>
                      </a:lnTo>
                      <a:lnTo>
                        <a:pt x="2482" y="135"/>
                      </a:lnTo>
                      <a:lnTo>
                        <a:pt x="2482" y="137"/>
                      </a:lnTo>
                      <a:lnTo>
                        <a:pt x="2482" y="139"/>
                      </a:lnTo>
                      <a:lnTo>
                        <a:pt x="2481" y="143"/>
                      </a:lnTo>
                      <a:lnTo>
                        <a:pt x="2480" y="146"/>
                      </a:lnTo>
                      <a:lnTo>
                        <a:pt x="2479" y="148"/>
                      </a:lnTo>
                      <a:lnTo>
                        <a:pt x="2478" y="150"/>
                      </a:lnTo>
                      <a:lnTo>
                        <a:pt x="2477" y="150"/>
                      </a:lnTo>
                      <a:lnTo>
                        <a:pt x="2477" y="148"/>
                      </a:lnTo>
                      <a:lnTo>
                        <a:pt x="2476" y="146"/>
                      </a:lnTo>
                      <a:lnTo>
                        <a:pt x="2475" y="143"/>
                      </a:lnTo>
                      <a:lnTo>
                        <a:pt x="2475" y="139"/>
                      </a:lnTo>
                      <a:lnTo>
                        <a:pt x="2475" y="136"/>
                      </a:lnTo>
                      <a:lnTo>
                        <a:pt x="2475" y="134"/>
                      </a:lnTo>
                      <a:lnTo>
                        <a:pt x="2476" y="134"/>
                      </a:lnTo>
                      <a:close/>
                      <a:moveTo>
                        <a:pt x="2704" y="125"/>
                      </a:moveTo>
                      <a:lnTo>
                        <a:pt x="2701" y="126"/>
                      </a:lnTo>
                      <a:lnTo>
                        <a:pt x="2701" y="129"/>
                      </a:lnTo>
                      <a:lnTo>
                        <a:pt x="2703" y="135"/>
                      </a:lnTo>
                      <a:lnTo>
                        <a:pt x="2704" y="141"/>
                      </a:lnTo>
                      <a:lnTo>
                        <a:pt x="2704" y="145"/>
                      </a:lnTo>
                      <a:lnTo>
                        <a:pt x="2706" y="149"/>
                      </a:lnTo>
                      <a:lnTo>
                        <a:pt x="2708" y="154"/>
                      </a:lnTo>
                      <a:lnTo>
                        <a:pt x="2708" y="158"/>
                      </a:lnTo>
                      <a:lnTo>
                        <a:pt x="2709" y="161"/>
                      </a:lnTo>
                      <a:lnTo>
                        <a:pt x="2709" y="165"/>
                      </a:lnTo>
                      <a:lnTo>
                        <a:pt x="2709" y="168"/>
                      </a:lnTo>
                      <a:lnTo>
                        <a:pt x="2710" y="171"/>
                      </a:lnTo>
                      <a:lnTo>
                        <a:pt x="2711" y="172"/>
                      </a:lnTo>
                      <a:lnTo>
                        <a:pt x="2714" y="174"/>
                      </a:lnTo>
                      <a:lnTo>
                        <a:pt x="2715" y="172"/>
                      </a:lnTo>
                      <a:lnTo>
                        <a:pt x="2716" y="171"/>
                      </a:lnTo>
                      <a:lnTo>
                        <a:pt x="2717" y="170"/>
                      </a:lnTo>
                      <a:lnTo>
                        <a:pt x="2717" y="169"/>
                      </a:lnTo>
                      <a:lnTo>
                        <a:pt x="2717" y="167"/>
                      </a:lnTo>
                      <a:lnTo>
                        <a:pt x="2717" y="165"/>
                      </a:lnTo>
                      <a:lnTo>
                        <a:pt x="2718" y="163"/>
                      </a:lnTo>
                      <a:lnTo>
                        <a:pt x="2719" y="160"/>
                      </a:lnTo>
                      <a:lnTo>
                        <a:pt x="2719" y="154"/>
                      </a:lnTo>
                      <a:lnTo>
                        <a:pt x="2720" y="152"/>
                      </a:lnTo>
                      <a:lnTo>
                        <a:pt x="2720" y="149"/>
                      </a:lnTo>
                      <a:lnTo>
                        <a:pt x="2720" y="147"/>
                      </a:lnTo>
                      <a:lnTo>
                        <a:pt x="2719" y="145"/>
                      </a:lnTo>
                      <a:lnTo>
                        <a:pt x="2719" y="143"/>
                      </a:lnTo>
                      <a:lnTo>
                        <a:pt x="2718" y="142"/>
                      </a:lnTo>
                      <a:lnTo>
                        <a:pt x="2716" y="141"/>
                      </a:lnTo>
                      <a:lnTo>
                        <a:pt x="2715" y="138"/>
                      </a:lnTo>
                      <a:lnTo>
                        <a:pt x="2712" y="136"/>
                      </a:lnTo>
                      <a:lnTo>
                        <a:pt x="2712" y="134"/>
                      </a:lnTo>
                      <a:lnTo>
                        <a:pt x="2712" y="132"/>
                      </a:lnTo>
                      <a:lnTo>
                        <a:pt x="2711" y="129"/>
                      </a:lnTo>
                      <a:lnTo>
                        <a:pt x="2710" y="127"/>
                      </a:lnTo>
                      <a:lnTo>
                        <a:pt x="2708" y="127"/>
                      </a:lnTo>
                      <a:lnTo>
                        <a:pt x="2706" y="126"/>
                      </a:lnTo>
                      <a:lnTo>
                        <a:pt x="2704" y="125"/>
                      </a:lnTo>
                      <a:close/>
                      <a:moveTo>
                        <a:pt x="731" y="113"/>
                      </a:moveTo>
                      <a:lnTo>
                        <a:pt x="729" y="113"/>
                      </a:lnTo>
                      <a:lnTo>
                        <a:pt x="728" y="115"/>
                      </a:lnTo>
                      <a:lnTo>
                        <a:pt x="725" y="118"/>
                      </a:lnTo>
                      <a:lnTo>
                        <a:pt x="719" y="127"/>
                      </a:lnTo>
                      <a:lnTo>
                        <a:pt x="712" y="134"/>
                      </a:lnTo>
                      <a:lnTo>
                        <a:pt x="707" y="141"/>
                      </a:lnTo>
                      <a:lnTo>
                        <a:pt x="703" y="149"/>
                      </a:lnTo>
                      <a:lnTo>
                        <a:pt x="703" y="153"/>
                      </a:lnTo>
                      <a:lnTo>
                        <a:pt x="703" y="154"/>
                      </a:lnTo>
                      <a:lnTo>
                        <a:pt x="703" y="155"/>
                      </a:lnTo>
                      <a:lnTo>
                        <a:pt x="704" y="155"/>
                      </a:lnTo>
                      <a:lnTo>
                        <a:pt x="706" y="154"/>
                      </a:lnTo>
                      <a:lnTo>
                        <a:pt x="707" y="153"/>
                      </a:lnTo>
                      <a:lnTo>
                        <a:pt x="708" y="152"/>
                      </a:lnTo>
                      <a:lnTo>
                        <a:pt x="709" y="149"/>
                      </a:lnTo>
                      <a:lnTo>
                        <a:pt x="710" y="148"/>
                      </a:lnTo>
                      <a:lnTo>
                        <a:pt x="711" y="146"/>
                      </a:lnTo>
                      <a:lnTo>
                        <a:pt x="712" y="145"/>
                      </a:lnTo>
                      <a:lnTo>
                        <a:pt x="717" y="142"/>
                      </a:lnTo>
                      <a:lnTo>
                        <a:pt x="722" y="139"/>
                      </a:lnTo>
                      <a:lnTo>
                        <a:pt x="728" y="139"/>
                      </a:lnTo>
                      <a:lnTo>
                        <a:pt x="733" y="137"/>
                      </a:lnTo>
                      <a:lnTo>
                        <a:pt x="736" y="134"/>
                      </a:lnTo>
                      <a:lnTo>
                        <a:pt x="737" y="131"/>
                      </a:lnTo>
                      <a:lnTo>
                        <a:pt x="739" y="127"/>
                      </a:lnTo>
                      <a:lnTo>
                        <a:pt x="739" y="124"/>
                      </a:lnTo>
                      <a:lnTo>
                        <a:pt x="737" y="121"/>
                      </a:lnTo>
                      <a:lnTo>
                        <a:pt x="736" y="117"/>
                      </a:lnTo>
                      <a:lnTo>
                        <a:pt x="735" y="115"/>
                      </a:lnTo>
                      <a:lnTo>
                        <a:pt x="733" y="113"/>
                      </a:lnTo>
                      <a:lnTo>
                        <a:pt x="731" y="113"/>
                      </a:lnTo>
                      <a:close/>
                      <a:moveTo>
                        <a:pt x="2728" y="103"/>
                      </a:moveTo>
                      <a:lnTo>
                        <a:pt x="2727" y="104"/>
                      </a:lnTo>
                      <a:lnTo>
                        <a:pt x="2726" y="105"/>
                      </a:lnTo>
                      <a:lnTo>
                        <a:pt x="2726" y="118"/>
                      </a:lnTo>
                      <a:lnTo>
                        <a:pt x="2726" y="121"/>
                      </a:lnTo>
                      <a:lnTo>
                        <a:pt x="2726" y="123"/>
                      </a:lnTo>
                      <a:lnTo>
                        <a:pt x="2727" y="125"/>
                      </a:lnTo>
                      <a:lnTo>
                        <a:pt x="2728" y="127"/>
                      </a:lnTo>
                      <a:lnTo>
                        <a:pt x="2728" y="131"/>
                      </a:lnTo>
                      <a:lnTo>
                        <a:pt x="2729" y="133"/>
                      </a:lnTo>
                      <a:lnTo>
                        <a:pt x="2731" y="135"/>
                      </a:lnTo>
                      <a:lnTo>
                        <a:pt x="2732" y="138"/>
                      </a:lnTo>
                      <a:lnTo>
                        <a:pt x="2733" y="142"/>
                      </a:lnTo>
                      <a:lnTo>
                        <a:pt x="2734" y="144"/>
                      </a:lnTo>
                      <a:lnTo>
                        <a:pt x="2736" y="146"/>
                      </a:lnTo>
                      <a:lnTo>
                        <a:pt x="2737" y="149"/>
                      </a:lnTo>
                      <a:lnTo>
                        <a:pt x="2737" y="149"/>
                      </a:lnTo>
                      <a:lnTo>
                        <a:pt x="2737" y="148"/>
                      </a:lnTo>
                      <a:lnTo>
                        <a:pt x="2738" y="147"/>
                      </a:lnTo>
                      <a:lnTo>
                        <a:pt x="2739" y="147"/>
                      </a:lnTo>
                      <a:lnTo>
                        <a:pt x="2739" y="143"/>
                      </a:lnTo>
                      <a:lnTo>
                        <a:pt x="2738" y="138"/>
                      </a:lnTo>
                      <a:lnTo>
                        <a:pt x="2737" y="134"/>
                      </a:lnTo>
                      <a:lnTo>
                        <a:pt x="2736" y="129"/>
                      </a:lnTo>
                      <a:lnTo>
                        <a:pt x="2734" y="125"/>
                      </a:lnTo>
                      <a:lnTo>
                        <a:pt x="2734" y="121"/>
                      </a:lnTo>
                      <a:lnTo>
                        <a:pt x="2734" y="120"/>
                      </a:lnTo>
                      <a:lnTo>
                        <a:pt x="2733" y="116"/>
                      </a:lnTo>
                      <a:lnTo>
                        <a:pt x="2732" y="114"/>
                      </a:lnTo>
                      <a:lnTo>
                        <a:pt x="2731" y="111"/>
                      </a:lnTo>
                      <a:lnTo>
                        <a:pt x="2730" y="109"/>
                      </a:lnTo>
                      <a:lnTo>
                        <a:pt x="2729" y="106"/>
                      </a:lnTo>
                      <a:lnTo>
                        <a:pt x="2728" y="104"/>
                      </a:lnTo>
                      <a:lnTo>
                        <a:pt x="2728" y="103"/>
                      </a:lnTo>
                      <a:close/>
                      <a:moveTo>
                        <a:pt x="1306" y="87"/>
                      </a:moveTo>
                      <a:lnTo>
                        <a:pt x="1308" y="89"/>
                      </a:lnTo>
                      <a:lnTo>
                        <a:pt x="1309" y="91"/>
                      </a:lnTo>
                      <a:lnTo>
                        <a:pt x="1309" y="93"/>
                      </a:lnTo>
                      <a:lnTo>
                        <a:pt x="1308" y="95"/>
                      </a:lnTo>
                      <a:lnTo>
                        <a:pt x="1307" y="98"/>
                      </a:lnTo>
                      <a:lnTo>
                        <a:pt x="1304" y="99"/>
                      </a:lnTo>
                      <a:lnTo>
                        <a:pt x="1302" y="101"/>
                      </a:lnTo>
                      <a:lnTo>
                        <a:pt x="1300" y="102"/>
                      </a:lnTo>
                      <a:lnTo>
                        <a:pt x="1299" y="103"/>
                      </a:lnTo>
                      <a:lnTo>
                        <a:pt x="1292" y="112"/>
                      </a:lnTo>
                      <a:lnTo>
                        <a:pt x="1287" y="122"/>
                      </a:lnTo>
                      <a:lnTo>
                        <a:pt x="1285" y="131"/>
                      </a:lnTo>
                      <a:lnTo>
                        <a:pt x="1282" y="131"/>
                      </a:lnTo>
                      <a:lnTo>
                        <a:pt x="1282" y="126"/>
                      </a:lnTo>
                      <a:lnTo>
                        <a:pt x="1283" y="120"/>
                      </a:lnTo>
                      <a:lnTo>
                        <a:pt x="1285" y="114"/>
                      </a:lnTo>
                      <a:lnTo>
                        <a:pt x="1287" y="109"/>
                      </a:lnTo>
                      <a:lnTo>
                        <a:pt x="1287" y="105"/>
                      </a:lnTo>
                      <a:lnTo>
                        <a:pt x="1289" y="104"/>
                      </a:lnTo>
                      <a:lnTo>
                        <a:pt x="1290" y="102"/>
                      </a:lnTo>
                      <a:lnTo>
                        <a:pt x="1293" y="101"/>
                      </a:lnTo>
                      <a:lnTo>
                        <a:pt x="1296" y="101"/>
                      </a:lnTo>
                      <a:lnTo>
                        <a:pt x="1297" y="100"/>
                      </a:lnTo>
                      <a:lnTo>
                        <a:pt x="1299" y="99"/>
                      </a:lnTo>
                      <a:lnTo>
                        <a:pt x="1300" y="96"/>
                      </a:lnTo>
                      <a:lnTo>
                        <a:pt x="1300" y="94"/>
                      </a:lnTo>
                      <a:lnTo>
                        <a:pt x="1300" y="92"/>
                      </a:lnTo>
                      <a:lnTo>
                        <a:pt x="1300" y="91"/>
                      </a:lnTo>
                      <a:lnTo>
                        <a:pt x="1299" y="90"/>
                      </a:lnTo>
                      <a:lnTo>
                        <a:pt x="1300" y="89"/>
                      </a:lnTo>
                      <a:lnTo>
                        <a:pt x="1301" y="88"/>
                      </a:lnTo>
                      <a:lnTo>
                        <a:pt x="1302" y="88"/>
                      </a:lnTo>
                      <a:lnTo>
                        <a:pt x="1306" y="87"/>
                      </a:lnTo>
                      <a:close/>
                      <a:moveTo>
                        <a:pt x="1540" y="69"/>
                      </a:moveTo>
                      <a:lnTo>
                        <a:pt x="1540" y="69"/>
                      </a:lnTo>
                      <a:lnTo>
                        <a:pt x="1541" y="69"/>
                      </a:lnTo>
                      <a:lnTo>
                        <a:pt x="1541" y="69"/>
                      </a:lnTo>
                      <a:lnTo>
                        <a:pt x="1542" y="69"/>
                      </a:lnTo>
                      <a:lnTo>
                        <a:pt x="1544" y="69"/>
                      </a:lnTo>
                      <a:lnTo>
                        <a:pt x="1547" y="70"/>
                      </a:lnTo>
                      <a:lnTo>
                        <a:pt x="1551" y="70"/>
                      </a:lnTo>
                      <a:lnTo>
                        <a:pt x="1555" y="71"/>
                      </a:lnTo>
                      <a:lnTo>
                        <a:pt x="1555" y="72"/>
                      </a:lnTo>
                      <a:lnTo>
                        <a:pt x="1554" y="74"/>
                      </a:lnTo>
                      <a:lnTo>
                        <a:pt x="1552" y="76"/>
                      </a:lnTo>
                      <a:lnTo>
                        <a:pt x="1550" y="78"/>
                      </a:lnTo>
                      <a:lnTo>
                        <a:pt x="1547" y="78"/>
                      </a:lnTo>
                      <a:lnTo>
                        <a:pt x="1543" y="77"/>
                      </a:lnTo>
                      <a:lnTo>
                        <a:pt x="1541" y="77"/>
                      </a:lnTo>
                      <a:lnTo>
                        <a:pt x="1539" y="76"/>
                      </a:lnTo>
                      <a:lnTo>
                        <a:pt x="1538" y="74"/>
                      </a:lnTo>
                      <a:lnTo>
                        <a:pt x="1538" y="72"/>
                      </a:lnTo>
                      <a:lnTo>
                        <a:pt x="1538" y="72"/>
                      </a:lnTo>
                      <a:lnTo>
                        <a:pt x="1538" y="71"/>
                      </a:lnTo>
                      <a:lnTo>
                        <a:pt x="1538" y="70"/>
                      </a:lnTo>
                      <a:lnTo>
                        <a:pt x="1539" y="69"/>
                      </a:lnTo>
                      <a:lnTo>
                        <a:pt x="1540" y="69"/>
                      </a:lnTo>
                      <a:close/>
                      <a:moveTo>
                        <a:pt x="4" y="51"/>
                      </a:moveTo>
                      <a:lnTo>
                        <a:pt x="5" y="52"/>
                      </a:lnTo>
                      <a:lnTo>
                        <a:pt x="5" y="52"/>
                      </a:lnTo>
                      <a:lnTo>
                        <a:pt x="6" y="54"/>
                      </a:lnTo>
                      <a:lnTo>
                        <a:pt x="8" y="55"/>
                      </a:lnTo>
                      <a:lnTo>
                        <a:pt x="8" y="55"/>
                      </a:lnTo>
                      <a:lnTo>
                        <a:pt x="10" y="56"/>
                      </a:lnTo>
                      <a:lnTo>
                        <a:pt x="12" y="57"/>
                      </a:lnTo>
                      <a:lnTo>
                        <a:pt x="13" y="58"/>
                      </a:lnTo>
                      <a:lnTo>
                        <a:pt x="14" y="59"/>
                      </a:lnTo>
                      <a:lnTo>
                        <a:pt x="15" y="61"/>
                      </a:lnTo>
                      <a:lnTo>
                        <a:pt x="17" y="62"/>
                      </a:lnTo>
                      <a:lnTo>
                        <a:pt x="17" y="65"/>
                      </a:lnTo>
                      <a:lnTo>
                        <a:pt x="19" y="65"/>
                      </a:lnTo>
                      <a:lnTo>
                        <a:pt x="20" y="66"/>
                      </a:lnTo>
                      <a:lnTo>
                        <a:pt x="22" y="66"/>
                      </a:lnTo>
                      <a:lnTo>
                        <a:pt x="23" y="67"/>
                      </a:lnTo>
                      <a:lnTo>
                        <a:pt x="23" y="68"/>
                      </a:lnTo>
                      <a:lnTo>
                        <a:pt x="22" y="69"/>
                      </a:lnTo>
                      <a:lnTo>
                        <a:pt x="21" y="70"/>
                      </a:lnTo>
                      <a:lnTo>
                        <a:pt x="19" y="71"/>
                      </a:lnTo>
                      <a:lnTo>
                        <a:pt x="17" y="72"/>
                      </a:lnTo>
                      <a:lnTo>
                        <a:pt x="16" y="74"/>
                      </a:lnTo>
                      <a:lnTo>
                        <a:pt x="16" y="77"/>
                      </a:lnTo>
                      <a:lnTo>
                        <a:pt x="15" y="78"/>
                      </a:lnTo>
                      <a:lnTo>
                        <a:pt x="15" y="78"/>
                      </a:lnTo>
                      <a:lnTo>
                        <a:pt x="14" y="76"/>
                      </a:lnTo>
                      <a:lnTo>
                        <a:pt x="13" y="72"/>
                      </a:lnTo>
                      <a:lnTo>
                        <a:pt x="13" y="70"/>
                      </a:lnTo>
                      <a:lnTo>
                        <a:pt x="11" y="68"/>
                      </a:lnTo>
                      <a:lnTo>
                        <a:pt x="10" y="67"/>
                      </a:lnTo>
                      <a:lnTo>
                        <a:pt x="8" y="67"/>
                      </a:lnTo>
                      <a:lnTo>
                        <a:pt x="6" y="67"/>
                      </a:lnTo>
                      <a:lnTo>
                        <a:pt x="5" y="68"/>
                      </a:lnTo>
                      <a:lnTo>
                        <a:pt x="3" y="70"/>
                      </a:lnTo>
                      <a:lnTo>
                        <a:pt x="1" y="69"/>
                      </a:lnTo>
                      <a:lnTo>
                        <a:pt x="0" y="65"/>
                      </a:lnTo>
                      <a:lnTo>
                        <a:pt x="1" y="58"/>
                      </a:lnTo>
                      <a:lnTo>
                        <a:pt x="3" y="52"/>
                      </a:lnTo>
                      <a:lnTo>
                        <a:pt x="4" y="51"/>
                      </a:lnTo>
                      <a:close/>
                      <a:moveTo>
                        <a:pt x="1602" y="15"/>
                      </a:moveTo>
                      <a:lnTo>
                        <a:pt x="1604" y="15"/>
                      </a:lnTo>
                      <a:lnTo>
                        <a:pt x="1605" y="16"/>
                      </a:lnTo>
                      <a:lnTo>
                        <a:pt x="1607" y="17"/>
                      </a:lnTo>
                      <a:lnTo>
                        <a:pt x="1607" y="19"/>
                      </a:lnTo>
                      <a:lnTo>
                        <a:pt x="1607" y="22"/>
                      </a:lnTo>
                      <a:lnTo>
                        <a:pt x="1606" y="24"/>
                      </a:lnTo>
                      <a:lnTo>
                        <a:pt x="1604" y="25"/>
                      </a:lnTo>
                      <a:lnTo>
                        <a:pt x="1603" y="26"/>
                      </a:lnTo>
                      <a:lnTo>
                        <a:pt x="1601" y="26"/>
                      </a:lnTo>
                      <a:lnTo>
                        <a:pt x="1598" y="26"/>
                      </a:lnTo>
                      <a:lnTo>
                        <a:pt x="1597" y="24"/>
                      </a:lnTo>
                      <a:lnTo>
                        <a:pt x="1596" y="21"/>
                      </a:lnTo>
                      <a:lnTo>
                        <a:pt x="1596" y="18"/>
                      </a:lnTo>
                      <a:lnTo>
                        <a:pt x="1597" y="16"/>
                      </a:lnTo>
                      <a:lnTo>
                        <a:pt x="1599" y="15"/>
                      </a:lnTo>
                      <a:lnTo>
                        <a:pt x="1602" y="15"/>
                      </a:lnTo>
                      <a:close/>
                      <a:moveTo>
                        <a:pt x="90" y="4"/>
                      </a:moveTo>
                      <a:lnTo>
                        <a:pt x="90" y="7"/>
                      </a:lnTo>
                      <a:lnTo>
                        <a:pt x="89" y="8"/>
                      </a:lnTo>
                      <a:lnTo>
                        <a:pt x="88" y="11"/>
                      </a:lnTo>
                      <a:lnTo>
                        <a:pt x="86" y="14"/>
                      </a:lnTo>
                      <a:lnTo>
                        <a:pt x="82" y="16"/>
                      </a:lnTo>
                      <a:lnTo>
                        <a:pt x="80" y="17"/>
                      </a:lnTo>
                      <a:lnTo>
                        <a:pt x="78" y="18"/>
                      </a:lnTo>
                      <a:lnTo>
                        <a:pt x="76" y="21"/>
                      </a:lnTo>
                      <a:lnTo>
                        <a:pt x="74" y="24"/>
                      </a:lnTo>
                      <a:lnTo>
                        <a:pt x="69" y="27"/>
                      </a:lnTo>
                      <a:lnTo>
                        <a:pt x="64" y="27"/>
                      </a:lnTo>
                      <a:lnTo>
                        <a:pt x="59" y="25"/>
                      </a:lnTo>
                      <a:lnTo>
                        <a:pt x="56" y="24"/>
                      </a:lnTo>
                      <a:lnTo>
                        <a:pt x="54" y="25"/>
                      </a:lnTo>
                      <a:lnTo>
                        <a:pt x="50" y="24"/>
                      </a:lnTo>
                      <a:lnTo>
                        <a:pt x="48" y="21"/>
                      </a:lnTo>
                      <a:lnTo>
                        <a:pt x="46" y="17"/>
                      </a:lnTo>
                      <a:lnTo>
                        <a:pt x="45" y="12"/>
                      </a:lnTo>
                      <a:lnTo>
                        <a:pt x="47" y="8"/>
                      </a:lnTo>
                      <a:lnTo>
                        <a:pt x="68" y="5"/>
                      </a:lnTo>
                      <a:lnTo>
                        <a:pt x="90" y="4"/>
                      </a:lnTo>
                      <a:close/>
                      <a:moveTo>
                        <a:pt x="92" y="0"/>
                      </a:moveTo>
                      <a:lnTo>
                        <a:pt x="95" y="0"/>
                      </a:lnTo>
                      <a:lnTo>
                        <a:pt x="95" y="1"/>
                      </a:lnTo>
                      <a:lnTo>
                        <a:pt x="95" y="2"/>
                      </a:lnTo>
                      <a:lnTo>
                        <a:pt x="110" y="2"/>
                      </a:lnTo>
                      <a:lnTo>
                        <a:pt x="155" y="7"/>
                      </a:lnTo>
                      <a:lnTo>
                        <a:pt x="200" y="18"/>
                      </a:lnTo>
                      <a:lnTo>
                        <a:pt x="248" y="36"/>
                      </a:lnTo>
                      <a:lnTo>
                        <a:pt x="296" y="57"/>
                      </a:lnTo>
                      <a:lnTo>
                        <a:pt x="347" y="83"/>
                      </a:lnTo>
                      <a:lnTo>
                        <a:pt x="399" y="114"/>
                      </a:lnTo>
                      <a:lnTo>
                        <a:pt x="456" y="149"/>
                      </a:lnTo>
                      <a:lnTo>
                        <a:pt x="515" y="188"/>
                      </a:lnTo>
                      <a:lnTo>
                        <a:pt x="579" y="230"/>
                      </a:lnTo>
                      <a:lnTo>
                        <a:pt x="646" y="274"/>
                      </a:lnTo>
                      <a:lnTo>
                        <a:pt x="717" y="320"/>
                      </a:lnTo>
                      <a:lnTo>
                        <a:pt x="789" y="366"/>
                      </a:lnTo>
                      <a:lnTo>
                        <a:pt x="866" y="412"/>
                      </a:lnTo>
                      <a:lnTo>
                        <a:pt x="947" y="458"/>
                      </a:lnTo>
                      <a:lnTo>
                        <a:pt x="1020" y="496"/>
                      </a:lnTo>
                      <a:lnTo>
                        <a:pt x="1093" y="531"/>
                      </a:lnTo>
                      <a:lnTo>
                        <a:pt x="1091" y="531"/>
                      </a:lnTo>
                      <a:lnTo>
                        <a:pt x="1088" y="532"/>
                      </a:lnTo>
                      <a:lnTo>
                        <a:pt x="1084" y="534"/>
                      </a:lnTo>
                      <a:lnTo>
                        <a:pt x="1082" y="536"/>
                      </a:lnTo>
                      <a:lnTo>
                        <a:pt x="1079" y="538"/>
                      </a:lnTo>
                      <a:lnTo>
                        <a:pt x="1077" y="540"/>
                      </a:lnTo>
                      <a:lnTo>
                        <a:pt x="1073" y="542"/>
                      </a:lnTo>
                      <a:lnTo>
                        <a:pt x="1071" y="545"/>
                      </a:lnTo>
                      <a:lnTo>
                        <a:pt x="1069" y="546"/>
                      </a:lnTo>
                      <a:lnTo>
                        <a:pt x="1066" y="547"/>
                      </a:lnTo>
                      <a:lnTo>
                        <a:pt x="1062" y="548"/>
                      </a:lnTo>
                      <a:lnTo>
                        <a:pt x="1060" y="549"/>
                      </a:lnTo>
                      <a:lnTo>
                        <a:pt x="1058" y="551"/>
                      </a:lnTo>
                      <a:lnTo>
                        <a:pt x="1056" y="553"/>
                      </a:lnTo>
                      <a:lnTo>
                        <a:pt x="1056" y="554"/>
                      </a:lnTo>
                      <a:lnTo>
                        <a:pt x="1057" y="556"/>
                      </a:lnTo>
                      <a:lnTo>
                        <a:pt x="1059" y="556"/>
                      </a:lnTo>
                      <a:lnTo>
                        <a:pt x="1061" y="556"/>
                      </a:lnTo>
                      <a:lnTo>
                        <a:pt x="1064" y="556"/>
                      </a:lnTo>
                      <a:lnTo>
                        <a:pt x="1067" y="556"/>
                      </a:lnTo>
                      <a:lnTo>
                        <a:pt x="1069" y="556"/>
                      </a:lnTo>
                      <a:lnTo>
                        <a:pt x="1071" y="556"/>
                      </a:lnTo>
                      <a:lnTo>
                        <a:pt x="1071" y="556"/>
                      </a:lnTo>
                      <a:lnTo>
                        <a:pt x="1074" y="556"/>
                      </a:lnTo>
                      <a:lnTo>
                        <a:pt x="1077" y="554"/>
                      </a:lnTo>
                      <a:lnTo>
                        <a:pt x="1080" y="553"/>
                      </a:lnTo>
                      <a:lnTo>
                        <a:pt x="1082" y="553"/>
                      </a:lnTo>
                      <a:lnTo>
                        <a:pt x="1084" y="553"/>
                      </a:lnTo>
                      <a:lnTo>
                        <a:pt x="1086" y="554"/>
                      </a:lnTo>
                      <a:lnTo>
                        <a:pt x="1086" y="557"/>
                      </a:lnTo>
                      <a:lnTo>
                        <a:pt x="1088" y="558"/>
                      </a:lnTo>
                      <a:lnTo>
                        <a:pt x="1089" y="558"/>
                      </a:lnTo>
                      <a:lnTo>
                        <a:pt x="1099" y="556"/>
                      </a:lnTo>
                      <a:lnTo>
                        <a:pt x="1107" y="551"/>
                      </a:lnTo>
                      <a:lnTo>
                        <a:pt x="1115" y="547"/>
                      </a:lnTo>
                      <a:lnTo>
                        <a:pt x="1117" y="546"/>
                      </a:lnTo>
                      <a:lnTo>
                        <a:pt x="1121" y="545"/>
                      </a:lnTo>
                      <a:lnTo>
                        <a:pt x="1122" y="545"/>
                      </a:lnTo>
                      <a:lnTo>
                        <a:pt x="1128" y="547"/>
                      </a:lnTo>
                      <a:lnTo>
                        <a:pt x="1138" y="550"/>
                      </a:lnTo>
                      <a:lnTo>
                        <a:pt x="1138" y="550"/>
                      </a:lnTo>
                      <a:lnTo>
                        <a:pt x="1139" y="550"/>
                      </a:lnTo>
                      <a:lnTo>
                        <a:pt x="1138" y="550"/>
                      </a:lnTo>
                      <a:lnTo>
                        <a:pt x="1138" y="549"/>
                      </a:lnTo>
                      <a:lnTo>
                        <a:pt x="1138" y="548"/>
                      </a:lnTo>
                      <a:lnTo>
                        <a:pt x="1141" y="549"/>
                      </a:lnTo>
                      <a:lnTo>
                        <a:pt x="1143" y="550"/>
                      </a:lnTo>
                      <a:lnTo>
                        <a:pt x="1144" y="551"/>
                      </a:lnTo>
                      <a:lnTo>
                        <a:pt x="1145" y="552"/>
                      </a:lnTo>
                      <a:lnTo>
                        <a:pt x="1146" y="553"/>
                      </a:lnTo>
                      <a:lnTo>
                        <a:pt x="1149" y="554"/>
                      </a:lnTo>
                      <a:lnTo>
                        <a:pt x="1150" y="557"/>
                      </a:lnTo>
                      <a:lnTo>
                        <a:pt x="1152" y="558"/>
                      </a:lnTo>
                      <a:lnTo>
                        <a:pt x="1155" y="560"/>
                      </a:lnTo>
                      <a:lnTo>
                        <a:pt x="1157" y="560"/>
                      </a:lnTo>
                      <a:lnTo>
                        <a:pt x="1163" y="560"/>
                      </a:lnTo>
                      <a:lnTo>
                        <a:pt x="1168" y="561"/>
                      </a:lnTo>
                      <a:lnTo>
                        <a:pt x="1167" y="562"/>
                      </a:lnTo>
                      <a:lnTo>
                        <a:pt x="1165" y="563"/>
                      </a:lnTo>
                      <a:lnTo>
                        <a:pt x="1187" y="573"/>
                      </a:lnTo>
                      <a:lnTo>
                        <a:pt x="1201" y="580"/>
                      </a:lnTo>
                      <a:lnTo>
                        <a:pt x="1197" y="580"/>
                      </a:lnTo>
                      <a:lnTo>
                        <a:pt x="1195" y="580"/>
                      </a:lnTo>
                      <a:lnTo>
                        <a:pt x="1193" y="580"/>
                      </a:lnTo>
                      <a:lnTo>
                        <a:pt x="1191" y="579"/>
                      </a:lnTo>
                      <a:lnTo>
                        <a:pt x="1189" y="579"/>
                      </a:lnTo>
                      <a:lnTo>
                        <a:pt x="1187" y="580"/>
                      </a:lnTo>
                      <a:lnTo>
                        <a:pt x="1186" y="581"/>
                      </a:lnTo>
                      <a:lnTo>
                        <a:pt x="1183" y="582"/>
                      </a:lnTo>
                      <a:lnTo>
                        <a:pt x="1181" y="581"/>
                      </a:lnTo>
                      <a:lnTo>
                        <a:pt x="1177" y="583"/>
                      </a:lnTo>
                      <a:lnTo>
                        <a:pt x="1170" y="587"/>
                      </a:lnTo>
                      <a:lnTo>
                        <a:pt x="1165" y="592"/>
                      </a:lnTo>
                      <a:lnTo>
                        <a:pt x="1160" y="596"/>
                      </a:lnTo>
                      <a:lnTo>
                        <a:pt x="1157" y="600"/>
                      </a:lnTo>
                      <a:lnTo>
                        <a:pt x="1157" y="603"/>
                      </a:lnTo>
                      <a:lnTo>
                        <a:pt x="1156" y="606"/>
                      </a:lnTo>
                      <a:lnTo>
                        <a:pt x="1156" y="609"/>
                      </a:lnTo>
                      <a:lnTo>
                        <a:pt x="1156" y="613"/>
                      </a:lnTo>
                      <a:lnTo>
                        <a:pt x="1155" y="617"/>
                      </a:lnTo>
                      <a:lnTo>
                        <a:pt x="1155" y="620"/>
                      </a:lnTo>
                      <a:lnTo>
                        <a:pt x="1154" y="623"/>
                      </a:lnTo>
                      <a:lnTo>
                        <a:pt x="1151" y="626"/>
                      </a:lnTo>
                      <a:lnTo>
                        <a:pt x="1150" y="628"/>
                      </a:lnTo>
                      <a:lnTo>
                        <a:pt x="1148" y="630"/>
                      </a:lnTo>
                      <a:lnTo>
                        <a:pt x="1141" y="645"/>
                      </a:lnTo>
                      <a:lnTo>
                        <a:pt x="1139" y="660"/>
                      </a:lnTo>
                      <a:lnTo>
                        <a:pt x="1141" y="674"/>
                      </a:lnTo>
                      <a:lnTo>
                        <a:pt x="1143" y="678"/>
                      </a:lnTo>
                      <a:lnTo>
                        <a:pt x="1145" y="683"/>
                      </a:lnTo>
                      <a:lnTo>
                        <a:pt x="1146" y="691"/>
                      </a:lnTo>
                      <a:lnTo>
                        <a:pt x="1148" y="698"/>
                      </a:lnTo>
                      <a:lnTo>
                        <a:pt x="1151" y="701"/>
                      </a:lnTo>
                      <a:lnTo>
                        <a:pt x="1155" y="701"/>
                      </a:lnTo>
                      <a:lnTo>
                        <a:pt x="1157" y="699"/>
                      </a:lnTo>
                      <a:lnTo>
                        <a:pt x="1158" y="694"/>
                      </a:lnTo>
                      <a:lnTo>
                        <a:pt x="1160" y="691"/>
                      </a:lnTo>
                      <a:lnTo>
                        <a:pt x="1161" y="688"/>
                      </a:lnTo>
                      <a:lnTo>
                        <a:pt x="1163" y="685"/>
                      </a:lnTo>
                      <a:lnTo>
                        <a:pt x="1166" y="684"/>
                      </a:lnTo>
                      <a:lnTo>
                        <a:pt x="1168" y="683"/>
                      </a:lnTo>
                      <a:lnTo>
                        <a:pt x="1170" y="681"/>
                      </a:lnTo>
                      <a:lnTo>
                        <a:pt x="1170" y="679"/>
                      </a:lnTo>
                      <a:lnTo>
                        <a:pt x="1171" y="669"/>
                      </a:lnTo>
                      <a:lnTo>
                        <a:pt x="1168" y="659"/>
                      </a:lnTo>
                      <a:lnTo>
                        <a:pt x="1168" y="646"/>
                      </a:lnTo>
                      <a:lnTo>
                        <a:pt x="1168" y="635"/>
                      </a:lnTo>
                      <a:lnTo>
                        <a:pt x="1170" y="628"/>
                      </a:lnTo>
                      <a:lnTo>
                        <a:pt x="1171" y="622"/>
                      </a:lnTo>
                      <a:lnTo>
                        <a:pt x="1173" y="615"/>
                      </a:lnTo>
                      <a:lnTo>
                        <a:pt x="1177" y="611"/>
                      </a:lnTo>
                      <a:lnTo>
                        <a:pt x="1180" y="609"/>
                      </a:lnTo>
                      <a:lnTo>
                        <a:pt x="1183" y="609"/>
                      </a:lnTo>
                      <a:lnTo>
                        <a:pt x="1187" y="609"/>
                      </a:lnTo>
                      <a:lnTo>
                        <a:pt x="1190" y="609"/>
                      </a:lnTo>
                      <a:lnTo>
                        <a:pt x="1192" y="608"/>
                      </a:lnTo>
                      <a:lnTo>
                        <a:pt x="1195" y="603"/>
                      </a:lnTo>
                      <a:lnTo>
                        <a:pt x="1199" y="595"/>
                      </a:lnTo>
                      <a:lnTo>
                        <a:pt x="1202" y="589"/>
                      </a:lnTo>
                      <a:lnTo>
                        <a:pt x="1208" y="584"/>
                      </a:lnTo>
                      <a:lnTo>
                        <a:pt x="1214" y="584"/>
                      </a:lnTo>
                      <a:lnTo>
                        <a:pt x="1217" y="585"/>
                      </a:lnTo>
                      <a:lnTo>
                        <a:pt x="1220" y="587"/>
                      </a:lnTo>
                      <a:lnTo>
                        <a:pt x="1222" y="591"/>
                      </a:lnTo>
                      <a:lnTo>
                        <a:pt x="1223" y="594"/>
                      </a:lnTo>
                      <a:lnTo>
                        <a:pt x="1225" y="596"/>
                      </a:lnTo>
                      <a:lnTo>
                        <a:pt x="1227" y="600"/>
                      </a:lnTo>
                      <a:lnTo>
                        <a:pt x="1230" y="602"/>
                      </a:lnTo>
                      <a:lnTo>
                        <a:pt x="1233" y="604"/>
                      </a:lnTo>
                      <a:lnTo>
                        <a:pt x="1235" y="605"/>
                      </a:lnTo>
                      <a:lnTo>
                        <a:pt x="1237" y="606"/>
                      </a:lnTo>
                      <a:lnTo>
                        <a:pt x="1239" y="608"/>
                      </a:lnTo>
                      <a:lnTo>
                        <a:pt x="1241" y="609"/>
                      </a:lnTo>
                      <a:lnTo>
                        <a:pt x="1241" y="613"/>
                      </a:lnTo>
                      <a:lnTo>
                        <a:pt x="1241" y="619"/>
                      </a:lnTo>
                      <a:lnTo>
                        <a:pt x="1238" y="627"/>
                      </a:lnTo>
                      <a:lnTo>
                        <a:pt x="1238" y="634"/>
                      </a:lnTo>
                      <a:lnTo>
                        <a:pt x="1241" y="639"/>
                      </a:lnTo>
                      <a:lnTo>
                        <a:pt x="1243" y="640"/>
                      </a:lnTo>
                      <a:lnTo>
                        <a:pt x="1245" y="641"/>
                      </a:lnTo>
                      <a:lnTo>
                        <a:pt x="1247" y="641"/>
                      </a:lnTo>
                      <a:lnTo>
                        <a:pt x="1249" y="641"/>
                      </a:lnTo>
                      <a:lnTo>
                        <a:pt x="1252" y="643"/>
                      </a:lnTo>
                      <a:lnTo>
                        <a:pt x="1253" y="644"/>
                      </a:lnTo>
                      <a:lnTo>
                        <a:pt x="1254" y="646"/>
                      </a:lnTo>
                      <a:lnTo>
                        <a:pt x="1256" y="648"/>
                      </a:lnTo>
                      <a:lnTo>
                        <a:pt x="1257" y="650"/>
                      </a:lnTo>
                      <a:lnTo>
                        <a:pt x="1258" y="652"/>
                      </a:lnTo>
                      <a:lnTo>
                        <a:pt x="1259" y="655"/>
                      </a:lnTo>
                      <a:lnTo>
                        <a:pt x="1261" y="657"/>
                      </a:lnTo>
                      <a:lnTo>
                        <a:pt x="1263" y="658"/>
                      </a:lnTo>
                      <a:lnTo>
                        <a:pt x="1265" y="659"/>
                      </a:lnTo>
                      <a:lnTo>
                        <a:pt x="1268" y="658"/>
                      </a:lnTo>
                      <a:lnTo>
                        <a:pt x="1269" y="652"/>
                      </a:lnTo>
                      <a:lnTo>
                        <a:pt x="1269" y="644"/>
                      </a:lnTo>
                      <a:lnTo>
                        <a:pt x="1268" y="634"/>
                      </a:lnTo>
                      <a:lnTo>
                        <a:pt x="1268" y="626"/>
                      </a:lnTo>
                      <a:lnTo>
                        <a:pt x="1267" y="622"/>
                      </a:lnTo>
                      <a:lnTo>
                        <a:pt x="1268" y="620"/>
                      </a:lnTo>
                      <a:lnTo>
                        <a:pt x="1269" y="618"/>
                      </a:lnTo>
                      <a:lnTo>
                        <a:pt x="1269" y="615"/>
                      </a:lnTo>
                      <a:lnTo>
                        <a:pt x="1269" y="613"/>
                      </a:lnTo>
                      <a:lnTo>
                        <a:pt x="1270" y="609"/>
                      </a:lnTo>
                      <a:lnTo>
                        <a:pt x="1271" y="607"/>
                      </a:lnTo>
                      <a:lnTo>
                        <a:pt x="1271" y="606"/>
                      </a:lnTo>
                      <a:lnTo>
                        <a:pt x="1272" y="605"/>
                      </a:lnTo>
                      <a:lnTo>
                        <a:pt x="1274" y="606"/>
                      </a:lnTo>
                      <a:lnTo>
                        <a:pt x="1276" y="608"/>
                      </a:lnTo>
                      <a:lnTo>
                        <a:pt x="1278" y="612"/>
                      </a:lnTo>
                      <a:lnTo>
                        <a:pt x="1280" y="615"/>
                      </a:lnTo>
                      <a:lnTo>
                        <a:pt x="1285" y="617"/>
                      </a:lnTo>
                      <a:lnTo>
                        <a:pt x="1289" y="620"/>
                      </a:lnTo>
                      <a:lnTo>
                        <a:pt x="1294" y="623"/>
                      </a:lnTo>
                      <a:lnTo>
                        <a:pt x="1299" y="624"/>
                      </a:lnTo>
                      <a:lnTo>
                        <a:pt x="1302" y="622"/>
                      </a:lnTo>
                      <a:lnTo>
                        <a:pt x="1304" y="619"/>
                      </a:lnTo>
                      <a:lnTo>
                        <a:pt x="1304" y="617"/>
                      </a:lnTo>
                      <a:lnTo>
                        <a:pt x="1304" y="617"/>
                      </a:lnTo>
                      <a:lnTo>
                        <a:pt x="1306" y="617"/>
                      </a:lnTo>
                      <a:lnTo>
                        <a:pt x="1304" y="620"/>
                      </a:lnTo>
                      <a:lnTo>
                        <a:pt x="1329" y="629"/>
                      </a:lnTo>
                      <a:lnTo>
                        <a:pt x="1347" y="636"/>
                      </a:lnTo>
                      <a:lnTo>
                        <a:pt x="1343" y="638"/>
                      </a:lnTo>
                      <a:lnTo>
                        <a:pt x="1336" y="641"/>
                      </a:lnTo>
                      <a:lnTo>
                        <a:pt x="1329" y="644"/>
                      </a:lnTo>
                      <a:lnTo>
                        <a:pt x="1322" y="646"/>
                      </a:lnTo>
                      <a:lnTo>
                        <a:pt x="1318" y="651"/>
                      </a:lnTo>
                      <a:lnTo>
                        <a:pt x="1315" y="657"/>
                      </a:lnTo>
                      <a:lnTo>
                        <a:pt x="1311" y="663"/>
                      </a:lnTo>
                      <a:lnTo>
                        <a:pt x="1306" y="667"/>
                      </a:lnTo>
                      <a:lnTo>
                        <a:pt x="1299" y="669"/>
                      </a:lnTo>
                      <a:lnTo>
                        <a:pt x="1291" y="672"/>
                      </a:lnTo>
                      <a:lnTo>
                        <a:pt x="1291" y="671"/>
                      </a:lnTo>
                      <a:lnTo>
                        <a:pt x="1289" y="671"/>
                      </a:lnTo>
                      <a:lnTo>
                        <a:pt x="1287" y="670"/>
                      </a:lnTo>
                      <a:lnTo>
                        <a:pt x="1285" y="670"/>
                      </a:lnTo>
                      <a:lnTo>
                        <a:pt x="1282" y="670"/>
                      </a:lnTo>
                      <a:lnTo>
                        <a:pt x="1279" y="672"/>
                      </a:lnTo>
                      <a:lnTo>
                        <a:pt x="1276" y="674"/>
                      </a:lnTo>
                      <a:lnTo>
                        <a:pt x="1274" y="677"/>
                      </a:lnTo>
                      <a:lnTo>
                        <a:pt x="1268" y="681"/>
                      </a:lnTo>
                      <a:lnTo>
                        <a:pt x="1261" y="684"/>
                      </a:lnTo>
                      <a:lnTo>
                        <a:pt x="1254" y="688"/>
                      </a:lnTo>
                      <a:lnTo>
                        <a:pt x="1253" y="689"/>
                      </a:lnTo>
                      <a:lnTo>
                        <a:pt x="1252" y="690"/>
                      </a:lnTo>
                      <a:lnTo>
                        <a:pt x="1250" y="692"/>
                      </a:lnTo>
                      <a:lnTo>
                        <a:pt x="1249" y="693"/>
                      </a:lnTo>
                      <a:lnTo>
                        <a:pt x="1249" y="695"/>
                      </a:lnTo>
                      <a:lnTo>
                        <a:pt x="1249" y="696"/>
                      </a:lnTo>
                      <a:lnTo>
                        <a:pt x="1252" y="698"/>
                      </a:lnTo>
                      <a:lnTo>
                        <a:pt x="1254" y="699"/>
                      </a:lnTo>
                      <a:lnTo>
                        <a:pt x="1268" y="698"/>
                      </a:lnTo>
                      <a:lnTo>
                        <a:pt x="1282" y="694"/>
                      </a:lnTo>
                      <a:lnTo>
                        <a:pt x="1296" y="690"/>
                      </a:lnTo>
                      <a:lnTo>
                        <a:pt x="1303" y="688"/>
                      </a:lnTo>
                      <a:lnTo>
                        <a:pt x="1311" y="684"/>
                      </a:lnTo>
                      <a:lnTo>
                        <a:pt x="1318" y="680"/>
                      </a:lnTo>
                      <a:lnTo>
                        <a:pt x="1322" y="673"/>
                      </a:lnTo>
                      <a:lnTo>
                        <a:pt x="1322" y="666"/>
                      </a:lnTo>
                      <a:lnTo>
                        <a:pt x="1324" y="659"/>
                      </a:lnTo>
                      <a:lnTo>
                        <a:pt x="1330" y="656"/>
                      </a:lnTo>
                      <a:lnTo>
                        <a:pt x="1337" y="654"/>
                      </a:lnTo>
                      <a:lnTo>
                        <a:pt x="1347" y="654"/>
                      </a:lnTo>
                      <a:lnTo>
                        <a:pt x="1357" y="654"/>
                      </a:lnTo>
                      <a:lnTo>
                        <a:pt x="1367" y="655"/>
                      </a:lnTo>
                      <a:lnTo>
                        <a:pt x="1376" y="654"/>
                      </a:lnTo>
                      <a:lnTo>
                        <a:pt x="1383" y="650"/>
                      </a:lnTo>
                      <a:lnTo>
                        <a:pt x="1386" y="646"/>
                      </a:lnTo>
                      <a:lnTo>
                        <a:pt x="1386" y="649"/>
                      </a:lnTo>
                      <a:lnTo>
                        <a:pt x="1437" y="666"/>
                      </a:lnTo>
                      <a:lnTo>
                        <a:pt x="1487" y="680"/>
                      </a:lnTo>
                      <a:lnTo>
                        <a:pt x="1486" y="679"/>
                      </a:lnTo>
                      <a:lnTo>
                        <a:pt x="1487" y="677"/>
                      </a:lnTo>
                      <a:lnTo>
                        <a:pt x="1487" y="677"/>
                      </a:lnTo>
                      <a:lnTo>
                        <a:pt x="1488" y="677"/>
                      </a:lnTo>
                      <a:lnTo>
                        <a:pt x="1488" y="678"/>
                      </a:lnTo>
                      <a:lnTo>
                        <a:pt x="1489" y="678"/>
                      </a:lnTo>
                      <a:lnTo>
                        <a:pt x="1490" y="679"/>
                      </a:lnTo>
                      <a:lnTo>
                        <a:pt x="1493" y="679"/>
                      </a:lnTo>
                      <a:lnTo>
                        <a:pt x="1494" y="680"/>
                      </a:lnTo>
                      <a:lnTo>
                        <a:pt x="1495" y="680"/>
                      </a:lnTo>
                      <a:lnTo>
                        <a:pt x="1495" y="681"/>
                      </a:lnTo>
                      <a:lnTo>
                        <a:pt x="1497" y="681"/>
                      </a:lnTo>
                      <a:lnTo>
                        <a:pt x="1500" y="681"/>
                      </a:lnTo>
                      <a:lnTo>
                        <a:pt x="1503" y="682"/>
                      </a:lnTo>
                      <a:lnTo>
                        <a:pt x="1506" y="682"/>
                      </a:lnTo>
                      <a:lnTo>
                        <a:pt x="1508" y="683"/>
                      </a:lnTo>
                      <a:lnTo>
                        <a:pt x="1509" y="688"/>
                      </a:lnTo>
                      <a:lnTo>
                        <a:pt x="1508" y="691"/>
                      </a:lnTo>
                      <a:lnTo>
                        <a:pt x="1504" y="693"/>
                      </a:lnTo>
                      <a:lnTo>
                        <a:pt x="1498" y="693"/>
                      </a:lnTo>
                      <a:lnTo>
                        <a:pt x="1493" y="694"/>
                      </a:lnTo>
                      <a:lnTo>
                        <a:pt x="1488" y="696"/>
                      </a:lnTo>
                      <a:lnTo>
                        <a:pt x="1485" y="696"/>
                      </a:lnTo>
                      <a:lnTo>
                        <a:pt x="1484" y="698"/>
                      </a:lnTo>
                      <a:lnTo>
                        <a:pt x="1482" y="700"/>
                      </a:lnTo>
                      <a:lnTo>
                        <a:pt x="1481" y="701"/>
                      </a:lnTo>
                      <a:lnTo>
                        <a:pt x="1479" y="703"/>
                      </a:lnTo>
                      <a:lnTo>
                        <a:pt x="1466" y="703"/>
                      </a:lnTo>
                      <a:lnTo>
                        <a:pt x="1453" y="703"/>
                      </a:lnTo>
                      <a:lnTo>
                        <a:pt x="1440" y="703"/>
                      </a:lnTo>
                      <a:lnTo>
                        <a:pt x="1438" y="704"/>
                      </a:lnTo>
                      <a:lnTo>
                        <a:pt x="1435" y="705"/>
                      </a:lnTo>
                      <a:lnTo>
                        <a:pt x="1434" y="707"/>
                      </a:lnTo>
                      <a:lnTo>
                        <a:pt x="1433" y="710"/>
                      </a:lnTo>
                      <a:lnTo>
                        <a:pt x="1434" y="712"/>
                      </a:lnTo>
                      <a:lnTo>
                        <a:pt x="1438" y="714"/>
                      </a:lnTo>
                      <a:lnTo>
                        <a:pt x="1439" y="714"/>
                      </a:lnTo>
                      <a:lnTo>
                        <a:pt x="1441" y="714"/>
                      </a:lnTo>
                      <a:lnTo>
                        <a:pt x="1444" y="714"/>
                      </a:lnTo>
                      <a:lnTo>
                        <a:pt x="1448" y="713"/>
                      </a:lnTo>
                      <a:lnTo>
                        <a:pt x="1451" y="712"/>
                      </a:lnTo>
                      <a:lnTo>
                        <a:pt x="1453" y="711"/>
                      </a:lnTo>
                      <a:lnTo>
                        <a:pt x="1455" y="710"/>
                      </a:lnTo>
                      <a:lnTo>
                        <a:pt x="1456" y="709"/>
                      </a:lnTo>
                      <a:lnTo>
                        <a:pt x="1459" y="709"/>
                      </a:lnTo>
                      <a:lnTo>
                        <a:pt x="1462" y="709"/>
                      </a:lnTo>
                      <a:lnTo>
                        <a:pt x="1464" y="709"/>
                      </a:lnTo>
                      <a:lnTo>
                        <a:pt x="1466" y="710"/>
                      </a:lnTo>
                      <a:lnTo>
                        <a:pt x="1466" y="710"/>
                      </a:lnTo>
                      <a:lnTo>
                        <a:pt x="1464" y="711"/>
                      </a:lnTo>
                      <a:lnTo>
                        <a:pt x="1462" y="712"/>
                      </a:lnTo>
                      <a:lnTo>
                        <a:pt x="1460" y="713"/>
                      </a:lnTo>
                      <a:lnTo>
                        <a:pt x="1457" y="714"/>
                      </a:lnTo>
                      <a:lnTo>
                        <a:pt x="1455" y="715"/>
                      </a:lnTo>
                      <a:lnTo>
                        <a:pt x="1455" y="716"/>
                      </a:lnTo>
                      <a:lnTo>
                        <a:pt x="1446" y="718"/>
                      </a:lnTo>
                      <a:lnTo>
                        <a:pt x="1438" y="721"/>
                      </a:lnTo>
                      <a:lnTo>
                        <a:pt x="1430" y="723"/>
                      </a:lnTo>
                      <a:lnTo>
                        <a:pt x="1427" y="727"/>
                      </a:lnTo>
                      <a:lnTo>
                        <a:pt x="1420" y="742"/>
                      </a:lnTo>
                      <a:lnTo>
                        <a:pt x="1412" y="755"/>
                      </a:lnTo>
                      <a:lnTo>
                        <a:pt x="1407" y="768"/>
                      </a:lnTo>
                      <a:lnTo>
                        <a:pt x="1405" y="772"/>
                      </a:lnTo>
                      <a:lnTo>
                        <a:pt x="1401" y="780"/>
                      </a:lnTo>
                      <a:lnTo>
                        <a:pt x="1398" y="788"/>
                      </a:lnTo>
                      <a:lnTo>
                        <a:pt x="1396" y="790"/>
                      </a:lnTo>
                      <a:lnTo>
                        <a:pt x="1391" y="789"/>
                      </a:lnTo>
                      <a:lnTo>
                        <a:pt x="1388" y="785"/>
                      </a:lnTo>
                      <a:lnTo>
                        <a:pt x="1387" y="779"/>
                      </a:lnTo>
                      <a:lnTo>
                        <a:pt x="1386" y="775"/>
                      </a:lnTo>
                      <a:lnTo>
                        <a:pt x="1385" y="770"/>
                      </a:lnTo>
                      <a:lnTo>
                        <a:pt x="1381" y="768"/>
                      </a:lnTo>
                      <a:lnTo>
                        <a:pt x="1380" y="769"/>
                      </a:lnTo>
                      <a:lnTo>
                        <a:pt x="1379" y="770"/>
                      </a:lnTo>
                      <a:lnTo>
                        <a:pt x="1379" y="772"/>
                      </a:lnTo>
                      <a:lnTo>
                        <a:pt x="1379" y="775"/>
                      </a:lnTo>
                      <a:lnTo>
                        <a:pt x="1379" y="778"/>
                      </a:lnTo>
                      <a:lnTo>
                        <a:pt x="1380" y="780"/>
                      </a:lnTo>
                      <a:lnTo>
                        <a:pt x="1381" y="783"/>
                      </a:lnTo>
                      <a:lnTo>
                        <a:pt x="1381" y="785"/>
                      </a:lnTo>
                      <a:lnTo>
                        <a:pt x="1381" y="786"/>
                      </a:lnTo>
                      <a:lnTo>
                        <a:pt x="1383" y="789"/>
                      </a:lnTo>
                      <a:lnTo>
                        <a:pt x="1383" y="792"/>
                      </a:lnTo>
                      <a:lnTo>
                        <a:pt x="1383" y="796"/>
                      </a:lnTo>
                      <a:lnTo>
                        <a:pt x="1383" y="800"/>
                      </a:lnTo>
                      <a:lnTo>
                        <a:pt x="1381" y="803"/>
                      </a:lnTo>
                      <a:lnTo>
                        <a:pt x="1384" y="810"/>
                      </a:lnTo>
                      <a:lnTo>
                        <a:pt x="1387" y="814"/>
                      </a:lnTo>
                      <a:lnTo>
                        <a:pt x="1390" y="820"/>
                      </a:lnTo>
                      <a:lnTo>
                        <a:pt x="1392" y="825"/>
                      </a:lnTo>
                      <a:lnTo>
                        <a:pt x="1390" y="832"/>
                      </a:lnTo>
                      <a:lnTo>
                        <a:pt x="1388" y="836"/>
                      </a:lnTo>
                      <a:lnTo>
                        <a:pt x="1384" y="840"/>
                      </a:lnTo>
                      <a:lnTo>
                        <a:pt x="1379" y="842"/>
                      </a:lnTo>
                      <a:lnTo>
                        <a:pt x="1376" y="844"/>
                      </a:lnTo>
                      <a:lnTo>
                        <a:pt x="1375" y="847"/>
                      </a:lnTo>
                      <a:lnTo>
                        <a:pt x="1375" y="852"/>
                      </a:lnTo>
                      <a:lnTo>
                        <a:pt x="1376" y="855"/>
                      </a:lnTo>
                      <a:lnTo>
                        <a:pt x="1375" y="856"/>
                      </a:lnTo>
                      <a:lnTo>
                        <a:pt x="1374" y="857"/>
                      </a:lnTo>
                      <a:lnTo>
                        <a:pt x="1372" y="858"/>
                      </a:lnTo>
                      <a:lnTo>
                        <a:pt x="1369" y="859"/>
                      </a:lnTo>
                      <a:lnTo>
                        <a:pt x="1368" y="859"/>
                      </a:lnTo>
                      <a:lnTo>
                        <a:pt x="1366" y="860"/>
                      </a:lnTo>
                      <a:lnTo>
                        <a:pt x="1362" y="863"/>
                      </a:lnTo>
                      <a:lnTo>
                        <a:pt x="1357" y="865"/>
                      </a:lnTo>
                      <a:lnTo>
                        <a:pt x="1353" y="867"/>
                      </a:lnTo>
                      <a:lnTo>
                        <a:pt x="1348" y="869"/>
                      </a:lnTo>
                      <a:lnTo>
                        <a:pt x="1340" y="875"/>
                      </a:lnTo>
                      <a:lnTo>
                        <a:pt x="1331" y="879"/>
                      </a:lnTo>
                      <a:lnTo>
                        <a:pt x="1321" y="885"/>
                      </a:lnTo>
                      <a:lnTo>
                        <a:pt x="1313" y="891"/>
                      </a:lnTo>
                      <a:lnTo>
                        <a:pt x="1308" y="896"/>
                      </a:lnTo>
                      <a:lnTo>
                        <a:pt x="1300" y="898"/>
                      </a:lnTo>
                      <a:lnTo>
                        <a:pt x="1293" y="900"/>
                      </a:lnTo>
                      <a:lnTo>
                        <a:pt x="1290" y="902"/>
                      </a:lnTo>
                      <a:lnTo>
                        <a:pt x="1286" y="905"/>
                      </a:lnTo>
                      <a:lnTo>
                        <a:pt x="1282" y="908"/>
                      </a:lnTo>
                      <a:lnTo>
                        <a:pt x="1280" y="910"/>
                      </a:lnTo>
                      <a:lnTo>
                        <a:pt x="1278" y="913"/>
                      </a:lnTo>
                      <a:lnTo>
                        <a:pt x="1278" y="918"/>
                      </a:lnTo>
                      <a:lnTo>
                        <a:pt x="1278" y="921"/>
                      </a:lnTo>
                      <a:lnTo>
                        <a:pt x="1278" y="924"/>
                      </a:lnTo>
                      <a:lnTo>
                        <a:pt x="1276" y="928"/>
                      </a:lnTo>
                      <a:lnTo>
                        <a:pt x="1274" y="931"/>
                      </a:lnTo>
                      <a:lnTo>
                        <a:pt x="1274" y="936"/>
                      </a:lnTo>
                      <a:lnTo>
                        <a:pt x="1275" y="942"/>
                      </a:lnTo>
                      <a:lnTo>
                        <a:pt x="1276" y="949"/>
                      </a:lnTo>
                      <a:lnTo>
                        <a:pt x="1279" y="956"/>
                      </a:lnTo>
                      <a:lnTo>
                        <a:pt x="1283" y="963"/>
                      </a:lnTo>
                      <a:lnTo>
                        <a:pt x="1287" y="971"/>
                      </a:lnTo>
                      <a:lnTo>
                        <a:pt x="1288" y="973"/>
                      </a:lnTo>
                      <a:lnTo>
                        <a:pt x="1288" y="975"/>
                      </a:lnTo>
                      <a:lnTo>
                        <a:pt x="1289" y="978"/>
                      </a:lnTo>
                      <a:lnTo>
                        <a:pt x="1289" y="980"/>
                      </a:lnTo>
                      <a:lnTo>
                        <a:pt x="1290" y="983"/>
                      </a:lnTo>
                      <a:lnTo>
                        <a:pt x="1291" y="984"/>
                      </a:lnTo>
                      <a:lnTo>
                        <a:pt x="1297" y="995"/>
                      </a:lnTo>
                      <a:lnTo>
                        <a:pt x="1298" y="1007"/>
                      </a:lnTo>
                      <a:lnTo>
                        <a:pt x="1298" y="1019"/>
                      </a:lnTo>
                      <a:lnTo>
                        <a:pt x="1299" y="1021"/>
                      </a:lnTo>
                      <a:lnTo>
                        <a:pt x="1299" y="1025"/>
                      </a:lnTo>
                      <a:lnTo>
                        <a:pt x="1298" y="1027"/>
                      </a:lnTo>
                      <a:lnTo>
                        <a:pt x="1297" y="1029"/>
                      </a:lnTo>
                      <a:lnTo>
                        <a:pt x="1293" y="1032"/>
                      </a:lnTo>
                      <a:lnTo>
                        <a:pt x="1292" y="1034"/>
                      </a:lnTo>
                      <a:lnTo>
                        <a:pt x="1290" y="1037"/>
                      </a:lnTo>
                      <a:lnTo>
                        <a:pt x="1288" y="1039"/>
                      </a:lnTo>
                      <a:lnTo>
                        <a:pt x="1286" y="1039"/>
                      </a:lnTo>
                      <a:lnTo>
                        <a:pt x="1282" y="1039"/>
                      </a:lnTo>
                      <a:lnTo>
                        <a:pt x="1278" y="1033"/>
                      </a:lnTo>
                      <a:lnTo>
                        <a:pt x="1275" y="1026"/>
                      </a:lnTo>
                      <a:lnTo>
                        <a:pt x="1271" y="1019"/>
                      </a:lnTo>
                      <a:lnTo>
                        <a:pt x="1269" y="1015"/>
                      </a:lnTo>
                      <a:lnTo>
                        <a:pt x="1265" y="1011"/>
                      </a:lnTo>
                      <a:lnTo>
                        <a:pt x="1260" y="1008"/>
                      </a:lnTo>
                      <a:lnTo>
                        <a:pt x="1257" y="1006"/>
                      </a:lnTo>
                      <a:lnTo>
                        <a:pt x="1255" y="1005"/>
                      </a:lnTo>
                      <a:lnTo>
                        <a:pt x="1253" y="1001"/>
                      </a:lnTo>
                      <a:lnTo>
                        <a:pt x="1253" y="998"/>
                      </a:lnTo>
                      <a:lnTo>
                        <a:pt x="1252" y="995"/>
                      </a:lnTo>
                      <a:lnTo>
                        <a:pt x="1250" y="990"/>
                      </a:lnTo>
                      <a:lnTo>
                        <a:pt x="1248" y="987"/>
                      </a:lnTo>
                      <a:lnTo>
                        <a:pt x="1247" y="984"/>
                      </a:lnTo>
                      <a:lnTo>
                        <a:pt x="1245" y="979"/>
                      </a:lnTo>
                      <a:lnTo>
                        <a:pt x="1245" y="977"/>
                      </a:lnTo>
                      <a:lnTo>
                        <a:pt x="1245" y="974"/>
                      </a:lnTo>
                      <a:lnTo>
                        <a:pt x="1245" y="972"/>
                      </a:lnTo>
                      <a:lnTo>
                        <a:pt x="1245" y="969"/>
                      </a:lnTo>
                      <a:lnTo>
                        <a:pt x="1245" y="966"/>
                      </a:lnTo>
                      <a:lnTo>
                        <a:pt x="1243" y="964"/>
                      </a:lnTo>
                      <a:lnTo>
                        <a:pt x="1239" y="958"/>
                      </a:lnTo>
                      <a:lnTo>
                        <a:pt x="1235" y="953"/>
                      </a:lnTo>
                      <a:lnTo>
                        <a:pt x="1231" y="950"/>
                      </a:lnTo>
                      <a:lnTo>
                        <a:pt x="1226" y="950"/>
                      </a:lnTo>
                      <a:lnTo>
                        <a:pt x="1221" y="953"/>
                      </a:lnTo>
                      <a:lnTo>
                        <a:pt x="1213" y="957"/>
                      </a:lnTo>
                      <a:lnTo>
                        <a:pt x="1204" y="957"/>
                      </a:lnTo>
                      <a:lnTo>
                        <a:pt x="1195" y="954"/>
                      </a:lnTo>
                      <a:lnTo>
                        <a:pt x="1188" y="951"/>
                      </a:lnTo>
                      <a:lnTo>
                        <a:pt x="1178" y="945"/>
                      </a:lnTo>
                      <a:lnTo>
                        <a:pt x="1167" y="943"/>
                      </a:lnTo>
                      <a:lnTo>
                        <a:pt x="1156" y="944"/>
                      </a:lnTo>
                      <a:lnTo>
                        <a:pt x="1144" y="944"/>
                      </a:lnTo>
                      <a:lnTo>
                        <a:pt x="1140" y="943"/>
                      </a:lnTo>
                      <a:lnTo>
                        <a:pt x="1133" y="941"/>
                      </a:lnTo>
                      <a:lnTo>
                        <a:pt x="1124" y="940"/>
                      </a:lnTo>
                      <a:lnTo>
                        <a:pt x="1117" y="940"/>
                      </a:lnTo>
                      <a:lnTo>
                        <a:pt x="1113" y="940"/>
                      </a:lnTo>
                      <a:lnTo>
                        <a:pt x="1114" y="941"/>
                      </a:lnTo>
                      <a:lnTo>
                        <a:pt x="1115" y="943"/>
                      </a:lnTo>
                      <a:lnTo>
                        <a:pt x="1116" y="944"/>
                      </a:lnTo>
                      <a:lnTo>
                        <a:pt x="1117" y="946"/>
                      </a:lnTo>
                      <a:lnTo>
                        <a:pt x="1119" y="949"/>
                      </a:lnTo>
                      <a:lnTo>
                        <a:pt x="1122" y="950"/>
                      </a:lnTo>
                      <a:lnTo>
                        <a:pt x="1123" y="952"/>
                      </a:lnTo>
                      <a:lnTo>
                        <a:pt x="1124" y="953"/>
                      </a:lnTo>
                      <a:lnTo>
                        <a:pt x="1124" y="954"/>
                      </a:lnTo>
                      <a:lnTo>
                        <a:pt x="1123" y="955"/>
                      </a:lnTo>
                      <a:lnTo>
                        <a:pt x="1121" y="955"/>
                      </a:lnTo>
                      <a:lnTo>
                        <a:pt x="1117" y="955"/>
                      </a:lnTo>
                      <a:lnTo>
                        <a:pt x="1113" y="956"/>
                      </a:lnTo>
                      <a:lnTo>
                        <a:pt x="1110" y="960"/>
                      </a:lnTo>
                      <a:lnTo>
                        <a:pt x="1107" y="963"/>
                      </a:lnTo>
                      <a:lnTo>
                        <a:pt x="1105" y="965"/>
                      </a:lnTo>
                      <a:lnTo>
                        <a:pt x="1100" y="964"/>
                      </a:lnTo>
                      <a:lnTo>
                        <a:pt x="1093" y="961"/>
                      </a:lnTo>
                      <a:lnTo>
                        <a:pt x="1088" y="956"/>
                      </a:lnTo>
                      <a:lnTo>
                        <a:pt x="1083" y="953"/>
                      </a:lnTo>
                      <a:lnTo>
                        <a:pt x="1077" y="951"/>
                      </a:lnTo>
                      <a:lnTo>
                        <a:pt x="1069" y="953"/>
                      </a:lnTo>
                      <a:lnTo>
                        <a:pt x="1061" y="954"/>
                      </a:lnTo>
                      <a:lnTo>
                        <a:pt x="1052" y="953"/>
                      </a:lnTo>
                      <a:lnTo>
                        <a:pt x="1043" y="951"/>
                      </a:lnTo>
                      <a:lnTo>
                        <a:pt x="1035" y="950"/>
                      </a:lnTo>
                      <a:lnTo>
                        <a:pt x="1027" y="951"/>
                      </a:lnTo>
                      <a:lnTo>
                        <a:pt x="1026" y="953"/>
                      </a:lnTo>
                      <a:lnTo>
                        <a:pt x="1025" y="955"/>
                      </a:lnTo>
                      <a:lnTo>
                        <a:pt x="1023" y="957"/>
                      </a:lnTo>
                      <a:lnTo>
                        <a:pt x="1020" y="957"/>
                      </a:lnTo>
                      <a:lnTo>
                        <a:pt x="1018" y="958"/>
                      </a:lnTo>
                      <a:lnTo>
                        <a:pt x="1016" y="960"/>
                      </a:lnTo>
                      <a:lnTo>
                        <a:pt x="1006" y="962"/>
                      </a:lnTo>
                      <a:lnTo>
                        <a:pt x="996" y="966"/>
                      </a:lnTo>
                      <a:lnTo>
                        <a:pt x="987" y="969"/>
                      </a:lnTo>
                      <a:lnTo>
                        <a:pt x="981" y="973"/>
                      </a:lnTo>
                      <a:lnTo>
                        <a:pt x="977" y="978"/>
                      </a:lnTo>
                      <a:lnTo>
                        <a:pt x="974" y="986"/>
                      </a:lnTo>
                      <a:lnTo>
                        <a:pt x="974" y="989"/>
                      </a:lnTo>
                      <a:lnTo>
                        <a:pt x="974" y="992"/>
                      </a:lnTo>
                      <a:lnTo>
                        <a:pt x="973" y="995"/>
                      </a:lnTo>
                      <a:lnTo>
                        <a:pt x="973" y="998"/>
                      </a:lnTo>
                      <a:lnTo>
                        <a:pt x="974" y="1001"/>
                      </a:lnTo>
                      <a:lnTo>
                        <a:pt x="976" y="1005"/>
                      </a:lnTo>
                      <a:lnTo>
                        <a:pt x="977" y="1008"/>
                      </a:lnTo>
                      <a:lnTo>
                        <a:pt x="980" y="1010"/>
                      </a:lnTo>
                      <a:lnTo>
                        <a:pt x="982" y="1014"/>
                      </a:lnTo>
                      <a:lnTo>
                        <a:pt x="983" y="1017"/>
                      </a:lnTo>
                      <a:lnTo>
                        <a:pt x="983" y="1027"/>
                      </a:lnTo>
                      <a:lnTo>
                        <a:pt x="981" y="1036"/>
                      </a:lnTo>
                      <a:lnTo>
                        <a:pt x="977" y="1044"/>
                      </a:lnTo>
                      <a:lnTo>
                        <a:pt x="976" y="1054"/>
                      </a:lnTo>
                      <a:lnTo>
                        <a:pt x="977" y="1061"/>
                      </a:lnTo>
                      <a:lnTo>
                        <a:pt x="980" y="1067"/>
                      </a:lnTo>
                      <a:lnTo>
                        <a:pt x="981" y="1076"/>
                      </a:lnTo>
                      <a:lnTo>
                        <a:pt x="983" y="1078"/>
                      </a:lnTo>
                      <a:lnTo>
                        <a:pt x="984" y="1080"/>
                      </a:lnTo>
                      <a:lnTo>
                        <a:pt x="986" y="1081"/>
                      </a:lnTo>
                      <a:lnTo>
                        <a:pt x="988" y="1083"/>
                      </a:lnTo>
                      <a:lnTo>
                        <a:pt x="990" y="1085"/>
                      </a:lnTo>
                      <a:lnTo>
                        <a:pt x="993" y="1088"/>
                      </a:lnTo>
                      <a:lnTo>
                        <a:pt x="994" y="1092"/>
                      </a:lnTo>
                      <a:lnTo>
                        <a:pt x="995" y="1095"/>
                      </a:lnTo>
                      <a:lnTo>
                        <a:pt x="996" y="1098"/>
                      </a:lnTo>
                      <a:lnTo>
                        <a:pt x="1001" y="1104"/>
                      </a:lnTo>
                      <a:lnTo>
                        <a:pt x="1005" y="1109"/>
                      </a:lnTo>
                      <a:lnTo>
                        <a:pt x="1009" y="1114"/>
                      </a:lnTo>
                      <a:lnTo>
                        <a:pt x="1012" y="1116"/>
                      </a:lnTo>
                      <a:lnTo>
                        <a:pt x="1014" y="1119"/>
                      </a:lnTo>
                      <a:lnTo>
                        <a:pt x="1015" y="1123"/>
                      </a:lnTo>
                      <a:lnTo>
                        <a:pt x="1016" y="1126"/>
                      </a:lnTo>
                      <a:lnTo>
                        <a:pt x="1018" y="1129"/>
                      </a:lnTo>
                      <a:lnTo>
                        <a:pt x="1023" y="1130"/>
                      </a:lnTo>
                      <a:lnTo>
                        <a:pt x="1026" y="1131"/>
                      </a:lnTo>
                      <a:lnTo>
                        <a:pt x="1029" y="1131"/>
                      </a:lnTo>
                      <a:lnTo>
                        <a:pt x="1032" y="1132"/>
                      </a:lnTo>
                      <a:lnTo>
                        <a:pt x="1036" y="1134"/>
                      </a:lnTo>
                      <a:lnTo>
                        <a:pt x="1038" y="1135"/>
                      </a:lnTo>
                      <a:lnTo>
                        <a:pt x="1040" y="1136"/>
                      </a:lnTo>
                      <a:lnTo>
                        <a:pt x="1042" y="1137"/>
                      </a:lnTo>
                      <a:lnTo>
                        <a:pt x="1046" y="1138"/>
                      </a:lnTo>
                      <a:lnTo>
                        <a:pt x="1048" y="1138"/>
                      </a:lnTo>
                      <a:lnTo>
                        <a:pt x="1049" y="1138"/>
                      </a:lnTo>
                      <a:lnTo>
                        <a:pt x="1052" y="1136"/>
                      </a:lnTo>
                      <a:lnTo>
                        <a:pt x="1055" y="1135"/>
                      </a:lnTo>
                      <a:lnTo>
                        <a:pt x="1057" y="1135"/>
                      </a:lnTo>
                      <a:lnTo>
                        <a:pt x="1059" y="1135"/>
                      </a:lnTo>
                      <a:lnTo>
                        <a:pt x="1062" y="1136"/>
                      </a:lnTo>
                      <a:lnTo>
                        <a:pt x="1075" y="1136"/>
                      </a:lnTo>
                      <a:lnTo>
                        <a:pt x="1078" y="1135"/>
                      </a:lnTo>
                      <a:lnTo>
                        <a:pt x="1080" y="1134"/>
                      </a:lnTo>
                      <a:lnTo>
                        <a:pt x="1082" y="1134"/>
                      </a:lnTo>
                      <a:lnTo>
                        <a:pt x="1085" y="1135"/>
                      </a:lnTo>
                      <a:lnTo>
                        <a:pt x="1088" y="1136"/>
                      </a:lnTo>
                      <a:lnTo>
                        <a:pt x="1089" y="1137"/>
                      </a:lnTo>
                      <a:lnTo>
                        <a:pt x="1091" y="1138"/>
                      </a:lnTo>
                      <a:lnTo>
                        <a:pt x="1093" y="1138"/>
                      </a:lnTo>
                      <a:lnTo>
                        <a:pt x="1095" y="1138"/>
                      </a:lnTo>
                      <a:lnTo>
                        <a:pt x="1099" y="1137"/>
                      </a:lnTo>
                      <a:lnTo>
                        <a:pt x="1100" y="1137"/>
                      </a:lnTo>
                      <a:lnTo>
                        <a:pt x="1101" y="1135"/>
                      </a:lnTo>
                      <a:lnTo>
                        <a:pt x="1101" y="1134"/>
                      </a:lnTo>
                      <a:lnTo>
                        <a:pt x="1101" y="1132"/>
                      </a:lnTo>
                      <a:lnTo>
                        <a:pt x="1100" y="1131"/>
                      </a:lnTo>
                      <a:lnTo>
                        <a:pt x="1101" y="1129"/>
                      </a:lnTo>
                      <a:lnTo>
                        <a:pt x="1101" y="1127"/>
                      </a:lnTo>
                      <a:lnTo>
                        <a:pt x="1102" y="1126"/>
                      </a:lnTo>
                      <a:lnTo>
                        <a:pt x="1104" y="1125"/>
                      </a:lnTo>
                      <a:lnTo>
                        <a:pt x="1106" y="1123"/>
                      </a:lnTo>
                      <a:lnTo>
                        <a:pt x="1108" y="1119"/>
                      </a:lnTo>
                      <a:lnTo>
                        <a:pt x="1110" y="1116"/>
                      </a:lnTo>
                      <a:lnTo>
                        <a:pt x="1111" y="1113"/>
                      </a:lnTo>
                      <a:lnTo>
                        <a:pt x="1111" y="1108"/>
                      </a:lnTo>
                      <a:lnTo>
                        <a:pt x="1111" y="1105"/>
                      </a:lnTo>
                      <a:lnTo>
                        <a:pt x="1114" y="1100"/>
                      </a:lnTo>
                      <a:lnTo>
                        <a:pt x="1121" y="1099"/>
                      </a:lnTo>
                      <a:lnTo>
                        <a:pt x="1128" y="1098"/>
                      </a:lnTo>
                      <a:lnTo>
                        <a:pt x="1136" y="1098"/>
                      </a:lnTo>
                      <a:lnTo>
                        <a:pt x="1141" y="1098"/>
                      </a:lnTo>
                      <a:lnTo>
                        <a:pt x="1148" y="1097"/>
                      </a:lnTo>
                      <a:lnTo>
                        <a:pt x="1156" y="1096"/>
                      </a:lnTo>
                      <a:lnTo>
                        <a:pt x="1163" y="1096"/>
                      </a:lnTo>
                      <a:lnTo>
                        <a:pt x="1171" y="1097"/>
                      </a:lnTo>
                      <a:lnTo>
                        <a:pt x="1176" y="1100"/>
                      </a:lnTo>
                      <a:lnTo>
                        <a:pt x="1177" y="1105"/>
                      </a:lnTo>
                      <a:lnTo>
                        <a:pt x="1174" y="1108"/>
                      </a:lnTo>
                      <a:lnTo>
                        <a:pt x="1172" y="1112"/>
                      </a:lnTo>
                      <a:lnTo>
                        <a:pt x="1170" y="1114"/>
                      </a:lnTo>
                      <a:lnTo>
                        <a:pt x="1168" y="1117"/>
                      </a:lnTo>
                      <a:lnTo>
                        <a:pt x="1167" y="1120"/>
                      </a:lnTo>
                      <a:lnTo>
                        <a:pt x="1166" y="1124"/>
                      </a:lnTo>
                      <a:lnTo>
                        <a:pt x="1166" y="1127"/>
                      </a:lnTo>
                      <a:lnTo>
                        <a:pt x="1165" y="1137"/>
                      </a:lnTo>
                      <a:lnTo>
                        <a:pt x="1159" y="1145"/>
                      </a:lnTo>
                      <a:lnTo>
                        <a:pt x="1150" y="1149"/>
                      </a:lnTo>
                      <a:lnTo>
                        <a:pt x="1148" y="1149"/>
                      </a:lnTo>
                      <a:lnTo>
                        <a:pt x="1145" y="1149"/>
                      </a:lnTo>
                      <a:lnTo>
                        <a:pt x="1143" y="1150"/>
                      </a:lnTo>
                      <a:lnTo>
                        <a:pt x="1140" y="1151"/>
                      </a:lnTo>
                      <a:lnTo>
                        <a:pt x="1139" y="1153"/>
                      </a:lnTo>
                      <a:lnTo>
                        <a:pt x="1141" y="1156"/>
                      </a:lnTo>
                      <a:lnTo>
                        <a:pt x="1144" y="1157"/>
                      </a:lnTo>
                      <a:lnTo>
                        <a:pt x="1146" y="1158"/>
                      </a:lnTo>
                      <a:lnTo>
                        <a:pt x="1148" y="1160"/>
                      </a:lnTo>
                      <a:lnTo>
                        <a:pt x="1150" y="1163"/>
                      </a:lnTo>
                      <a:lnTo>
                        <a:pt x="1152" y="1169"/>
                      </a:lnTo>
                      <a:lnTo>
                        <a:pt x="1155" y="1173"/>
                      </a:lnTo>
                      <a:lnTo>
                        <a:pt x="1158" y="1178"/>
                      </a:lnTo>
                      <a:lnTo>
                        <a:pt x="1163" y="1180"/>
                      </a:lnTo>
                      <a:lnTo>
                        <a:pt x="1172" y="1180"/>
                      </a:lnTo>
                      <a:lnTo>
                        <a:pt x="1181" y="1178"/>
                      </a:lnTo>
                      <a:lnTo>
                        <a:pt x="1188" y="1180"/>
                      </a:lnTo>
                      <a:lnTo>
                        <a:pt x="1197" y="1180"/>
                      </a:lnTo>
                      <a:lnTo>
                        <a:pt x="1204" y="1179"/>
                      </a:lnTo>
                      <a:lnTo>
                        <a:pt x="1212" y="1178"/>
                      </a:lnTo>
                      <a:lnTo>
                        <a:pt x="1215" y="1178"/>
                      </a:lnTo>
                      <a:lnTo>
                        <a:pt x="1219" y="1178"/>
                      </a:lnTo>
                      <a:lnTo>
                        <a:pt x="1223" y="1178"/>
                      </a:lnTo>
                      <a:lnTo>
                        <a:pt x="1226" y="1179"/>
                      </a:lnTo>
                      <a:lnTo>
                        <a:pt x="1227" y="1180"/>
                      </a:lnTo>
                      <a:lnTo>
                        <a:pt x="1230" y="1182"/>
                      </a:lnTo>
                      <a:lnTo>
                        <a:pt x="1231" y="1184"/>
                      </a:lnTo>
                      <a:lnTo>
                        <a:pt x="1232" y="1185"/>
                      </a:lnTo>
                      <a:lnTo>
                        <a:pt x="1234" y="1186"/>
                      </a:lnTo>
                      <a:lnTo>
                        <a:pt x="1236" y="1186"/>
                      </a:lnTo>
                      <a:lnTo>
                        <a:pt x="1238" y="1186"/>
                      </a:lnTo>
                      <a:lnTo>
                        <a:pt x="1241" y="1186"/>
                      </a:lnTo>
                      <a:lnTo>
                        <a:pt x="1243" y="1185"/>
                      </a:lnTo>
                      <a:lnTo>
                        <a:pt x="1248" y="1187"/>
                      </a:lnTo>
                      <a:lnTo>
                        <a:pt x="1250" y="1192"/>
                      </a:lnTo>
                      <a:lnTo>
                        <a:pt x="1250" y="1198"/>
                      </a:lnTo>
                      <a:lnTo>
                        <a:pt x="1250" y="1204"/>
                      </a:lnTo>
                      <a:lnTo>
                        <a:pt x="1249" y="1207"/>
                      </a:lnTo>
                      <a:lnTo>
                        <a:pt x="1248" y="1212"/>
                      </a:lnTo>
                      <a:lnTo>
                        <a:pt x="1247" y="1215"/>
                      </a:lnTo>
                      <a:lnTo>
                        <a:pt x="1247" y="1219"/>
                      </a:lnTo>
                      <a:lnTo>
                        <a:pt x="1245" y="1223"/>
                      </a:lnTo>
                      <a:lnTo>
                        <a:pt x="1245" y="1227"/>
                      </a:lnTo>
                      <a:lnTo>
                        <a:pt x="1244" y="1230"/>
                      </a:lnTo>
                      <a:lnTo>
                        <a:pt x="1243" y="1233"/>
                      </a:lnTo>
                      <a:lnTo>
                        <a:pt x="1242" y="1236"/>
                      </a:lnTo>
                      <a:lnTo>
                        <a:pt x="1241" y="1238"/>
                      </a:lnTo>
                      <a:lnTo>
                        <a:pt x="1241" y="1254"/>
                      </a:lnTo>
                      <a:lnTo>
                        <a:pt x="1243" y="1257"/>
                      </a:lnTo>
                      <a:lnTo>
                        <a:pt x="1245" y="1258"/>
                      </a:lnTo>
                      <a:lnTo>
                        <a:pt x="1248" y="1260"/>
                      </a:lnTo>
                      <a:lnTo>
                        <a:pt x="1252" y="1261"/>
                      </a:lnTo>
                      <a:lnTo>
                        <a:pt x="1254" y="1262"/>
                      </a:lnTo>
                      <a:lnTo>
                        <a:pt x="1255" y="1263"/>
                      </a:lnTo>
                      <a:lnTo>
                        <a:pt x="1256" y="1266"/>
                      </a:lnTo>
                      <a:lnTo>
                        <a:pt x="1258" y="1267"/>
                      </a:lnTo>
                      <a:lnTo>
                        <a:pt x="1259" y="1268"/>
                      </a:lnTo>
                      <a:lnTo>
                        <a:pt x="1263" y="1269"/>
                      </a:lnTo>
                      <a:lnTo>
                        <a:pt x="1267" y="1271"/>
                      </a:lnTo>
                      <a:lnTo>
                        <a:pt x="1271" y="1271"/>
                      </a:lnTo>
                      <a:lnTo>
                        <a:pt x="1276" y="1271"/>
                      </a:lnTo>
                      <a:lnTo>
                        <a:pt x="1288" y="1270"/>
                      </a:lnTo>
                      <a:lnTo>
                        <a:pt x="1297" y="1268"/>
                      </a:lnTo>
                      <a:lnTo>
                        <a:pt x="1304" y="1265"/>
                      </a:lnTo>
                      <a:lnTo>
                        <a:pt x="1317" y="1263"/>
                      </a:lnTo>
                      <a:lnTo>
                        <a:pt x="1328" y="1266"/>
                      </a:lnTo>
                      <a:lnTo>
                        <a:pt x="1337" y="1269"/>
                      </a:lnTo>
                      <a:lnTo>
                        <a:pt x="1339" y="1270"/>
                      </a:lnTo>
                      <a:lnTo>
                        <a:pt x="1340" y="1271"/>
                      </a:lnTo>
                      <a:lnTo>
                        <a:pt x="1342" y="1272"/>
                      </a:lnTo>
                      <a:lnTo>
                        <a:pt x="1345" y="1273"/>
                      </a:lnTo>
                      <a:lnTo>
                        <a:pt x="1347" y="1274"/>
                      </a:lnTo>
                      <a:lnTo>
                        <a:pt x="1350" y="1276"/>
                      </a:lnTo>
                      <a:lnTo>
                        <a:pt x="1352" y="1277"/>
                      </a:lnTo>
                      <a:lnTo>
                        <a:pt x="1353" y="1276"/>
                      </a:lnTo>
                      <a:lnTo>
                        <a:pt x="1357" y="1274"/>
                      </a:lnTo>
                      <a:lnTo>
                        <a:pt x="1359" y="1272"/>
                      </a:lnTo>
                      <a:lnTo>
                        <a:pt x="1363" y="1270"/>
                      </a:lnTo>
                      <a:lnTo>
                        <a:pt x="1365" y="1268"/>
                      </a:lnTo>
                      <a:lnTo>
                        <a:pt x="1368" y="1265"/>
                      </a:lnTo>
                      <a:lnTo>
                        <a:pt x="1375" y="1261"/>
                      </a:lnTo>
                      <a:lnTo>
                        <a:pt x="1377" y="1257"/>
                      </a:lnTo>
                      <a:lnTo>
                        <a:pt x="1379" y="1252"/>
                      </a:lnTo>
                      <a:lnTo>
                        <a:pt x="1381" y="1247"/>
                      </a:lnTo>
                      <a:lnTo>
                        <a:pt x="1386" y="1243"/>
                      </a:lnTo>
                      <a:lnTo>
                        <a:pt x="1388" y="1243"/>
                      </a:lnTo>
                      <a:lnTo>
                        <a:pt x="1389" y="1240"/>
                      </a:lnTo>
                      <a:lnTo>
                        <a:pt x="1391" y="1239"/>
                      </a:lnTo>
                      <a:lnTo>
                        <a:pt x="1392" y="1238"/>
                      </a:lnTo>
                      <a:lnTo>
                        <a:pt x="1395" y="1239"/>
                      </a:lnTo>
                      <a:lnTo>
                        <a:pt x="1397" y="1239"/>
                      </a:lnTo>
                      <a:lnTo>
                        <a:pt x="1398" y="1240"/>
                      </a:lnTo>
                      <a:lnTo>
                        <a:pt x="1398" y="1240"/>
                      </a:lnTo>
                      <a:lnTo>
                        <a:pt x="1400" y="1240"/>
                      </a:lnTo>
                      <a:lnTo>
                        <a:pt x="1401" y="1241"/>
                      </a:lnTo>
                      <a:lnTo>
                        <a:pt x="1402" y="1240"/>
                      </a:lnTo>
                      <a:lnTo>
                        <a:pt x="1403" y="1239"/>
                      </a:lnTo>
                      <a:lnTo>
                        <a:pt x="1405" y="1238"/>
                      </a:lnTo>
                      <a:lnTo>
                        <a:pt x="1406" y="1237"/>
                      </a:lnTo>
                      <a:lnTo>
                        <a:pt x="1407" y="1235"/>
                      </a:lnTo>
                      <a:lnTo>
                        <a:pt x="1408" y="1234"/>
                      </a:lnTo>
                      <a:lnTo>
                        <a:pt x="1430" y="1229"/>
                      </a:lnTo>
                      <a:lnTo>
                        <a:pt x="1449" y="1220"/>
                      </a:lnTo>
                      <a:lnTo>
                        <a:pt x="1450" y="1219"/>
                      </a:lnTo>
                      <a:lnTo>
                        <a:pt x="1452" y="1218"/>
                      </a:lnTo>
                      <a:lnTo>
                        <a:pt x="1454" y="1217"/>
                      </a:lnTo>
                      <a:lnTo>
                        <a:pt x="1457" y="1217"/>
                      </a:lnTo>
                      <a:lnTo>
                        <a:pt x="1460" y="1217"/>
                      </a:lnTo>
                      <a:lnTo>
                        <a:pt x="1462" y="1217"/>
                      </a:lnTo>
                      <a:lnTo>
                        <a:pt x="1463" y="1218"/>
                      </a:lnTo>
                      <a:lnTo>
                        <a:pt x="1464" y="1219"/>
                      </a:lnTo>
                      <a:lnTo>
                        <a:pt x="1464" y="1220"/>
                      </a:lnTo>
                      <a:lnTo>
                        <a:pt x="1462" y="1224"/>
                      </a:lnTo>
                      <a:lnTo>
                        <a:pt x="1460" y="1225"/>
                      </a:lnTo>
                      <a:lnTo>
                        <a:pt x="1457" y="1226"/>
                      </a:lnTo>
                      <a:lnTo>
                        <a:pt x="1454" y="1226"/>
                      </a:lnTo>
                      <a:lnTo>
                        <a:pt x="1452" y="1227"/>
                      </a:lnTo>
                      <a:lnTo>
                        <a:pt x="1450" y="1228"/>
                      </a:lnTo>
                      <a:lnTo>
                        <a:pt x="1449" y="1229"/>
                      </a:lnTo>
                      <a:lnTo>
                        <a:pt x="1446" y="1232"/>
                      </a:lnTo>
                      <a:lnTo>
                        <a:pt x="1448" y="1234"/>
                      </a:lnTo>
                      <a:lnTo>
                        <a:pt x="1448" y="1236"/>
                      </a:lnTo>
                      <a:lnTo>
                        <a:pt x="1449" y="1238"/>
                      </a:lnTo>
                      <a:lnTo>
                        <a:pt x="1450" y="1241"/>
                      </a:lnTo>
                      <a:lnTo>
                        <a:pt x="1451" y="1244"/>
                      </a:lnTo>
                      <a:lnTo>
                        <a:pt x="1451" y="1245"/>
                      </a:lnTo>
                      <a:lnTo>
                        <a:pt x="1449" y="1247"/>
                      </a:lnTo>
                      <a:lnTo>
                        <a:pt x="1446" y="1249"/>
                      </a:lnTo>
                      <a:lnTo>
                        <a:pt x="1443" y="1250"/>
                      </a:lnTo>
                      <a:lnTo>
                        <a:pt x="1440" y="1252"/>
                      </a:lnTo>
                      <a:lnTo>
                        <a:pt x="1438" y="1255"/>
                      </a:lnTo>
                      <a:lnTo>
                        <a:pt x="1438" y="1256"/>
                      </a:lnTo>
                      <a:lnTo>
                        <a:pt x="1438" y="1257"/>
                      </a:lnTo>
                      <a:lnTo>
                        <a:pt x="1439" y="1258"/>
                      </a:lnTo>
                      <a:lnTo>
                        <a:pt x="1441" y="1259"/>
                      </a:lnTo>
                      <a:lnTo>
                        <a:pt x="1442" y="1259"/>
                      </a:lnTo>
                      <a:lnTo>
                        <a:pt x="1444" y="1260"/>
                      </a:lnTo>
                      <a:lnTo>
                        <a:pt x="1445" y="1261"/>
                      </a:lnTo>
                      <a:lnTo>
                        <a:pt x="1446" y="1262"/>
                      </a:lnTo>
                      <a:lnTo>
                        <a:pt x="1446" y="1263"/>
                      </a:lnTo>
                      <a:lnTo>
                        <a:pt x="1449" y="1265"/>
                      </a:lnTo>
                      <a:lnTo>
                        <a:pt x="1450" y="1266"/>
                      </a:lnTo>
                      <a:lnTo>
                        <a:pt x="1451" y="1265"/>
                      </a:lnTo>
                      <a:lnTo>
                        <a:pt x="1453" y="1263"/>
                      </a:lnTo>
                      <a:lnTo>
                        <a:pt x="1454" y="1261"/>
                      </a:lnTo>
                      <a:lnTo>
                        <a:pt x="1455" y="1260"/>
                      </a:lnTo>
                      <a:lnTo>
                        <a:pt x="1457" y="1258"/>
                      </a:lnTo>
                      <a:lnTo>
                        <a:pt x="1459" y="1256"/>
                      </a:lnTo>
                      <a:lnTo>
                        <a:pt x="1459" y="1254"/>
                      </a:lnTo>
                      <a:lnTo>
                        <a:pt x="1457" y="1251"/>
                      </a:lnTo>
                      <a:lnTo>
                        <a:pt x="1456" y="1250"/>
                      </a:lnTo>
                      <a:lnTo>
                        <a:pt x="1455" y="1248"/>
                      </a:lnTo>
                      <a:lnTo>
                        <a:pt x="1454" y="1245"/>
                      </a:lnTo>
                      <a:lnTo>
                        <a:pt x="1453" y="1243"/>
                      </a:lnTo>
                      <a:lnTo>
                        <a:pt x="1454" y="1240"/>
                      </a:lnTo>
                      <a:lnTo>
                        <a:pt x="1455" y="1238"/>
                      </a:lnTo>
                      <a:lnTo>
                        <a:pt x="1457" y="1236"/>
                      </a:lnTo>
                      <a:lnTo>
                        <a:pt x="1465" y="1234"/>
                      </a:lnTo>
                      <a:lnTo>
                        <a:pt x="1474" y="1232"/>
                      </a:lnTo>
                      <a:lnTo>
                        <a:pt x="1484" y="1229"/>
                      </a:lnTo>
                      <a:lnTo>
                        <a:pt x="1482" y="1227"/>
                      </a:lnTo>
                      <a:lnTo>
                        <a:pt x="1481" y="1226"/>
                      </a:lnTo>
                      <a:lnTo>
                        <a:pt x="1478" y="1225"/>
                      </a:lnTo>
                      <a:lnTo>
                        <a:pt x="1477" y="1223"/>
                      </a:lnTo>
                      <a:lnTo>
                        <a:pt x="1477" y="1220"/>
                      </a:lnTo>
                      <a:lnTo>
                        <a:pt x="1478" y="1219"/>
                      </a:lnTo>
                      <a:lnTo>
                        <a:pt x="1481" y="1219"/>
                      </a:lnTo>
                      <a:lnTo>
                        <a:pt x="1483" y="1219"/>
                      </a:lnTo>
                      <a:lnTo>
                        <a:pt x="1485" y="1220"/>
                      </a:lnTo>
                      <a:lnTo>
                        <a:pt x="1486" y="1222"/>
                      </a:lnTo>
                      <a:lnTo>
                        <a:pt x="1488" y="1223"/>
                      </a:lnTo>
                      <a:lnTo>
                        <a:pt x="1487" y="1224"/>
                      </a:lnTo>
                      <a:lnTo>
                        <a:pt x="1487" y="1225"/>
                      </a:lnTo>
                      <a:lnTo>
                        <a:pt x="1486" y="1226"/>
                      </a:lnTo>
                      <a:lnTo>
                        <a:pt x="1486" y="1227"/>
                      </a:lnTo>
                      <a:lnTo>
                        <a:pt x="1486" y="1227"/>
                      </a:lnTo>
                      <a:lnTo>
                        <a:pt x="1488" y="1227"/>
                      </a:lnTo>
                      <a:lnTo>
                        <a:pt x="1499" y="1227"/>
                      </a:lnTo>
                      <a:lnTo>
                        <a:pt x="1503" y="1228"/>
                      </a:lnTo>
                      <a:lnTo>
                        <a:pt x="1505" y="1228"/>
                      </a:lnTo>
                      <a:lnTo>
                        <a:pt x="1506" y="1229"/>
                      </a:lnTo>
                      <a:lnTo>
                        <a:pt x="1507" y="1230"/>
                      </a:lnTo>
                      <a:lnTo>
                        <a:pt x="1508" y="1232"/>
                      </a:lnTo>
                      <a:lnTo>
                        <a:pt x="1508" y="1234"/>
                      </a:lnTo>
                      <a:lnTo>
                        <a:pt x="1508" y="1236"/>
                      </a:lnTo>
                      <a:lnTo>
                        <a:pt x="1508" y="1238"/>
                      </a:lnTo>
                      <a:lnTo>
                        <a:pt x="1509" y="1239"/>
                      </a:lnTo>
                      <a:lnTo>
                        <a:pt x="1511" y="1240"/>
                      </a:lnTo>
                      <a:lnTo>
                        <a:pt x="1515" y="1240"/>
                      </a:lnTo>
                      <a:lnTo>
                        <a:pt x="1521" y="1239"/>
                      </a:lnTo>
                      <a:lnTo>
                        <a:pt x="1530" y="1237"/>
                      </a:lnTo>
                      <a:lnTo>
                        <a:pt x="1539" y="1237"/>
                      </a:lnTo>
                      <a:lnTo>
                        <a:pt x="1545" y="1238"/>
                      </a:lnTo>
                      <a:lnTo>
                        <a:pt x="1547" y="1239"/>
                      </a:lnTo>
                      <a:lnTo>
                        <a:pt x="1547" y="1239"/>
                      </a:lnTo>
                      <a:lnTo>
                        <a:pt x="1547" y="1241"/>
                      </a:lnTo>
                      <a:lnTo>
                        <a:pt x="1549" y="1241"/>
                      </a:lnTo>
                      <a:lnTo>
                        <a:pt x="1550" y="1243"/>
                      </a:lnTo>
                      <a:lnTo>
                        <a:pt x="1551" y="1243"/>
                      </a:lnTo>
                      <a:lnTo>
                        <a:pt x="1552" y="1243"/>
                      </a:lnTo>
                      <a:lnTo>
                        <a:pt x="1554" y="1243"/>
                      </a:lnTo>
                      <a:lnTo>
                        <a:pt x="1563" y="1241"/>
                      </a:lnTo>
                      <a:lnTo>
                        <a:pt x="1572" y="1238"/>
                      </a:lnTo>
                      <a:lnTo>
                        <a:pt x="1574" y="1236"/>
                      </a:lnTo>
                      <a:lnTo>
                        <a:pt x="1576" y="1235"/>
                      </a:lnTo>
                      <a:lnTo>
                        <a:pt x="1580" y="1234"/>
                      </a:lnTo>
                      <a:lnTo>
                        <a:pt x="1583" y="1234"/>
                      </a:lnTo>
                      <a:lnTo>
                        <a:pt x="1586" y="1233"/>
                      </a:lnTo>
                      <a:lnTo>
                        <a:pt x="1590" y="1229"/>
                      </a:lnTo>
                      <a:lnTo>
                        <a:pt x="1592" y="1228"/>
                      </a:lnTo>
                      <a:lnTo>
                        <a:pt x="1594" y="1228"/>
                      </a:lnTo>
                      <a:lnTo>
                        <a:pt x="1596" y="1228"/>
                      </a:lnTo>
                      <a:lnTo>
                        <a:pt x="1597" y="1228"/>
                      </a:lnTo>
                      <a:lnTo>
                        <a:pt x="1598" y="1229"/>
                      </a:lnTo>
                      <a:lnTo>
                        <a:pt x="1599" y="1230"/>
                      </a:lnTo>
                      <a:lnTo>
                        <a:pt x="1599" y="1232"/>
                      </a:lnTo>
                      <a:lnTo>
                        <a:pt x="1601" y="1233"/>
                      </a:lnTo>
                      <a:lnTo>
                        <a:pt x="1602" y="1234"/>
                      </a:lnTo>
                      <a:lnTo>
                        <a:pt x="1603" y="1234"/>
                      </a:lnTo>
                      <a:lnTo>
                        <a:pt x="1604" y="1235"/>
                      </a:lnTo>
                      <a:lnTo>
                        <a:pt x="1604" y="1236"/>
                      </a:lnTo>
                      <a:lnTo>
                        <a:pt x="1604" y="1237"/>
                      </a:lnTo>
                      <a:lnTo>
                        <a:pt x="1604" y="1238"/>
                      </a:lnTo>
                      <a:lnTo>
                        <a:pt x="1604" y="1239"/>
                      </a:lnTo>
                      <a:lnTo>
                        <a:pt x="1605" y="1239"/>
                      </a:lnTo>
                      <a:lnTo>
                        <a:pt x="1607" y="1240"/>
                      </a:lnTo>
                      <a:lnTo>
                        <a:pt x="1609" y="1241"/>
                      </a:lnTo>
                      <a:lnTo>
                        <a:pt x="1613" y="1243"/>
                      </a:lnTo>
                      <a:lnTo>
                        <a:pt x="1615" y="1244"/>
                      </a:lnTo>
                      <a:lnTo>
                        <a:pt x="1618" y="1245"/>
                      </a:lnTo>
                      <a:lnTo>
                        <a:pt x="1618" y="1243"/>
                      </a:lnTo>
                      <a:lnTo>
                        <a:pt x="1619" y="1241"/>
                      </a:lnTo>
                      <a:lnTo>
                        <a:pt x="1620" y="1241"/>
                      </a:lnTo>
                      <a:lnTo>
                        <a:pt x="1621" y="1241"/>
                      </a:lnTo>
                      <a:lnTo>
                        <a:pt x="1625" y="1243"/>
                      </a:lnTo>
                      <a:lnTo>
                        <a:pt x="1626" y="1244"/>
                      </a:lnTo>
                      <a:lnTo>
                        <a:pt x="1628" y="1245"/>
                      </a:lnTo>
                      <a:lnTo>
                        <a:pt x="1629" y="1246"/>
                      </a:lnTo>
                      <a:lnTo>
                        <a:pt x="1630" y="1246"/>
                      </a:lnTo>
                      <a:lnTo>
                        <a:pt x="1631" y="1247"/>
                      </a:lnTo>
                      <a:lnTo>
                        <a:pt x="1632" y="1249"/>
                      </a:lnTo>
                      <a:lnTo>
                        <a:pt x="1631" y="1250"/>
                      </a:lnTo>
                      <a:lnTo>
                        <a:pt x="1630" y="1252"/>
                      </a:lnTo>
                      <a:lnTo>
                        <a:pt x="1628" y="1254"/>
                      </a:lnTo>
                      <a:lnTo>
                        <a:pt x="1626" y="1255"/>
                      </a:lnTo>
                      <a:lnTo>
                        <a:pt x="1624" y="1255"/>
                      </a:lnTo>
                      <a:lnTo>
                        <a:pt x="1623" y="1256"/>
                      </a:lnTo>
                      <a:lnTo>
                        <a:pt x="1621" y="1257"/>
                      </a:lnTo>
                      <a:lnTo>
                        <a:pt x="1621" y="1258"/>
                      </a:lnTo>
                      <a:lnTo>
                        <a:pt x="1621" y="1258"/>
                      </a:lnTo>
                      <a:lnTo>
                        <a:pt x="1624" y="1258"/>
                      </a:lnTo>
                      <a:lnTo>
                        <a:pt x="1625" y="1258"/>
                      </a:lnTo>
                      <a:lnTo>
                        <a:pt x="1627" y="1257"/>
                      </a:lnTo>
                      <a:lnTo>
                        <a:pt x="1628" y="1257"/>
                      </a:lnTo>
                      <a:lnTo>
                        <a:pt x="1630" y="1256"/>
                      </a:lnTo>
                      <a:lnTo>
                        <a:pt x="1631" y="1256"/>
                      </a:lnTo>
                      <a:lnTo>
                        <a:pt x="1641" y="1255"/>
                      </a:lnTo>
                      <a:lnTo>
                        <a:pt x="1651" y="1257"/>
                      </a:lnTo>
                      <a:lnTo>
                        <a:pt x="1658" y="1262"/>
                      </a:lnTo>
                      <a:lnTo>
                        <a:pt x="1659" y="1265"/>
                      </a:lnTo>
                      <a:lnTo>
                        <a:pt x="1661" y="1266"/>
                      </a:lnTo>
                      <a:lnTo>
                        <a:pt x="1662" y="1268"/>
                      </a:lnTo>
                      <a:lnTo>
                        <a:pt x="1663" y="1270"/>
                      </a:lnTo>
                      <a:lnTo>
                        <a:pt x="1664" y="1271"/>
                      </a:lnTo>
                      <a:lnTo>
                        <a:pt x="1662" y="1278"/>
                      </a:lnTo>
                      <a:lnTo>
                        <a:pt x="1664" y="1276"/>
                      </a:lnTo>
                      <a:lnTo>
                        <a:pt x="1669" y="1276"/>
                      </a:lnTo>
                      <a:lnTo>
                        <a:pt x="1673" y="1277"/>
                      </a:lnTo>
                      <a:lnTo>
                        <a:pt x="1677" y="1279"/>
                      </a:lnTo>
                      <a:lnTo>
                        <a:pt x="1680" y="1280"/>
                      </a:lnTo>
                      <a:lnTo>
                        <a:pt x="1681" y="1281"/>
                      </a:lnTo>
                      <a:lnTo>
                        <a:pt x="1682" y="1281"/>
                      </a:lnTo>
                      <a:lnTo>
                        <a:pt x="1682" y="1283"/>
                      </a:lnTo>
                      <a:lnTo>
                        <a:pt x="1684" y="1284"/>
                      </a:lnTo>
                      <a:lnTo>
                        <a:pt x="1685" y="1285"/>
                      </a:lnTo>
                      <a:lnTo>
                        <a:pt x="1688" y="1285"/>
                      </a:lnTo>
                      <a:lnTo>
                        <a:pt x="1690" y="1285"/>
                      </a:lnTo>
                      <a:lnTo>
                        <a:pt x="1693" y="1285"/>
                      </a:lnTo>
                      <a:lnTo>
                        <a:pt x="1695" y="1285"/>
                      </a:lnTo>
                      <a:lnTo>
                        <a:pt x="1697" y="1284"/>
                      </a:lnTo>
                      <a:lnTo>
                        <a:pt x="1700" y="1284"/>
                      </a:lnTo>
                      <a:lnTo>
                        <a:pt x="1717" y="1280"/>
                      </a:lnTo>
                      <a:lnTo>
                        <a:pt x="1735" y="1280"/>
                      </a:lnTo>
                      <a:lnTo>
                        <a:pt x="1739" y="1281"/>
                      </a:lnTo>
                      <a:lnTo>
                        <a:pt x="1744" y="1282"/>
                      </a:lnTo>
                      <a:lnTo>
                        <a:pt x="1748" y="1284"/>
                      </a:lnTo>
                      <a:lnTo>
                        <a:pt x="1754" y="1287"/>
                      </a:lnTo>
                      <a:lnTo>
                        <a:pt x="1759" y="1289"/>
                      </a:lnTo>
                      <a:lnTo>
                        <a:pt x="1763" y="1291"/>
                      </a:lnTo>
                      <a:lnTo>
                        <a:pt x="1765" y="1293"/>
                      </a:lnTo>
                      <a:lnTo>
                        <a:pt x="1766" y="1295"/>
                      </a:lnTo>
                      <a:lnTo>
                        <a:pt x="1767" y="1296"/>
                      </a:lnTo>
                      <a:lnTo>
                        <a:pt x="1767" y="1299"/>
                      </a:lnTo>
                      <a:lnTo>
                        <a:pt x="1768" y="1302"/>
                      </a:lnTo>
                      <a:lnTo>
                        <a:pt x="1768" y="1306"/>
                      </a:lnTo>
                      <a:lnTo>
                        <a:pt x="1768" y="1311"/>
                      </a:lnTo>
                      <a:lnTo>
                        <a:pt x="1770" y="1315"/>
                      </a:lnTo>
                      <a:lnTo>
                        <a:pt x="1771" y="1316"/>
                      </a:lnTo>
                      <a:lnTo>
                        <a:pt x="1773" y="1318"/>
                      </a:lnTo>
                      <a:lnTo>
                        <a:pt x="1774" y="1320"/>
                      </a:lnTo>
                      <a:lnTo>
                        <a:pt x="1777" y="1321"/>
                      </a:lnTo>
                      <a:lnTo>
                        <a:pt x="1778" y="1323"/>
                      </a:lnTo>
                      <a:lnTo>
                        <a:pt x="1779" y="1324"/>
                      </a:lnTo>
                      <a:lnTo>
                        <a:pt x="1779" y="1327"/>
                      </a:lnTo>
                      <a:lnTo>
                        <a:pt x="1778" y="1329"/>
                      </a:lnTo>
                      <a:lnTo>
                        <a:pt x="1777" y="1333"/>
                      </a:lnTo>
                      <a:lnTo>
                        <a:pt x="1773" y="1336"/>
                      </a:lnTo>
                      <a:lnTo>
                        <a:pt x="1771" y="1338"/>
                      </a:lnTo>
                      <a:lnTo>
                        <a:pt x="1768" y="1340"/>
                      </a:lnTo>
                      <a:lnTo>
                        <a:pt x="1766" y="1344"/>
                      </a:lnTo>
                      <a:lnTo>
                        <a:pt x="1752" y="1350"/>
                      </a:lnTo>
                      <a:lnTo>
                        <a:pt x="1751" y="1352"/>
                      </a:lnTo>
                      <a:lnTo>
                        <a:pt x="1750" y="1354"/>
                      </a:lnTo>
                      <a:lnTo>
                        <a:pt x="1749" y="1356"/>
                      </a:lnTo>
                      <a:lnTo>
                        <a:pt x="1747" y="1359"/>
                      </a:lnTo>
                      <a:lnTo>
                        <a:pt x="1744" y="1361"/>
                      </a:lnTo>
                      <a:lnTo>
                        <a:pt x="1741" y="1364"/>
                      </a:lnTo>
                      <a:lnTo>
                        <a:pt x="1739" y="1366"/>
                      </a:lnTo>
                      <a:lnTo>
                        <a:pt x="1738" y="1368"/>
                      </a:lnTo>
                      <a:lnTo>
                        <a:pt x="1737" y="1368"/>
                      </a:lnTo>
                      <a:lnTo>
                        <a:pt x="1744" y="1366"/>
                      </a:lnTo>
                      <a:lnTo>
                        <a:pt x="1749" y="1363"/>
                      </a:lnTo>
                      <a:lnTo>
                        <a:pt x="1755" y="1359"/>
                      </a:lnTo>
                      <a:lnTo>
                        <a:pt x="1756" y="1359"/>
                      </a:lnTo>
                      <a:lnTo>
                        <a:pt x="1757" y="1359"/>
                      </a:lnTo>
                      <a:lnTo>
                        <a:pt x="1757" y="1361"/>
                      </a:lnTo>
                      <a:lnTo>
                        <a:pt x="1757" y="1363"/>
                      </a:lnTo>
                      <a:lnTo>
                        <a:pt x="1758" y="1365"/>
                      </a:lnTo>
                      <a:lnTo>
                        <a:pt x="1758" y="1367"/>
                      </a:lnTo>
                      <a:lnTo>
                        <a:pt x="1758" y="1368"/>
                      </a:lnTo>
                      <a:lnTo>
                        <a:pt x="1759" y="1368"/>
                      </a:lnTo>
                      <a:lnTo>
                        <a:pt x="1763" y="1368"/>
                      </a:lnTo>
                      <a:lnTo>
                        <a:pt x="1772" y="1366"/>
                      </a:lnTo>
                      <a:lnTo>
                        <a:pt x="1779" y="1364"/>
                      </a:lnTo>
                      <a:lnTo>
                        <a:pt x="1780" y="1364"/>
                      </a:lnTo>
                      <a:lnTo>
                        <a:pt x="1781" y="1363"/>
                      </a:lnTo>
                      <a:lnTo>
                        <a:pt x="1780" y="1363"/>
                      </a:lnTo>
                      <a:lnTo>
                        <a:pt x="1779" y="1361"/>
                      </a:lnTo>
                      <a:lnTo>
                        <a:pt x="1777" y="1361"/>
                      </a:lnTo>
                      <a:lnTo>
                        <a:pt x="1773" y="1363"/>
                      </a:lnTo>
                      <a:lnTo>
                        <a:pt x="1771" y="1364"/>
                      </a:lnTo>
                      <a:lnTo>
                        <a:pt x="1768" y="1365"/>
                      </a:lnTo>
                      <a:lnTo>
                        <a:pt x="1766" y="1366"/>
                      </a:lnTo>
                      <a:lnTo>
                        <a:pt x="1763" y="1366"/>
                      </a:lnTo>
                      <a:lnTo>
                        <a:pt x="1762" y="1365"/>
                      </a:lnTo>
                      <a:lnTo>
                        <a:pt x="1761" y="1364"/>
                      </a:lnTo>
                      <a:lnTo>
                        <a:pt x="1760" y="1361"/>
                      </a:lnTo>
                      <a:lnTo>
                        <a:pt x="1760" y="1359"/>
                      </a:lnTo>
                      <a:lnTo>
                        <a:pt x="1761" y="1356"/>
                      </a:lnTo>
                      <a:lnTo>
                        <a:pt x="1762" y="1354"/>
                      </a:lnTo>
                      <a:lnTo>
                        <a:pt x="1763" y="1350"/>
                      </a:lnTo>
                      <a:lnTo>
                        <a:pt x="1769" y="1346"/>
                      </a:lnTo>
                      <a:lnTo>
                        <a:pt x="1776" y="1345"/>
                      </a:lnTo>
                      <a:lnTo>
                        <a:pt x="1781" y="1346"/>
                      </a:lnTo>
                      <a:lnTo>
                        <a:pt x="1783" y="1346"/>
                      </a:lnTo>
                      <a:lnTo>
                        <a:pt x="1785" y="1345"/>
                      </a:lnTo>
                      <a:lnTo>
                        <a:pt x="1789" y="1345"/>
                      </a:lnTo>
                      <a:lnTo>
                        <a:pt x="1791" y="1344"/>
                      </a:lnTo>
                      <a:lnTo>
                        <a:pt x="1794" y="1344"/>
                      </a:lnTo>
                      <a:lnTo>
                        <a:pt x="1795" y="1344"/>
                      </a:lnTo>
                      <a:lnTo>
                        <a:pt x="1796" y="1344"/>
                      </a:lnTo>
                      <a:lnTo>
                        <a:pt x="1796" y="1345"/>
                      </a:lnTo>
                      <a:lnTo>
                        <a:pt x="1796" y="1347"/>
                      </a:lnTo>
                      <a:lnTo>
                        <a:pt x="1794" y="1348"/>
                      </a:lnTo>
                      <a:lnTo>
                        <a:pt x="1793" y="1350"/>
                      </a:lnTo>
                      <a:lnTo>
                        <a:pt x="1791" y="1352"/>
                      </a:lnTo>
                      <a:lnTo>
                        <a:pt x="1790" y="1353"/>
                      </a:lnTo>
                      <a:lnTo>
                        <a:pt x="1790" y="1354"/>
                      </a:lnTo>
                      <a:lnTo>
                        <a:pt x="1789" y="1355"/>
                      </a:lnTo>
                      <a:lnTo>
                        <a:pt x="1788" y="1356"/>
                      </a:lnTo>
                      <a:lnTo>
                        <a:pt x="1788" y="1358"/>
                      </a:lnTo>
                      <a:lnTo>
                        <a:pt x="1787" y="1359"/>
                      </a:lnTo>
                      <a:lnTo>
                        <a:pt x="1787" y="1359"/>
                      </a:lnTo>
                      <a:lnTo>
                        <a:pt x="1788" y="1359"/>
                      </a:lnTo>
                      <a:lnTo>
                        <a:pt x="1793" y="1356"/>
                      </a:lnTo>
                      <a:lnTo>
                        <a:pt x="1798" y="1350"/>
                      </a:lnTo>
                      <a:lnTo>
                        <a:pt x="1803" y="1347"/>
                      </a:lnTo>
                      <a:lnTo>
                        <a:pt x="1812" y="1344"/>
                      </a:lnTo>
                      <a:lnTo>
                        <a:pt x="1814" y="1345"/>
                      </a:lnTo>
                      <a:lnTo>
                        <a:pt x="1816" y="1346"/>
                      </a:lnTo>
                      <a:lnTo>
                        <a:pt x="1819" y="1346"/>
                      </a:lnTo>
                      <a:lnTo>
                        <a:pt x="1827" y="1346"/>
                      </a:lnTo>
                      <a:lnTo>
                        <a:pt x="1828" y="1345"/>
                      </a:lnTo>
                      <a:lnTo>
                        <a:pt x="1831" y="1345"/>
                      </a:lnTo>
                      <a:lnTo>
                        <a:pt x="1831" y="1346"/>
                      </a:lnTo>
                      <a:lnTo>
                        <a:pt x="1832" y="1346"/>
                      </a:lnTo>
                      <a:lnTo>
                        <a:pt x="1833" y="1347"/>
                      </a:lnTo>
                      <a:lnTo>
                        <a:pt x="1835" y="1347"/>
                      </a:lnTo>
                      <a:lnTo>
                        <a:pt x="1836" y="1347"/>
                      </a:lnTo>
                      <a:lnTo>
                        <a:pt x="1838" y="1348"/>
                      </a:lnTo>
                      <a:lnTo>
                        <a:pt x="1842" y="1349"/>
                      </a:lnTo>
                      <a:lnTo>
                        <a:pt x="1845" y="1350"/>
                      </a:lnTo>
                      <a:lnTo>
                        <a:pt x="1847" y="1353"/>
                      </a:lnTo>
                      <a:lnTo>
                        <a:pt x="1849" y="1355"/>
                      </a:lnTo>
                      <a:lnTo>
                        <a:pt x="1848" y="1357"/>
                      </a:lnTo>
                      <a:lnTo>
                        <a:pt x="1847" y="1359"/>
                      </a:lnTo>
                      <a:lnTo>
                        <a:pt x="1845" y="1361"/>
                      </a:lnTo>
                      <a:lnTo>
                        <a:pt x="1844" y="1361"/>
                      </a:lnTo>
                      <a:lnTo>
                        <a:pt x="1844" y="1363"/>
                      </a:lnTo>
                      <a:lnTo>
                        <a:pt x="1844" y="1363"/>
                      </a:lnTo>
                      <a:lnTo>
                        <a:pt x="1845" y="1364"/>
                      </a:lnTo>
                      <a:lnTo>
                        <a:pt x="1845" y="1364"/>
                      </a:lnTo>
                      <a:lnTo>
                        <a:pt x="1848" y="1364"/>
                      </a:lnTo>
                      <a:lnTo>
                        <a:pt x="1850" y="1361"/>
                      </a:lnTo>
                      <a:lnTo>
                        <a:pt x="1854" y="1359"/>
                      </a:lnTo>
                      <a:lnTo>
                        <a:pt x="1856" y="1357"/>
                      </a:lnTo>
                      <a:lnTo>
                        <a:pt x="1859" y="1356"/>
                      </a:lnTo>
                      <a:lnTo>
                        <a:pt x="1863" y="1355"/>
                      </a:lnTo>
                      <a:lnTo>
                        <a:pt x="1866" y="1355"/>
                      </a:lnTo>
                      <a:lnTo>
                        <a:pt x="1868" y="1356"/>
                      </a:lnTo>
                      <a:lnTo>
                        <a:pt x="1871" y="1356"/>
                      </a:lnTo>
                      <a:lnTo>
                        <a:pt x="1874" y="1357"/>
                      </a:lnTo>
                      <a:lnTo>
                        <a:pt x="1876" y="1357"/>
                      </a:lnTo>
                      <a:lnTo>
                        <a:pt x="1878" y="1357"/>
                      </a:lnTo>
                      <a:lnTo>
                        <a:pt x="1880" y="1356"/>
                      </a:lnTo>
                      <a:lnTo>
                        <a:pt x="1882" y="1355"/>
                      </a:lnTo>
                      <a:lnTo>
                        <a:pt x="1883" y="1356"/>
                      </a:lnTo>
                      <a:lnTo>
                        <a:pt x="1886" y="1357"/>
                      </a:lnTo>
                      <a:lnTo>
                        <a:pt x="1888" y="1356"/>
                      </a:lnTo>
                      <a:lnTo>
                        <a:pt x="1891" y="1355"/>
                      </a:lnTo>
                      <a:lnTo>
                        <a:pt x="1893" y="1355"/>
                      </a:lnTo>
                      <a:lnTo>
                        <a:pt x="1896" y="1354"/>
                      </a:lnTo>
                      <a:lnTo>
                        <a:pt x="1899" y="1353"/>
                      </a:lnTo>
                      <a:lnTo>
                        <a:pt x="1902" y="1350"/>
                      </a:lnTo>
                      <a:lnTo>
                        <a:pt x="1909" y="1350"/>
                      </a:lnTo>
                      <a:lnTo>
                        <a:pt x="1912" y="1352"/>
                      </a:lnTo>
                      <a:lnTo>
                        <a:pt x="1915" y="1353"/>
                      </a:lnTo>
                      <a:lnTo>
                        <a:pt x="1918" y="1354"/>
                      </a:lnTo>
                      <a:lnTo>
                        <a:pt x="1920" y="1356"/>
                      </a:lnTo>
                      <a:lnTo>
                        <a:pt x="1922" y="1357"/>
                      </a:lnTo>
                      <a:lnTo>
                        <a:pt x="1925" y="1358"/>
                      </a:lnTo>
                      <a:lnTo>
                        <a:pt x="1930" y="1359"/>
                      </a:lnTo>
                      <a:lnTo>
                        <a:pt x="1933" y="1360"/>
                      </a:lnTo>
                      <a:lnTo>
                        <a:pt x="1935" y="1361"/>
                      </a:lnTo>
                      <a:lnTo>
                        <a:pt x="1937" y="1364"/>
                      </a:lnTo>
                      <a:lnTo>
                        <a:pt x="1942" y="1365"/>
                      </a:lnTo>
                      <a:lnTo>
                        <a:pt x="1946" y="1365"/>
                      </a:lnTo>
                      <a:lnTo>
                        <a:pt x="1952" y="1364"/>
                      </a:lnTo>
                      <a:lnTo>
                        <a:pt x="1956" y="1363"/>
                      </a:lnTo>
                      <a:lnTo>
                        <a:pt x="1961" y="1363"/>
                      </a:lnTo>
                      <a:lnTo>
                        <a:pt x="1962" y="1366"/>
                      </a:lnTo>
                      <a:lnTo>
                        <a:pt x="1962" y="1375"/>
                      </a:lnTo>
                      <a:lnTo>
                        <a:pt x="1962" y="1382"/>
                      </a:lnTo>
                      <a:lnTo>
                        <a:pt x="1958" y="1391"/>
                      </a:lnTo>
                      <a:lnTo>
                        <a:pt x="1953" y="1399"/>
                      </a:lnTo>
                      <a:lnTo>
                        <a:pt x="1933" y="1419"/>
                      </a:lnTo>
                      <a:lnTo>
                        <a:pt x="1930" y="1421"/>
                      </a:lnTo>
                      <a:lnTo>
                        <a:pt x="1926" y="1424"/>
                      </a:lnTo>
                      <a:lnTo>
                        <a:pt x="1922" y="1427"/>
                      </a:lnTo>
                      <a:lnTo>
                        <a:pt x="1920" y="1431"/>
                      </a:lnTo>
                      <a:lnTo>
                        <a:pt x="1918" y="1434"/>
                      </a:lnTo>
                      <a:lnTo>
                        <a:pt x="1915" y="1437"/>
                      </a:lnTo>
                      <a:lnTo>
                        <a:pt x="1911" y="1442"/>
                      </a:lnTo>
                      <a:lnTo>
                        <a:pt x="1907" y="1447"/>
                      </a:lnTo>
                      <a:lnTo>
                        <a:pt x="1902" y="1452"/>
                      </a:lnTo>
                      <a:lnTo>
                        <a:pt x="1898" y="1454"/>
                      </a:lnTo>
                      <a:lnTo>
                        <a:pt x="1894" y="1454"/>
                      </a:lnTo>
                      <a:lnTo>
                        <a:pt x="1891" y="1455"/>
                      </a:lnTo>
                      <a:lnTo>
                        <a:pt x="1889" y="1457"/>
                      </a:lnTo>
                      <a:lnTo>
                        <a:pt x="1887" y="1460"/>
                      </a:lnTo>
                      <a:lnTo>
                        <a:pt x="1885" y="1464"/>
                      </a:lnTo>
                      <a:lnTo>
                        <a:pt x="1883" y="1466"/>
                      </a:lnTo>
                      <a:lnTo>
                        <a:pt x="1882" y="1469"/>
                      </a:lnTo>
                      <a:lnTo>
                        <a:pt x="1882" y="1472"/>
                      </a:lnTo>
                      <a:lnTo>
                        <a:pt x="1882" y="1474"/>
                      </a:lnTo>
                      <a:lnTo>
                        <a:pt x="1882" y="1477"/>
                      </a:lnTo>
                      <a:lnTo>
                        <a:pt x="1883" y="1479"/>
                      </a:lnTo>
                      <a:lnTo>
                        <a:pt x="1883" y="1483"/>
                      </a:lnTo>
                      <a:lnTo>
                        <a:pt x="1882" y="1487"/>
                      </a:lnTo>
                      <a:lnTo>
                        <a:pt x="1880" y="1491"/>
                      </a:lnTo>
                      <a:lnTo>
                        <a:pt x="1877" y="1498"/>
                      </a:lnTo>
                      <a:lnTo>
                        <a:pt x="1874" y="1505"/>
                      </a:lnTo>
                      <a:lnTo>
                        <a:pt x="1870" y="1507"/>
                      </a:lnTo>
                      <a:lnTo>
                        <a:pt x="1868" y="1509"/>
                      </a:lnTo>
                      <a:lnTo>
                        <a:pt x="1866" y="1511"/>
                      </a:lnTo>
                      <a:lnTo>
                        <a:pt x="1865" y="1513"/>
                      </a:lnTo>
                      <a:lnTo>
                        <a:pt x="1865" y="1516"/>
                      </a:lnTo>
                      <a:lnTo>
                        <a:pt x="1865" y="1518"/>
                      </a:lnTo>
                      <a:lnTo>
                        <a:pt x="1864" y="1521"/>
                      </a:lnTo>
                      <a:lnTo>
                        <a:pt x="1860" y="1523"/>
                      </a:lnTo>
                      <a:lnTo>
                        <a:pt x="1857" y="1527"/>
                      </a:lnTo>
                      <a:lnTo>
                        <a:pt x="1854" y="1531"/>
                      </a:lnTo>
                      <a:lnTo>
                        <a:pt x="1847" y="1538"/>
                      </a:lnTo>
                      <a:lnTo>
                        <a:pt x="1845" y="1539"/>
                      </a:lnTo>
                      <a:lnTo>
                        <a:pt x="1844" y="1540"/>
                      </a:lnTo>
                      <a:lnTo>
                        <a:pt x="1844" y="1542"/>
                      </a:lnTo>
                      <a:lnTo>
                        <a:pt x="1844" y="1543"/>
                      </a:lnTo>
                      <a:lnTo>
                        <a:pt x="1843" y="1546"/>
                      </a:lnTo>
                      <a:lnTo>
                        <a:pt x="1841" y="1547"/>
                      </a:lnTo>
                      <a:lnTo>
                        <a:pt x="1838" y="1549"/>
                      </a:lnTo>
                      <a:lnTo>
                        <a:pt x="1835" y="1549"/>
                      </a:lnTo>
                      <a:lnTo>
                        <a:pt x="1832" y="1551"/>
                      </a:lnTo>
                      <a:lnTo>
                        <a:pt x="1830" y="1553"/>
                      </a:lnTo>
                      <a:lnTo>
                        <a:pt x="1827" y="1555"/>
                      </a:lnTo>
                      <a:lnTo>
                        <a:pt x="1826" y="1556"/>
                      </a:lnTo>
                      <a:lnTo>
                        <a:pt x="1824" y="1557"/>
                      </a:lnTo>
                      <a:lnTo>
                        <a:pt x="1821" y="1560"/>
                      </a:lnTo>
                      <a:lnTo>
                        <a:pt x="1819" y="1560"/>
                      </a:lnTo>
                      <a:lnTo>
                        <a:pt x="1817" y="1560"/>
                      </a:lnTo>
                      <a:lnTo>
                        <a:pt x="1815" y="1561"/>
                      </a:lnTo>
                      <a:lnTo>
                        <a:pt x="1814" y="1561"/>
                      </a:lnTo>
                      <a:lnTo>
                        <a:pt x="1814" y="1562"/>
                      </a:lnTo>
                      <a:lnTo>
                        <a:pt x="1814" y="1560"/>
                      </a:lnTo>
                      <a:lnTo>
                        <a:pt x="1814" y="1560"/>
                      </a:lnTo>
                      <a:lnTo>
                        <a:pt x="1815" y="1558"/>
                      </a:lnTo>
                      <a:lnTo>
                        <a:pt x="1815" y="1558"/>
                      </a:lnTo>
                      <a:lnTo>
                        <a:pt x="1814" y="1560"/>
                      </a:lnTo>
                      <a:lnTo>
                        <a:pt x="1813" y="1561"/>
                      </a:lnTo>
                      <a:lnTo>
                        <a:pt x="1812" y="1561"/>
                      </a:lnTo>
                      <a:lnTo>
                        <a:pt x="1811" y="1562"/>
                      </a:lnTo>
                      <a:lnTo>
                        <a:pt x="1810" y="1562"/>
                      </a:lnTo>
                      <a:lnTo>
                        <a:pt x="1806" y="1562"/>
                      </a:lnTo>
                      <a:lnTo>
                        <a:pt x="1804" y="1563"/>
                      </a:lnTo>
                      <a:lnTo>
                        <a:pt x="1802" y="1563"/>
                      </a:lnTo>
                      <a:lnTo>
                        <a:pt x="1801" y="1564"/>
                      </a:lnTo>
                      <a:lnTo>
                        <a:pt x="1801" y="1563"/>
                      </a:lnTo>
                      <a:lnTo>
                        <a:pt x="1801" y="1563"/>
                      </a:lnTo>
                      <a:lnTo>
                        <a:pt x="1802" y="1562"/>
                      </a:lnTo>
                      <a:lnTo>
                        <a:pt x="1802" y="1562"/>
                      </a:lnTo>
                      <a:lnTo>
                        <a:pt x="1801" y="1562"/>
                      </a:lnTo>
                      <a:lnTo>
                        <a:pt x="1799" y="1562"/>
                      </a:lnTo>
                      <a:lnTo>
                        <a:pt x="1798" y="1563"/>
                      </a:lnTo>
                      <a:lnTo>
                        <a:pt x="1796" y="1563"/>
                      </a:lnTo>
                      <a:lnTo>
                        <a:pt x="1796" y="1564"/>
                      </a:lnTo>
                      <a:lnTo>
                        <a:pt x="1792" y="1566"/>
                      </a:lnTo>
                      <a:lnTo>
                        <a:pt x="1790" y="1568"/>
                      </a:lnTo>
                      <a:lnTo>
                        <a:pt x="1788" y="1571"/>
                      </a:lnTo>
                      <a:lnTo>
                        <a:pt x="1787" y="1571"/>
                      </a:lnTo>
                      <a:lnTo>
                        <a:pt x="1785" y="1572"/>
                      </a:lnTo>
                      <a:lnTo>
                        <a:pt x="1784" y="1573"/>
                      </a:lnTo>
                      <a:lnTo>
                        <a:pt x="1784" y="1574"/>
                      </a:lnTo>
                      <a:lnTo>
                        <a:pt x="1783" y="1575"/>
                      </a:lnTo>
                      <a:lnTo>
                        <a:pt x="1780" y="1575"/>
                      </a:lnTo>
                      <a:lnTo>
                        <a:pt x="1778" y="1575"/>
                      </a:lnTo>
                      <a:lnTo>
                        <a:pt x="1774" y="1575"/>
                      </a:lnTo>
                      <a:lnTo>
                        <a:pt x="1772" y="1577"/>
                      </a:lnTo>
                      <a:lnTo>
                        <a:pt x="1759" y="1584"/>
                      </a:lnTo>
                      <a:lnTo>
                        <a:pt x="1750" y="1590"/>
                      </a:lnTo>
                      <a:lnTo>
                        <a:pt x="1746" y="1593"/>
                      </a:lnTo>
                      <a:lnTo>
                        <a:pt x="1744" y="1595"/>
                      </a:lnTo>
                      <a:lnTo>
                        <a:pt x="1744" y="1597"/>
                      </a:lnTo>
                      <a:lnTo>
                        <a:pt x="1743" y="1599"/>
                      </a:lnTo>
                      <a:lnTo>
                        <a:pt x="1741" y="1601"/>
                      </a:lnTo>
                      <a:lnTo>
                        <a:pt x="1740" y="1604"/>
                      </a:lnTo>
                      <a:lnTo>
                        <a:pt x="1739" y="1606"/>
                      </a:lnTo>
                      <a:lnTo>
                        <a:pt x="1739" y="1608"/>
                      </a:lnTo>
                      <a:lnTo>
                        <a:pt x="1739" y="1610"/>
                      </a:lnTo>
                      <a:lnTo>
                        <a:pt x="1739" y="1612"/>
                      </a:lnTo>
                      <a:lnTo>
                        <a:pt x="1738" y="1616"/>
                      </a:lnTo>
                      <a:lnTo>
                        <a:pt x="1737" y="1618"/>
                      </a:lnTo>
                      <a:lnTo>
                        <a:pt x="1734" y="1620"/>
                      </a:lnTo>
                      <a:lnTo>
                        <a:pt x="1730" y="1622"/>
                      </a:lnTo>
                      <a:lnTo>
                        <a:pt x="1728" y="1623"/>
                      </a:lnTo>
                      <a:lnTo>
                        <a:pt x="1726" y="1626"/>
                      </a:lnTo>
                      <a:lnTo>
                        <a:pt x="1724" y="1627"/>
                      </a:lnTo>
                      <a:lnTo>
                        <a:pt x="1722" y="1629"/>
                      </a:lnTo>
                      <a:lnTo>
                        <a:pt x="1719" y="1630"/>
                      </a:lnTo>
                      <a:lnTo>
                        <a:pt x="1717" y="1632"/>
                      </a:lnTo>
                      <a:lnTo>
                        <a:pt x="1717" y="1633"/>
                      </a:lnTo>
                      <a:lnTo>
                        <a:pt x="1716" y="1636"/>
                      </a:lnTo>
                      <a:lnTo>
                        <a:pt x="1716" y="1637"/>
                      </a:lnTo>
                      <a:lnTo>
                        <a:pt x="1715" y="1638"/>
                      </a:lnTo>
                      <a:lnTo>
                        <a:pt x="1714" y="1638"/>
                      </a:lnTo>
                      <a:lnTo>
                        <a:pt x="1713" y="1638"/>
                      </a:lnTo>
                      <a:lnTo>
                        <a:pt x="1712" y="1639"/>
                      </a:lnTo>
                      <a:lnTo>
                        <a:pt x="1712" y="1639"/>
                      </a:lnTo>
                      <a:lnTo>
                        <a:pt x="1712" y="1639"/>
                      </a:lnTo>
                      <a:lnTo>
                        <a:pt x="1712" y="1638"/>
                      </a:lnTo>
                      <a:lnTo>
                        <a:pt x="1713" y="1636"/>
                      </a:lnTo>
                      <a:lnTo>
                        <a:pt x="1710" y="1637"/>
                      </a:lnTo>
                      <a:lnTo>
                        <a:pt x="1707" y="1638"/>
                      </a:lnTo>
                      <a:lnTo>
                        <a:pt x="1705" y="1639"/>
                      </a:lnTo>
                      <a:lnTo>
                        <a:pt x="1704" y="1640"/>
                      </a:lnTo>
                      <a:lnTo>
                        <a:pt x="1701" y="1642"/>
                      </a:lnTo>
                      <a:lnTo>
                        <a:pt x="1697" y="1644"/>
                      </a:lnTo>
                      <a:lnTo>
                        <a:pt x="1695" y="1647"/>
                      </a:lnTo>
                      <a:lnTo>
                        <a:pt x="1694" y="1649"/>
                      </a:lnTo>
                      <a:lnTo>
                        <a:pt x="1694" y="1650"/>
                      </a:lnTo>
                      <a:lnTo>
                        <a:pt x="1693" y="1651"/>
                      </a:lnTo>
                      <a:lnTo>
                        <a:pt x="1692" y="1652"/>
                      </a:lnTo>
                      <a:lnTo>
                        <a:pt x="1691" y="1653"/>
                      </a:lnTo>
                      <a:lnTo>
                        <a:pt x="1690" y="1655"/>
                      </a:lnTo>
                      <a:lnTo>
                        <a:pt x="1689" y="1658"/>
                      </a:lnTo>
                      <a:lnTo>
                        <a:pt x="1688" y="1661"/>
                      </a:lnTo>
                      <a:lnTo>
                        <a:pt x="1686" y="1662"/>
                      </a:lnTo>
                      <a:lnTo>
                        <a:pt x="1684" y="1664"/>
                      </a:lnTo>
                      <a:lnTo>
                        <a:pt x="1682" y="1665"/>
                      </a:lnTo>
                      <a:lnTo>
                        <a:pt x="1680" y="1666"/>
                      </a:lnTo>
                      <a:lnTo>
                        <a:pt x="1678" y="1666"/>
                      </a:lnTo>
                      <a:lnTo>
                        <a:pt x="1674" y="1669"/>
                      </a:lnTo>
                      <a:lnTo>
                        <a:pt x="1673" y="1670"/>
                      </a:lnTo>
                      <a:lnTo>
                        <a:pt x="1672" y="1672"/>
                      </a:lnTo>
                      <a:lnTo>
                        <a:pt x="1671" y="1673"/>
                      </a:lnTo>
                      <a:lnTo>
                        <a:pt x="1656" y="1678"/>
                      </a:lnTo>
                      <a:lnTo>
                        <a:pt x="1640" y="1680"/>
                      </a:lnTo>
                      <a:lnTo>
                        <a:pt x="1638" y="1680"/>
                      </a:lnTo>
                      <a:lnTo>
                        <a:pt x="1636" y="1680"/>
                      </a:lnTo>
                      <a:lnTo>
                        <a:pt x="1635" y="1678"/>
                      </a:lnTo>
                      <a:lnTo>
                        <a:pt x="1634" y="1678"/>
                      </a:lnTo>
                      <a:lnTo>
                        <a:pt x="1631" y="1677"/>
                      </a:lnTo>
                      <a:lnTo>
                        <a:pt x="1620" y="1677"/>
                      </a:lnTo>
                      <a:lnTo>
                        <a:pt x="1618" y="1677"/>
                      </a:lnTo>
                      <a:lnTo>
                        <a:pt x="1617" y="1677"/>
                      </a:lnTo>
                      <a:lnTo>
                        <a:pt x="1617" y="1680"/>
                      </a:lnTo>
                      <a:lnTo>
                        <a:pt x="1617" y="1681"/>
                      </a:lnTo>
                      <a:lnTo>
                        <a:pt x="1618" y="1682"/>
                      </a:lnTo>
                      <a:lnTo>
                        <a:pt x="1620" y="1682"/>
                      </a:lnTo>
                      <a:lnTo>
                        <a:pt x="1623" y="1683"/>
                      </a:lnTo>
                      <a:lnTo>
                        <a:pt x="1625" y="1683"/>
                      </a:lnTo>
                      <a:lnTo>
                        <a:pt x="1627" y="1684"/>
                      </a:lnTo>
                      <a:lnTo>
                        <a:pt x="1630" y="1684"/>
                      </a:lnTo>
                      <a:lnTo>
                        <a:pt x="1631" y="1685"/>
                      </a:lnTo>
                      <a:lnTo>
                        <a:pt x="1634" y="1686"/>
                      </a:lnTo>
                      <a:lnTo>
                        <a:pt x="1632" y="1687"/>
                      </a:lnTo>
                      <a:lnTo>
                        <a:pt x="1632" y="1688"/>
                      </a:lnTo>
                      <a:lnTo>
                        <a:pt x="1632" y="1689"/>
                      </a:lnTo>
                      <a:lnTo>
                        <a:pt x="1634" y="1691"/>
                      </a:lnTo>
                      <a:lnTo>
                        <a:pt x="1635" y="1691"/>
                      </a:lnTo>
                      <a:lnTo>
                        <a:pt x="1637" y="1691"/>
                      </a:lnTo>
                      <a:lnTo>
                        <a:pt x="1638" y="1692"/>
                      </a:lnTo>
                      <a:lnTo>
                        <a:pt x="1639" y="1692"/>
                      </a:lnTo>
                      <a:lnTo>
                        <a:pt x="1640" y="1693"/>
                      </a:lnTo>
                      <a:lnTo>
                        <a:pt x="1639" y="1696"/>
                      </a:lnTo>
                      <a:lnTo>
                        <a:pt x="1637" y="1698"/>
                      </a:lnTo>
                      <a:lnTo>
                        <a:pt x="1635" y="1700"/>
                      </a:lnTo>
                      <a:lnTo>
                        <a:pt x="1631" y="1703"/>
                      </a:lnTo>
                      <a:lnTo>
                        <a:pt x="1629" y="1704"/>
                      </a:lnTo>
                      <a:lnTo>
                        <a:pt x="1623" y="1708"/>
                      </a:lnTo>
                      <a:lnTo>
                        <a:pt x="1615" y="1710"/>
                      </a:lnTo>
                      <a:lnTo>
                        <a:pt x="1607" y="1713"/>
                      </a:lnTo>
                      <a:lnTo>
                        <a:pt x="1603" y="1714"/>
                      </a:lnTo>
                      <a:lnTo>
                        <a:pt x="1598" y="1715"/>
                      </a:lnTo>
                      <a:lnTo>
                        <a:pt x="1594" y="1715"/>
                      </a:lnTo>
                      <a:lnTo>
                        <a:pt x="1583" y="1715"/>
                      </a:lnTo>
                      <a:lnTo>
                        <a:pt x="1581" y="1716"/>
                      </a:lnTo>
                      <a:lnTo>
                        <a:pt x="1580" y="1718"/>
                      </a:lnTo>
                      <a:lnTo>
                        <a:pt x="1580" y="1719"/>
                      </a:lnTo>
                      <a:lnTo>
                        <a:pt x="1580" y="1720"/>
                      </a:lnTo>
                      <a:lnTo>
                        <a:pt x="1581" y="1721"/>
                      </a:lnTo>
                      <a:lnTo>
                        <a:pt x="1581" y="1723"/>
                      </a:lnTo>
                      <a:lnTo>
                        <a:pt x="1580" y="1723"/>
                      </a:lnTo>
                      <a:lnTo>
                        <a:pt x="1580" y="1724"/>
                      </a:lnTo>
                      <a:lnTo>
                        <a:pt x="1579" y="1724"/>
                      </a:lnTo>
                      <a:lnTo>
                        <a:pt x="1576" y="1725"/>
                      </a:lnTo>
                      <a:lnTo>
                        <a:pt x="1576" y="1726"/>
                      </a:lnTo>
                      <a:lnTo>
                        <a:pt x="1576" y="1726"/>
                      </a:lnTo>
                      <a:lnTo>
                        <a:pt x="1576" y="1726"/>
                      </a:lnTo>
                      <a:lnTo>
                        <a:pt x="1577" y="1728"/>
                      </a:lnTo>
                      <a:lnTo>
                        <a:pt x="1577" y="1729"/>
                      </a:lnTo>
                      <a:lnTo>
                        <a:pt x="1576" y="1730"/>
                      </a:lnTo>
                      <a:lnTo>
                        <a:pt x="1574" y="1731"/>
                      </a:lnTo>
                      <a:lnTo>
                        <a:pt x="1572" y="1731"/>
                      </a:lnTo>
                      <a:lnTo>
                        <a:pt x="1569" y="1732"/>
                      </a:lnTo>
                      <a:lnTo>
                        <a:pt x="1565" y="1732"/>
                      </a:lnTo>
                      <a:lnTo>
                        <a:pt x="1563" y="1732"/>
                      </a:lnTo>
                      <a:lnTo>
                        <a:pt x="1561" y="1732"/>
                      </a:lnTo>
                      <a:lnTo>
                        <a:pt x="1559" y="1732"/>
                      </a:lnTo>
                      <a:lnTo>
                        <a:pt x="1555" y="1731"/>
                      </a:lnTo>
                      <a:lnTo>
                        <a:pt x="1554" y="1730"/>
                      </a:lnTo>
                      <a:lnTo>
                        <a:pt x="1551" y="1730"/>
                      </a:lnTo>
                      <a:lnTo>
                        <a:pt x="1550" y="1731"/>
                      </a:lnTo>
                      <a:lnTo>
                        <a:pt x="1549" y="1732"/>
                      </a:lnTo>
                      <a:lnTo>
                        <a:pt x="1549" y="1734"/>
                      </a:lnTo>
                      <a:lnTo>
                        <a:pt x="1549" y="1734"/>
                      </a:lnTo>
                      <a:lnTo>
                        <a:pt x="1550" y="1735"/>
                      </a:lnTo>
                      <a:lnTo>
                        <a:pt x="1550" y="1735"/>
                      </a:lnTo>
                      <a:lnTo>
                        <a:pt x="1551" y="1737"/>
                      </a:lnTo>
                      <a:lnTo>
                        <a:pt x="1552" y="1738"/>
                      </a:lnTo>
                      <a:lnTo>
                        <a:pt x="1552" y="1739"/>
                      </a:lnTo>
                      <a:lnTo>
                        <a:pt x="1554" y="1739"/>
                      </a:lnTo>
                      <a:lnTo>
                        <a:pt x="1555" y="1740"/>
                      </a:lnTo>
                      <a:lnTo>
                        <a:pt x="1557" y="1741"/>
                      </a:lnTo>
                      <a:lnTo>
                        <a:pt x="1557" y="1741"/>
                      </a:lnTo>
                      <a:lnTo>
                        <a:pt x="1557" y="1742"/>
                      </a:lnTo>
                      <a:lnTo>
                        <a:pt x="1557" y="1743"/>
                      </a:lnTo>
                      <a:lnTo>
                        <a:pt x="1555" y="1745"/>
                      </a:lnTo>
                      <a:lnTo>
                        <a:pt x="1555" y="1745"/>
                      </a:lnTo>
                      <a:lnTo>
                        <a:pt x="1557" y="1745"/>
                      </a:lnTo>
                      <a:lnTo>
                        <a:pt x="1558" y="1745"/>
                      </a:lnTo>
                      <a:lnTo>
                        <a:pt x="1559" y="1745"/>
                      </a:lnTo>
                      <a:lnTo>
                        <a:pt x="1559" y="1746"/>
                      </a:lnTo>
                      <a:lnTo>
                        <a:pt x="1559" y="1746"/>
                      </a:lnTo>
                      <a:lnTo>
                        <a:pt x="1558" y="1747"/>
                      </a:lnTo>
                      <a:lnTo>
                        <a:pt x="1557" y="1748"/>
                      </a:lnTo>
                      <a:lnTo>
                        <a:pt x="1555" y="1749"/>
                      </a:lnTo>
                      <a:lnTo>
                        <a:pt x="1554" y="1749"/>
                      </a:lnTo>
                      <a:lnTo>
                        <a:pt x="1554" y="1750"/>
                      </a:lnTo>
                      <a:lnTo>
                        <a:pt x="1554" y="1752"/>
                      </a:lnTo>
                      <a:lnTo>
                        <a:pt x="1554" y="1753"/>
                      </a:lnTo>
                      <a:lnTo>
                        <a:pt x="1554" y="1756"/>
                      </a:lnTo>
                      <a:lnTo>
                        <a:pt x="1553" y="1758"/>
                      </a:lnTo>
                      <a:lnTo>
                        <a:pt x="1552" y="1759"/>
                      </a:lnTo>
                      <a:lnTo>
                        <a:pt x="1549" y="1759"/>
                      </a:lnTo>
                      <a:lnTo>
                        <a:pt x="1547" y="1759"/>
                      </a:lnTo>
                      <a:lnTo>
                        <a:pt x="1543" y="1760"/>
                      </a:lnTo>
                      <a:lnTo>
                        <a:pt x="1541" y="1761"/>
                      </a:lnTo>
                      <a:lnTo>
                        <a:pt x="1539" y="1761"/>
                      </a:lnTo>
                      <a:lnTo>
                        <a:pt x="1539" y="1762"/>
                      </a:lnTo>
                      <a:lnTo>
                        <a:pt x="1538" y="1763"/>
                      </a:lnTo>
                      <a:lnTo>
                        <a:pt x="1537" y="1763"/>
                      </a:lnTo>
                      <a:lnTo>
                        <a:pt x="1536" y="1765"/>
                      </a:lnTo>
                      <a:lnTo>
                        <a:pt x="1536" y="1767"/>
                      </a:lnTo>
                      <a:lnTo>
                        <a:pt x="1536" y="1769"/>
                      </a:lnTo>
                      <a:lnTo>
                        <a:pt x="1537" y="1770"/>
                      </a:lnTo>
                      <a:lnTo>
                        <a:pt x="1539" y="1770"/>
                      </a:lnTo>
                      <a:lnTo>
                        <a:pt x="1540" y="1771"/>
                      </a:lnTo>
                      <a:lnTo>
                        <a:pt x="1542" y="1772"/>
                      </a:lnTo>
                      <a:lnTo>
                        <a:pt x="1545" y="1772"/>
                      </a:lnTo>
                      <a:lnTo>
                        <a:pt x="1548" y="1772"/>
                      </a:lnTo>
                      <a:lnTo>
                        <a:pt x="1550" y="1772"/>
                      </a:lnTo>
                      <a:lnTo>
                        <a:pt x="1559" y="1772"/>
                      </a:lnTo>
                      <a:lnTo>
                        <a:pt x="1560" y="1774"/>
                      </a:lnTo>
                      <a:lnTo>
                        <a:pt x="1560" y="1775"/>
                      </a:lnTo>
                      <a:lnTo>
                        <a:pt x="1560" y="1776"/>
                      </a:lnTo>
                      <a:lnTo>
                        <a:pt x="1559" y="1776"/>
                      </a:lnTo>
                      <a:lnTo>
                        <a:pt x="1557" y="1779"/>
                      </a:lnTo>
                      <a:lnTo>
                        <a:pt x="1554" y="1780"/>
                      </a:lnTo>
                      <a:lnTo>
                        <a:pt x="1552" y="1781"/>
                      </a:lnTo>
                      <a:lnTo>
                        <a:pt x="1550" y="1781"/>
                      </a:lnTo>
                      <a:lnTo>
                        <a:pt x="1550" y="1781"/>
                      </a:lnTo>
                      <a:lnTo>
                        <a:pt x="1549" y="1782"/>
                      </a:lnTo>
                      <a:lnTo>
                        <a:pt x="1548" y="1783"/>
                      </a:lnTo>
                      <a:lnTo>
                        <a:pt x="1545" y="1783"/>
                      </a:lnTo>
                      <a:lnTo>
                        <a:pt x="1545" y="1790"/>
                      </a:lnTo>
                      <a:lnTo>
                        <a:pt x="1543" y="1791"/>
                      </a:lnTo>
                      <a:lnTo>
                        <a:pt x="1541" y="1792"/>
                      </a:lnTo>
                      <a:lnTo>
                        <a:pt x="1539" y="1792"/>
                      </a:lnTo>
                      <a:lnTo>
                        <a:pt x="1536" y="1793"/>
                      </a:lnTo>
                      <a:lnTo>
                        <a:pt x="1534" y="1794"/>
                      </a:lnTo>
                      <a:lnTo>
                        <a:pt x="1536" y="1795"/>
                      </a:lnTo>
                      <a:lnTo>
                        <a:pt x="1536" y="1796"/>
                      </a:lnTo>
                      <a:lnTo>
                        <a:pt x="1537" y="1797"/>
                      </a:lnTo>
                      <a:lnTo>
                        <a:pt x="1539" y="1798"/>
                      </a:lnTo>
                      <a:lnTo>
                        <a:pt x="1541" y="1801"/>
                      </a:lnTo>
                      <a:lnTo>
                        <a:pt x="1542" y="1801"/>
                      </a:lnTo>
                      <a:lnTo>
                        <a:pt x="1544" y="1802"/>
                      </a:lnTo>
                      <a:lnTo>
                        <a:pt x="1545" y="1802"/>
                      </a:lnTo>
                      <a:lnTo>
                        <a:pt x="1547" y="1803"/>
                      </a:lnTo>
                      <a:lnTo>
                        <a:pt x="1548" y="1803"/>
                      </a:lnTo>
                      <a:lnTo>
                        <a:pt x="1547" y="1803"/>
                      </a:lnTo>
                      <a:lnTo>
                        <a:pt x="1544" y="1803"/>
                      </a:lnTo>
                      <a:lnTo>
                        <a:pt x="1543" y="1804"/>
                      </a:lnTo>
                      <a:lnTo>
                        <a:pt x="1541" y="1804"/>
                      </a:lnTo>
                      <a:lnTo>
                        <a:pt x="1541" y="1805"/>
                      </a:lnTo>
                      <a:lnTo>
                        <a:pt x="1550" y="1805"/>
                      </a:lnTo>
                      <a:lnTo>
                        <a:pt x="1532" y="1806"/>
                      </a:lnTo>
                      <a:lnTo>
                        <a:pt x="1515" y="1807"/>
                      </a:lnTo>
                      <a:lnTo>
                        <a:pt x="1510" y="1807"/>
                      </a:lnTo>
                      <a:lnTo>
                        <a:pt x="1506" y="1806"/>
                      </a:lnTo>
                      <a:lnTo>
                        <a:pt x="1501" y="1805"/>
                      </a:lnTo>
                      <a:lnTo>
                        <a:pt x="1497" y="1805"/>
                      </a:lnTo>
                      <a:lnTo>
                        <a:pt x="1498" y="1805"/>
                      </a:lnTo>
                      <a:lnTo>
                        <a:pt x="1499" y="1805"/>
                      </a:lnTo>
                      <a:lnTo>
                        <a:pt x="1501" y="1805"/>
                      </a:lnTo>
                      <a:lnTo>
                        <a:pt x="1501" y="1804"/>
                      </a:lnTo>
                      <a:lnTo>
                        <a:pt x="1501" y="1803"/>
                      </a:lnTo>
                      <a:lnTo>
                        <a:pt x="1486" y="1803"/>
                      </a:lnTo>
                      <a:lnTo>
                        <a:pt x="1485" y="1802"/>
                      </a:lnTo>
                      <a:lnTo>
                        <a:pt x="1484" y="1801"/>
                      </a:lnTo>
                      <a:lnTo>
                        <a:pt x="1483" y="1800"/>
                      </a:lnTo>
                      <a:lnTo>
                        <a:pt x="1482" y="1798"/>
                      </a:lnTo>
                      <a:lnTo>
                        <a:pt x="1482" y="1796"/>
                      </a:lnTo>
                      <a:lnTo>
                        <a:pt x="1479" y="1795"/>
                      </a:lnTo>
                      <a:lnTo>
                        <a:pt x="1478" y="1795"/>
                      </a:lnTo>
                      <a:lnTo>
                        <a:pt x="1477" y="1795"/>
                      </a:lnTo>
                      <a:lnTo>
                        <a:pt x="1477" y="1795"/>
                      </a:lnTo>
                      <a:lnTo>
                        <a:pt x="1477" y="1794"/>
                      </a:lnTo>
                      <a:lnTo>
                        <a:pt x="1477" y="1792"/>
                      </a:lnTo>
                      <a:lnTo>
                        <a:pt x="1475" y="1793"/>
                      </a:lnTo>
                      <a:lnTo>
                        <a:pt x="1474" y="1794"/>
                      </a:lnTo>
                      <a:lnTo>
                        <a:pt x="1472" y="1795"/>
                      </a:lnTo>
                      <a:lnTo>
                        <a:pt x="1471" y="1796"/>
                      </a:lnTo>
                      <a:lnTo>
                        <a:pt x="1468" y="1796"/>
                      </a:lnTo>
                      <a:lnTo>
                        <a:pt x="1466" y="1795"/>
                      </a:lnTo>
                      <a:lnTo>
                        <a:pt x="1466" y="1794"/>
                      </a:lnTo>
                      <a:lnTo>
                        <a:pt x="1466" y="1793"/>
                      </a:lnTo>
                      <a:lnTo>
                        <a:pt x="1466" y="1792"/>
                      </a:lnTo>
                      <a:lnTo>
                        <a:pt x="1464" y="1793"/>
                      </a:lnTo>
                      <a:lnTo>
                        <a:pt x="1463" y="1793"/>
                      </a:lnTo>
                      <a:lnTo>
                        <a:pt x="1462" y="1792"/>
                      </a:lnTo>
                      <a:lnTo>
                        <a:pt x="1462" y="1790"/>
                      </a:lnTo>
                      <a:lnTo>
                        <a:pt x="1468" y="1790"/>
                      </a:lnTo>
                      <a:lnTo>
                        <a:pt x="1471" y="1789"/>
                      </a:lnTo>
                      <a:lnTo>
                        <a:pt x="1472" y="1786"/>
                      </a:lnTo>
                      <a:lnTo>
                        <a:pt x="1472" y="1785"/>
                      </a:lnTo>
                      <a:lnTo>
                        <a:pt x="1471" y="1783"/>
                      </a:lnTo>
                      <a:lnTo>
                        <a:pt x="1466" y="1783"/>
                      </a:lnTo>
                      <a:lnTo>
                        <a:pt x="1465" y="1783"/>
                      </a:lnTo>
                      <a:lnTo>
                        <a:pt x="1465" y="1783"/>
                      </a:lnTo>
                      <a:lnTo>
                        <a:pt x="1465" y="1782"/>
                      </a:lnTo>
                      <a:lnTo>
                        <a:pt x="1466" y="1781"/>
                      </a:lnTo>
                      <a:lnTo>
                        <a:pt x="1462" y="1779"/>
                      </a:lnTo>
                      <a:lnTo>
                        <a:pt x="1455" y="1779"/>
                      </a:lnTo>
                      <a:lnTo>
                        <a:pt x="1453" y="1778"/>
                      </a:lnTo>
                      <a:lnTo>
                        <a:pt x="1452" y="1776"/>
                      </a:lnTo>
                      <a:lnTo>
                        <a:pt x="1451" y="1776"/>
                      </a:lnTo>
                      <a:lnTo>
                        <a:pt x="1452" y="1775"/>
                      </a:lnTo>
                      <a:lnTo>
                        <a:pt x="1453" y="1774"/>
                      </a:lnTo>
                      <a:lnTo>
                        <a:pt x="1453" y="1774"/>
                      </a:lnTo>
                      <a:lnTo>
                        <a:pt x="1453" y="1773"/>
                      </a:lnTo>
                      <a:lnTo>
                        <a:pt x="1453" y="1773"/>
                      </a:lnTo>
                      <a:lnTo>
                        <a:pt x="1455" y="1772"/>
                      </a:lnTo>
                      <a:lnTo>
                        <a:pt x="1456" y="1772"/>
                      </a:lnTo>
                      <a:lnTo>
                        <a:pt x="1456" y="1772"/>
                      </a:lnTo>
                      <a:lnTo>
                        <a:pt x="1457" y="1773"/>
                      </a:lnTo>
                      <a:lnTo>
                        <a:pt x="1460" y="1773"/>
                      </a:lnTo>
                      <a:lnTo>
                        <a:pt x="1460" y="1773"/>
                      </a:lnTo>
                      <a:lnTo>
                        <a:pt x="1461" y="1773"/>
                      </a:lnTo>
                      <a:lnTo>
                        <a:pt x="1462" y="1774"/>
                      </a:lnTo>
                      <a:lnTo>
                        <a:pt x="1464" y="1775"/>
                      </a:lnTo>
                      <a:lnTo>
                        <a:pt x="1466" y="1774"/>
                      </a:lnTo>
                      <a:lnTo>
                        <a:pt x="1464" y="1772"/>
                      </a:lnTo>
                      <a:lnTo>
                        <a:pt x="1468" y="1772"/>
                      </a:lnTo>
                      <a:lnTo>
                        <a:pt x="1468" y="1768"/>
                      </a:lnTo>
                      <a:lnTo>
                        <a:pt x="1468" y="1767"/>
                      </a:lnTo>
                      <a:lnTo>
                        <a:pt x="1468" y="1765"/>
                      </a:lnTo>
                      <a:lnTo>
                        <a:pt x="1467" y="1765"/>
                      </a:lnTo>
                      <a:lnTo>
                        <a:pt x="1466" y="1764"/>
                      </a:lnTo>
                      <a:lnTo>
                        <a:pt x="1466" y="1763"/>
                      </a:lnTo>
                      <a:lnTo>
                        <a:pt x="1465" y="1761"/>
                      </a:lnTo>
                      <a:lnTo>
                        <a:pt x="1465" y="1759"/>
                      </a:lnTo>
                      <a:lnTo>
                        <a:pt x="1465" y="1757"/>
                      </a:lnTo>
                      <a:lnTo>
                        <a:pt x="1465" y="1754"/>
                      </a:lnTo>
                      <a:lnTo>
                        <a:pt x="1466" y="1752"/>
                      </a:lnTo>
                      <a:lnTo>
                        <a:pt x="1466" y="1751"/>
                      </a:lnTo>
                      <a:lnTo>
                        <a:pt x="1466" y="1750"/>
                      </a:lnTo>
                      <a:lnTo>
                        <a:pt x="1466" y="1748"/>
                      </a:lnTo>
                      <a:lnTo>
                        <a:pt x="1466" y="1747"/>
                      </a:lnTo>
                      <a:lnTo>
                        <a:pt x="1465" y="1745"/>
                      </a:lnTo>
                      <a:lnTo>
                        <a:pt x="1464" y="1743"/>
                      </a:lnTo>
                      <a:lnTo>
                        <a:pt x="1462" y="1743"/>
                      </a:lnTo>
                      <a:lnTo>
                        <a:pt x="1459" y="1745"/>
                      </a:lnTo>
                      <a:lnTo>
                        <a:pt x="1456" y="1745"/>
                      </a:lnTo>
                      <a:lnTo>
                        <a:pt x="1455" y="1746"/>
                      </a:lnTo>
                      <a:lnTo>
                        <a:pt x="1453" y="1747"/>
                      </a:lnTo>
                      <a:lnTo>
                        <a:pt x="1451" y="1746"/>
                      </a:lnTo>
                      <a:lnTo>
                        <a:pt x="1448" y="1745"/>
                      </a:lnTo>
                      <a:lnTo>
                        <a:pt x="1445" y="1742"/>
                      </a:lnTo>
                      <a:lnTo>
                        <a:pt x="1444" y="1740"/>
                      </a:lnTo>
                      <a:lnTo>
                        <a:pt x="1443" y="1739"/>
                      </a:lnTo>
                      <a:lnTo>
                        <a:pt x="1444" y="1737"/>
                      </a:lnTo>
                      <a:lnTo>
                        <a:pt x="1444" y="1736"/>
                      </a:lnTo>
                      <a:lnTo>
                        <a:pt x="1445" y="1736"/>
                      </a:lnTo>
                      <a:lnTo>
                        <a:pt x="1446" y="1735"/>
                      </a:lnTo>
                      <a:lnTo>
                        <a:pt x="1449" y="1735"/>
                      </a:lnTo>
                      <a:lnTo>
                        <a:pt x="1449" y="1730"/>
                      </a:lnTo>
                      <a:lnTo>
                        <a:pt x="1446" y="1729"/>
                      </a:lnTo>
                      <a:lnTo>
                        <a:pt x="1445" y="1729"/>
                      </a:lnTo>
                      <a:lnTo>
                        <a:pt x="1443" y="1728"/>
                      </a:lnTo>
                      <a:lnTo>
                        <a:pt x="1442" y="1727"/>
                      </a:lnTo>
                      <a:lnTo>
                        <a:pt x="1442" y="1726"/>
                      </a:lnTo>
                      <a:lnTo>
                        <a:pt x="1440" y="1724"/>
                      </a:lnTo>
                      <a:lnTo>
                        <a:pt x="1439" y="1721"/>
                      </a:lnTo>
                      <a:lnTo>
                        <a:pt x="1437" y="1720"/>
                      </a:lnTo>
                      <a:lnTo>
                        <a:pt x="1437" y="1718"/>
                      </a:lnTo>
                      <a:lnTo>
                        <a:pt x="1438" y="1717"/>
                      </a:lnTo>
                      <a:lnTo>
                        <a:pt x="1439" y="1717"/>
                      </a:lnTo>
                      <a:lnTo>
                        <a:pt x="1439" y="1718"/>
                      </a:lnTo>
                      <a:lnTo>
                        <a:pt x="1440" y="1718"/>
                      </a:lnTo>
                      <a:lnTo>
                        <a:pt x="1441" y="1718"/>
                      </a:lnTo>
                      <a:lnTo>
                        <a:pt x="1442" y="1717"/>
                      </a:lnTo>
                      <a:lnTo>
                        <a:pt x="1442" y="1716"/>
                      </a:lnTo>
                      <a:lnTo>
                        <a:pt x="1442" y="1716"/>
                      </a:lnTo>
                      <a:lnTo>
                        <a:pt x="1442" y="1715"/>
                      </a:lnTo>
                      <a:lnTo>
                        <a:pt x="1442" y="1714"/>
                      </a:lnTo>
                      <a:lnTo>
                        <a:pt x="1442" y="1713"/>
                      </a:lnTo>
                      <a:lnTo>
                        <a:pt x="1443" y="1710"/>
                      </a:lnTo>
                      <a:lnTo>
                        <a:pt x="1443" y="1708"/>
                      </a:lnTo>
                      <a:lnTo>
                        <a:pt x="1444" y="1706"/>
                      </a:lnTo>
                      <a:lnTo>
                        <a:pt x="1445" y="1703"/>
                      </a:lnTo>
                      <a:lnTo>
                        <a:pt x="1448" y="1699"/>
                      </a:lnTo>
                      <a:lnTo>
                        <a:pt x="1449" y="1697"/>
                      </a:lnTo>
                      <a:lnTo>
                        <a:pt x="1450" y="1695"/>
                      </a:lnTo>
                      <a:lnTo>
                        <a:pt x="1450" y="1692"/>
                      </a:lnTo>
                      <a:lnTo>
                        <a:pt x="1450" y="1689"/>
                      </a:lnTo>
                      <a:lnTo>
                        <a:pt x="1451" y="1686"/>
                      </a:lnTo>
                      <a:lnTo>
                        <a:pt x="1451" y="1684"/>
                      </a:lnTo>
                      <a:lnTo>
                        <a:pt x="1450" y="1682"/>
                      </a:lnTo>
                      <a:lnTo>
                        <a:pt x="1448" y="1680"/>
                      </a:lnTo>
                      <a:lnTo>
                        <a:pt x="1445" y="1677"/>
                      </a:lnTo>
                      <a:lnTo>
                        <a:pt x="1443" y="1675"/>
                      </a:lnTo>
                      <a:lnTo>
                        <a:pt x="1442" y="1673"/>
                      </a:lnTo>
                      <a:lnTo>
                        <a:pt x="1442" y="1671"/>
                      </a:lnTo>
                      <a:lnTo>
                        <a:pt x="1443" y="1667"/>
                      </a:lnTo>
                      <a:lnTo>
                        <a:pt x="1444" y="1665"/>
                      </a:lnTo>
                      <a:lnTo>
                        <a:pt x="1446" y="1662"/>
                      </a:lnTo>
                      <a:lnTo>
                        <a:pt x="1445" y="1661"/>
                      </a:lnTo>
                      <a:lnTo>
                        <a:pt x="1444" y="1660"/>
                      </a:lnTo>
                      <a:lnTo>
                        <a:pt x="1443" y="1659"/>
                      </a:lnTo>
                      <a:lnTo>
                        <a:pt x="1443" y="1658"/>
                      </a:lnTo>
                      <a:lnTo>
                        <a:pt x="1444" y="1655"/>
                      </a:lnTo>
                      <a:lnTo>
                        <a:pt x="1444" y="1654"/>
                      </a:lnTo>
                      <a:lnTo>
                        <a:pt x="1445" y="1652"/>
                      </a:lnTo>
                      <a:lnTo>
                        <a:pt x="1445" y="1651"/>
                      </a:lnTo>
                      <a:lnTo>
                        <a:pt x="1446" y="1649"/>
                      </a:lnTo>
                      <a:lnTo>
                        <a:pt x="1446" y="1648"/>
                      </a:lnTo>
                      <a:lnTo>
                        <a:pt x="1448" y="1647"/>
                      </a:lnTo>
                      <a:lnTo>
                        <a:pt x="1448" y="1647"/>
                      </a:lnTo>
                      <a:lnTo>
                        <a:pt x="1449" y="1644"/>
                      </a:lnTo>
                      <a:lnTo>
                        <a:pt x="1449" y="1642"/>
                      </a:lnTo>
                      <a:lnTo>
                        <a:pt x="1449" y="1641"/>
                      </a:lnTo>
                      <a:lnTo>
                        <a:pt x="1450" y="1640"/>
                      </a:lnTo>
                      <a:lnTo>
                        <a:pt x="1450" y="1639"/>
                      </a:lnTo>
                      <a:lnTo>
                        <a:pt x="1451" y="1638"/>
                      </a:lnTo>
                      <a:lnTo>
                        <a:pt x="1451" y="1632"/>
                      </a:lnTo>
                      <a:lnTo>
                        <a:pt x="1451" y="1630"/>
                      </a:lnTo>
                      <a:lnTo>
                        <a:pt x="1452" y="1629"/>
                      </a:lnTo>
                      <a:lnTo>
                        <a:pt x="1452" y="1628"/>
                      </a:lnTo>
                      <a:lnTo>
                        <a:pt x="1453" y="1627"/>
                      </a:lnTo>
                      <a:lnTo>
                        <a:pt x="1452" y="1625"/>
                      </a:lnTo>
                      <a:lnTo>
                        <a:pt x="1451" y="1622"/>
                      </a:lnTo>
                      <a:lnTo>
                        <a:pt x="1451" y="1620"/>
                      </a:lnTo>
                      <a:lnTo>
                        <a:pt x="1450" y="1619"/>
                      </a:lnTo>
                      <a:lnTo>
                        <a:pt x="1450" y="1617"/>
                      </a:lnTo>
                      <a:lnTo>
                        <a:pt x="1451" y="1616"/>
                      </a:lnTo>
                      <a:lnTo>
                        <a:pt x="1451" y="1614"/>
                      </a:lnTo>
                      <a:lnTo>
                        <a:pt x="1451" y="1612"/>
                      </a:lnTo>
                      <a:lnTo>
                        <a:pt x="1449" y="1611"/>
                      </a:lnTo>
                      <a:lnTo>
                        <a:pt x="1449" y="1610"/>
                      </a:lnTo>
                      <a:lnTo>
                        <a:pt x="1450" y="1609"/>
                      </a:lnTo>
                      <a:lnTo>
                        <a:pt x="1451" y="1608"/>
                      </a:lnTo>
                      <a:lnTo>
                        <a:pt x="1452" y="1607"/>
                      </a:lnTo>
                      <a:lnTo>
                        <a:pt x="1453" y="1606"/>
                      </a:lnTo>
                      <a:lnTo>
                        <a:pt x="1452" y="1604"/>
                      </a:lnTo>
                      <a:lnTo>
                        <a:pt x="1452" y="1603"/>
                      </a:lnTo>
                      <a:lnTo>
                        <a:pt x="1452" y="1600"/>
                      </a:lnTo>
                      <a:lnTo>
                        <a:pt x="1453" y="1599"/>
                      </a:lnTo>
                      <a:lnTo>
                        <a:pt x="1454" y="1598"/>
                      </a:lnTo>
                      <a:lnTo>
                        <a:pt x="1456" y="1597"/>
                      </a:lnTo>
                      <a:lnTo>
                        <a:pt x="1456" y="1596"/>
                      </a:lnTo>
                      <a:lnTo>
                        <a:pt x="1455" y="1596"/>
                      </a:lnTo>
                      <a:lnTo>
                        <a:pt x="1455" y="1595"/>
                      </a:lnTo>
                      <a:lnTo>
                        <a:pt x="1455" y="1590"/>
                      </a:lnTo>
                      <a:lnTo>
                        <a:pt x="1454" y="1590"/>
                      </a:lnTo>
                      <a:lnTo>
                        <a:pt x="1454" y="1589"/>
                      </a:lnTo>
                      <a:lnTo>
                        <a:pt x="1453" y="1589"/>
                      </a:lnTo>
                      <a:lnTo>
                        <a:pt x="1453" y="1588"/>
                      </a:lnTo>
                      <a:lnTo>
                        <a:pt x="1453" y="1582"/>
                      </a:lnTo>
                      <a:lnTo>
                        <a:pt x="1451" y="1579"/>
                      </a:lnTo>
                      <a:lnTo>
                        <a:pt x="1450" y="1577"/>
                      </a:lnTo>
                      <a:lnTo>
                        <a:pt x="1449" y="1576"/>
                      </a:lnTo>
                      <a:lnTo>
                        <a:pt x="1449" y="1575"/>
                      </a:lnTo>
                      <a:lnTo>
                        <a:pt x="1449" y="1573"/>
                      </a:lnTo>
                      <a:lnTo>
                        <a:pt x="1449" y="1572"/>
                      </a:lnTo>
                      <a:lnTo>
                        <a:pt x="1450" y="1571"/>
                      </a:lnTo>
                      <a:lnTo>
                        <a:pt x="1450" y="1569"/>
                      </a:lnTo>
                      <a:lnTo>
                        <a:pt x="1448" y="1569"/>
                      </a:lnTo>
                      <a:lnTo>
                        <a:pt x="1446" y="1568"/>
                      </a:lnTo>
                      <a:lnTo>
                        <a:pt x="1439" y="1565"/>
                      </a:lnTo>
                      <a:lnTo>
                        <a:pt x="1432" y="1562"/>
                      </a:lnTo>
                      <a:lnTo>
                        <a:pt x="1427" y="1560"/>
                      </a:lnTo>
                      <a:lnTo>
                        <a:pt x="1422" y="1557"/>
                      </a:lnTo>
                      <a:lnTo>
                        <a:pt x="1418" y="1556"/>
                      </a:lnTo>
                      <a:lnTo>
                        <a:pt x="1413" y="1555"/>
                      </a:lnTo>
                      <a:lnTo>
                        <a:pt x="1411" y="1554"/>
                      </a:lnTo>
                      <a:lnTo>
                        <a:pt x="1409" y="1554"/>
                      </a:lnTo>
                      <a:lnTo>
                        <a:pt x="1408" y="1553"/>
                      </a:lnTo>
                      <a:lnTo>
                        <a:pt x="1406" y="1553"/>
                      </a:lnTo>
                      <a:lnTo>
                        <a:pt x="1403" y="1553"/>
                      </a:lnTo>
                      <a:lnTo>
                        <a:pt x="1392" y="1551"/>
                      </a:lnTo>
                      <a:lnTo>
                        <a:pt x="1381" y="1549"/>
                      </a:lnTo>
                      <a:lnTo>
                        <a:pt x="1379" y="1546"/>
                      </a:lnTo>
                      <a:lnTo>
                        <a:pt x="1377" y="1545"/>
                      </a:lnTo>
                      <a:lnTo>
                        <a:pt x="1376" y="1543"/>
                      </a:lnTo>
                      <a:lnTo>
                        <a:pt x="1373" y="1542"/>
                      </a:lnTo>
                      <a:lnTo>
                        <a:pt x="1370" y="1541"/>
                      </a:lnTo>
                      <a:lnTo>
                        <a:pt x="1368" y="1540"/>
                      </a:lnTo>
                      <a:lnTo>
                        <a:pt x="1366" y="1539"/>
                      </a:lnTo>
                      <a:lnTo>
                        <a:pt x="1364" y="1538"/>
                      </a:lnTo>
                      <a:lnTo>
                        <a:pt x="1362" y="1534"/>
                      </a:lnTo>
                      <a:lnTo>
                        <a:pt x="1359" y="1532"/>
                      </a:lnTo>
                      <a:lnTo>
                        <a:pt x="1357" y="1529"/>
                      </a:lnTo>
                      <a:lnTo>
                        <a:pt x="1355" y="1525"/>
                      </a:lnTo>
                      <a:lnTo>
                        <a:pt x="1353" y="1522"/>
                      </a:lnTo>
                      <a:lnTo>
                        <a:pt x="1352" y="1521"/>
                      </a:lnTo>
                      <a:lnTo>
                        <a:pt x="1351" y="1520"/>
                      </a:lnTo>
                      <a:lnTo>
                        <a:pt x="1351" y="1519"/>
                      </a:lnTo>
                      <a:lnTo>
                        <a:pt x="1348" y="1518"/>
                      </a:lnTo>
                      <a:lnTo>
                        <a:pt x="1347" y="1518"/>
                      </a:lnTo>
                      <a:lnTo>
                        <a:pt x="1346" y="1518"/>
                      </a:lnTo>
                      <a:lnTo>
                        <a:pt x="1345" y="1517"/>
                      </a:lnTo>
                      <a:lnTo>
                        <a:pt x="1344" y="1516"/>
                      </a:lnTo>
                      <a:lnTo>
                        <a:pt x="1344" y="1513"/>
                      </a:lnTo>
                      <a:lnTo>
                        <a:pt x="1343" y="1512"/>
                      </a:lnTo>
                      <a:lnTo>
                        <a:pt x="1343" y="1510"/>
                      </a:lnTo>
                      <a:lnTo>
                        <a:pt x="1342" y="1509"/>
                      </a:lnTo>
                      <a:lnTo>
                        <a:pt x="1339" y="1508"/>
                      </a:lnTo>
                      <a:lnTo>
                        <a:pt x="1336" y="1507"/>
                      </a:lnTo>
                      <a:lnTo>
                        <a:pt x="1333" y="1506"/>
                      </a:lnTo>
                      <a:lnTo>
                        <a:pt x="1331" y="1505"/>
                      </a:lnTo>
                      <a:lnTo>
                        <a:pt x="1329" y="1501"/>
                      </a:lnTo>
                      <a:lnTo>
                        <a:pt x="1326" y="1498"/>
                      </a:lnTo>
                      <a:lnTo>
                        <a:pt x="1324" y="1496"/>
                      </a:lnTo>
                      <a:lnTo>
                        <a:pt x="1323" y="1492"/>
                      </a:lnTo>
                      <a:lnTo>
                        <a:pt x="1320" y="1490"/>
                      </a:lnTo>
                      <a:lnTo>
                        <a:pt x="1318" y="1487"/>
                      </a:lnTo>
                      <a:lnTo>
                        <a:pt x="1315" y="1485"/>
                      </a:lnTo>
                      <a:lnTo>
                        <a:pt x="1313" y="1481"/>
                      </a:lnTo>
                      <a:lnTo>
                        <a:pt x="1311" y="1478"/>
                      </a:lnTo>
                      <a:lnTo>
                        <a:pt x="1309" y="1476"/>
                      </a:lnTo>
                      <a:lnTo>
                        <a:pt x="1303" y="1469"/>
                      </a:lnTo>
                      <a:lnTo>
                        <a:pt x="1298" y="1463"/>
                      </a:lnTo>
                      <a:lnTo>
                        <a:pt x="1289" y="1458"/>
                      </a:lnTo>
                      <a:lnTo>
                        <a:pt x="1287" y="1457"/>
                      </a:lnTo>
                      <a:lnTo>
                        <a:pt x="1283" y="1456"/>
                      </a:lnTo>
                      <a:lnTo>
                        <a:pt x="1280" y="1456"/>
                      </a:lnTo>
                      <a:lnTo>
                        <a:pt x="1278" y="1455"/>
                      </a:lnTo>
                      <a:lnTo>
                        <a:pt x="1276" y="1454"/>
                      </a:lnTo>
                      <a:lnTo>
                        <a:pt x="1276" y="1453"/>
                      </a:lnTo>
                      <a:lnTo>
                        <a:pt x="1276" y="1452"/>
                      </a:lnTo>
                      <a:lnTo>
                        <a:pt x="1277" y="1452"/>
                      </a:lnTo>
                      <a:lnTo>
                        <a:pt x="1278" y="1452"/>
                      </a:lnTo>
                      <a:lnTo>
                        <a:pt x="1278" y="1452"/>
                      </a:lnTo>
                      <a:lnTo>
                        <a:pt x="1279" y="1448"/>
                      </a:lnTo>
                      <a:lnTo>
                        <a:pt x="1278" y="1446"/>
                      </a:lnTo>
                      <a:lnTo>
                        <a:pt x="1277" y="1444"/>
                      </a:lnTo>
                      <a:lnTo>
                        <a:pt x="1275" y="1442"/>
                      </a:lnTo>
                      <a:lnTo>
                        <a:pt x="1271" y="1441"/>
                      </a:lnTo>
                      <a:lnTo>
                        <a:pt x="1271" y="1438"/>
                      </a:lnTo>
                      <a:lnTo>
                        <a:pt x="1271" y="1436"/>
                      </a:lnTo>
                      <a:lnTo>
                        <a:pt x="1274" y="1434"/>
                      </a:lnTo>
                      <a:lnTo>
                        <a:pt x="1276" y="1432"/>
                      </a:lnTo>
                      <a:lnTo>
                        <a:pt x="1279" y="1430"/>
                      </a:lnTo>
                      <a:lnTo>
                        <a:pt x="1282" y="1429"/>
                      </a:lnTo>
                      <a:lnTo>
                        <a:pt x="1285" y="1427"/>
                      </a:lnTo>
                      <a:lnTo>
                        <a:pt x="1288" y="1426"/>
                      </a:lnTo>
                      <a:lnTo>
                        <a:pt x="1291" y="1424"/>
                      </a:lnTo>
                      <a:lnTo>
                        <a:pt x="1293" y="1423"/>
                      </a:lnTo>
                      <a:lnTo>
                        <a:pt x="1296" y="1421"/>
                      </a:lnTo>
                      <a:lnTo>
                        <a:pt x="1297" y="1419"/>
                      </a:lnTo>
                      <a:lnTo>
                        <a:pt x="1296" y="1416"/>
                      </a:lnTo>
                      <a:lnTo>
                        <a:pt x="1293" y="1414"/>
                      </a:lnTo>
                      <a:lnTo>
                        <a:pt x="1293" y="1415"/>
                      </a:lnTo>
                      <a:lnTo>
                        <a:pt x="1292" y="1416"/>
                      </a:lnTo>
                      <a:lnTo>
                        <a:pt x="1291" y="1418"/>
                      </a:lnTo>
                      <a:lnTo>
                        <a:pt x="1290" y="1418"/>
                      </a:lnTo>
                      <a:lnTo>
                        <a:pt x="1287" y="1416"/>
                      </a:lnTo>
                      <a:lnTo>
                        <a:pt x="1286" y="1416"/>
                      </a:lnTo>
                      <a:lnTo>
                        <a:pt x="1285" y="1415"/>
                      </a:lnTo>
                      <a:lnTo>
                        <a:pt x="1283" y="1413"/>
                      </a:lnTo>
                      <a:lnTo>
                        <a:pt x="1280" y="1412"/>
                      </a:lnTo>
                      <a:lnTo>
                        <a:pt x="1279" y="1412"/>
                      </a:lnTo>
                      <a:lnTo>
                        <a:pt x="1278" y="1412"/>
                      </a:lnTo>
                      <a:lnTo>
                        <a:pt x="1278" y="1411"/>
                      </a:lnTo>
                      <a:lnTo>
                        <a:pt x="1279" y="1411"/>
                      </a:lnTo>
                      <a:lnTo>
                        <a:pt x="1279" y="1410"/>
                      </a:lnTo>
                      <a:lnTo>
                        <a:pt x="1280" y="1410"/>
                      </a:lnTo>
                      <a:lnTo>
                        <a:pt x="1280" y="1410"/>
                      </a:lnTo>
                      <a:lnTo>
                        <a:pt x="1281" y="1409"/>
                      </a:lnTo>
                      <a:lnTo>
                        <a:pt x="1281" y="1407"/>
                      </a:lnTo>
                      <a:lnTo>
                        <a:pt x="1280" y="1405"/>
                      </a:lnTo>
                      <a:lnTo>
                        <a:pt x="1278" y="1405"/>
                      </a:lnTo>
                      <a:lnTo>
                        <a:pt x="1278" y="1399"/>
                      </a:lnTo>
                      <a:lnTo>
                        <a:pt x="1278" y="1398"/>
                      </a:lnTo>
                      <a:lnTo>
                        <a:pt x="1278" y="1398"/>
                      </a:lnTo>
                      <a:lnTo>
                        <a:pt x="1279" y="1398"/>
                      </a:lnTo>
                      <a:lnTo>
                        <a:pt x="1280" y="1398"/>
                      </a:lnTo>
                      <a:lnTo>
                        <a:pt x="1281" y="1398"/>
                      </a:lnTo>
                      <a:lnTo>
                        <a:pt x="1282" y="1397"/>
                      </a:lnTo>
                      <a:lnTo>
                        <a:pt x="1283" y="1396"/>
                      </a:lnTo>
                      <a:lnTo>
                        <a:pt x="1283" y="1394"/>
                      </a:lnTo>
                      <a:lnTo>
                        <a:pt x="1285" y="1393"/>
                      </a:lnTo>
                      <a:lnTo>
                        <a:pt x="1285" y="1392"/>
                      </a:lnTo>
                      <a:lnTo>
                        <a:pt x="1286" y="1391"/>
                      </a:lnTo>
                      <a:lnTo>
                        <a:pt x="1287" y="1390"/>
                      </a:lnTo>
                      <a:lnTo>
                        <a:pt x="1288" y="1390"/>
                      </a:lnTo>
                      <a:lnTo>
                        <a:pt x="1290" y="1389"/>
                      </a:lnTo>
                      <a:lnTo>
                        <a:pt x="1291" y="1388"/>
                      </a:lnTo>
                      <a:lnTo>
                        <a:pt x="1292" y="1386"/>
                      </a:lnTo>
                      <a:lnTo>
                        <a:pt x="1292" y="1385"/>
                      </a:lnTo>
                      <a:lnTo>
                        <a:pt x="1292" y="1382"/>
                      </a:lnTo>
                      <a:lnTo>
                        <a:pt x="1291" y="1380"/>
                      </a:lnTo>
                      <a:lnTo>
                        <a:pt x="1290" y="1378"/>
                      </a:lnTo>
                      <a:lnTo>
                        <a:pt x="1290" y="1377"/>
                      </a:lnTo>
                      <a:lnTo>
                        <a:pt x="1291" y="1375"/>
                      </a:lnTo>
                      <a:lnTo>
                        <a:pt x="1298" y="1374"/>
                      </a:lnTo>
                      <a:lnTo>
                        <a:pt x="1304" y="1372"/>
                      </a:lnTo>
                      <a:lnTo>
                        <a:pt x="1309" y="1370"/>
                      </a:lnTo>
                      <a:lnTo>
                        <a:pt x="1311" y="1369"/>
                      </a:lnTo>
                      <a:lnTo>
                        <a:pt x="1311" y="1368"/>
                      </a:lnTo>
                      <a:lnTo>
                        <a:pt x="1310" y="1367"/>
                      </a:lnTo>
                      <a:lnTo>
                        <a:pt x="1310" y="1366"/>
                      </a:lnTo>
                      <a:lnTo>
                        <a:pt x="1310" y="1365"/>
                      </a:lnTo>
                      <a:lnTo>
                        <a:pt x="1311" y="1364"/>
                      </a:lnTo>
                      <a:lnTo>
                        <a:pt x="1313" y="1361"/>
                      </a:lnTo>
                      <a:lnTo>
                        <a:pt x="1315" y="1359"/>
                      </a:lnTo>
                      <a:lnTo>
                        <a:pt x="1315" y="1357"/>
                      </a:lnTo>
                      <a:lnTo>
                        <a:pt x="1318" y="1356"/>
                      </a:lnTo>
                      <a:lnTo>
                        <a:pt x="1320" y="1355"/>
                      </a:lnTo>
                      <a:lnTo>
                        <a:pt x="1322" y="1354"/>
                      </a:lnTo>
                      <a:lnTo>
                        <a:pt x="1325" y="1354"/>
                      </a:lnTo>
                      <a:lnTo>
                        <a:pt x="1328" y="1354"/>
                      </a:lnTo>
                      <a:lnTo>
                        <a:pt x="1330" y="1354"/>
                      </a:lnTo>
                      <a:lnTo>
                        <a:pt x="1331" y="1353"/>
                      </a:lnTo>
                      <a:lnTo>
                        <a:pt x="1333" y="1350"/>
                      </a:lnTo>
                      <a:lnTo>
                        <a:pt x="1334" y="1348"/>
                      </a:lnTo>
                      <a:lnTo>
                        <a:pt x="1335" y="1347"/>
                      </a:lnTo>
                      <a:lnTo>
                        <a:pt x="1337" y="1345"/>
                      </a:lnTo>
                      <a:lnTo>
                        <a:pt x="1340" y="1344"/>
                      </a:lnTo>
                      <a:lnTo>
                        <a:pt x="1342" y="1342"/>
                      </a:lnTo>
                      <a:lnTo>
                        <a:pt x="1343" y="1339"/>
                      </a:lnTo>
                      <a:lnTo>
                        <a:pt x="1343" y="1336"/>
                      </a:lnTo>
                      <a:lnTo>
                        <a:pt x="1342" y="1333"/>
                      </a:lnTo>
                      <a:lnTo>
                        <a:pt x="1341" y="1332"/>
                      </a:lnTo>
                      <a:lnTo>
                        <a:pt x="1340" y="1329"/>
                      </a:lnTo>
                      <a:lnTo>
                        <a:pt x="1340" y="1328"/>
                      </a:lnTo>
                      <a:lnTo>
                        <a:pt x="1340" y="1326"/>
                      </a:lnTo>
                      <a:lnTo>
                        <a:pt x="1341" y="1323"/>
                      </a:lnTo>
                      <a:lnTo>
                        <a:pt x="1342" y="1321"/>
                      </a:lnTo>
                      <a:lnTo>
                        <a:pt x="1343" y="1318"/>
                      </a:lnTo>
                      <a:lnTo>
                        <a:pt x="1344" y="1315"/>
                      </a:lnTo>
                      <a:lnTo>
                        <a:pt x="1344" y="1314"/>
                      </a:lnTo>
                      <a:lnTo>
                        <a:pt x="1343" y="1313"/>
                      </a:lnTo>
                      <a:lnTo>
                        <a:pt x="1342" y="1311"/>
                      </a:lnTo>
                      <a:lnTo>
                        <a:pt x="1342" y="1309"/>
                      </a:lnTo>
                      <a:lnTo>
                        <a:pt x="1342" y="1306"/>
                      </a:lnTo>
                      <a:lnTo>
                        <a:pt x="1343" y="1305"/>
                      </a:lnTo>
                      <a:lnTo>
                        <a:pt x="1344" y="1304"/>
                      </a:lnTo>
                      <a:lnTo>
                        <a:pt x="1343" y="1303"/>
                      </a:lnTo>
                      <a:lnTo>
                        <a:pt x="1342" y="1302"/>
                      </a:lnTo>
                      <a:lnTo>
                        <a:pt x="1340" y="1300"/>
                      </a:lnTo>
                      <a:lnTo>
                        <a:pt x="1339" y="1299"/>
                      </a:lnTo>
                      <a:lnTo>
                        <a:pt x="1336" y="1296"/>
                      </a:lnTo>
                      <a:lnTo>
                        <a:pt x="1335" y="1294"/>
                      </a:lnTo>
                      <a:lnTo>
                        <a:pt x="1333" y="1291"/>
                      </a:lnTo>
                      <a:lnTo>
                        <a:pt x="1331" y="1289"/>
                      </a:lnTo>
                      <a:lnTo>
                        <a:pt x="1329" y="1288"/>
                      </a:lnTo>
                      <a:lnTo>
                        <a:pt x="1324" y="1287"/>
                      </a:lnTo>
                      <a:lnTo>
                        <a:pt x="1320" y="1288"/>
                      </a:lnTo>
                      <a:lnTo>
                        <a:pt x="1317" y="1288"/>
                      </a:lnTo>
                      <a:lnTo>
                        <a:pt x="1312" y="1289"/>
                      </a:lnTo>
                      <a:lnTo>
                        <a:pt x="1309" y="1289"/>
                      </a:lnTo>
                      <a:lnTo>
                        <a:pt x="1308" y="1289"/>
                      </a:lnTo>
                      <a:lnTo>
                        <a:pt x="1307" y="1288"/>
                      </a:lnTo>
                      <a:lnTo>
                        <a:pt x="1304" y="1287"/>
                      </a:lnTo>
                      <a:lnTo>
                        <a:pt x="1303" y="1287"/>
                      </a:lnTo>
                      <a:lnTo>
                        <a:pt x="1300" y="1287"/>
                      </a:lnTo>
                      <a:lnTo>
                        <a:pt x="1289" y="1289"/>
                      </a:lnTo>
                      <a:lnTo>
                        <a:pt x="1278" y="1292"/>
                      </a:lnTo>
                      <a:lnTo>
                        <a:pt x="1267" y="1293"/>
                      </a:lnTo>
                      <a:lnTo>
                        <a:pt x="1260" y="1293"/>
                      </a:lnTo>
                      <a:lnTo>
                        <a:pt x="1254" y="1291"/>
                      </a:lnTo>
                      <a:lnTo>
                        <a:pt x="1247" y="1289"/>
                      </a:lnTo>
                      <a:lnTo>
                        <a:pt x="1236" y="1290"/>
                      </a:lnTo>
                      <a:lnTo>
                        <a:pt x="1225" y="1291"/>
                      </a:lnTo>
                      <a:lnTo>
                        <a:pt x="1219" y="1291"/>
                      </a:lnTo>
                      <a:lnTo>
                        <a:pt x="1210" y="1291"/>
                      </a:lnTo>
                      <a:lnTo>
                        <a:pt x="1201" y="1290"/>
                      </a:lnTo>
                      <a:lnTo>
                        <a:pt x="1194" y="1288"/>
                      </a:lnTo>
                      <a:lnTo>
                        <a:pt x="1190" y="1284"/>
                      </a:lnTo>
                      <a:lnTo>
                        <a:pt x="1191" y="1281"/>
                      </a:lnTo>
                      <a:lnTo>
                        <a:pt x="1191" y="1279"/>
                      </a:lnTo>
                      <a:lnTo>
                        <a:pt x="1193" y="1277"/>
                      </a:lnTo>
                      <a:lnTo>
                        <a:pt x="1194" y="1274"/>
                      </a:lnTo>
                      <a:lnTo>
                        <a:pt x="1197" y="1271"/>
                      </a:lnTo>
                      <a:lnTo>
                        <a:pt x="1198" y="1270"/>
                      </a:lnTo>
                      <a:lnTo>
                        <a:pt x="1198" y="1267"/>
                      </a:lnTo>
                      <a:lnTo>
                        <a:pt x="1198" y="1265"/>
                      </a:lnTo>
                      <a:lnTo>
                        <a:pt x="1198" y="1262"/>
                      </a:lnTo>
                      <a:lnTo>
                        <a:pt x="1197" y="1260"/>
                      </a:lnTo>
                      <a:lnTo>
                        <a:pt x="1197" y="1258"/>
                      </a:lnTo>
                      <a:lnTo>
                        <a:pt x="1195" y="1255"/>
                      </a:lnTo>
                      <a:lnTo>
                        <a:pt x="1197" y="1251"/>
                      </a:lnTo>
                      <a:lnTo>
                        <a:pt x="1197" y="1248"/>
                      </a:lnTo>
                      <a:lnTo>
                        <a:pt x="1197" y="1245"/>
                      </a:lnTo>
                      <a:lnTo>
                        <a:pt x="1197" y="1244"/>
                      </a:lnTo>
                      <a:lnTo>
                        <a:pt x="1194" y="1241"/>
                      </a:lnTo>
                      <a:lnTo>
                        <a:pt x="1191" y="1240"/>
                      </a:lnTo>
                      <a:lnTo>
                        <a:pt x="1188" y="1238"/>
                      </a:lnTo>
                      <a:lnTo>
                        <a:pt x="1177" y="1229"/>
                      </a:lnTo>
                      <a:lnTo>
                        <a:pt x="1166" y="1220"/>
                      </a:lnTo>
                      <a:lnTo>
                        <a:pt x="1160" y="1220"/>
                      </a:lnTo>
                      <a:lnTo>
                        <a:pt x="1154" y="1222"/>
                      </a:lnTo>
                      <a:lnTo>
                        <a:pt x="1147" y="1224"/>
                      </a:lnTo>
                      <a:lnTo>
                        <a:pt x="1139" y="1223"/>
                      </a:lnTo>
                      <a:lnTo>
                        <a:pt x="1130" y="1219"/>
                      </a:lnTo>
                      <a:lnTo>
                        <a:pt x="1122" y="1216"/>
                      </a:lnTo>
                      <a:lnTo>
                        <a:pt x="1111" y="1214"/>
                      </a:lnTo>
                      <a:lnTo>
                        <a:pt x="1105" y="1213"/>
                      </a:lnTo>
                      <a:lnTo>
                        <a:pt x="1099" y="1212"/>
                      </a:lnTo>
                      <a:lnTo>
                        <a:pt x="1093" y="1209"/>
                      </a:lnTo>
                      <a:lnTo>
                        <a:pt x="1091" y="1205"/>
                      </a:lnTo>
                      <a:lnTo>
                        <a:pt x="1092" y="1203"/>
                      </a:lnTo>
                      <a:lnTo>
                        <a:pt x="1092" y="1201"/>
                      </a:lnTo>
                      <a:lnTo>
                        <a:pt x="1093" y="1198"/>
                      </a:lnTo>
                      <a:lnTo>
                        <a:pt x="1092" y="1196"/>
                      </a:lnTo>
                      <a:lnTo>
                        <a:pt x="1092" y="1194"/>
                      </a:lnTo>
                      <a:lnTo>
                        <a:pt x="1089" y="1193"/>
                      </a:lnTo>
                      <a:lnTo>
                        <a:pt x="1084" y="1189"/>
                      </a:lnTo>
                      <a:lnTo>
                        <a:pt x="1080" y="1186"/>
                      </a:lnTo>
                      <a:lnTo>
                        <a:pt x="1075" y="1184"/>
                      </a:lnTo>
                      <a:lnTo>
                        <a:pt x="1066" y="1183"/>
                      </a:lnTo>
                      <a:lnTo>
                        <a:pt x="1055" y="1183"/>
                      </a:lnTo>
                      <a:lnTo>
                        <a:pt x="1045" y="1184"/>
                      </a:lnTo>
                      <a:lnTo>
                        <a:pt x="1042" y="1184"/>
                      </a:lnTo>
                      <a:lnTo>
                        <a:pt x="1041" y="1185"/>
                      </a:lnTo>
                      <a:lnTo>
                        <a:pt x="1040" y="1186"/>
                      </a:lnTo>
                      <a:lnTo>
                        <a:pt x="1040" y="1187"/>
                      </a:lnTo>
                      <a:lnTo>
                        <a:pt x="1041" y="1189"/>
                      </a:lnTo>
                      <a:lnTo>
                        <a:pt x="1041" y="1191"/>
                      </a:lnTo>
                      <a:lnTo>
                        <a:pt x="1041" y="1192"/>
                      </a:lnTo>
                      <a:lnTo>
                        <a:pt x="1041" y="1193"/>
                      </a:lnTo>
                      <a:lnTo>
                        <a:pt x="1041" y="1194"/>
                      </a:lnTo>
                      <a:lnTo>
                        <a:pt x="1040" y="1194"/>
                      </a:lnTo>
                      <a:lnTo>
                        <a:pt x="1039" y="1194"/>
                      </a:lnTo>
                      <a:lnTo>
                        <a:pt x="1036" y="1193"/>
                      </a:lnTo>
                      <a:lnTo>
                        <a:pt x="1027" y="1186"/>
                      </a:lnTo>
                      <a:lnTo>
                        <a:pt x="1017" y="1181"/>
                      </a:lnTo>
                      <a:lnTo>
                        <a:pt x="1007" y="1175"/>
                      </a:lnTo>
                      <a:lnTo>
                        <a:pt x="993" y="1168"/>
                      </a:lnTo>
                      <a:lnTo>
                        <a:pt x="979" y="1163"/>
                      </a:lnTo>
                      <a:lnTo>
                        <a:pt x="963" y="1160"/>
                      </a:lnTo>
                      <a:lnTo>
                        <a:pt x="943" y="1153"/>
                      </a:lnTo>
                      <a:lnTo>
                        <a:pt x="926" y="1145"/>
                      </a:lnTo>
                      <a:lnTo>
                        <a:pt x="915" y="1138"/>
                      </a:lnTo>
                      <a:lnTo>
                        <a:pt x="906" y="1131"/>
                      </a:lnTo>
                      <a:lnTo>
                        <a:pt x="896" y="1127"/>
                      </a:lnTo>
                      <a:lnTo>
                        <a:pt x="886" y="1123"/>
                      </a:lnTo>
                      <a:lnTo>
                        <a:pt x="871" y="1113"/>
                      </a:lnTo>
                      <a:lnTo>
                        <a:pt x="855" y="1103"/>
                      </a:lnTo>
                      <a:lnTo>
                        <a:pt x="853" y="1099"/>
                      </a:lnTo>
                      <a:lnTo>
                        <a:pt x="850" y="1097"/>
                      </a:lnTo>
                      <a:lnTo>
                        <a:pt x="848" y="1095"/>
                      </a:lnTo>
                      <a:lnTo>
                        <a:pt x="845" y="1093"/>
                      </a:lnTo>
                      <a:lnTo>
                        <a:pt x="844" y="1092"/>
                      </a:lnTo>
                      <a:lnTo>
                        <a:pt x="845" y="1088"/>
                      </a:lnTo>
                      <a:lnTo>
                        <a:pt x="846" y="1085"/>
                      </a:lnTo>
                      <a:lnTo>
                        <a:pt x="848" y="1083"/>
                      </a:lnTo>
                      <a:lnTo>
                        <a:pt x="849" y="1081"/>
                      </a:lnTo>
                      <a:lnTo>
                        <a:pt x="849" y="1078"/>
                      </a:lnTo>
                      <a:lnTo>
                        <a:pt x="844" y="1067"/>
                      </a:lnTo>
                      <a:lnTo>
                        <a:pt x="838" y="1058"/>
                      </a:lnTo>
                      <a:lnTo>
                        <a:pt x="829" y="1050"/>
                      </a:lnTo>
                      <a:lnTo>
                        <a:pt x="824" y="1043"/>
                      </a:lnTo>
                      <a:lnTo>
                        <a:pt x="820" y="1039"/>
                      </a:lnTo>
                      <a:lnTo>
                        <a:pt x="816" y="1034"/>
                      </a:lnTo>
                      <a:lnTo>
                        <a:pt x="810" y="1030"/>
                      </a:lnTo>
                      <a:lnTo>
                        <a:pt x="805" y="1026"/>
                      </a:lnTo>
                      <a:lnTo>
                        <a:pt x="798" y="1021"/>
                      </a:lnTo>
                      <a:lnTo>
                        <a:pt x="788" y="1010"/>
                      </a:lnTo>
                      <a:lnTo>
                        <a:pt x="778" y="1001"/>
                      </a:lnTo>
                      <a:lnTo>
                        <a:pt x="772" y="997"/>
                      </a:lnTo>
                      <a:lnTo>
                        <a:pt x="767" y="990"/>
                      </a:lnTo>
                      <a:lnTo>
                        <a:pt x="764" y="983"/>
                      </a:lnTo>
                      <a:lnTo>
                        <a:pt x="761" y="977"/>
                      </a:lnTo>
                      <a:lnTo>
                        <a:pt x="752" y="967"/>
                      </a:lnTo>
                      <a:lnTo>
                        <a:pt x="742" y="960"/>
                      </a:lnTo>
                      <a:lnTo>
                        <a:pt x="732" y="951"/>
                      </a:lnTo>
                      <a:lnTo>
                        <a:pt x="728" y="946"/>
                      </a:lnTo>
                      <a:lnTo>
                        <a:pt x="723" y="942"/>
                      </a:lnTo>
                      <a:lnTo>
                        <a:pt x="719" y="939"/>
                      </a:lnTo>
                      <a:lnTo>
                        <a:pt x="714" y="935"/>
                      </a:lnTo>
                      <a:lnTo>
                        <a:pt x="711" y="931"/>
                      </a:lnTo>
                      <a:lnTo>
                        <a:pt x="708" y="927"/>
                      </a:lnTo>
                      <a:lnTo>
                        <a:pt x="706" y="920"/>
                      </a:lnTo>
                      <a:lnTo>
                        <a:pt x="698" y="903"/>
                      </a:lnTo>
                      <a:lnTo>
                        <a:pt x="686" y="889"/>
                      </a:lnTo>
                      <a:lnTo>
                        <a:pt x="685" y="887"/>
                      </a:lnTo>
                      <a:lnTo>
                        <a:pt x="682" y="885"/>
                      </a:lnTo>
                      <a:lnTo>
                        <a:pt x="680" y="883"/>
                      </a:lnTo>
                      <a:lnTo>
                        <a:pt x="678" y="881"/>
                      </a:lnTo>
                      <a:lnTo>
                        <a:pt x="677" y="879"/>
                      </a:lnTo>
                      <a:lnTo>
                        <a:pt x="675" y="878"/>
                      </a:lnTo>
                      <a:lnTo>
                        <a:pt x="672" y="878"/>
                      </a:lnTo>
                      <a:lnTo>
                        <a:pt x="671" y="878"/>
                      </a:lnTo>
                      <a:lnTo>
                        <a:pt x="670" y="880"/>
                      </a:lnTo>
                      <a:lnTo>
                        <a:pt x="670" y="883"/>
                      </a:lnTo>
                      <a:lnTo>
                        <a:pt x="674" y="895"/>
                      </a:lnTo>
                      <a:lnTo>
                        <a:pt x="672" y="905"/>
                      </a:lnTo>
                      <a:lnTo>
                        <a:pt x="672" y="908"/>
                      </a:lnTo>
                      <a:lnTo>
                        <a:pt x="672" y="910"/>
                      </a:lnTo>
                      <a:lnTo>
                        <a:pt x="674" y="912"/>
                      </a:lnTo>
                      <a:lnTo>
                        <a:pt x="676" y="916"/>
                      </a:lnTo>
                      <a:lnTo>
                        <a:pt x="679" y="918"/>
                      </a:lnTo>
                      <a:lnTo>
                        <a:pt x="687" y="923"/>
                      </a:lnTo>
                      <a:lnTo>
                        <a:pt x="695" y="929"/>
                      </a:lnTo>
                      <a:lnTo>
                        <a:pt x="699" y="934"/>
                      </a:lnTo>
                      <a:lnTo>
                        <a:pt x="701" y="942"/>
                      </a:lnTo>
                      <a:lnTo>
                        <a:pt x="704" y="946"/>
                      </a:lnTo>
                      <a:lnTo>
                        <a:pt x="708" y="951"/>
                      </a:lnTo>
                      <a:lnTo>
                        <a:pt x="712" y="955"/>
                      </a:lnTo>
                      <a:lnTo>
                        <a:pt x="717" y="961"/>
                      </a:lnTo>
                      <a:lnTo>
                        <a:pt x="721" y="966"/>
                      </a:lnTo>
                      <a:lnTo>
                        <a:pt x="725" y="973"/>
                      </a:lnTo>
                      <a:lnTo>
                        <a:pt x="730" y="978"/>
                      </a:lnTo>
                      <a:lnTo>
                        <a:pt x="734" y="984"/>
                      </a:lnTo>
                      <a:lnTo>
                        <a:pt x="739" y="988"/>
                      </a:lnTo>
                      <a:lnTo>
                        <a:pt x="741" y="992"/>
                      </a:lnTo>
                      <a:lnTo>
                        <a:pt x="742" y="995"/>
                      </a:lnTo>
                      <a:lnTo>
                        <a:pt x="744" y="997"/>
                      </a:lnTo>
                      <a:lnTo>
                        <a:pt x="745" y="999"/>
                      </a:lnTo>
                      <a:lnTo>
                        <a:pt x="747" y="1001"/>
                      </a:lnTo>
                      <a:lnTo>
                        <a:pt x="751" y="1005"/>
                      </a:lnTo>
                      <a:lnTo>
                        <a:pt x="753" y="1009"/>
                      </a:lnTo>
                      <a:lnTo>
                        <a:pt x="755" y="1014"/>
                      </a:lnTo>
                      <a:lnTo>
                        <a:pt x="756" y="1017"/>
                      </a:lnTo>
                      <a:lnTo>
                        <a:pt x="758" y="1019"/>
                      </a:lnTo>
                      <a:lnTo>
                        <a:pt x="761" y="1020"/>
                      </a:lnTo>
                      <a:lnTo>
                        <a:pt x="763" y="1022"/>
                      </a:lnTo>
                      <a:lnTo>
                        <a:pt x="765" y="1023"/>
                      </a:lnTo>
                      <a:lnTo>
                        <a:pt x="767" y="1026"/>
                      </a:lnTo>
                      <a:lnTo>
                        <a:pt x="770" y="1029"/>
                      </a:lnTo>
                      <a:lnTo>
                        <a:pt x="774" y="1033"/>
                      </a:lnTo>
                      <a:lnTo>
                        <a:pt x="776" y="1038"/>
                      </a:lnTo>
                      <a:lnTo>
                        <a:pt x="778" y="1041"/>
                      </a:lnTo>
                      <a:lnTo>
                        <a:pt x="778" y="1042"/>
                      </a:lnTo>
                      <a:lnTo>
                        <a:pt x="777" y="1043"/>
                      </a:lnTo>
                      <a:lnTo>
                        <a:pt x="776" y="1043"/>
                      </a:lnTo>
                      <a:lnTo>
                        <a:pt x="775" y="1043"/>
                      </a:lnTo>
                      <a:lnTo>
                        <a:pt x="773" y="1043"/>
                      </a:lnTo>
                      <a:lnTo>
                        <a:pt x="772" y="1043"/>
                      </a:lnTo>
                      <a:lnTo>
                        <a:pt x="768" y="1041"/>
                      </a:lnTo>
                      <a:lnTo>
                        <a:pt x="766" y="1039"/>
                      </a:lnTo>
                      <a:lnTo>
                        <a:pt x="764" y="1037"/>
                      </a:lnTo>
                      <a:lnTo>
                        <a:pt x="762" y="1033"/>
                      </a:lnTo>
                      <a:lnTo>
                        <a:pt x="761" y="1032"/>
                      </a:lnTo>
                      <a:lnTo>
                        <a:pt x="758" y="1030"/>
                      </a:lnTo>
                      <a:lnTo>
                        <a:pt x="755" y="1028"/>
                      </a:lnTo>
                      <a:lnTo>
                        <a:pt x="752" y="1026"/>
                      </a:lnTo>
                      <a:lnTo>
                        <a:pt x="750" y="1023"/>
                      </a:lnTo>
                      <a:lnTo>
                        <a:pt x="747" y="1021"/>
                      </a:lnTo>
                      <a:lnTo>
                        <a:pt x="745" y="1018"/>
                      </a:lnTo>
                      <a:lnTo>
                        <a:pt x="742" y="1016"/>
                      </a:lnTo>
                      <a:lnTo>
                        <a:pt x="739" y="1012"/>
                      </a:lnTo>
                      <a:lnTo>
                        <a:pt x="735" y="1011"/>
                      </a:lnTo>
                      <a:lnTo>
                        <a:pt x="732" y="1010"/>
                      </a:lnTo>
                      <a:lnTo>
                        <a:pt x="729" y="1010"/>
                      </a:lnTo>
                      <a:lnTo>
                        <a:pt x="726" y="1008"/>
                      </a:lnTo>
                      <a:lnTo>
                        <a:pt x="725" y="1007"/>
                      </a:lnTo>
                      <a:lnTo>
                        <a:pt x="723" y="1004"/>
                      </a:lnTo>
                      <a:lnTo>
                        <a:pt x="722" y="996"/>
                      </a:lnTo>
                      <a:lnTo>
                        <a:pt x="722" y="988"/>
                      </a:lnTo>
                      <a:lnTo>
                        <a:pt x="719" y="983"/>
                      </a:lnTo>
                      <a:lnTo>
                        <a:pt x="712" y="977"/>
                      </a:lnTo>
                      <a:lnTo>
                        <a:pt x="707" y="973"/>
                      </a:lnTo>
                      <a:lnTo>
                        <a:pt x="699" y="971"/>
                      </a:lnTo>
                      <a:lnTo>
                        <a:pt x="692" y="967"/>
                      </a:lnTo>
                      <a:lnTo>
                        <a:pt x="688" y="962"/>
                      </a:lnTo>
                      <a:lnTo>
                        <a:pt x="686" y="955"/>
                      </a:lnTo>
                      <a:lnTo>
                        <a:pt x="687" y="949"/>
                      </a:lnTo>
                      <a:lnTo>
                        <a:pt x="687" y="942"/>
                      </a:lnTo>
                      <a:lnTo>
                        <a:pt x="684" y="935"/>
                      </a:lnTo>
                      <a:lnTo>
                        <a:pt x="679" y="932"/>
                      </a:lnTo>
                      <a:lnTo>
                        <a:pt x="674" y="928"/>
                      </a:lnTo>
                      <a:lnTo>
                        <a:pt x="669" y="923"/>
                      </a:lnTo>
                      <a:lnTo>
                        <a:pt x="666" y="920"/>
                      </a:lnTo>
                      <a:lnTo>
                        <a:pt x="664" y="918"/>
                      </a:lnTo>
                      <a:lnTo>
                        <a:pt x="661" y="916"/>
                      </a:lnTo>
                      <a:lnTo>
                        <a:pt x="660" y="913"/>
                      </a:lnTo>
                      <a:lnTo>
                        <a:pt x="658" y="910"/>
                      </a:lnTo>
                      <a:lnTo>
                        <a:pt x="657" y="907"/>
                      </a:lnTo>
                      <a:lnTo>
                        <a:pt x="650" y="897"/>
                      </a:lnTo>
                      <a:lnTo>
                        <a:pt x="643" y="887"/>
                      </a:lnTo>
                      <a:lnTo>
                        <a:pt x="635" y="876"/>
                      </a:lnTo>
                      <a:lnTo>
                        <a:pt x="621" y="856"/>
                      </a:lnTo>
                      <a:lnTo>
                        <a:pt x="609" y="836"/>
                      </a:lnTo>
                      <a:lnTo>
                        <a:pt x="601" y="827"/>
                      </a:lnTo>
                      <a:lnTo>
                        <a:pt x="591" y="821"/>
                      </a:lnTo>
                      <a:lnTo>
                        <a:pt x="582" y="814"/>
                      </a:lnTo>
                      <a:lnTo>
                        <a:pt x="569" y="804"/>
                      </a:lnTo>
                      <a:lnTo>
                        <a:pt x="557" y="792"/>
                      </a:lnTo>
                      <a:lnTo>
                        <a:pt x="546" y="777"/>
                      </a:lnTo>
                      <a:lnTo>
                        <a:pt x="538" y="760"/>
                      </a:lnTo>
                      <a:lnTo>
                        <a:pt x="532" y="745"/>
                      </a:lnTo>
                      <a:lnTo>
                        <a:pt x="527" y="735"/>
                      </a:lnTo>
                      <a:lnTo>
                        <a:pt x="523" y="725"/>
                      </a:lnTo>
                      <a:lnTo>
                        <a:pt x="522" y="721"/>
                      </a:lnTo>
                      <a:lnTo>
                        <a:pt x="519" y="718"/>
                      </a:lnTo>
                      <a:lnTo>
                        <a:pt x="517" y="715"/>
                      </a:lnTo>
                      <a:lnTo>
                        <a:pt x="514" y="713"/>
                      </a:lnTo>
                      <a:lnTo>
                        <a:pt x="512" y="710"/>
                      </a:lnTo>
                      <a:lnTo>
                        <a:pt x="510" y="704"/>
                      </a:lnTo>
                      <a:lnTo>
                        <a:pt x="507" y="699"/>
                      </a:lnTo>
                      <a:lnTo>
                        <a:pt x="505" y="692"/>
                      </a:lnTo>
                      <a:lnTo>
                        <a:pt x="504" y="689"/>
                      </a:lnTo>
                      <a:lnTo>
                        <a:pt x="502" y="687"/>
                      </a:lnTo>
                      <a:lnTo>
                        <a:pt x="500" y="683"/>
                      </a:lnTo>
                      <a:lnTo>
                        <a:pt x="499" y="680"/>
                      </a:lnTo>
                      <a:lnTo>
                        <a:pt x="499" y="677"/>
                      </a:lnTo>
                      <a:lnTo>
                        <a:pt x="497" y="668"/>
                      </a:lnTo>
                      <a:lnTo>
                        <a:pt x="497" y="661"/>
                      </a:lnTo>
                      <a:lnTo>
                        <a:pt x="499" y="655"/>
                      </a:lnTo>
                      <a:lnTo>
                        <a:pt x="497" y="645"/>
                      </a:lnTo>
                      <a:lnTo>
                        <a:pt x="496" y="635"/>
                      </a:lnTo>
                      <a:lnTo>
                        <a:pt x="490" y="615"/>
                      </a:lnTo>
                      <a:lnTo>
                        <a:pt x="490" y="606"/>
                      </a:lnTo>
                      <a:lnTo>
                        <a:pt x="491" y="600"/>
                      </a:lnTo>
                      <a:lnTo>
                        <a:pt x="492" y="593"/>
                      </a:lnTo>
                      <a:lnTo>
                        <a:pt x="493" y="574"/>
                      </a:lnTo>
                      <a:lnTo>
                        <a:pt x="492" y="556"/>
                      </a:lnTo>
                      <a:lnTo>
                        <a:pt x="490" y="538"/>
                      </a:lnTo>
                      <a:lnTo>
                        <a:pt x="490" y="516"/>
                      </a:lnTo>
                      <a:lnTo>
                        <a:pt x="488" y="512"/>
                      </a:lnTo>
                      <a:lnTo>
                        <a:pt x="486" y="508"/>
                      </a:lnTo>
                      <a:lnTo>
                        <a:pt x="484" y="506"/>
                      </a:lnTo>
                      <a:lnTo>
                        <a:pt x="483" y="503"/>
                      </a:lnTo>
                      <a:lnTo>
                        <a:pt x="481" y="498"/>
                      </a:lnTo>
                      <a:lnTo>
                        <a:pt x="480" y="492"/>
                      </a:lnTo>
                      <a:lnTo>
                        <a:pt x="478" y="484"/>
                      </a:lnTo>
                      <a:lnTo>
                        <a:pt x="479" y="478"/>
                      </a:lnTo>
                      <a:lnTo>
                        <a:pt x="481" y="476"/>
                      </a:lnTo>
                      <a:lnTo>
                        <a:pt x="488" y="478"/>
                      </a:lnTo>
                      <a:lnTo>
                        <a:pt x="494" y="484"/>
                      </a:lnTo>
                      <a:lnTo>
                        <a:pt x="501" y="487"/>
                      </a:lnTo>
                      <a:lnTo>
                        <a:pt x="504" y="487"/>
                      </a:lnTo>
                      <a:lnTo>
                        <a:pt x="506" y="487"/>
                      </a:lnTo>
                      <a:lnTo>
                        <a:pt x="508" y="485"/>
                      </a:lnTo>
                      <a:lnTo>
                        <a:pt x="510" y="482"/>
                      </a:lnTo>
                      <a:lnTo>
                        <a:pt x="510" y="478"/>
                      </a:lnTo>
                      <a:lnTo>
                        <a:pt x="508" y="474"/>
                      </a:lnTo>
                      <a:lnTo>
                        <a:pt x="507" y="470"/>
                      </a:lnTo>
                      <a:lnTo>
                        <a:pt x="504" y="466"/>
                      </a:lnTo>
                      <a:lnTo>
                        <a:pt x="499" y="465"/>
                      </a:lnTo>
                      <a:lnTo>
                        <a:pt x="492" y="465"/>
                      </a:lnTo>
                      <a:lnTo>
                        <a:pt x="488" y="465"/>
                      </a:lnTo>
                      <a:lnTo>
                        <a:pt x="482" y="466"/>
                      </a:lnTo>
                      <a:lnTo>
                        <a:pt x="477" y="470"/>
                      </a:lnTo>
                      <a:lnTo>
                        <a:pt x="472" y="471"/>
                      </a:lnTo>
                      <a:lnTo>
                        <a:pt x="468" y="470"/>
                      </a:lnTo>
                      <a:lnTo>
                        <a:pt x="463" y="463"/>
                      </a:lnTo>
                      <a:lnTo>
                        <a:pt x="452" y="449"/>
                      </a:lnTo>
                      <a:lnTo>
                        <a:pt x="441" y="437"/>
                      </a:lnTo>
                      <a:lnTo>
                        <a:pt x="435" y="429"/>
                      </a:lnTo>
                      <a:lnTo>
                        <a:pt x="431" y="420"/>
                      </a:lnTo>
                      <a:lnTo>
                        <a:pt x="430" y="410"/>
                      </a:lnTo>
                      <a:lnTo>
                        <a:pt x="433" y="399"/>
                      </a:lnTo>
                      <a:lnTo>
                        <a:pt x="434" y="396"/>
                      </a:lnTo>
                      <a:lnTo>
                        <a:pt x="434" y="393"/>
                      </a:lnTo>
                      <a:lnTo>
                        <a:pt x="433" y="389"/>
                      </a:lnTo>
                      <a:lnTo>
                        <a:pt x="431" y="386"/>
                      </a:lnTo>
                      <a:lnTo>
                        <a:pt x="430" y="382"/>
                      </a:lnTo>
                      <a:lnTo>
                        <a:pt x="430" y="373"/>
                      </a:lnTo>
                      <a:lnTo>
                        <a:pt x="430" y="372"/>
                      </a:lnTo>
                      <a:lnTo>
                        <a:pt x="431" y="371"/>
                      </a:lnTo>
                      <a:lnTo>
                        <a:pt x="433" y="371"/>
                      </a:lnTo>
                      <a:lnTo>
                        <a:pt x="433" y="368"/>
                      </a:lnTo>
                      <a:lnTo>
                        <a:pt x="434" y="366"/>
                      </a:lnTo>
                      <a:lnTo>
                        <a:pt x="434" y="365"/>
                      </a:lnTo>
                      <a:lnTo>
                        <a:pt x="431" y="363"/>
                      </a:lnTo>
                      <a:lnTo>
                        <a:pt x="429" y="361"/>
                      </a:lnTo>
                      <a:lnTo>
                        <a:pt x="427" y="360"/>
                      </a:lnTo>
                      <a:lnTo>
                        <a:pt x="426" y="357"/>
                      </a:lnTo>
                      <a:lnTo>
                        <a:pt x="424" y="354"/>
                      </a:lnTo>
                      <a:lnTo>
                        <a:pt x="423" y="350"/>
                      </a:lnTo>
                      <a:lnTo>
                        <a:pt x="420" y="346"/>
                      </a:lnTo>
                      <a:lnTo>
                        <a:pt x="419" y="343"/>
                      </a:lnTo>
                      <a:lnTo>
                        <a:pt x="419" y="339"/>
                      </a:lnTo>
                      <a:lnTo>
                        <a:pt x="419" y="332"/>
                      </a:lnTo>
                      <a:lnTo>
                        <a:pt x="418" y="324"/>
                      </a:lnTo>
                      <a:lnTo>
                        <a:pt x="418" y="319"/>
                      </a:lnTo>
                      <a:lnTo>
                        <a:pt x="417" y="317"/>
                      </a:lnTo>
                      <a:lnTo>
                        <a:pt x="416" y="318"/>
                      </a:lnTo>
                      <a:lnTo>
                        <a:pt x="415" y="320"/>
                      </a:lnTo>
                      <a:lnTo>
                        <a:pt x="415" y="322"/>
                      </a:lnTo>
                      <a:lnTo>
                        <a:pt x="414" y="324"/>
                      </a:lnTo>
                      <a:lnTo>
                        <a:pt x="413" y="327"/>
                      </a:lnTo>
                      <a:lnTo>
                        <a:pt x="410" y="328"/>
                      </a:lnTo>
                      <a:lnTo>
                        <a:pt x="409" y="328"/>
                      </a:lnTo>
                      <a:lnTo>
                        <a:pt x="407" y="328"/>
                      </a:lnTo>
                      <a:lnTo>
                        <a:pt x="405" y="328"/>
                      </a:lnTo>
                      <a:lnTo>
                        <a:pt x="403" y="328"/>
                      </a:lnTo>
                      <a:lnTo>
                        <a:pt x="401" y="327"/>
                      </a:lnTo>
                      <a:lnTo>
                        <a:pt x="399" y="325"/>
                      </a:lnTo>
                      <a:lnTo>
                        <a:pt x="398" y="328"/>
                      </a:lnTo>
                      <a:lnTo>
                        <a:pt x="396" y="330"/>
                      </a:lnTo>
                      <a:lnTo>
                        <a:pt x="396" y="330"/>
                      </a:lnTo>
                      <a:lnTo>
                        <a:pt x="395" y="330"/>
                      </a:lnTo>
                      <a:lnTo>
                        <a:pt x="395" y="329"/>
                      </a:lnTo>
                      <a:lnTo>
                        <a:pt x="395" y="327"/>
                      </a:lnTo>
                      <a:lnTo>
                        <a:pt x="395" y="324"/>
                      </a:lnTo>
                      <a:lnTo>
                        <a:pt x="395" y="321"/>
                      </a:lnTo>
                      <a:lnTo>
                        <a:pt x="395" y="319"/>
                      </a:lnTo>
                      <a:lnTo>
                        <a:pt x="395" y="317"/>
                      </a:lnTo>
                      <a:lnTo>
                        <a:pt x="395" y="313"/>
                      </a:lnTo>
                      <a:lnTo>
                        <a:pt x="395" y="312"/>
                      </a:lnTo>
                      <a:lnTo>
                        <a:pt x="393" y="309"/>
                      </a:lnTo>
                      <a:lnTo>
                        <a:pt x="392" y="306"/>
                      </a:lnTo>
                      <a:lnTo>
                        <a:pt x="390" y="305"/>
                      </a:lnTo>
                      <a:lnTo>
                        <a:pt x="387" y="302"/>
                      </a:lnTo>
                      <a:lnTo>
                        <a:pt x="386" y="299"/>
                      </a:lnTo>
                      <a:lnTo>
                        <a:pt x="387" y="296"/>
                      </a:lnTo>
                      <a:lnTo>
                        <a:pt x="388" y="292"/>
                      </a:lnTo>
                      <a:lnTo>
                        <a:pt x="391" y="289"/>
                      </a:lnTo>
                      <a:lnTo>
                        <a:pt x="393" y="286"/>
                      </a:lnTo>
                      <a:lnTo>
                        <a:pt x="394" y="284"/>
                      </a:lnTo>
                      <a:lnTo>
                        <a:pt x="394" y="281"/>
                      </a:lnTo>
                      <a:lnTo>
                        <a:pt x="393" y="279"/>
                      </a:lnTo>
                      <a:lnTo>
                        <a:pt x="392" y="277"/>
                      </a:lnTo>
                      <a:lnTo>
                        <a:pt x="391" y="275"/>
                      </a:lnTo>
                      <a:lnTo>
                        <a:pt x="388" y="269"/>
                      </a:lnTo>
                      <a:lnTo>
                        <a:pt x="386" y="264"/>
                      </a:lnTo>
                      <a:lnTo>
                        <a:pt x="384" y="259"/>
                      </a:lnTo>
                      <a:lnTo>
                        <a:pt x="382" y="255"/>
                      </a:lnTo>
                      <a:lnTo>
                        <a:pt x="380" y="253"/>
                      </a:lnTo>
                      <a:lnTo>
                        <a:pt x="380" y="251"/>
                      </a:lnTo>
                      <a:lnTo>
                        <a:pt x="379" y="247"/>
                      </a:lnTo>
                      <a:lnTo>
                        <a:pt x="379" y="245"/>
                      </a:lnTo>
                      <a:lnTo>
                        <a:pt x="379" y="243"/>
                      </a:lnTo>
                      <a:lnTo>
                        <a:pt x="379" y="241"/>
                      </a:lnTo>
                      <a:lnTo>
                        <a:pt x="377" y="240"/>
                      </a:lnTo>
                      <a:lnTo>
                        <a:pt x="376" y="237"/>
                      </a:lnTo>
                      <a:lnTo>
                        <a:pt x="375" y="235"/>
                      </a:lnTo>
                      <a:lnTo>
                        <a:pt x="373" y="235"/>
                      </a:lnTo>
                      <a:lnTo>
                        <a:pt x="372" y="233"/>
                      </a:lnTo>
                      <a:lnTo>
                        <a:pt x="371" y="231"/>
                      </a:lnTo>
                      <a:lnTo>
                        <a:pt x="370" y="230"/>
                      </a:lnTo>
                      <a:lnTo>
                        <a:pt x="369" y="227"/>
                      </a:lnTo>
                      <a:lnTo>
                        <a:pt x="368" y="226"/>
                      </a:lnTo>
                      <a:lnTo>
                        <a:pt x="366" y="226"/>
                      </a:lnTo>
                      <a:lnTo>
                        <a:pt x="365" y="227"/>
                      </a:lnTo>
                      <a:lnTo>
                        <a:pt x="364" y="231"/>
                      </a:lnTo>
                      <a:lnTo>
                        <a:pt x="364" y="232"/>
                      </a:lnTo>
                      <a:lnTo>
                        <a:pt x="363" y="234"/>
                      </a:lnTo>
                      <a:lnTo>
                        <a:pt x="362" y="237"/>
                      </a:lnTo>
                      <a:lnTo>
                        <a:pt x="361" y="240"/>
                      </a:lnTo>
                      <a:lnTo>
                        <a:pt x="360" y="243"/>
                      </a:lnTo>
                      <a:lnTo>
                        <a:pt x="359" y="244"/>
                      </a:lnTo>
                      <a:lnTo>
                        <a:pt x="358" y="244"/>
                      </a:lnTo>
                      <a:lnTo>
                        <a:pt x="355" y="240"/>
                      </a:lnTo>
                      <a:lnTo>
                        <a:pt x="353" y="234"/>
                      </a:lnTo>
                      <a:lnTo>
                        <a:pt x="353" y="226"/>
                      </a:lnTo>
                      <a:lnTo>
                        <a:pt x="353" y="222"/>
                      </a:lnTo>
                      <a:lnTo>
                        <a:pt x="354" y="220"/>
                      </a:lnTo>
                      <a:lnTo>
                        <a:pt x="355" y="218"/>
                      </a:lnTo>
                      <a:lnTo>
                        <a:pt x="357" y="216"/>
                      </a:lnTo>
                      <a:lnTo>
                        <a:pt x="358" y="214"/>
                      </a:lnTo>
                      <a:lnTo>
                        <a:pt x="358" y="211"/>
                      </a:lnTo>
                      <a:lnTo>
                        <a:pt x="358" y="209"/>
                      </a:lnTo>
                      <a:lnTo>
                        <a:pt x="358" y="205"/>
                      </a:lnTo>
                      <a:lnTo>
                        <a:pt x="357" y="201"/>
                      </a:lnTo>
                      <a:lnTo>
                        <a:pt x="354" y="197"/>
                      </a:lnTo>
                      <a:lnTo>
                        <a:pt x="353" y="193"/>
                      </a:lnTo>
                      <a:lnTo>
                        <a:pt x="351" y="190"/>
                      </a:lnTo>
                      <a:lnTo>
                        <a:pt x="350" y="189"/>
                      </a:lnTo>
                      <a:lnTo>
                        <a:pt x="348" y="187"/>
                      </a:lnTo>
                      <a:lnTo>
                        <a:pt x="347" y="185"/>
                      </a:lnTo>
                      <a:lnTo>
                        <a:pt x="347" y="183"/>
                      </a:lnTo>
                      <a:lnTo>
                        <a:pt x="347" y="181"/>
                      </a:lnTo>
                      <a:lnTo>
                        <a:pt x="348" y="180"/>
                      </a:lnTo>
                      <a:lnTo>
                        <a:pt x="348" y="178"/>
                      </a:lnTo>
                      <a:lnTo>
                        <a:pt x="347" y="176"/>
                      </a:lnTo>
                      <a:lnTo>
                        <a:pt x="344" y="175"/>
                      </a:lnTo>
                      <a:lnTo>
                        <a:pt x="343" y="176"/>
                      </a:lnTo>
                      <a:lnTo>
                        <a:pt x="341" y="177"/>
                      </a:lnTo>
                      <a:lnTo>
                        <a:pt x="339" y="177"/>
                      </a:lnTo>
                      <a:lnTo>
                        <a:pt x="338" y="178"/>
                      </a:lnTo>
                      <a:lnTo>
                        <a:pt x="333" y="178"/>
                      </a:lnTo>
                      <a:lnTo>
                        <a:pt x="332" y="177"/>
                      </a:lnTo>
                      <a:lnTo>
                        <a:pt x="331" y="176"/>
                      </a:lnTo>
                      <a:lnTo>
                        <a:pt x="331" y="175"/>
                      </a:lnTo>
                      <a:lnTo>
                        <a:pt x="331" y="174"/>
                      </a:lnTo>
                      <a:lnTo>
                        <a:pt x="331" y="174"/>
                      </a:lnTo>
                      <a:lnTo>
                        <a:pt x="329" y="176"/>
                      </a:lnTo>
                      <a:lnTo>
                        <a:pt x="327" y="177"/>
                      </a:lnTo>
                      <a:lnTo>
                        <a:pt x="325" y="178"/>
                      </a:lnTo>
                      <a:lnTo>
                        <a:pt x="324" y="178"/>
                      </a:lnTo>
                      <a:lnTo>
                        <a:pt x="322" y="176"/>
                      </a:lnTo>
                      <a:lnTo>
                        <a:pt x="320" y="172"/>
                      </a:lnTo>
                      <a:lnTo>
                        <a:pt x="318" y="169"/>
                      </a:lnTo>
                      <a:lnTo>
                        <a:pt x="318" y="165"/>
                      </a:lnTo>
                      <a:lnTo>
                        <a:pt x="318" y="160"/>
                      </a:lnTo>
                      <a:lnTo>
                        <a:pt x="317" y="158"/>
                      </a:lnTo>
                      <a:lnTo>
                        <a:pt x="316" y="157"/>
                      </a:lnTo>
                      <a:lnTo>
                        <a:pt x="315" y="156"/>
                      </a:lnTo>
                      <a:lnTo>
                        <a:pt x="313" y="155"/>
                      </a:lnTo>
                      <a:lnTo>
                        <a:pt x="311" y="154"/>
                      </a:lnTo>
                      <a:lnTo>
                        <a:pt x="307" y="148"/>
                      </a:lnTo>
                      <a:lnTo>
                        <a:pt x="305" y="141"/>
                      </a:lnTo>
                      <a:lnTo>
                        <a:pt x="301" y="134"/>
                      </a:lnTo>
                      <a:lnTo>
                        <a:pt x="298" y="129"/>
                      </a:lnTo>
                      <a:lnTo>
                        <a:pt x="297" y="129"/>
                      </a:lnTo>
                      <a:lnTo>
                        <a:pt x="297" y="127"/>
                      </a:lnTo>
                      <a:lnTo>
                        <a:pt x="297" y="126"/>
                      </a:lnTo>
                      <a:lnTo>
                        <a:pt x="297" y="123"/>
                      </a:lnTo>
                      <a:lnTo>
                        <a:pt x="296" y="121"/>
                      </a:lnTo>
                      <a:lnTo>
                        <a:pt x="296" y="120"/>
                      </a:lnTo>
                      <a:lnTo>
                        <a:pt x="296" y="117"/>
                      </a:lnTo>
                      <a:lnTo>
                        <a:pt x="296" y="116"/>
                      </a:lnTo>
                      <a:lnTo>
                        <a:pt x="295" y="114"/>
                      </a:lnTo>
                      <a:lnTo>
                        <a:pt x="295" y="114"/>
                      </a:lnTo>
                      <a:lnTo>
                        <a:pt x="294" y="114"/>
                      </a:lnTo>
                      <a:lnTo>
                        <a:pt x="289" y="116"/>
                      </a:lnTo>
                      <a:lnTo>
                        <a:pt x="286" y="123"/>
                      </a:lnTo>
                      <a:lnTo>
                        <a:pt x="284" y="129"/>
                      </a:lnTo>
                      <a:lnTo>
                        <a:pt x="283" y="136"/>
                      </a:lnTo>
                      <a:lnTo>
                        <a:pt x="281" y="139"/>
                      </a:lnTo>
                      <a:lnTo>
                        <a:pt x="279" y="142"/>
                      </a:lnTo>
                      <a:lnTo>
                        <a:pt x="277" y="143"/>
                      </a:lnTo>
                      <a:lnTo>
                        <a:pt x="276" y="143"/>
                      </a:lnTo>
                      <a:lnTo>
                        <a:pt x="274" y="142"/>
                      </a:lnTo>
                      <a:lnTo>
                        <a:pt x="272" y="141"/>
                      </a:lnTo>
                      <a:lnTo>
                        <a:pt x="270" y="138"/>
                      </a:lnTo>
                      <a:lnTo>
                        <a:pt x="268" y="136"/>
                      </a:lnTo>
                      <a:lnTo>
                        <a:pt x="266" y="135"/>
                      </a:lnTo>
                      <a:lnTo>
                        <a:pt x="265" y="134"/>
                      </a:lnTo>
                      <a:lnTo>
                        <a:pt x="257" y="131"/>
                      </a:lnTo>
                      <a:lnTo>
                        <a:pt x="249" y="129"/>
                      </a:lnTo>
                      <a:lnTo>
                        <a:pt x="241" y="134"/>
                      </a:lnTo>
                      <a:lnTo>
                        <a:pt x="239" y="135"/>
                      </a:lnTo>
                      <a:lnTo>
                        <a:pt x="238" y="135"/>
                      </a:lnTo>
                      <a:lnTo>
                        <a:pt x="237" y="134"/>
                      </a:lnTo>
                      <a:lnTo>
                        <a:pt x="235" y="132"/>
                      </a:lnTo>
                      <a:lnTo>
                        <a:pt x="234" y="129"/>
                      </a:lnTo>
                      <a:lnTo>
                        <a:pt x="233" y="127"/>
                      </a:lnTo>
                      <a:lnTo>
                        <a:pt x="232" y="124"/>
                      </a:lnTo>
                      <a:lnTo>
                        <a:pt x="231" y="122"/>
                      </a:lnTo>
                      <a:lnTo>
                        <a:pt x="229" y="120"/>
                      </a:lnTo>
                      <a:lnTo>
                        <a:pt x="228" y="118"/>
                      </a:lnTo>
                      <a:lnTo>
                        <a:pt x="226" y="118"/>
                      </a:lnTo>
                      <a:lnTo>
                        <a:pt x="224" y="120"/>
                      </a:lnTo>
                      <a:lnTo>
                        <a:pt x="222" y="120"/>
                      </a:lnTo>
                      <a:lnTo>
                        <a:pt x="221" y="118"/>
                      </a:lnTo>
                      <a:lnTo>
                        <a:pt x="220" y="117"/>
                      </a:lnTo>
                      <a:lnTo>
                        <a:pt x="219" y="116"/>
                      </a:lnTo>
                      <a:lnTo>
                        <a:pt x="218" y="114"/>
                      </a:lnTo>
                      <a:lnTo>
                        <a:pt x="218" y="112"/>
                      </a:lnTo>
                      <a:lnTo>
                        <a:pt x="217" y="110"/>
                      </a:lnTo>
                      <a:lnTo>
                        <a:pt x="212" y="109"/>
                      </a:lnTo>
                      <a:lnTo>
                        <a:pt x="207" y="109"/>
                      </a:lnTo>
                      <a:lnTo>
                        <a:pt x="202" y="111"/>
                      </a:lnTo>
                      <a:lnTo>
                        <a:pt x="199" y="114"/>
                      </a:lnTo>
                      <a:lnTo>
                        <a:pt x="198" y="117"/>
                      </a:lnTo>
                      <a:lnTo>
                        <a:pt x="198" y="120"/>
                      </a:lnTo>
                      <a:lnTo>
                        <a:pt x="199" y="122"/>
                      </a:lnTo>
                      <a:lnTo>
                        <a:pt x="200" y="124"/>
                      </a:lnTo>
                      <a:lnTo>
                        <a:pt x="201" y="125"/>
                      </a:lnTo>
                      <a:lnTo>
                        <a:pt x="202" y="127"/>
                      </a:lnTo>
                      <a:lnTo>
                        <a:pt x="202" y="129"/>
                      </a:lnTo>
                      <a:lnTo>
                        <a:pt x="201" y="132"/>
                      </a:lnTo>
                      <a:lnTo>
                        <a:pt x="200" y="134"/>
                      </a:lnTo>
                      <a:lnTo>
                        <a:pt x="199" y="136"/>
                      </a:lnTo>
                      <a:lnTo>
                        <a:pt x="198" y="137"/>
                      </a:lnTo>
                      <a:lnTo>
                        <a:pt x="196" y="138"/>
                      </a:lnTo>
                      <a:lnTo>
                        <a:pt x="195" y="138"/>
                      </a:lnTo>
                      <a:lnTo>
                        <a:pt x="191" y="141"/>
                      </a:lnTo>
                      <a:lnTo>
                        <a:pt x="189" y="143"/>
                      </a:lnTo>
                      <a:lnTo>
                        <a:pt x="187" y="145"/>
                      </a:lnTo>
                      <a:lnTo>
                        <a:pt x="186" y="147"/>
                      </a:lnTo>
                      <a:lnTo>
                        <a:pt x="184" y="150"/>
                      </a:lnTo>
                      <a:lnTo>
                        <a:pt x="182" y="153"/>
                      </a:lnTo>
                      <a:lnTo>
                        <a:pt x="179" y="154"/>
                      </a:lnTo>
                      <a:lnTo>
                        <a:pt x="177" y="156"/>
                      </a:lnTo>
                      <a:lnTo>
                        <a:pt x="175" y="157"/>
                      </a:lnTo>
                      <a:lnTo>
                        <a:pt x="173" y="159"/>
                      </a:lnTo>
                      <a:lnTo>
                        <a:pt x="170" y="160"/>
                      </a:lnTo>
                      <a:lnTo>
                        <a:pt x="168" y="161"/>
                      </a:lnTo>
                      <a:lnTo>
                        <a:pt x="166" y="163"/>
                      </a:lnTo>
                      <a:lnTo>
                        <a:pt x="165" y="163"/>
                      </a:lnTo>
                      <a:lnTo>
                        <a:pt x="165" y="161"/>
                      </a:lnTo>
                      <a:lnTo>
                        <a:pt x="165" y="159"/>
                      </a:lnTo>
                      <a:lnTo>
                        <a:pt x="165" y="157"/>
                      </a:lnTo>
                      <a:lnTo>
                        <a:pt x="165" y="154"/>
                      </a:lnTo>
                      <a:lnTo>
                        <a:pt x="165" y="150"/>
                      </a:lnTo>
                      <a:lnTo>
                        <a:pt x="166" y="148"/>
                      </a:lnTo>
                      <a:lnTo>
                        <a:pt x="166" y="146"/>
                      </a:lnTo>
                      <a:lnTo>
                        <a:pt x="166" y="145"/>
                      </a:lnTo>
                      <a:lnTo>
                        <a:pt x="166" y="143"/>
                      </a:lnTo>
                      <a:lnTo>
                        <a:pt x="165" y="142"/>
                      </a:lnTo>
                      <a:lnTo>
                        <a:pt x="164" y="141"/>
                      </a:lnTo>
                      <a:lnTo>
                        <a:pt x="164" y="139"/>
                      </a:lnTo>
                      <a:lnTo>
                        <a:pt x="163" y="138"/>
                      </a:lnTo>
                      <a:lnTo>
                        <a:pt x="163" y="136"/>
                      </a:lnTo>
                      <a:lnTo>
                        <a:pt x="164" y="134"/>
                      </a:lnTo>
                      <a:lnTo>
                        <a:pt x="166" y="129"/>
                      </a:lnTo>
                      <a:lnTo>
                        <a:pt x="168" y="124"/>
                      </a:lnTo>
                      <a:lnTo>
                        <a:pt x="170" y="118"/>
                      </a:lnTo>
                      <a:lnTo>
                        <a:pt x="170" y="115"/>
                      </a:lnTo>
                      <a:lnTo>
                        <a:pt x="172" y="113"/>
                      </a:lnTo>
                      <a:lnTo>
                        <a:pt x="173" y="112"/>
                      </a:lnTo>
                      <a:lnTo>
                        <a:pt x="175" y="112"/>
                      </a:lnTo>
                      <a:lnTo>
                        <a:pt x="177" y="112"/>
                      </a:lnTo>
                      <a:lnTo>
                        <a:pt x="178" y="111"/>
                      </a:lnTo>
                      <a:lnTo>
                        <a:pt x="179" y="109"/>
                      </a:lnTo>
                      <a:lnTo>
                        <a:pt x="180" y="106"/>
                      </a:lnTo>
                      <a:lnTo>
                        <a:pt x="182" y="103"/>
                      </a:lnTo>
                      <a:lnTo>
                        <a:pt x="182" y="100"/>
                      </a:lnTo>
                      <a:lnTo>
                        <a:pt x="182" y="99"/>
                      </a:lnTo>
                      <a:lnTo>
                        <a:pt x="180" y="98"/>
                      </a:lnTo>
                      <a:lnTo>
                        <a:pt x="179" y="96"/>
                      </a:lnTo>
                      <a:lnTo>
                        <a:pt x="177" y="98"/>
                      </a:lnTo>
                      <a:lnTo>
                        <a:pt x="175" y="99"/>
                      </a:lnTo>
                      <a:lnTo>
                        <a:pt x="174" y="100"/>
                      </a:lnTo>
                      <a:lnTo>
                        <a:pt x="172" y="102"/>
                      </a:lnTo>
                      <a:lnTo>
                        <a:pt x="170" y="104"/>
                      </a:lnTo>
                      <a:lnTo>
                        <a:pt x="168" y="105"/>
                      </a:lnTo>
                      <a:lnTo>
                        <a:pt x="168" y="107"/>
                      </a:lnTo>
                      <a:lnTo>
                        <a:pt x="162" y="121"/>
                      </a:lnTo>
                      <a:lnTo>
                        <a:pt x="158" y="123"/>
                      </a:lnTo>
                      <a:lnTo>
                        <a:pt x="157" y="124"/>
                      </a:lnTo>
                      <a:lnTo>
                        <a:pt x="157" y="126"/>
                      </a:lnTo>
                      <a:lnTo>
                        <a:pt x="157" y="129"/>
                      </a:lnTo>
                      <a:lnTo>
                        <a:pt x="157" y="135"/>
                      </a:lnTo>
                      <a:lnTo>
                        <a:pt x="156" y="141"/>
                      </a:lnTo>
                      <a:lnTo>
                        <a:pt x="155" y="145"/>
                      </a:lnTo>
                      <a:lnTo>
                        <a:pt x="153" y="147"/>
                      </a:lnTo>
                      <a:lnTo>
                        <a:pt x="152" y="148"/>
                      </a:lnTo>
                      <a:lnTo>
                        <a:pt x="150" y="148"/>
                      </a:lnTo>
                      <a:lnTo>
                        <a:pt x="147" y="149"/>
                      </a:lnTo>
                      <a:lnTo>
                        <a:pt x="146" y="152"/>
                      </a:lnTo>
                      <a:lnTo>
                        <a:pt x="144" y="155"/>
                      </a:lnTo>
                      <a:lnTo>
                        <a:pt x="144" y="157"/>
                      </a:lnTo>
                      <a:lnTo>
                        <a:pt x="144" y="159"/>
                      </a:lnTo>
                      <a:lnTo>
                        <a:pt x="144" y="160"/>
                      </a:lnTo>
                      <a:lnTo>
                        <a:pt x="145" y="161"/>
                      </a:lnTo>
                      <a:lnTo>
                        <a:pt x="145" y="163"/>
                      </a:lnTo>
                      <a:lnTo>
                        <a:pt x="146" y="165"/>
                      </a:lnTo>
                      <a:lnTo>
                        <a:pt x="145" y="168"/>
                      </a:lnTo>
                      <a:lnTo>
                        <a:pt x="144" y="169"/>
                      </a:lnTo>
                      <a:lnTo>
                        <a:pt x="143" y="171"/>
                      </a:lnTo>
                      <a:lnTo>
                        <a:pt x="142" y="171"/>
                      </a:lnTo>
                      <a:lnTo>
                        <a:pt x="140" y="170"/>
                      </a:lnTo>
                      <a:lnTo>
                        <a:pt x="137" y="169"/>
                      </a:lnTo>
                      <a:lnTo>
                        <a:pt x="135" y="169"/>
                      </a:lnTo>
                      <a:lnTo>
                        <a:pt x="134" y="171"/>
                      </a:lnTo>
                      <a:lnTo>
                        <a:pt x="134" y="174"/>
                      </a:lnTo>
                      <a:lnTo>
                        <a:pt x="135" y="176"/>
                      </a:lnTo>
                      <a:lnTo>
                        <a:pt x="136" y="177"/>
                      </a:lnTo>
                      <a:lnTo>
                        <a:pt x="137" y="178"/>
                      </a:lnTo>
                      <a:lnTo>
                        <a:pt x="139" y="179"/>
                      </a:lnTo>
                      <a:lnTo>
                        <a:pt x="141" y="181"/>
                      </a:lnTo>
                      <a:lnTo>
                        <a:pt x="142" y="182"/>
                      </a:lnTo>
                      <a:lnTo>
                        <a:pt x="142" y="185"/>
                      </a:lnTo>
                      <a:lnTo>
                        <a:pt x="143" y="186"/>
                      </a:lnTo>
                      <a:lnTo>
                        <a:pt x="142" y="189"/>
                      </a:lnTo>
                      <a:lnTo>
                        <a:pt x="142" y="191"/>
                      </a:lnTo>
                      <a:lnTo>
                        <a:pt x="140" y="196"/>
                      </a:lnTo>
                      <a:lnTo>
                        <a:pt x="139" y="200"/>
                      </a:lnTo>
                      <a:lnTo>
                        <a:pt x="136" y="203"/>
                      </a:lnTo>
                      <a:lnTo>
                        <a:pt x="134" y="205"/>
                      </a:lnTo>
                      <a:lnTo>
                        <a:pt x="131" y="208"/>
                      </a:lnTo>
                      <a:lnTo>
                        <a:pt x="129" y="210"/>
                      </a:lnTo>
                      <a:lnTo>
                        <a:pt x="126" y="211"/>
                      </a:lnTo>
                      <a:lnTo>
                        <a:pt x="124" y="213"/>
                      </a:lnTo>
                      <a:lnTo>
                        <a:pt x="118" y="219"/>
                      </a:lnTo>
                      <a:lnTo>
                        <a:pt x="113" y="227"/>
                      </a:lnTo>
                      <a:lnTo>
                        <a:pt x="109" y="237"/>
                      </a:lnTo>
                      <a:lnTo>
                        <a:pt x="108" y="240"/>
                      </a:lnTo>
                      <a:lnTo>
                        <a:pt x="107" y="242"/>
                      </a:lnTo>
                      <a:lnTo>
                        <a:pt x="107" y="244"/>
                      </a:lnTo>
                      <a:lnTo>
                        <a:pt x="107" y="246"/>
                      </a:lnTo>
                      <a:lnTo>
                        <a:pt x="103" y="247"/>
                      </a:lnTo>
                      <a:lnTo>
                        <a:pt x="101" y="248"/>
                      </a:lnTo>
                      <a:lnTo>
                        <a:pt x="99" y="249"/>
                      </a:lnTo>
                      <a:lnTo>
                        <a:pt x="98" y="253"/>
                      </a:lnTo>
                      <a:lnTo>
                        <a:pt x="96" y="258"/>
                      </a:lnTo>
                      <a:lnTo>
                        <a:pt x="92" y="264"/>
                      </a:lnTo>
                      <a:lnTo>
                        <a:pt x="90" y="267"/>
                      </a:lnTo>
                      <a:lnTo>
                        <a:pt x="87" y="270"/>
                      </a:lnTo>
                      <a:lnTo>
                        <a:pt x="85" y="272"/>
                      </a:lnTo>
                      <a:lnTo>
                        <a:pt x="82" y="273"/>
                      </a:lnTo>
                      <a:lnTo>
                        <a:pt x="80" y="272"/>
                      </a:lnTo>
                      <a:lnTo>
                        <a:pt x="79" y="270"/>
                      </a:lnTo>
                      <a:lnTo>
                        <a:pt x="78" y="267"/>
                      </a:lnTo>
                      <a:lnTo>
                        <a:pt x="78" y="264"/>
                      </a:lnTo>
                      <a:lnTo>
                        <a:pt x="78" y="261"/>
                      </a:lnTo>
                      <a:lnTo>
                        <a:pt x="78" y="257"/>
                      </a:lnTo>
                      <a:lnTo>
                        <a:pt x="79" y="255"/>
                      </a:lnTo>
                      <a:lnTo>
                        <a:pt x="80" y="253"/>
                      </a:lnTo>
                      <a:lnTo>
                        <a:pt x="81" y="252"/>
                      </a:lnTo>
                      <a:lnTo>
                        <a:pt x="82" y="252"/>
                      </a:lnTo>
                      <a:lnTo>
                        <a:pt x="84" y="251"/>
                      </a:lnTo>
                      <a:lnTo>
                        <a:pt x="85" y="249"/>
                      </a:lnTo>
                      <a:lnTo>
                        <a:pt x="87" y="248"/>
                      </a:lnTo>
                      <a:lnTo>
                        <a:pt x="88" y="246"/>
                      </a:lnTo>
                      <a:lnTo>
                        <a:pt x="88" y="244"/>
                      </a:lnTo>
                      <a:lnTo>
                        <a:pt x="89" y="243"/>
                      </a:lnTo>
                      <a:lnTo>
                        <a:pt x="90" y="242"/>
                      </a:lnTo>
                      <a:lnTo>
                        <a:pt x="91" y="240"/>
                      </a:lnTo>
                      <a:lnTo>
                        <a:pt x="92" y="237"/>
                      </a:lnTo>
                      <a:lnTo>
                        <a:pt x="93" y="236"/>
                      </a:lnTo>
                      <a:lnTo>
                        <a:pt x="95" y="233"/>
                      </a:lnTo>
                      <a:lnTo>
                        <a:pt x="95" y="231"/>
                      </a:lnTo>
                      <a:lnTo>
                        <a:pt x="96" y="229"/>
                      </a:lnTo>
                      <a:lnTo>
                        <a:pt x="96" y="226"/>
                      </a:lnTo>
                      <a:lnTo>
                        <a:pt x="97" y="225"/>
                      </a:lnTo>
                      <a:lnTo>
                        <a:pt x="99" y="224"/>
                      </a:lnTo>
                      <a:lnTo>
                        <a:pt x="100" y="223"/>
                      </a:lnTo>
                      <a:lnTo>
                        <a:pt x="102" y="222"/>
                      </a:lnTo>
                      <a:lnTo>
                        <a:pt x="102" y="219"/>
                      </a:lnTo>
                      <a:lnTo>
                        <a:pt x="103" y="215"/>
                      </a:lnTo>
                      <a:lnTo>
                        <a:pt x="103" y="213"/>
                      </a:lnTo>
                      <a:lnTo>
                        <a:pt x="104" y="211"/>
                      </a:lnTo>
                      <a:lnTo>
                        <a:pt x="104" y="203"/>
                      </a:lnTo>
                      <a:lnTo>
                        <a:pt x="107" y="197"/>
                      </a:lnTo>
                      <a:lnTo>
                        <a:pt x="109" y="191"/>
                      </a:lnTo>
                      <a:lnTo>
                        <a:pt x="109" y="189"/>
                      </a:lnTo>
                      <a:lnTo>
                        <a:pt x="109" y="187"/>
                      </a:lnTo>
                      <a:lnTo>
                        <a:pt x="110" y="185"/>
                      </a:lnTo>
                      <a:lnTo>
                        <a:pt x="111" y="181"/>
                      </a:lnTo>
                      <a:lnTo>
                        <a:pt x="111" y="180"/>
                      </a:lnTo>
                      <a:lnTo>
                        <a:pt x="109" y="179"/>
                      </a:lnTo>
                      <a:lnTo>
                        <a:pt x="108" y="179"/>
                      </a:lnTo>
                      <a:lnTo>
                        <a:pt x="107" y="180"/>
                      </a:lnTo>
                      <a:lnTo>
                        <a:pt x="107" y="180"/>
                      </a:lnTo>
                      <a:lnTo>
                        <a:pt x="106" y="182"/>
                      </a:lnTo>
                      <a:lnTo>
                        <a:pt x="104" y="185"/>
                      </a:lnTo>
                      <a:lnTo>
                        <a:pt x="103" y="187"/>
                      </a:lnTo>
                      <a:lnTo>
                        <a:pt x="102" y="187"/>
                      </a:lnTo>
                      <a:lnTo>
                        <a:pt x="101" y="187"/>
                      </a:lnTo>
                      <a:lnTo>
                        <a:pt x="100" y="185"/>
                      </a:lnTo>
                      <a:lnTo>
                        <a:pt x="100" y="183"/>
                      </a:lnTo>
                      <a:lnTo>
                        <a:pt x="100" y="182"/>
                      </a:lnTo>
                      <a:lnTo>
                        <a:pt x="99" y="180"/>
                      </a:lnTo>
                      <a:lnTo>
                        <a:pt x="99" y="179"/>
                      </a:lnTo>
                      <a:lnTo>
                        <a:pt x="99" y="178"/>
                      </a:lnTo>
                      <a:lnTo>
                        <a:pt x="98" y="178"/>
                      </a:lnTo>
                      <a:lnTo>
                        <a:pt x="97" y="179"/>
                      </a:lnTo>
                      <a:lnTo>
                        <a:pt x="96" y="180"/>
                      </a:lnTo>
                      <a:lnTo>
                        <a:pt x="95" y="182"/>
                      </a:lnTo>
                      <a:lnTo>
                        <a:pt x="93" y="185"/>
                      </a:lnTo>
                      <a:lnTo>
                        <a:pt x="93" y="187"/>
                      </a:lnTo>
                      <a:lnTo>
                        <a:pt x="92" y="188"/>
                      </a:lnTo>
                      <a:lnTo>
                        <a:pt x="92" y="190"/>
                      </a:lnTo>
                      <a:lnTo>
                        <a:pt x="92" y="192"/>
                      </a:lnTo>
                      <a:lnTo>
                        <a:pt x="91" y="193"/>
                      </a:lnTo>
                      <a:lnTo>
                        <a:pt x="91" y="196"/>
                      </a:lnTo>
                      <a:lnTo>
                        <a:pt x="90" y="197"/>
                      </a:lnTo>
                      <a:lnTo>
                        <a:pt x="90" y="197"/>
                      </a:lnTo>
                      <a:lnTo>
                        <a:pt x="89" y="197"/>
                      </a:lnTo>
                      <a:lnTo>
                        <a:pt x="88" y="196"/>
                      </a:lnTo>
                      <a:lnTo>
                        <a:pt x="87" y="193"/>
                      </a:lnTo>
                      <a:lnTo>
                        <a:pt x="87" y="192"/>
                      </a:lnTo>
                      <a:lnTo>
                        <a:pt x="87" y="191"/>
                      </a:lnTo>
                      <a:lnTo>
                        <a:pt x="86" y="189"/>
                      </a:lnTo>
                      <a:lnTo>
                        <a:pt x="85" y="186"/>
                      </a:lnTo>
                      <a:lnTo>
                        <a:pt x="82" y="183"/>
                      </a:lnTo>
                      <a:lnTo>
                        <a:pt x="80" y="182"/>
                      </a:lnTo>
                      <a:lnTo>
                        <a:pt x="79" y="181"/>
                      </a:lnTo>
                      <a:lnTo>
                        <a:pt x="77" y="181"/>
                      </a:lnTo>
                      <a:lnTo>
                        <a:pt x="75" y="183"/>
                      </a:lnTo>
                      <a:lnTo>
                        <a:pt x="74" y="187"/>
                      </a:lnTo>
                      <a:lnTo>
                        <a:pt x="71" y="189"/>
                      </a:lnTo>
                      <a:lnTo>
                        <a:pt x="70" y="191"/>
                      </a:lnTo>
                      <a:lnTo>
                        <a:pt x="69" y="192"/>
                      </a:lnTo>
                      <a:lnTo>
                        <a:pt x="69" y="193"/>
                      </a:lnTo>
                      <a:lnTo>
                        <a:pt x="67" y="193"/>
                      </a:lnTo>
                      <a:lnTo>
                        <a:pt x="67" y="193"/>
                      </a:lnTo>
                      <a:lnTo>
                        <a:pt x="66" y="192"/>
                      </a:lnTo>
                      <a:lnTo>
                        <a:pt x="66" y="191"/>
                      </a:lnTo>
                      <a:lnTo>
                        <a:pt x="66" y="189"/>
                      </a:lnTo>
                      <a:lnTo>
                        <a:pt x="67" y="188"/>
                      </a:lnTo>
                      <a:lnTo>
                        <a:pt x="67" y="187"/>
                      </a:lnTo>
                      <a:lnTo>
                        <a:pt x="67" y="183"/>
                      </a:lnTo>
                      <a:lnTo>
                        <a:pt x="67" y="181"/>
                      </a:lnTo>
                      <a:lnTo>
                        <a:pt x="67" y="179"/>
                      </a:lnTo>
                      <a:lnTo>
                        <a:pt x="66" y="177"/>
                      </a:lnTo>
                      <a:lnTo>
                        <a:pt x="66" y="175"/>
                      </a:lnTo>
                      <a:lnTo>
                        <a:pt x="67" y="171"/>
                      </a:lnTo>
                      <a:lnTo>
                        <a:pt x="68" y="168"/>
                      </a:lnTo>
                      <a:lnTo>
                        <a:pt x="68" y="165"/>
                      </a:lnTo>
                      <a:lnTo>
                        <a:pt x="68" y="163"/>
                      </a:lnTo>
                      <a:lnTo>
                        <a:pt x="68" y="160"/>
                      </a:lnTo>
                      <a:lnTo>
                        <a:pt x="67" y="158"/>
                      </a:lnTo>
                      <a:lnTo>
                        <a:pt x="67" y="156"/>
                      </a:lnTo>
                      <a:lnTo>
                        <a:pt x="66" y="154"/>
                      </a:lnTo>
                      <a:lnTo>
                        <a:pt x="65" y="152"/>
                      </a:lnTo>
                      <a:lnTo>
                        <a:pt x="65" y="150"/>
                      </a:lnTo>
                      <a:lnTo>
                        <a:pt x="64" y="150"/>
                      </a:lnTo>
                      <a:lnTo>
                        <a:pt x="63" y="152"/>
                      </a:lnTo>
                      <a:lnTo>
                        <a:pt x="62" y="154"/>
                      </a:lnTo>
                      <a:lnTo>
                        <a:pt x="60" y="156"/>
                      </a:lnTo>
                      <a:lnTo>
                        <a:pt x="59" y="158"/>
                      </a:lnTo>
                      <a:lnTo>
                        <a:pt x="59" y="159"/>
                      </a:lnTo>
                      <a:lnTo>
                        <a:pt x="58" y="160"/>
                      </a:lnTo>
                      <a:lnTo>
                        <a:pt x="56" y="159"/>
                      </a:lnTo>
                      <a:lnTo>
                        <a:pt x="54" y="157"/>
                      </a:lnTo>
                      <a:lnTo>
                        <a:pt x="52" y="154"/>
                      </a:lnTo>
                      <a:lnTo>
                        <a:pt x="49" y="150"/>
                      </a:lnTo>
                      <a:lnTo>
                        <a:pt x="47" y="147"/>
                      </a:lnTo>
                      <a:lnTo>
                        <a:pt x="45" y="145"/>
                      </a:lnTo>
                      <a:lnTo>
                        <a:pt x="44" y="144"/>
                      </a:lnTo>
                      <a:lnTo>
                        <a:pt x="43" y="143"/>
                      </a:lnTo>
                      <a:lnTo>
                        <a:pt x="42" y="142"/>
                      </a:lnTo>
                      <a:lnTo>
                        <a:pt x="41" y="139"/>
                      </a:lnTo>
                      <a:lnTo>
                        <a:pt x="39" y="138"/>
                      </a:lnTo>
                      <a:lnTo>
                        <a:pt x="39" y="137"/>
                      </a:lnTo>
                      <a:lnTo>
                        <a:pt x="39" y="136"/>
                      </a:lnTo>
                      <a:lnTo>
                        <a:pt x="41" y="136"/>
                      </a:lnTo>
                      <a:lnTo>
                        <a:pt x="43" y="136"/>
                      </a:lnTo>
                      <a:lnTo>
                        <a:pt x="47" y="137"/>
                      </a:lnTo>
                      <a:lnTo>
                        <a:pt x="52" y="137"/>
                      </a:lnTo>
                      <a:lnTo>
                        <a:pt x="56" y="136"/>
                      </a:lnTo>
                      <a:lnTo>
                        <a:pt x="57" y="134"/>
                      </a:lnTo>
                      <a:lnTo>
                        <a:pt x="57" y="133"/>
                      </a:lnTo>
                      <a:lnTo>
                        <a:pt x="57" y="132"/>
                      </a:lnTo>
                      <a:lnTo>
                        <a:pt x="56" y="132"/>
                      </a:lnTo>
                      <a:lnTo>
                        <a:pt x="54" y="132"/>
                      </a:lnTo>
                      <a:lnTo>
                        <a:pt x="53" y="132"/>
                      </a:lnTo>
                      <a:lnTo>
                        <a:pt x="50" y="132"/>
                      </a:lnTo>
                      <a:lnTo>
                        <a:pt x="49" y="132"/>
                      </a:lnTo>
                      <a:lnTo>
                        <a:pt x="49" y="132"/>
                      </a:lnTo>
                      <a:lnTo>
                        <a:pt x="47" y="131"/>
                      </a:lnTo>
                      <a:lnTo>
                        <a:pt x="46" y="129"/>
                      </a:lnTo>
                      <a:lnTo>
                        <a:pt x="44" y="127"/>
                      </a:lnTo>
                      <a:lnTo>
                        <a:pt x="43" y="125"/>
                      </a:lnTo>
                      <a:lnTo>
                        <a:pt x="42" y="124"/>
                      </a:lnTo>
                      <a:lnTo>
                        <a:pt x="41" y="124"/>
                      </a:lnTo>
                      <a:lnTo>
                        <a:pt x="39" y="124"/>
                      </a:lnTo>
                      <a:lnTo>
                        <a:pt x="39" y="123"/>
                      </a:lnTo>
                      <a:lnTo>
                        <a:pt x="38" y="121"/>
                      </a:lnTo>
                      <a:lnTo>
                        <a:pt x="38" y="120"/>
                      </a:lnTo>
                      <a:lnTo>
                        <a:pt x="38" y="117"/>
                      </a:lnTo>
                      <a:lnTo>
                        <a:pt x="38" y="114"/>
                      </a:lnTo>
                      <a:lnTo>
                        <a:pt x="37" y="112"/>
                      </a:lnTo>
                      <a:lnTo>
                        <a:pt x="37" y="109"/>
                      </a:lnTo>
                      <a:lnTo>
                        <a:pt x="37" y="106"/>
                      </a:lnTo>
                      <a:lnTo>
                        <a:pt x="36" y="105"/>
                      </a:lnTo>
                      <a:lnTo>
                        <a:pt x="36" y="105"/>
                      </a:lnTo>
                      <a:lnTo>
                        <a:pt x="37" y="102"/>
                      </a:lnTo>
                      <a:lnTo>
                        <a:pt x="41" y="98"/>
                      </a:lnTo>
                      <a:lnTo>
                        <a:pt x="43" y="93"/>
                      </a:lnTo>
                      <a:lnTo>
                        <a:pt x="45" y="88"/>
                      </a:lnTo>
                      <a:lnTo>
                        <a:pt x="45" y="87"/>
                      </a:lnTo>
                      <a:lnTo>
                        <a:pt x="45" y="84"/>
                      </a:lnTo>
                      <a:lnTo>
                        <a:pt x="45" y="83"/>
                      </a:lnTo>
                      <a:lnTo>
                        <a:pt x="46" y="82"/>
                      </a:lnTo>
                      <a:lnTo>
                        <a:pt x="47" y="81"/>
                      </a:lnTo>
                      <a:lnTo>
                        <a:pt x="49" y="80"/>
                      </a:lnTo>
                      <a:lnTo>
                        <a:pt x="50" y="78"/>
                      </a:lnTo>
                      <a:lnTo>
                        <a:pt x="50" y="76"/>
                      </a:lnTo>
                      <a:lnTo>
                        <a:pt x="52" y="73"/>
                      </a:lnTo>
                      <a:lnTo>
                        <a:pt x="52" y="70"/>
                      </a:lnTo>
                      <a:lnTo>
                        <a:pt x="52" y="66"/>
                      </a:lnTo>
                      <a:lnTo>
                        <a:pt x="52" y="61"/>
                      </a:lnTo>
                      <a:lnTo>
                        <a:pt x="54" y="57"/>
                      </a:lnTo>
                      <a:lnTo>
                        <a:pt x="55" y="55"/>
                      </a:lnTo>
                      <a:lnTo>
                        <a:pt x="56" y="54"/>
                      </a:lnTo>
                      <a:lnTo>
                        <a:pt x="57" y="54"/>
                      </a:lnTo>
                      <a:lnTo>
                        <a:pt x="58" y="55"/>
                      </a:lnTo>
                      <a:lnTo>
                        <a:pt x="58" y="56"/>
                      </a:lnTo>
                      <a:lnTo>
                        <a:pt x="59" y="57"/>
                      </a:lnTo>
                      <a:lnTo>
                        <a:pt x="59" y="59"/>
                      </a:lnTo>
                      <a:lnTo>
                        <a:pt x="59" y="60"/>
                      </a:lnTo>
                      <a:lnTo>
                        <a:pt x="60" y="60"/>
                      </a:lnTo>
                      <a:lnTo>
                        <a:pt x="62" y="60"/>
                      </a:lnTo>
                      <a:lnTo>
                        <a:pt x="63" y="59"/>
                      </a:lnTo>
                      <a:lnTo>
                        <a:pt x="65" y="57"/>
                      </a:lnTo>
                      <a:lnTo>
                        <a:pt x="67" y="55"/>
                      </a:lnTo>
                      <a:lnTo>
                        <a:pt x="68" y="51"/>
                      </a:lnTo>
                      <a:lnTo>
                        <a:pt x="69" y="49"/>
                      </a:lnTo>
                      <a:lnTo>
                        <a:pt x="71" y="48"/>
                      </a:lnTo>
                      <a:lnTo>
                        <a:pt x="73" y="48"/>
                      </a:lnTo>
                      <a:lnTo>
                        <a:pt x="75" y="49"/>
                      </a:lnTo>
                      <a:lnTo>
                        <a:pt x="77" y="49"/>
                      </a:lnTo>
                      <a:lnTo>
                        <a:pt x="78" y="49"/>
                      </a:lnTo>
                      <a:lnTo>
                        <a:pt x="80" y="48"/>
                      </a:lnTo>
                      <a:lnTo>
                        <a:pt x="81" y="47"/>
                      </a:lnTo>
                      <a:lnTo>
                        <a:pt x="82" y="44"/>
                      </a:lnTo>
                      <a:lnTo>
                        <a:pt x="84" y="40"/>
                      </a:lnTo>
                      <a:lnTo>
                        <a:pt x="86" y="37"/>
                      </a:lnTo>
                      <a:lnTo>
                        <a:pt x="86" y="34"/>
                      </a:lnTo>
                      <a:lnTo>
                        <a:pt x="87" y="30"/>
                      </a:lnTo>
                      <a:lnTo>
                        <a:pt x="87" y="17"/>
                      </a:lnTo>
                      <a:lnTo>
                        <a:pt x="87" y="16"/>
                      </a:lnTo>
                      <a:lnTo>
                        <a:pt x="88" y="14"/>
                      </a:lnTo>
                      <a:lnTo>
                        <a:pt x="89" y="11"/>
                      </a:lnTo>
                      <a:lnTo>
                        <a:pt x="89" y="8"/>
                      </a:lnTo>
                      <a:lnTo>
                        <a:pt x="90" y="7"/>
                      </a:lnTo>
                      <a:lnTo>
                        <a:pt x="91" y="4"/>
                      </a:lnTo>
                      <a:lnTo>
                        <a:pt x="90" y="4"/>
                      </a:lnTo>
                      <a:lnTo>
                        <a:pt x="90" y="3"/>
                      </a:lnTo>
                      <a:lnTo>
                        <a:pt x="91" y="2"/>
                      </a:lnTo>
                      <a:lnTo>
                        <a:pt x="91" y="2"/>
                      </a:lnTo>
                      <a:lnTo>
                        <a:pt x="92" y="2"/>
                      </a:lnTo>
                      <a:lnTo>
                        <a:pt x="92" y="1"/>
                      </a:lnTo>
                      <a:lnTo>
                        <a:pt x="92"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37" name="Freeform 34"/>
                <p:cNvSpPr>
                  <a:spLocks noEditPoints="1"/>
                </p:cNvSpPr>
                <p:nvPr/>
              </p:nvSpPr>
              <p:spPr bwMode="auto">
                <a:xfrm>
                  <a:off x="5640" y="775"/>
                  <a:ext cx="364" cy="127"/>
                </a:xfrm>
                <a:custGeom>
                  <a:avLst/>
                  <a:gdLst>
                    <a:gd name="T0" fmla="*/ 91 w 2549"/>
                    <a:gd name="T1" fmla="*/ 275 h 889"/>
                    <a:gd name="T2" fmla="*/ 225 w 2549"/>
                    <a:gd name="T3" fmla="*/ 221 h 889"/>
                    <a:gd name="T4" fmla="*/ 765 w 2549"/>
                    <a:gd name="T5" fmla="*/ 187 h 889"/>
                    <a:gd name="T6" fmla="*/ 835 w 2549"/>
                    <a:gd name="T7" fmla="*/ 167 h 889"/>
                    <a:gd name="T8" fmla="*/ 2285 w 2549"/>
                    <a:gd name="T9" fmla="*/ 155 h 889"/>
                    <a:gd name="T10" fmla="*/ 1753 w 2549"/>
                    <a:gd name="T11" fmla="*/ 120 h 889"/>
                    <a:gd name="T12" fmla="*/ 1785 w 2549"/>
                    <a:gd name="T13" fmla="*/ 131 h 889"/>
                    <a:gd name="T14" fmla="*/ 1835 w 2549"/>
                    <a:gd name="T15" fmla="*/ 147 h 889"/>
                    <a:gd name="T16" fmla="*/ 1787 w 2549"/>
                    <a:gd name="T17" fmla="*/ 226 h 889"/>
                    <a:gd name="T18" fmla="*/ 1752 w 2549"/>
                    <a:gd name="T19" fmla="*/ 167 h 889"/>
                    <a:gd name="T20" fmla="*/ 1744 w 2549"/>
                    <a:gd name="T21" fmla="*/ 130 h 889"/>
                    <a:gd name="T22" fmla="*/ 724 w 2549"/>
                    <a:gd name="T23" fmla="*/ 88 h 889"/>
                    <a:gd name="T24" fmla="*/ 724 w 2549"/>
                    <a:gd name="T25" fmla="*/ 153 h 889"/>
                    <a:gd name="T26" fmla="*/ 687 w 2549"/>
                    <a:gd name="T27" fmla="*/ 115 h 889"/>
                    <a:gd name="T28" fmla="*/ 1 w 2549"/>
                    <a:gd name="T29" fmla="*/ 98 h 889"/>
                    <a:gd name="T30" fmla="*/ 60 w 2549"/>
                    <a:gd name="T31" fmla="*/ 120 h 889"/>
                    <a:gd name="T32" fmla="*/ 89 w 2549"/>
                    <a:gd name="T33" fmla="*/ 76 h 889"/>
                    <a:gd name="T34" fmla="*/ 2549 w 2549"/>
                    <a:gd name="T35" fmla="*/ 442 h 889"/>
                    <a:gd name="T36" fmla="*/ 2216 w 2549"/>
                    <a:gd name="T37" fmla="*/ 682 h 889"/>
                    <a:gd name="T38" fmla="*/ 2095 w 2549"/>
                    <a:gd name="T39" fmla="*/ 732 h 889"/>
                    <a:gd name="T40" fmla="*/ 2058 w 2549"/>
                    <a:gd name="T41" fmla="*/ 748 h 889"/>
                    <a:gd name="T42" fmla="*/ 1975 w 2549"/>
                    <a:gd name="T43" fmla="*/ 852 h 889"/>
                    <a:gd name="T44" fmla="*/ 1983 w 2549"/>
                    <a:gd name="T45" fmla="*/ 768 h 889"/>
                    <a:gd name="T46" fmla="*/ 1966 w 2549"/>
                    <a:gd name="T47" fmla="*/ 666 h 889"/>
                    <a:gd name="T48" fmla="*/ 2014 w 2549"/>
                    <a:gd name="T49" fmla="*/ 628 h 889"/>
                    <a:gd name="T50" fmla="*/ 2047 w 2549"/>
                    <a:gd name="T51" fmla="*/ 551 h 889"/>
                    <a:gd name="T52" fmla="*/ 2076 w 2549"/>
                    <a:gd name="T53" fmla="*/ 449 h 889"/>
                    <a:gd name="T54" fmla="*/ 2104 w 2549"/>
                    <a:gd name="T55" fmla="*/ 519 h 889"/>
                    <a:gd name="T56" fmla="*/ 2139 w 2549"/>
                    <a:gd name="T57" fmla="*/ 515 h 889"/>
                    <a:gd name="T58" fmla="*/ 2173 w 2549"/>
                    <a:gd name="T59" fmla="*/ 462 h 889"/>
                    <a:gd name="T60" fmla="*/ 2186 w 2549"/>
                    <a:gd name="T61" fmla="*/ 399 h 889"/>
                    <a:gd name="T62" fmla="*/ 2178 w 2549"/>
                    <a:gd name="T63" fmla="*/ 386 h 889"/>
                    <a:gd name="T64" fmla="*/ 2147 w 2549"/>
                    <a:gd name="T65" fmla="*/ 345 h 889"/>
                    <a:gd name="T66" fmla="*/ 2140 w 2549"/>
                    <a:gd name="T67" fmla="*/ 227 h 889"/>
                    <a:gd name="T68" fmla="*/ 2133 w 2549"/>
                    <a:gd name="T69" fmla="*/ 376 h 889"/>
                    <a:gd name="T70" fmla="*/ 2103 w 2549"/>
                    <a:gd name="T71" fmla="*/ 496 h 889"/>
                    <a:gd name="T72" fmla="*/ 2095 w 2549"/>
                    <a:gd name="T73" fmla="*/ 426 h 889"/>
                    <a:gd name="T74" fmla="*/ 2073 w 2549"/>
                    <a:gd name="T75" fmla="*/ 416 h 889"/>
                    <a:gd name="T76" fmla="*/ 2025 w 2549"/>
                    <a:gd name="T77" fmla="*/ 353 h 889"/>
                    <a:gd name="T78" fmla="*/ 2067 w 2549"/>
                    <a:gd name="T79" fmla="*/ 245 h 889"/>
                    <a:gd name="T80" fmla="*/ 2082 w 2549"/>
                    <a:gd name="T81" fmla="*/ 131 h 889"/>
                    <a:gd name="T82" fmla="*/ 2096 w 2549"/>
                    <a:gd name="T83" fmla="*/ 99 h 889"/>
                    <a:gd name="T84" fmla="*/ 2110 w 2549"/>
                    <a:gd name="T85" fmla="*/ 70 h 889"/>
                    <a:gd name="T86" fmla="*/ 2133 w 2549"/>
                    <a:gd name="T87" fmla="*/ 51 h 889"/>
                    <a:gd name="T88" fmla="*/ 2161 w 2549"/>
                    <a:gd name="T89" fmla="*/ 67 h 889"/>
                    <a:gd name="T90" fmla="*/ 2194 w 2549"/>
                    <a:gd name="T91" fmla="*/ 124 h 889"/>
                    <a:gd name="T92" fmla="*/ 2249 w 2549"/>
                    <a:gd name="T93" fmla="*/ 227 h 889"/>
                    <a:gd name="T94" fmla="*/ 2220 w 2549"/>
                    <a:gd name="T95" fmla="*/ 239 h 889"/>
                    <a:gd name="T96" fmla="*/ 2241 w 2549"/>
                    <a:gd name="T97" fmla="*/ 267 h 889"/>
                    <a:gd name="T98" fmla="*/ 2264 w 2549"/>
                    <a:gd name="T99" fmla="*/ 233 h 889"/>
                    <a:gd name="T100" fmla="*/ 2271 w 2549"/>
                    <a:gd name="T101" fmla="*/ 197 h 889"/>
                    <a:gd name="T102" fmla="*/ 2315 w 2549"/>
                    <a:gd name="T103" fmla="*/ 188 h 889"/>
                    <a:gd name="T104" fmla="*/ 2346 w 2549"/>
                    <a:gd name="T105" fmla="*/ 180 h 889"/>
                    <a:gd name="T106" fmla="*/ 2348 w 2549"/>
                    <a:gd name="T107" fmla="*/ 156 h 889"/>
                    <a:gd name="T108" fmla="*/ 2369 w 2549"/>
                    <a:gd name="T109" fmla="*/ 128 h 889"/>
                    <a:gd name="T110" fmla="*/ 2390 w 2549"/>
                    <a:gd name="T111" fmla="*/ 113 h 889"/>
                    <a:gd name="T112" fmla="*/ 2398 w 2549"/>
                    <a:gd name="T113" fmla="*/ 256 h 889"/>
                    <a:gd name="T114" fmla="*/ 2430 w 2549"/>
                    <a:gd name="T115" fmla="*/ 237 h 889"/>
                    <a:gd name="T116" fmla="*/ 2405 w 2549"/>
                    <a:gd name="T117" fmla="*/ 154 h 889"/>
                    <a:gd name="T118" fmla="*/ 2407 w 2549"/>
                    <a:gd name="T119" fmla="*/ 127 h 889"/>
                    <a:gd name="T120" fmla="*/ 2412 w 2549"/>
                    <a:gd name="T121" fmla="*/ 99 h 889"/>
                    <a:gd name="T122" fmla="*/ 2447 w 2549"/>
                    <a:gd name="T123" fmla="*/ 172 h 889"/>
                    <a:gd name="T124" fmla="*/ 2437 w 2549"/>
                    <a:gd name="T125" fmla="*/ 60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49" h="889">
                      <a:moveTo>
                        <a:pt x="237" y="207"/>
                      </a:moveTo>
                      <a:lnTo>
                        <a:pt x="233" y="207"/>
                      </a:lnTo>
                      <a:lnTo>
                        <a:pt x="226" y="209"/>
                      </a:lnTo>
                      <a:lnTo>
                        <a:pt x="220" y="211"/>
                      </a:lnTo>
                      <a:lnTo>
                        <a:pt x="214" y="213"/>
                      </a:lnTo>
                      <a:lnTo>
                        <a:pt x="211" y="215"/>
                      </a:lnTo>
                      <a:lnTo>
                        <a:pt x="203" y="219"/>
                      </a:lnTo>
                      <a:lnTo>
                        <a:pt x="197" y="223"/>
                      </a:lnTo>
                      <a:lnTo>
                        <a:pt x="191" y="231"/>
                      </a:lnTo>
                      <a:lnTo>
                        <a:pt x="185" y="237"/>
                      </a:lnTo>
                      <a:lnTo>
                        <a:pt x="177" y="244"/>
                      </a:lnTo>
                      <a:lnTo>
                        <a:pt x="169" y="246"/>
                      </a:lnTo>
                      <a:lnTo>
                        <a:pt x="166" y="244"/>
                      </a:lnTo>
                      <a:lnTo>
                        <a:pt x="164" y="242"/>
                      </a:lnTo>
                      <a:lnTo>
                        <a:pt x="161" y="240"/>
                      </a:lnTo>
                      <a:lnTo>
                        <a:pt x="160" y="236"/>
                      </a:lnTo>
                      <a:lnTo>
                        <a:pt x="158" y="233"/>
                      </a:lnTo>
                      <a:lnTo>
                        <a:pt x="156" y="231"/>
                      </a:lnTo>
                      <a:lnTo>
                        <a:pt x="154" y="230"/>
                      </a:lnTo>
                      <a:lnTo>
                        <a:pt x="151" y="229"/>
                      </a:lnTo>
                      <a:lnTo>
                        <a:pt x="149" y="230"/>
                      </a:lnTo>
                      <a:lnTo>
                        <a:pt x="147" y="231"/>
                      </a:lnTo>
                      <a:lnTo>
                        <a:pt x="146" y="233"/>
                      </a:lnTo>
                      <a:lnTo>
                        <a:pt x="146" y="236"/>
                      </a:lnTo>
                      <a:lnTo>
                        <a:pt x="147" y="240"/>
                      </a:lnTo>
                      <a:lnTo>
                        <a:pt x="149" y="243"/>
                      </a:lnTo>
                      <a:lnTo>
                        <a:pt x="149" y="245"/>
                      </a:lnTo>
                      <a:lnTo>
                        <a:pt x="149" y="247"/>
                      </a:lnTo>
                      <a:lnTo>
                        <a:pt x="148" y="250"/>
                      </a:lnTo>
                      <a:lnTo>
                        <a:pt x="146" y="252"/>
                      </a:lnTo>
                      <a:lnTo>
                        <a:pt x="143" y="255"/>
                      </a:lnTo>
                      <a:lnTo>
                        <a:pt x="139" y="259"/>
                      </a:lnTo>
                      <a:lnTo>
                        <a:pt x="136" y="264"/>
                      </a:lnTo>
                      <a:lnTo>
                        <a:pt x="132" y="268"/>
                      </a:lnTo>
                      <a:lnTo>
                        <a:pt x="129" y="272"/>
                      </a:lnTo>
                      <a:lnTo>
                        <a:pt x="127" y="275"/>
                      </a:lnTo>
                      <a:lnTo>
                        <a:pt x="125" y="278"/>
                      </a:lnTo>
                      <a:lnTo>
                        <a:pt x="123" y="281"/>
                      </a:lnTo>
                      <a:lnTo>
                        <a:pt x="115" y="284"/>
                      </a:lnTo>
                      <a:lnTo>
                        <a:pt x="106" y="281"/>
                      </a:lnTo>
                      <a:lnTo>
                        <a:pt x="100" y="278"/>
                      </a:lnTo>
                      <a:lnTo>
                        <a:pt x="92" y="275"/>
                      </a:lnTo>
                      <a:lnTo>
                        <a:pt x="91" y="275"/>
                      </a:lnTo>
                      <a:lnTo>
                        <a:pt x="90" y="275"/>
                      </a:lnTo>
                      <a:lnTo>
                        <a:pt x="88" y="275"/>
                      </a:lnTo>
                      <a:lnTo>
                        <a:pt x="85" y="275"/>
                      </a:lnTo>
                      <a:lnTo>
                        <a:pt x="83" y="275"/>
                      </a:lnTo>
                      <a:lnTo>
                        <a:pt x="80" y="275"/>
                      </a:lnTo>
                      <a:lnTo>
                        <a:pt x="79" y="275"/>
                      </a:lnTo>
                      <a:lnTo>
                        <a:pt x="78" y="276"/>
                      </a:lnTo>
                      <a:lnTo>
                        <a:pt x="77" y="276"/>
                      </a:lnTo>
                      <a:lnTo>
                        <a:pt x="78" y="277"/>
                      </a:lnTo>
                      <a:lnTo>
                        <a:pt x="79" y="279"/>
                      </a:lnTo>
                      <a:lnTo>
                        <a:pt x="82" y="280"/>
                      </a:lnTo>
                      <a:lnTo>
                        <a:pt x="84" y="281"/>
                      </a:lnTo>
                      <a:lnTo>
                        <a:pt x="87" y="280"/>
                      </a:lnTo>
                      <a:lnTo>
                        <a:pt x="90" y="279"/>
                      </a:lnTo>
                      <a:lnTo>
                        <a:pt x="92" y="279"/>
                      </a:lnTo>
                      <a:lnTo>
                        <a:pt x="95" y="279"/>
                      </a:lnTo>
                      <a:lnTo>
                        <a:pt x="98" y="279"/>
                      </a:lnTo>
                      <a:lnTo>
                        <a:pt x="100" y="280"/>
                      </a:lnTo>
                      <a:lnTo>
                        <a:pt x="103" y="281"/>
                      </a:lnTo>
                      <a:lnTo>
                        <a:pt x="112" y="287"/>
                      </a:lnTo>
                      <a:lnTo>
                        <a:pt x="120" y="289"/>
                      </a:lnTo>
                      <a:lnTo>
                        <a:pt x="129" y="290"/>
                      </a:lnTo>
                      <a:lnTo>
                        <a:pt x="139" y="288"/>
                      </a:lnTo>
                      <a:lnTo>
                        <a:pt x="148" y="284"/>
                      </a:lnTo>
                      <a:lnTo>
                        <a:pt x="156" y="279"/>
                      </a:lnTo>
                      <a:lnTo>
                        <a:pt x="169" y="270"/>
                      </a:lnTo>
                      <a:lnTo>
                        <a:pt x="182" y="259"/>
                      </a:lnTo>
                      <a:lnTo>
                        <a:pt x="185" y="258"/>
                      </a:lnTo>
                      <a:lnTo>
                        <a:pt x="187" y="256"/>
                      </a:lnTo>
                      <a:lnTo>
                        <a:pt x="188" y="254"/>
                      </a:lnTo>
                      <a:lnTo>
                        <a:pt x="189" y="252"/>
                      </a:lnTo>
                      <a:lnTo>
                        <a:pt x="189" y="248"/>
                      </a:lnTo>
                      <a:lnTo>
                        <a:pt x="189" y="246"/>
                      </a:lnTo>
                      <a:lnTo>
                        <a:pt x="191" y="245"/>
                      </a:lnTo>
                      <a:lnTo>
                        <a:pt x="192" y="244"/>
                      </a:lnTo>
                      <a:lnTo>
                        <a:pt x="194" y="243"/>
                      </a:lnTo>
                      <a:lnTo>
                        <a:pt x="197" y="243"/>
                      </a:lnTo>
                      <a:lnTo>
                        <a:pt x="198" y="242"/>
                      </a:lnTo>
                      <a:lnTo>
                        <a:pt x="201" y="237"/>
                      </a:lnTo>
                      <a:lnTo>
                        <a:pt x="204" y="233"/>
                      </a:lnTo>
                      <a:lnTo>
                        <a:pt x="209" y="229"/>
                      </a:lnTo>
                      <a:lnTo>
                        <a:pt x="222" y="222"/>
                      </a:lnTo>
                      <a:lnTo>
                        <a:pt x="225" y="221"/>
                      </a:lnTo>
                      <a:lnTo>
                        <a:pt x="230" y="220"/>
                      </a:lnTo>
                      <a:lnTo>
                        <a:pt x="233" y="218"/>
                      </a:lnTo>
                      <a:lnTo>
                        <a:pt x="236" y="215"/>
                      </a:lnTo>
                      <a:lnTo>
                        <a:pt x="238" y="212"/>
                      </a:lnTo>
                      <a:lnTo>
                        <a:pt x="240" y="209"/>
                      </a:lnTo>
                      <a:lnTo>
                        <a:pt x="237" y="207"/>
                      </a:lnTo>
                      <a:close/>
                      <a:moveTo>
                        <a:pt x="1110" y="203"/>
                      </a:moveTo>
                      <a:lnTo>
                        <a:pt x="1116" y="203"/>
                      </a:lnTo>
                      <a:lnTo>
                        <a:pt x="1119" y="205"/>
                      </a:lnTo>
                      <a:lnTo>
                        <a:pt x="1120" y="210"/>
                      </a:lnTo>
                      <a:lnTo>
                        <a:pt x="1120" y="215"/>
                      </a:lnTo>
                      <a:lnTo>
                        <a:pt x="1119" y="220"/>
                      </a:lnTo>
                      <a:lnTo>
                        <a:pt x="1116" y="222"/>
                      </a:lnTo>
                      <a:lnTo>
                        <a:pt x="1113" y="220"/>
                      </a:lnTo>
                      <a:lnTo>
                        <a:pt x="1109" y="215"/>
                      </a:lnTo>
                      <a:lnTo>
                        <a:pt x="1107" y="210"/>
                      </a:lnTo>
                      <a:lnTo>
                        <a:pt x="1108" y="205"/>
                      </a:lnTo>
                      <a:lnTo>
                        <a:pt x="1110" y="203"/>
                      </a:lnTo>
                      <a:close/>
                      <a:moveTo>
                        <a:pt x="808" y="198"/>
                      </a:moveTo>
                      <a:lnTo>
                        <a:pt x="814" y="201"/>
                      </a:lnTo>
                      <a:lnTo>
                        <a:pt x="820" y="207"/>
                      </a:lnTo>
                      <a:lnTo>
                        <a:pt x="822" y="212"/>
                      </a:lnTo>
                      <a:lnTo>
                        <a:pt x="822" y="216"/>
                      </a:lnTo>
                      <a:lnTo>
                        <a:pt x="821" y="223"/>
                      </a:lnTo>
                      <a:lnTo>
                        <a:pt x="818" y="231"/>
                      </a:lnTo>
                      <a:lnTo>
                        <a:pt x="813" y="237"/>
                      </a:lnTo>
                      <a:lnTo>
                        <a:pt x="808" y="241"/>
                      </a:lnTo>
                      <a:lnTo>
                        <a:pt x="801" y="236"/>
                      </a:lnTo>
                      <a:lnTo>
                        <a:pt x="795" y="229"/>
                      </a:lnTo>
                      <a:lnTo>
                        <a:pt x="793" y="220"/>
                      </a:lnTo>
                      <a:lnTo>
                        <a:pt x="793" y="211"/>
                      </a:lnTo>
                      <a:lnTo>
                        <a:pt x="794" y="203"/>
                      </a:lnTo>
                      <a:lnTo>
                        <a:pt x="800" y="199"/>
                      </a:lnTo>
                      <a:lnTo>
                        <a:pt x="808" y="198"/>
                      </a:lnTo>
                      <a:close/>
                      <a:moveTo>
                        <a:pt x="736" y="185"/>
                      </a:moveTo>
                      <a:lnTo>
                        <a:pt x="740" y="186"/>
                      </a:lnTo>
                      <a:lnTo>
                        <a:pt x="744" y="187"/>
                      </a:lnTo>
                      <a:lnTo>
                        <a:pt x="748" y="187"/>
                      </a:lnTo>
                      <a:lnTo>
                        <a:pt x="751" y="187"/>
                      </a:lnTo>
                      <a:lnTo>
                        <a:pt x="755" y="186"/>
                      </a:lnTo>
                      <a:lnTo>
                        <a:pt x="758" y="186"/>
                      </a:lnTo>
                      <a:lnTo>
                        <a:pt x="761" y="187"/>
                      </a:lnTo>
                      <a:lnTo>
                        <a:pt x="765" y="187"/>
                      </a:lnTo>
                      <a:lnTo>
                        <a:pt x="765" y="194"/>
                      </a:lnTo>
                      <a:lnTo>
                        <a:pt x="761" y="199"/>
                      </a:lnTo>
                      <a:lnTo>
                        <a:pt x="755" y="202"/>
                      </a:lnTo>
                      <a:lnTo>
                        <a:pt x="748" y="205"/>
                      </a:lnTo>
                      <a:lnTo>
                        <a:pt x="743" y="208"/>
                      </a:lnTo>
                      <a:lnTo>
                        <a:pt x="742" y="210"/>
                      </a:lnTo>
                      <a:lnTo>
                        <a:pt x="740" y="213"/>
                      </a:lnTo>
                      <a:lnTo>
                        <a:pt x="738" y="216"/>
                      </a:lnTo>
                      <a:lnTo>
                        <a:pt x="736" y="219"/>
                      </a:lnTo>
                      <a:lnTo>
                        <a:pt x="734" y="221"/>
                      </a:lnTo>
                      <a:lnTo>
                        <a:pt x="732" y="222"/>
                      </a:lnTo>
                      <a:lnTo>
                        <a:pt x="729" y="221"/>
                      </a:lnTo>
                      <a:lnTo>
                        <a:pt x="728" y="219"/>
                      </a:lnTo>
                      <a:lnTo>
                        <a:pt x="727" y="216"/>
                      </a:lnTo>
                      <a:lnTo>
                        <a:pt x="725" y="213"/>
                      </a:lnTo>
                      <a:lnTo>
                        <a:pt x="724" y="210"/>
                      </a:lnTo>
                      <a:lnTo>
                        <a:pt x="723" y="208"/>
                      </a:lnTo>
                      <a:lnTo>
                        <a:pt x="724" y="203"/>
                      </a:lnTo>
                      <a:lnTo>
                        <a:pt x="725" y="199"/>
                      </a:lnTo>
                      <a:lnTo>
                        <a:pt x="727" y="196"/>
                      </a:lnTo>
                      <a:lnTo>
                        <a:pt x="729" y="191"/>
                      </a:lnTo>
                      <a:lnTo>
                        <a:pt x="732" y="191"/>
                      </a:lnTo>
                      <a:lnTo>
                        <a:pt x="733" y="189"/>
                      </a:lnTo>
                      <a:lnTo>
                        <a:pt x="734" y="187"/>
                      </a:lnTo>
                      <a:lnTo>
                        <a:pt x="735" y="186"/>
                      </a:lnTo>
                      <a:lnTo>
                        <a:pt x="736" y="185"/>
                      </a:lnTo>
                      <a:close/>
                      <a:moveTo>
                        <a:pt x="845" y="159"/>
                      </a:moveTo>
                      <a:lnTo>
                        <a:pt x="846" y="160"/>
                      </a:lnTo>
                      <a:lnTo>
                        <a:pt x="848" y="161"/>
                      </a:lnTo>
                      <a:lnTo>
                        <a:pt x="851" y="164"/>
                      </a:lnTo>
                      <a:lnTo>
                        <a:pt x="853" y="167"/>
                      </a:lnTo>
                      <a:lnTo>
                        <a:pt x="853" y="169"/>
                      </a:lnTo>
                      <a:lnTo>
                        <a:pt x="853" y="171"/>
                      </a:lnTo>
                      <a:lnTo>
                        <a:pt x="851" y="174"/>
                      </a:lnTo>
                      <a:lnTo>
                        <a:pt x="849" y="175"/>
                      </a:lnTo>
                      <a:lnTo>
                        <a:pt x="847" y="176"/>
                      </a:lnTo>
                      <a:lnTo>
                        <a:pt x="844" y="177"/>
                      </a:lnTo>
                      <a:lnTo>
                        <a:pt x="842" y="176"/>
                      </a:lnTo>
                      <a:lnTo>
                        <a:pt x="840" y="175"/>
                      </a:lnTo>
                      <a:lnTo>
                        <a:pt x="837" y="172"/>
                      </a:lnTo>
                      <a:lnTo>
                        <a:pt x="836" y="169"/>
                      </a:lnTo>
                      <a:lnTo>
                        <a:pt x="835" y="168"/>
                      </a:lnTo>
                      <a:lnTo>
                        <a:pt x="835" y="167"/>
                      </a:lnTo>
                      <a:lnTo>
                        <a:pt x="835" y="165"/>
                      </a:lnTo>
                      <a:lnTo>
                        <a:pt x="835" y="163"/>
                      </a:lnTo>
                      <a:lnTo>
                        <a:pt x="836" y="161"/>
                      </a:lnTo>
                      <a:lnTo>
                        <a:pt x="837" y="160"/>
                      </a:lnTo>
                      <a:lnTo>
                        <a:pt x="838" y="161"/>
                      </a:lnTo>
                      <a:lnTo>
                        <a:pt x="841" y="161"/>
                      </a:lnTo>
                      <a:lnTo>
                        <a:pt x="842" y="161"/>
                      </a:lnTo>
                      <a:lnTo>
                        <a:pt x="843" y="160"/>
                      </a:lnTo>
                      <a:lnTo>
                        <a:pt x="843" y="160"/>
                      </a:lnTo>
                      <a:lnTo>
                        <a:pt x="844" y="159"/>
                      </a:lnTo>
                      <a:lnTo>
                        <a:pt x="845" y="159"/>
                      </a:lnTo>
                      <a:close/>
                      <a:moveTo>
                        <a:pt x="865" y="149"/>
                      </a:moveTo>
                      <a:lnTo>
                        <a:pt x="868" y="149"/>
                      </a:lnTo>
                      <a:lnTo>
                        <a:pt x="871" y="150"/>
                      </a:lnTo>
                      <a:lnTo>
                        <a:pt x="874" y="153"/>
                      </a:lnTo>
                      <a:lnTo>
                        <a:pt x="876" y="154"/>
                      </a:lnTo>
                      <a:lnTo>
                        <a:pt x="878" y="156"/>
                      </a:lnTo>
                      <a:lnTo>
                        <a:pt x="878" y="158"/>
                      </a:lnTo>
                      <a:lnTo>
                        <a:pt x="878" y="160"/>
                      </a:lnTo>
                      <a:lnTo>
                        <a:pt x="876" y="161"/>
                      </a:lnTo>
                      <a:lnTo>
                        <a:pt x="873" y="163"/>
                      </a:lnTo>
                      <a:lnTo>
                        <a:pt x="870" y="163"/>
                      </a:lnTo>
                      <a:lnTo>
                        <a:pt x="867" y="161"/>
                      </a:lnTo>
                      <a:lnTo>
                        <a:pt x="865" y="160"/>
                      </a:lnTo>
                      <a:lnTo>
                        <a:pt x="863" y="159"/>
                      </a:lnTo>
                      <a:lnTo>
                        <a:pt x="862" y="158"/>
                      </a:lnTo>
                      <a:lnTo>
                        <a:pt x="860" y="156"/>
                      </a:lnTo>
                      <a:lnTo>
                        <a:pt x="860" y="155"/>
                      </a:lnTo>
                      <a:lnTo>
                        <a:pt x="859" y="154"/>
                      </a:lnTo>
                      <a:lnTo>
                        <a:pt x="858" y="153"/>
                      </a:lnTo>
                      <a:lnTo>
                        <a:pt x="857" y="152"/>
                      </a:lnTo>
                      <a:lnTo>
                        <a:pt x="858" y="150"/>
                      </a:lnTo>
                      <a:lnTo>
                        <a:pt x="859" y="149"/>
                      </a:lnTo>
                      <a:lnTo>
                        <a:pt x="862" y="149"/>
                      </a:lnTo>
                      <a:lnTo>
                        <a:pt x="865" y="149"/>
                      </a:lnTo>
                      <a:close/>
                      <a:moveTo>
                        <a:pt x="2272" y="143"/>
                      </a:moveTo>
                      <a:lnTo>
                        <a:pt x="2274" y="143"/>
                      </a:lnTo>
                      <a:lnTo>
                        <a:pt x="2276" y="144"/>
                      </a:lnTo>
                      <a:lnTo>
                        <a:pt x="2277" y="146"/>
                      </a:lnTo>
                      <a:lnTo>
                        <a:pt x="2279" y="148"/>
                      </a:lnTo>
                      <a:lnTo>
                        <a:pt x="2282" y="150"/>
                      </a:lnTo>
                      <a:lnTo>
                        <a:pt x="2284" y="153"/>
                      </a:lnTo>
                      <a:lnTo>
                        <a:pt x="2285" y="155"/>
                      </a:lnTo>
                      <a:lnTo>
                        <a:pt x="2286" y="156"/>
                      </a:lnTo>
                      <a:lnTo>
                        <a:pt x="2287" y="158"/>
                      </a:lnTo>
                      <a:lnTo>
                        <a:pt x="2287" y="159"/>
                      </a:lnTo>
                      <a:lnTo>
                        <a:pt x="2287" y="160"/>
                      </a:lnTo>
                      <a:lnTo>
                        <a:pt x="2288" y="161"/>
                      </a:lnTo>
                      <a:lnTo>
                        <a:pt x="2287" y="164"/>
                      </a:lnTo>
                      <a:lnTo>
                        <a:pt x="2286" y="166"/>
                      </a:lnTo>
                      <a:lnTo>
                        <a:pt x="2285" y="167"/>
                      </a:lnTo>
                      <a:lnTo>
                        <a:pt x="2284" y="168"/>
                      </a:lnTo>
                      <a:lnTo>
                        <a:pt x="2282" y="169"/>
                      </a:lnTo>
                      <a:lnTo>
                        <a:pt x="2281" y="170"/>
                      </a:lnTo>
                      <a:lnTo>
                        <a:pt x="2279" y="172"/>
                      </a:lnTo>
                      <a:lnTo>
                        <a:pt x="2279" y="172"/>
                      </a:lnTo>
                      <a:lnTo>
                        <a:pt x="2277" y="172"/>
                      </a:lnTo>
                      <a:lnTo>
                        <a:pt x="2276" y="171"/>
                      </a:lnTo>
                      <a:lnTo>
                        <a:pt x="2274" y="169"/>
                      </a:lnTo>
                      <a:lnTo>
                        <a:pt x="2273" y="167"/>
                      </a:lnTo>
                      <a:lnTo>
                        <a:pt x="2271" y="163"/>
                      </a:lnTo>
                      <a:lnTo>
                        <a:pt x="2271" y="143"/>
                      </a:lnTo>
                      <a:lnTo>
                        <a:pt x="2272" y="143"/>
                      </a:lnTo>
                      <a:close/>
                      <a:moveTo>
                        <a:pt x="847" y="132"/>
                      </a:moveTo>
                      <a:lnTo>
                        <a:pt x="849" y="132"/>
                      </a:lnTo>
                      <a:lnTo>
                        <a:pt x="853" y="133"/>
                      </a:lnTo>
                      <a:lnTo>
                        <a:pt x="855" y="134"/>
                      </a:lnTo>
                      <a:lnTo>
                        <a:pt x="856" y="135"/>
                      </a:lnTo>
                      <a:lnTo>
                        <a:pt x="856" y="136"/>
                      </a:lnTo>
                      <a:lnTo>
                        <a:pt x="855" y="136"/>
                      </a:lnTo>
                      <a:lnTo>
                        <a:pt x="853" y="137"/>
                      </a:lnTo>
                      <a:lnTo>
                        <a:pt x="851" y="137"/>
                      </a:lnTo>
                      <a:lnTo>
                        <a:pt x="848" y="138"/>
                      </a:lnTo>
                      <a:lnTo>
                        <a:pt x="846" y="138"/>
                      </a:lnTo>
                      <a:lnTo>
                        <a:pt x="843" y="137"/>
                      </a:lnTo>
                      <a:lnTo>
                        <a:pt x="841" y="136"/>
                      </a:lnTo>
                      <a:lnTo>
                        <a:pt x="841" y="135"/>
                      </a:lnTo>
                      <a:lnTo>
                        <a:pt x="841" y="134"/>
                      </a:lnTo>
                      <a:lnTo>
                        <a:pt x="843" y="133"/>
                      </a:lnTo>
                      <a:lnTo>
                        <a:pt x="844" y="132"/>
                      </a:lnTo>
                      <a:lnTo>
                        <a:pt x="847" y="132"/>
                      </a:lnTo>
                      <a:close/>
                      <a:moveTo>
                        <a:pt x="1746" y="114"/>
                      </a:moveTo>
                      <a:lnTo>
                        <a:pt x="1747" y="115"/>
                      </a:lnTo>
                      <a:lnTo>
                        <a:pt x="1749" y="116"/>
                      </a:lnTo>
                      <a:lnTo>
                        <a:pt x="1751" y="117"/>
                      </a:lnTo>
                      <a:lnTo>
                        <a:pt x="1753" y="120"/>
                      </a:lnTo>
                      <a:lnTo>
                        <a:pt x="1755" y="122"/>
                      </a:lnTo>
                      <a:lnTo>
                        <a:pt x="1759" y="124"/>
                      </a:lnTo>
                      <a:lnTo>
                        <a:pt x="1760" y="126"/>
                      </a:lnTo>
                      <a:lnTo>
                        <a:pt x="1761" y="128"/>
                      </a:lnTo>
                      <a:lnTo>
                        <a:pt x="1762" y="132"/>
                      </a:lnTo>
                      <a:lnTo>
                        <a:pt x="1763" y="134"/>
                      </a:lnTo>
                      <a:lnTo>
                        <a:pt x="1764" y="135"/>
                      </a:lnTo>
                      <a:lnTo>
                        <a:pt x="1766" y="137"/>
                      </a:lnTo>
                      <a:lnTo>
                        <a:pt x="1768" y="139"/>
                      </a:lnTo>
                      <a:lnTo>
                        <a:pt x="1768" y="141"/>
                      </a:lnTo>
                      <a:lnTo>
                        <a:pt x="1766" y="143"/>
                      </a:lnTo>
                      <a:lnTo>
                        <a:pt x="1766" y="144"/>
                      </a:lnTo>
                      <a:lnTo>
                        <a:pt x="1765" y="145"/>
                      </a:lnTo>
                      <a:lnTo>
                        <a:pt x="1765" y="146"/>
                      </a:lnTo>
                      <a:lnTo>
                        <a:pt x="1766" y="148"/>
                      </a:lnTo>
                      <a:lnTo>
                        <a:pt x="1768" y="149"/>
                      </a:lnTo>
                      <a:lnTo>
                        <a:pt x="1769" y="149"/>
                      </a:lnTo>
                      <a:lnTo>
                        <a:pt x="1770" y="148"/>
                      </a:lnTo>
                      <a:lnTo>
                        <a:pt x="1771" y="148"/>
                      </a:lnTo>
                      <a:lnTo>
                        <a:pt x="1772" y="147"/>
                      </a:lnTo>
                      <a:lnTo>
                        <a:pt x="1772" y="146"/>
                      </a:lnTo>
                      <a:lnTo>
                        <a:pt x="1772" y="144"/>
                      </a:lnTo>
                      <a:lnTo>
                        <a:pt x="1772" y="141"/>
                      </a:lnTo>
                      <a:lnTo>
                        <a:pt x="1772" y="137"/>
                      </a:lnTo>
                      <a:lnTo>
                        <a:pt x="1773" y="134"/>
                      </a:lnTo>
                      <a:lnTo>
                        <a:pt x="1774" y="133"/>
                      </a:lnTo>
                      <a:lnTo>
                        <a:pt x="1775" y="133"/>
                      </a:lnTo>
                      <a:lnTo>
                        <a:pt x="1776" y="134"/>
                      </a:lnTo>
                      <a:lnTo>
                        <a:pt x="1777" y="136"/>
                      </a:lnTo>
                      <a:lnTo>
                        <a:pt x="1779" y="138"/>
                      </a:lnTo>
                      <a:lnTo>
                        <a:pt x="1780" y="141"/>
                      </a:lnTo>
                      <a:lnTo>
                        <a:pt x="1781" y="142"/>
                      </a:lnTo>
                      <a:lnTo>
                        <a:pt x="1782" y="143"/>
                      </a:lnTo>
                      <a:lnTo>
                        <a:pt x="1783" y="144"/>
                      </a:lnTo>
                      <a:lnTo>
                        <a:pt x="1783" y="143"/>
                      </a:lnTo>
                      <a:lnTo>
                        <a:pt x="1783" y="142"/>
                      </a:lnTo>
                      <a:lnTo>
                        <a:pt x="1783" y="139"/>
                      </a:lnTo>
                      <a:lnTo>
                        <a:pt x="1783" y="137"/>
                      </a:lnTo>
                      <a:lnTo>
                        <a:pt x="1783" y="135"/>
                      </a:lnTo>
                      <a:lnTo>
                        <a:pt x="1783" y="133"/>
                      </a:lnTo>
                      <a:lnTo>
                        <a:pt x="1783" y="132"/>
                      </a:lnTo>
                      <a:lnTo>
                        <a:pt x="1784" y="131"/>
                      </a:lnTo>
                      <a:lnTo>
                        <a:pt x="1785" y="131"/>
                      </a:lnTo>
                      <a:lnTo>
                        <a:pt x="1787" y="130"/>
                      </a:lnTo>
                      <a:lnTo>
                        <a:pt x="1790" y="131"/>
                      </a:lnTo>
                      <a:lnTo>
                        <a:pt x="1791" y="132"/>
                      </a:lnTo>
                      <a:lnTo>
                        <a:pt x="1792" y="134"/>
                      </a:lnTo>
                      <a:lnTo>
                        <a:pt x="1793" y="136"/>
                      </a:lnTo>
                      <a:lnTo>
                        <a:pt x="1794" y="137"/>
                      </a:lnTo>
                      <a:lnTo>
                        <a:pt x="1795" y="139"/>
                      </a:lnTo>
                      <a:lnTo>
                        <a:pt x="1797" y="138"/>
                      </a:lnTo>
                      <a:lnTo>
                        <a:pt x="1800" y="137"/>
                      </a:lnTo>
                      <a:lnTo>
                        <a:pt x="1801" y="136"/>
                      </a:lnTo>
                      <a:lnTo>
                        <a:pt x="1803" y="135"/>
                      </a:lnTo>
                      <a:lnTo>
                        <a:pt x="1804" y="135"/>
                      </a:lnTo>
                      <a:lnTo>
                        <a:pt x="1806" y="135"/>
                      </a:lnTo>
                      <a:lnTo>
                        <a:pt x="1808" y="136"/>
                      </a:lnTo>
                      <a:lnTo>
                        <a:pt x="1811" y="136"/>
                      </a:lnTo>
                      <a:lnTo>
                        <a:pt x="1813" y="137"/>
                      </a:lnTo>
                      <a:lnTo>
                        <a:pt x="1814" y="135"/>
                      </a:lnTo>
                      <a:lnTo>
                        <a:pt x="1815" y="133"/>
                      </a:lnTo>
                      <a:lnTo>
                        <a:pt x="1816" y="130"/>
                      </a:lnTo>
                      <a:lnTo>
                        <a:pt x="1816" y="127"/>
                      </a:lnTo>
                      <a:lnTo>
                        <a:pt x="1817" y="126"/>
                      </a:lnTo>
                      <a:lnTo>
                        <a:pt x="1819" y="126"/>
                      </a:lnTo>
                      <a:lnTo>
                        <a:pt x="1823" y="128"/>
                      </a:lnTo>
                      <a:lnTo>
                        <a:pt x="1825" y="131"/>
                      </a:lnTo>
                      <a:lnTo>
                        <a:pt x="1826" y="133"/>
                      </a:lnTo>
                      <a:lnTo>
                        <a:pt x="1827" y="135"/>
                      </a:lnTo>
                      <a:lnTo>
                        <a:pt x="1828" y="136"/>
                      </a:lnTo>
                      <a:lnTo>
                        <a:pt x="1829" y="136"/>
                      </a:lnTo>
                      <a:lnTo>
                        <a:pt x="1830" y="136"/>
                      </a:lnTo>
                      <a:lnTo>
                        <a:pt x="1831" y="136"/>
                      </a:lnTo>
                      <a:lnTo>
                        <a:pt x="1834" y="135"/>
                      </a:lnTo>
                      <a:lnTo>
                        <a:pt x="1835" y="134"/>
                      </a:lnTo>
                      <a:lnTo>
                        <a:pt x="1836" y="134"/>
                      </a:lnTo>
                      <a:lnTo>
                        <a:pt x="1836" y="134"/>
                      </a:lnTo>
                      <a:lnTo>
                        <a:pt x="1836" y="135"/>
                      </a:lnTo>
                      <a:lnTo>
                        <a:pt x="1836" y="137"/>
                      </a:lnTo>
                      <a:lnTo>
                        <a:pt x="1836" y="138"/>
                      </a:lnTo>
                      <a:lnTo>
                        <a:pt x="1836" y="141"/>
                      </a:lnTo>
                      <a:lnTo>
                        <a:pt x="1836" y="142"/>
                      </a:lnTo>
                      <a:lnTo>
                        <a:pt x="1835" y="142"/>
                      </a:lnTo>
                      <a:lnTo>
                        <a:pt x="1834" y="143"/>
                      </a:lnTo>
                      <a:lnTo>
                        <a:pt x="1834" y="145"/>
                      </a:lnTo>
                      <a:lnTo>
                        <a:pt x="1835" y="147"/>
                      </a:lnTo>
                      <a:lnTo>
                        <a:pt x="1836" y="150"/>
                      </a:lnTo>
                      <a:lnTo>
                        <a:pt x="1838" y="154"/>
                      </a:lnTo>
                      <a:lnTo>
                        <a:pt x="1840" y="157"/>
                      </a:lnTo>
                      <a:lnTo>
                        <a:pt x="1842" y="160"/>
                      </a:lnTo>
                      <a:lnTo>
                        <a:pt x="1846" y="164"/>
                      </a:lnTo>
                      <a:lnTo>
                        <a:pt x="1847" y="168"/>
                      </a:lnTo>
                      <a:lnTo>
                        <a:pt x="1849" y="170"/>
                      </a:lnTo>
                      <a:lnTo>
                        <a:pt x="1850" y="172"/>
                      </a:lnTo>
                      <a:lnTo>
                        <a:pt x="1852" y="175"/>
                      </a:lnTo>
                      <a:lnTo>
                        <a:pt x="1853" y="177"/>
                      </a:lnTo>
                      <a:lnTo>
                        <a:pt x="1853" y="181"/>
                      </a:lnTo>
                      <a:lnTo>
                        <a:pt x="1853" y="183"/>
                      </a:lnTo>
                      <a:lnTo>
                        <a:pt x="1852" y="187"/>
                      </a:lnTo>
                      <a:lnTo>
                        <a:pt x="1851" y="189"/>
                      </a:lnTo>
                      <a:lnTo>
                        <a:pt x="1849" y="192"/>
                      </a:lnTo>
                      <a:lnTo>
                        <a:pt x="1849" y="193"/>
                      </a:lnTo>
                      <a:lnTo>
                        <a:pt x="1849" y="196"/>
                      </a:lnTo>
                      <a:lnTo>
                        <a:pt x="1849" y="199"/>
                      </a:lnTo>
                      <a:lnTo>
                        <a:pt x="1848" y="201"/>
                      </a:lnTo>
                      <a:lnTo>
                        <a:pt x="1847" y="203"/>
                      </a:lnTo>
                      <a:lnTo>
                        <a:pt x="1846" y="205"/>
                      </a:lnTo>
                      <a:lnTo>
                        <a:pt x="1844" y="207"/>
                      </a:lnTo>
                      <a:lnTo>
                        <a:pt x="1841" y="207"/>
                      </a:lnTo>
                      <a:lnTo>
                        <a:pt x="1838" y="208"/>
                      </a:lnTo>
                      <a:lnTo>
                        <a:pt x="1836" y="208"/>
                      </a:lnTo>
                      <a:lnTo>
                        <a:pt x="1834" y="210"/>
                      </a:lnTo>
                      <a:lnTo>
                        <a:pt x="1833" y="212"/>
                      </a:lnTo>
                      <a:lnTo>
                        <a:pt x="1831" y="214"/>
                      </a:lnTo>
                      <a:lnTo>
                        <a:pt x="1829" y="214"/>
                      </a:lnTo>
                      <a:lnTo>
                        <a:pt x="1827" y="216"/>
                      </a:lnTo>
                      <a:lnTo>
                        <a:pt x="1825" y="219"/>
                      </a:lnTo>
                      <a:lnTo>
                        <a:pt x="1822" y="219"/>
                      </a:lnTo>
                      <a:lnTo>
                        <a:pt x="1819" y="220"/>
                      </a:lnTo>
                      <a:lnTo>
                        <a:pt x="1817" y="221"/>
                      </a:lnTo>
                      <a:lnTo>
                        <a:pt x="1814" y="222"/>
                      </a:lnTo>
                      <a:lnTo>
                        <a:pt x="1813" y="224"/>
                      </a:lnTo>
                      <a:lnTo>
                        <a:pt x="1811" y="227"/>
                      </a:lnTo>
                      <a:lnTo>
                        <a:pt x="1809" y="233"/>
                      </a:lnTo>
                      <a:lnTo>
                        <a:pt x="1806" y="236"/>
                      </a:lnTo>
                      <a:lnTo>
                        <a:pt x="1802" y="237"/>
                      </a:lnTo>
                      <a:lnTo>
                        <a:pt x="1796" y="234"/>
                      </a:lnTo>
                      <a:lnTo>
                        <a:pt x="1791" y="230"/>
                      </a:lnTo>
                      <a:lnTo>
                        <a:pt x="1787" y="226"/>
                      </a:lnTo>
                      <a:lnTo>
                        <a:pt x="1785" y="223"/>
                      </a:lnTo>
                      <a:lnTo>
                        <a:pt x="1783" y="221"/>
                      </a:lnTo>
                      <a:lnTo>
                        <a:pt x="1780" y="218"/>
                      </a:lnTo>
                      <a:lnTo>
                        <a:pt x="1776" y="216"/>
                      </a:lnTo>
                      <a:lnTo>
                        <a:pt x="1773" y="216"/>
                      </a:lnTo>
                      <a:lnTo>
                        <a:pt x="1770" y="219"/>
                      </a:lnTo>
                      <a:lnTo>
                        <a:pt x="1766" y="220"/>
                      </a:lnTo>
                      <a:lnTo>
                        <a:pt x="1763" y="221"/>
                      </a:lnTo>
                      <a:lnTo>
                        <a:pt x="1761" y="219"/>
                      </a:lnTo>
                      <a:lnTo>
                        <a:pt x="1759" y="218"/>
                      </a:lnTo>
                      <a:lnTo>
                        <a:pt x="1757" y="215"/>
                      </a:lnTo>
                      <a:lnTo>
                        <a:pt x="1754" y="213"/>
                      </a:lnTo>
                      <a:lnTo>
                        <a:pt x="1752" y="210"/>
                      </a:lnTo>
                      <a:lnTo>
                        <a:pt x="1751" y="208"/>
                      </a:lnTo>
                      <a:lnTo>
                        <a:pt x="1751" y="204"/>
                      </a:lnTo>
                      <a:lnTo>
                        <a:pt x="1751" y="201"/>
                      </a:lnTo>
                      <a:lnTo>
                        <a:pt x="1752" y="199"/>
                      </a:lnTo>
                      <a:lnTo>
                        <a:pt x="1753" y="199"/>
                      </a:lnTo>
                      <a:lnTo>
                        <a:pt x="1755" y="198"/>
                      </a:lnTo>
                      <a:lnTo>
                        <a:pt x="1758" y="198"/>
                      </a:lnTo>
                      <a:lnTo>
                        <a:pt x="1759" y="199"/>
                      </a:lnTo>
                      <a:lnTo>
                        <a:pt x="1761" y="199"/>
                      </a:lnTo>
                      <a:lnTo>
                        <a:pt x="1762" y="199"/>
                      </a:lnTo>
                      <a:lnTo>
                        <a:pt x="1762" y="198"/>
                      </a:lnTo>
                      <a:lnTo>
                        <a:pt x="1763" y="197"/>
                      </a:lnTo>
                      <a:lnTo>
                        <a:pt x="1762" y="192"/>
                      </a:lnTo>
                      <a:lnTo>
                        <a:pt x="1761" y="189"/>
                      </a:lnTo>
                      <a:lnTo>
                        <a:pt x="1759" y="187"/>
                      </a:lnTo>
                      <a:lnTo>
                        <a:pt x="1757" y="185"/>
                      </a:lnTo>
                      <a:lnTo>
                        <a:pt x="1753" y="183"/>
                      </a:lnTo>
                      <a:lnTo>
                        <a:pt x="1749" y="181"/>
                      </a:lnTo>
                      <a:lnTo>
                        <a:pt x="1744" y="181"/>
                      </a:lnTo>
                      <a:lnTo>
                        <a:pt x="1740" y="181"/>
                      </a:lnTo>
                      <a:lnTo>
                        <a:pt x="1737" y="179"/>
                      </a:lnTo>
                      <a:lnTo>
                        <a:pt x="1736" y="176"/>
                      </a:lnTo>
                      <a:lnTo>
                        <a:pt x="1735" y="174"/>
                      </a:lnTo>
                      <a:lnTo>
                        <a:pt x="1736" y="170"/>
                      </a:lnTo>
                      <a:lnTo>
                        <a:pt x="1738" y="168"/>
                      </a:lnTo>
                      <a:lnTo>
                        <a:pt x="1740" y="167"/>
                      </a:lnTo>
                      <a:lnTo>
                        <a:pt x="1742" y="167"/>
                      </a:lnTo>
                      <a:lnTo>
                        <a:pt x="1746" y="167"/>
                      </a:lnTo>
                      <a:lnTo>
                        <a:pt x="1749" y="168"/>
                      </a:lnTo>
                      <a:lnTo>
                        <a:pt x="1752" y="167"/>
                      </a:lnTo>
                      <a:lnTo>
                        <a:pt x="1754" y="167"/>
                      </a:lnTo>
                      <a:lnTo>
                        <a:pt x="1757" y="165"/>
                      </a:lnTo>
                      <a:lnTo>
                        <a:pt x="1758" y="164"/>
                      </a:lnTo>
                      <a:lnTo>
                        <a:pt x="1759" y="161"/>
                      </a:lnTo>
                      <a:lnTo>
                        <a:pt x="1759" y="158"/>
                      </a:lnTo>
                      <a:lnTo>
                        <a:pt x="1758" y="155"/>
                      </a:lnTo>
                      <a:lnTo>
                        <a:pt x="1755" y="153"/>
                      </a:lnTo>
                      <a:lnTo>
                        <a:pt x="1753" y="150"/>
                      </a:lnTo>
                      <a:lnTo>
                        <a:pt x="1750" y="148"/>
                      </a:lnTo>
                      <a:lnTo>
                        <a:pt x="1747" y="147"/>
                      </a:lnTo>
                      <a:lnTo>
                        <a:pt x="1744" y="146"/>
                      </a:lnTo>
                      <a:lnTo>
                        <a:pt x="1742" y="146"/>
                      </a:lnTo>
                      <a:lnTo>
                        <a:pt x="1741" y="146"/>
                      </a:lnTo>
                      <a:lnTo>
                        <a:pt x="1739" y="147"/>
                      </a:lnTo>
                      <a:lnTo>
                        <a:pt x="1737" y="148"/>
                      </a:lnTo>
                      <a:lnTo>
                        <a:pt x="1736" y="150"/>
                      </a:lnTo>
                      <a:lnTo>
                        <a:pt x="1733" y="152"/>
                      </a:lnTo>
                      <a:lnTo>
                        <a:pt x="1731" y="152"/>
                      </a:lnTo>
                      <a:lnTo>
                        <a:pt x="1730" y="150"/>
                      </a:lnTo>
                      <a:lnTo>
                        <a:pt x="1728" y="149"/>
                      </a:lnTo>
                      <a:lnTo>
                        <a:pt x="1727" y="146"/>
                      </a:lnTo>
                      <a:lnTo>
                        <a:pt x="1726" y="144"/>
                      </a:lnTo>
                      <a:lnTo>
                        <a:pt x="1727" y="143"/>
                      </a:lnTo>
                      <a:lnTo>
                        <a:pt x="1727" y="142"/>
                      </a:lnTo>
                      <a:lnTo>
                        <a:pt x="1728" y="142"/>
                      </a:lnTo>
                      <a:lnTo>
                        <a:pt x="1730" y="141"/>
                      </a:lnTo>
                      <a:lnTo>
                        <a:pt x="1730" y="139"/>
                      </a:lnTo>
                      <a:lnTo>
                        <a:pt x="1731" y="139"/>
                      </a:lnTo>
                      <a:lnTo>
                        <a:pt x="1732" y="137"/>
                      </a:lnTo>
                      <a:lnTo>
                        <a:pt x="1732" y="135"/>
                      </a:lnTo>
                      <a:lnTo>
                        <a:pt x="1733" y="132"/>
                      </a:lnTo>
                      <a:lnTo>
                        <a:pt x="1733" y="128"/>
                      </a:lnTo>
                      <a:lnTo>
                        <a:pt x="1733" y="126"/>
                      </a:lnTo>
                      <a:lnTo>
                        <a:pt x="1733" y="124"/>
                      </a:lnTo>
                      <a:lnTo>
                        <a:pt x="1735" y="123"/>
                      </a:lnTo>
                      <a:lnTo>
                        <a:pt x="1736" y="122"/>
                      </a:lnTo>
                      <a:lnTo>
                        <a:pt x="1738" y="122"/>
                      </a:lnTo>
                      <a:lnTo>
                        <a:pt x="1739" y="123"/>
                      </a:lnTo>
                      <a:lnTo>
                        <a:pt x="1740" y="126"/>
                      </a:lnTo>
                      <a:lnTo>
                        <a:pt x="1741" y="127"/>
                      </a:lnTo>
                      <a:lnTo>
                        <a:pt x="1742" y="128"/>
                      </a:lnTo>
                      <a:lnTo>
                        <a:pt x="1743" y="130"/>
                      </a:lnTo>
                      <a:lnTo>
                        <a:pt x="1744" y="130"/>
                      </a:lnTo>
                      <a:lnTo>
                        <a:pt x="1746" y="130"/>
                      </a:lnTo>
                      <a:lnTo>
                        <a:pt x="1746" y="130"/>
                      </a:lnTo>
                      <a:lnTo>
                        <a:pt x="1744" y="128"/>
                      </a:lnTo>
                      <a:lnTo>
                        <a:pt x="1744" y="126"/>
                      </a:lnTo>
                      <a:lnTo>
                        <a:pt x="1744" y="124"/>
                      </a:lnTo>
                      <a:lnTo>
                        <a:pt x="1743" y="122"/>
                      </a:lnTo>
                      <a:lnTo>
                        <a:pt x="1743" y="120"/>
                      </a:lnTo>
                      <a:lnTo>
                        <a:pt x="1743" y="117"/>
                      </a:lnTo>
                      <a:lnTo>
                        <a:pt x="1743" y="115"/>
                      </a:lnTo>
                      <a:lnTo>
                        <a:pt x="1743" y="114"/>
                      </a:lnTo>
                      <a:lnTo>
                        <a:pt x="1746" y="114"/>
                      </a:lnTo>
                      <a:close/>
                      <a:moveTo>
                        <a:pt x="2415" y="76"/>
                      </a:moveTo>
                      <a:lnTo>
                        <a:pt x="2416" y="77"/>
                      </a:lnTo>
                      <a:lnTo>
                        <a:pt x="2417" y="79"/>
                      </a:lnTo>
                      <a:lnTo>
                        <a:pt x="2417" y="81"/>
                      </a:lnTo>
                      <a:lnTo>
                        <a:pt x="2417" y="84"/>
                      </a:lnTo>
                      <a:lnTo>
                        <a:pt x="2417" y="87"/>
                      </a:lnTo>
                      <a:lnTo>
                        <a:pt x="2417" y="89"/>
                      </a:lnTo>
                      <a:lnTo>
                        <a:pt x="2416" y="90"/>
                      </a:lnTo>
                      <a:lnTo>
                        <a:pt x="2416" y="90"/>
                      </a:lnTo>
                      <a:lnTo>
                        <a:pt x="2414" y="88"/>
                      </a:lnTo>
                      <a:lnTo>
                        <a:pt x="2413" y="85"/>
                      </a:lnTo>
                      <a:lnTo>
                        <a:pt x="2413" y="83"/>
                      </a:lnTo>
                      <a:lnTo>
                        <a:pt x="2412" y="80"/>
                      </a:lnTo>
                      <a:lnTo>
                        <a:pt x="2412" y="78"/>
                      </a:lnTo>
                      <a:lnTo>
                        <a:pt x="2413" y="77"/>
                      </a:lnTo>
                      <a:lnTo>
                        <a:pt x="2414" y="76"/>
                      </a:lnTo>
                      <a:lnTo>
                        <a:pt x="2415" y="76"/>
                      </a:lnTo>
                      <a:close/>
                      <a:moveTo>
                        <a:pt x="692" y="57"/>
                      </a:moveTo>
                      <a:lnTo>
                        <a:pt x="695" y="59"/>
                      </a:lnTo>
                      <a:lnTo>
                        <a:pt x="698" y="63"/>
                      </a:lnTo>
                      <a:lnTo>
                        <a:pt x="699" y="68"/>
                      </a:lnTo>
                      <a:lnTo>
                        <a:pt x="700" y="73"/>
                      </a:lnTo>
                      <a:lnTo>
                        <a:pt x="703" y="77"/>
                      </a:lnTo>
                      <a:lnTo>
                        <a:pt x="705" y="78"/>
                      </a:lnTo>
                      <a:lnTo>
                        <a:pt x="707" y="79"/>
                      </a:lnTo>
                      <a:lnTo>
                        <a:pt x="711" y="79"/>
                      </a:lnTo>
                      <a:lnTo>
                        <a:pt x="714" y="79"/>
                      </a:lnTo>
                      <a:lnTo>
                        <a:pt x="717" y="79"/>
                      </a:lnTo>
                      <a:lnTo>
                        <a:pt x="720" y="81"/>
                      </a:lnTo>
                      <a:lnTo>
                        <a:pt x="722" y="82"/>
                      </a:lnTo>
                      <a:lnTo>
                        <a:pt x="723" y="85"/>
                      </a:lnTo>
                      <a:lnTo>
                        <a:pt x="724" y="88"/>
                      </a:lnTo>
                      <a:lnTo>
                        <a:pt x="724" y="89"/>
                      </a:lnTo>
                      <a:lnTo>
                        <a:pt x="726" y="93"/>
                      </a:lnTo>
                      <a:lnTo>
                        <a:pt x="731" y="96"/>
                      </a:lnTo>
                      <a:lnTo>
                        <a:pt x="736" y="99"/>
                      </a:lnTo>
                      <a:lnTo>
                        <a:pt x="743" y="100"/>
                      </a:lnTo>
                      <a:lnTo>
                        <a:pt x="747" y="100"/>
                      </a:lnTo>
                      <a:lnTo>
                        <a:pt x="755" y="103"/>
                      </a:lnTo>
                      <a:lnTo>
                        <a:pt x="760" y="109"/>
                      </a:lnTo>
                      <a:lnTo>
                        <a:pt x="765" y="114"/>
                      </a:lnTo>
                      <a:lnTo>
                        <a:pt x="771" y="120"/>
                      </a:lnTo>
                      <a:lnTo>
                        <a:pt x="780" y="128"/>
                      </a:lnTo>
                      <a:lnTo>
                        <a:pt x="786" y="139"/>
                      </a:lnTo>
                      <a:lnTo>
                        <a:pt x="786" y="152"/>
                      </a:lnTo>
                      <a:lnTo>
                        <a:pt x="783" y="155"/>
                      </a:lnTo>
                      <a:lnTo>
                        <a:pt x="779" y="157"/>
                      </a:lnTo>
                      <a:lnTo>
                        <a:pt x="773" y="156"/>
                      </a:lnTo>
                      <a:lnTo>
                        <a:pt x="768" y="154"/>
                      </a:lnTo>
                      <a:lnTo>
                        <a:pt x="765" y="152"/>
                      </a:lnTo>
                      <a:lnTo>
                        <a:pt x="762" y="150"/>
                      </a:lnTo>
                      <a:lnTo>
                        <a:pt x="760" y="148"/>
                      </a:lnTo>
                      <a:lnTo>
                        <a:pt x="758" y="147"/>
                      </a:lnTo>
                      <a:lnTo>
                        <a:pt x="755" y="147"/>
                      </a:lnTo>
                      <a:lnTo>
                        <a:pt x="753" y="148"/>
                      </a:lnTo>
                      <a:lnTo>
                        <a:pt x="751" y="148"/>
                      </a:lnTo>
                      <a:lnTo>
                        <a:pt x="749" y="147"/>
                      </a:lnTo>
                      <a:lnTo>
                        <a:pt x="747" y="145"/>
                      </a:lnTo>
                      <a:lnTo>
                        <a:pt x="746" y="142"/>
                      </a:lnTo>
                      <a:lnTo>
                        <a:pt x="745" y="138"/>
                      </a:lnTo>
                      <a:lnTo>
                        <a:pt x="743" y="136"/>
                      </a:lnTo>
                      <a:lnTo>
                        <a:pt x="740" y="134"/>
                      </a:lnTo>
                      <a:lnTo>
                        <a:pt x="738" y="133"/>
                      </a:lnTo>
                      <a:lnTo>
                        <a:pt x="736" y="132"/>
                      </a:lnTo>
                      <a:lnTo>
                        <a:pt x="734" y="132"/>
                      </a:lnTo>
                      <a:lnTo>
                        <a:pt x="733" y="133"/>
                      </a:lnTo>
                      <a:lnTo>
                        <a:pt x="731" y="135"/>
                      </a:lnTo>
                      <a:lnTo>
                        <a:pt x="729" y="137"/>
                      </a:lnTo>
                      <a:lnTo>
                        <a:pt x="728" y="141"/>
                      </a:lnTo>
                      <a:lnTo>
                        <a:pt x="728" y="143"/>
                      </a:lnTo>
                      <a:lnTo>
                        <a:pt x="728" y="145"/>
                      </a:lnTo>
                      <a:lnTo>
                        <a:pt x="728" y="148"/>
                      </a:lnTo>
                      <a:lnTo>
                        <a:pt x="727" y="150"/>
                      </a:lnTo>
                      <a:lnTo>
                        <a:pt x="726" y="152"/>
                      </a:lnTo>
                      <a:lnTo>
                        <a:pt x="724" y="153"/>
                      </a:lnTo>
                      <a:lnTo>
                        <a:pt x="722" y="153"/>
                      </a:lnTo>
                      <a:lnTo>
                        <a:pt x="720" y="154"/>
                      </a:lnTo>
                      <a:lnTo>
                        <a:pt x="717" y="154"/>
                      </a:lnTo>
                      <a:lnTo>
                        <a:pt x="715" y="154"/>
                      </a:lnTo>
                      <a:lnTo>
                        <a:pt x="713" y="155"/>
                      </a:lnTo>
                      <a:lnTo>
                        <a:pt x="711" y="156"/>
                      </a:lnTo>
                      <a:lnTo>
                        <a:pt x="706" y="161"/>
                      </a:lnTo>
                      <a:lnTo>
                        <a:pt x="703" y="166"/>
                      </a:lnTo>
                      <a:lnTo>
                        <a:pt x="699" y="170"/>
                      </a:lnTo>
                      <a:lnTo>
                        <a:pt x="693" y="174"/>
                      </a:lnTo>
                      <a:lnTo>
                        <a:pt x="685" y="174"/>
                      </a:lnTo>
                      <a:lnTo>
                        <a:pt x="683" y="171"/>
                      </a:lnTo>
                      <a:lnTo>
                        <a:pt x="682" y="169"/>
                      </a:lnTo>
                      <a:lnTo>
                        <a:pt x="681" y="167"/>
                      </a:lnTo>
                      <a:lnTo>
                        <a:pt x="681" y="165"/>
                      </a:lnTo>
                      <a:lnTo>
                        <a:pt x="681" y="163"/>
                      </a:lnTo>
                      <a:lnTo>
                        <a:pt x="681" y="160"/>
                      </a:lnTo>
                      <a:lnTo>
                        <a:pt x="679" y="158"/>
                      </a:lnTo>
                      <a:lnTo>
                        <a:pt x="678" y="157"/>
                      </a:lnTo>
                      <a:lnTo>
                        <a:pt x="675" y="156"/>
                      </a:lnTo>
                      <a:lnTo>
                        <a:pt x="672" y="156"/>
                      </a:lnTo>
                      <a:lnTo>
                        <a:pt x="670" y="155"/>
                      </a:lnTo>
                      <a:lnTo>
                        <a:pt x="668" y="155"/>
                      </a:lnTo>
                      <a:lnTo>
                        <a:pt x="664" y="154"/>
                      </a:lnTo>
                      <a:lnTo>
                        <a:pt x="662" y="154"/>
                      </a:lnTo>
                      <a:lnTo>
                        <a:pt x="659" y="153"/>
                      </a:lnTo>
                      <a:lnTo>
                        <a:pt x="657" y="152"/>
                      </a:lnTo>
                      <a:lnTo>
                        <a:pt x="655" y="150"/>
                      </a:lnTo>
                      <a:lnTo>
                        <a:pt x="655" y="148"/>
                      </a:lnTo>
                      <a:lnTo>
                        <a:pt x="655" y="146"/>
                      </a:lnTo>
                      <a:lnTo>
                        <a:pt x="656" y="143"/>
                      </a:lnTo>
                      <a:lnTo>
                        <a:pt x="657" y="142"/>
                      </a:lnTo>
                      <a:lnTo>
                        <a:pt x="659" y="139"/>
                      </a:lnTo>
                      <a:lnTo>
                        <a:pt x="662" y="138"/>
                      </a:lnTo>
                      <a:lnTo>
                        <a:pt x="664" y="137"/>
                      </a:lnTo>
                      <a:lnTo>
                        <a:pt x="667" y="136"/>
                      </a:lnTo>
                      <a:lnTo>
                        <a:pt x="668" y="134"/>
                      </a:lnTo>
                      <a:lnTo>
                        <a:pt x="672" y="131"/>
                      </a:lnTo>
                      <a:lnTo>
                        <a:pt x="675" y="126"/>
                      </a:lnTo>
                      <a:lnTo>
                        <a:pt x="679" y="122"/>
                      </a:lnTo>
                      <a:lnTo>
                        <a:pt x="682" y="120"/>
                      </a:lnTo>
                      <a:lnTo>
                        <a:pt x="684" y="117"/>
                      </a:lnTo>
                      <a:lnTo>
                        <a:pt x="687" y="115"/>
                      </a:lnTo>
                      <a:lnTo>
                        <a:pt x="688" y="113"/>
                      </a:lnTo>
                      <a:lnTo>
                        <a:pt x="689" y="111"/>
                      </a:lnTo>
                      <a:lnTo>
                        <a:pt x="688" y="109"/>
                      </a:lnTo>
                      <a:lnTo>
                        <a:pt x="685" y="106"/>
                      </a:lnTo>
                      <a:lnTo>
                        <a:pt x="681" y="104"/>
                      </a:lnTo>
                      <a:lnTo>
                        <a:pt x="679" y="103"/>
                      </a:lnTo>
                      <a:lnTo>
                        <a:pt x="678" y="103"/>
                      </a:lnTo>
                      <a:lnTo>
                        <a:pt x="675" y="102"/>
                      </a:lnTo>
                      <a:lnTo>
                        <a:pt x="673" y="101"/>
                      </a:lnTo>
                      <a:lnTo>
                        <a:pt x="672" y="100"/>
                      </a:lnTo>
                      <a:lnTo>
                        <a:pt x="672" y="98"/>
                      </a:lnTo>
                      <a:lnTo>
                        <a:pt x="672" y="95"/>
                      </a:lnTo>
                      <a:lnTo>
                        <a:pt x="672" y="93"/>
                      </a:lnTo>
                      <a:lnTo>
                        <a:pt x="673" y="90"/>
                      </a:lnTo>
                      <a:lnTo>
                        <a:pt x="673" y="87"/>
                      </a:lnTo>
                      <a:lnTo>
                        <a:pt x="674" y="83"/>
                      </a:lnTo>
                      <a:lnTo>
                        <a:pt x="675" y="77"/>
                      </a:lnTo>
                      <a:lnTo>
                        <a:pt x="678" y="69"/>
                      </a:lnTo>
                      <a:lnTo>
                        <a:pt x="680" y="62"/>
                      </a:lnTo>
                      <a:lnTo>
                        <a:pt x="684" y="58"/>
                      </a:lnTo>
                      <a:lnTo>
                        <a:pt x="692" y="57"/>
                      </a:lnTo>
                      <a:close/>
                      <a:moveTo>
                        <a:pt x="87" y="49"/>
                      </a:moveTo>
                      <a:lnTo>
                        <a:pt x="84" y="49"/>
                      </a:lnTo>
                      <a:lnTo>
                        <a:pt x="82" y="50"/>
                      </a:lnTo>
                      <a:lnTo>
                        <a:pt x="80" y="51"/>
                      </a:lnTo>
                      <a:lnTo>
                        <a:pt x="77" y="52"/>
                      </a:lnTo>
                      <a:lnTo>
                        <a:pt x="74" y="54"/>
                      </a:lnTo>
                      <a:lnTo>
                        <a:pt x="71" y="57"/>
                      </a:lnTo>
                      <a:lnTo>
                        <a:pt x="68" y="59"/>
                      </a:lnTo>
                      <a:lnTo>
                        <a:pt x="65" y="61"/>
                      </a:lnTo>
                      <a:lnTo>
                        <a:pt x="61" y="63"/>
                      </a:lnTo>
                      <a:lnTo>
                        <a:pt x="58" y="66"/>
                      </a:lnTo>
                      <a:lnTo>
                        <a:pt x="54" y="69"/>
                      </a:lnTo>
                      <a:lnTo>
                        <a:pt x="50" y="71"/>
                      </a:lnTo>
                      <a:lnTo>
                        <a:pt x="46" y="74"/>
                      </a:lnTo>
                      <a:lnTo>
                        <a:pt x="34" y="78"/>
                      </a:lnTo>
                      <a:lnTo>
                        <a:pt x="22" y="83"/>
                      </a:lnTo>
                      <a:lnTo>
                        <a:pt x="18" y="85"/>
                      </a:lnTo>
                      <a:lnTo>
                        <a:pt x="13" y="88"/>
                      </a:lnTo>
                      <a:lnTo>
                        <a:pt x="6" y="89"/>
                      </a:lnTo>
                      <a:lnTo>
                        <a:pt x="2" y="91"/>
                      </a:lnTo>
                      <a:lnTo>
                        <a:pt x="0" y="96"/>
                      </a:lnTo>
                      <a:lnTo>
                        <a:pt x="1" y="98"/>
                      </a:lnTo>
                      <a:lnTo>
                        <a:pt x="2" y="99"/>
                      </a:lnTo>
                      <a:lnTo>
                        <a:pt x="4" y="99"/>
                      </a:lnTo>
                      <a:lnTo>
                        <a:pt x="5" y="99"/>
                      </a:lnTo>
                      <a:lnTo>
                        <a:pt x="7" y="98"/>
                      </a:lnTo>
                      <a:lnTo>
                        <a:pt x="8" y="96"/>
                      </a:lnTo>
                      <a:lnTo>
                        <a:pt x="13" y="93"/>
                      </a:lnTo>
                      <a:lnTo>
                        <a:pt x="16" y="91"/>
                      </a:lnTo>
                      <a:lnTo>
                        <a:pt x="20" y="90"/>
                      </a:lnTo>
                      <a:lnTo>
                        <a:pt x="24" y="90"/>
                      </a:lnTo>
                      <a:lnTo>
                        <a:pt x="28" y="88"/>
                      </a:lnTo>
                      <a:lnTo>
                        <a:pt x="31" y="87"/>
                      </a:lnTo>
                      <a:lnTo>
                        <a:pt x="36" y="84"/>
                      </a:lnTo>
                      <a:lnTo>
                        <a:pt x="39" y="83"/>
                      </a:lnTo>
                      <a:lnTo>
                        <a:pt x="41" y="83"/>
                      </a:lnTo>
                      <a:lnTo>
                        <a:pt x="44" y="83"/>
                      </a:lnTo>
                      <a:lnTo>
                        <a:pt x="46" y="84"/>
                      </a:lnTo>
                      <a:lnTo>
                        <a:pt x="48" y="85"/>
                      </a:lnTo>
                      <a:lnTo>
                        <a:pt x="50" y="88"/>
                      </a:lnTo>
                      <a:lnTo>
                        <a:pt x="50" y="90"/>
                      </a:lnTo>
                      <a:lnTo>
                        <a:pt x="50" y="96"/>
                      </a:lnTo>
                      <a:lnTo>
                        <a:pt x="48" y="102"/>
                      </a:lnTo>
                      <a:lnTo>
                        <a:pt x="45" y="106"/>
                      </a:lnTo>
                      <a:lnTo>
                        <a:pt x="39" y="110"/>
                      </a:lnTo>
                      <a:lnTo>
                        <a:pt x="33" y="115"/>
                      </a:lnTo>
                      <a:lnTo>
                        <a:pt x="27" y="121"/>
                      </a:lnTo>
                      <a:lnTo>
                        <a:pt x="25" y="127"/>
                      </a:lnTo>
                      <a:lnTo>
                        <a:pt x="28" y="134"/>
                      </a:lnTo>
                      <a:lnTo>
                        <a:pt x="33" y="136"/>
                      </a:lnTo>
                      <a:lnTo>
                        <a:pt x="37" y="135"/>
                      </a:lnTo>
                      <a:lnTo>
                        <a:pt x="42" y="132"/>
                      </a:lnTo>
                      <a:lnTo>
                        <a:pt x="47" y="127"/>
                      </a:lnTo>
                      <a:lnTo>
                        <a:pt x="50" y="123"/>
                      </a:lnTo>
                      <a:lnTo>
                        <a:pt x="52" y="120"/>
                      </a:lnTo>
                      <a:lnTo>
                        <a:pt x="54" y="116"/>
                      </a:lnTo>
                      <a:lnTo>
                        <a:pt x="55" y="114"/>
                      </a:lnTo>
                      <a:lnTo>
                        <a:pt x="57" y="111"/>
                      </a:lnTo>
                      <a:lnTo>
                        <a:pt x="59" y="110"/>
                      </a:lnTo>
                      <a:lnTo>
                        <a:pt x="61" y="110"/>
                      </a:lnTo>
                      <a:lnTo>
                        <a:pt x="62" y="111"/>
                      </a:lnTo>
                      <a:lnTo>
                        <a:pt x="62" y="112"/>
                      </a:lnTo>
                      <a:lnTo>
                        <a:pt x="61" y="114"/>
                      </a:lnTo>
                      <a:lnTo>
                        <a:pt x="61" y="116"/>
                      </a:lnTo>
                      <a:lnTo>
                        <a:pt x="60" y="120"/>
                      </a:lnTo>
                      <a:lnTo>
                        <a:pt x="58" y="123"/>
                      </a:lnTo>
                      <a:lnTo>
                        <a:pt x="57" y="126"/>
                      </a:lnTo>
                      <a:lnTo>
                        <a:pt x="55" y="130"/>
                      </a:lnTo>
                      <a:lnTo>
                        <a:pt x="56" y="132"/>
                      </a:lnTo>
                      <a:lnTo>
                        <a:pt x="60" y="131"/>
                      </a:lnTo>
                      <a:lnTo>
                        <a:pt x="65" y="128"/>
                      </a:lnTo>
                      <a:lnTo>
                        <a:pt x="69" y="124"/>
                      </a:lnTo>
                      <a:lnTo>
                        <a:pt x="72" y="121"/>
                      </a:lnTo>
                      <a:lnTo>
                        <a:pt x="74" y="119"/>
                      </a:lnTo>
                      <a:lnTo>
                        <a:pt x="78" y="114"/>
                      </a:lnTo>
                      <a:lnTo>
                        <a:pt x="80" y="111"/>
                      </a:lnTo>
                      <a:lnTo>
                        <a:pt x="81" y="105"/>
                      </a:lnTo>
                      <a:lnTo>
                        <a:pt x="81" y="101"/>
                      </a:lnTo>
                      <a:lnTo>
                        <a:pt x="82" y="100"/>
                      </a:lnTo>
                      <a:lnTo>
                        <a:pt x="83" y="98"/>
                      </a:lnTo>
                      <a:lnTo>
                        <a:pt x="83" y="96"/>
                      </a:lnTo>
                      <a:lnTo>
                        <a:pt x="84" y="95"/>
                      </a:lnTo>
                      <a:lnTo>
                        <a:pt x="85" y="94"/>
                      </a:lnTo>
                      <a:lnTo>
                        <a:pt x="87" y="95"/>
                      </a:lnTo>
                      <a:lnTo>
                        <a:pt x="88" y="96"/>
                      </a:lnTo>
                      <a:lnTo>
                        <a:pt x="94" y="96"/>
                      </a:lnTo>
                      <a:lnTo>
                        <a:pt x="99" y="92"/>
                      </a:lnTo>
                      <a:lnTo>
                        <a:pt x="103" y="85"/>
                      </a:lnTo>
                      <a:lnTo>
                        <a:pt x="105" y="79"/>
                      </a:lnTo>
                      <a:lnTo>
                        <a:pt x="106" y="76"/>
                      </a:lnTo>
                      <a:lnTo>
                        <a:pt x="109" y="73"/>
                      </a:lnTo>
                      <a:lnTo>
                        <a:pt x="111" y="72"/>
                      </a:lnTo>
                      <a:lnTo>
                        <a:pt x="113" y="70"/>
                      </a:lnTo>
                      <a:lnTo>
                        <a:pt x="114" y="68"/>
                      </a:lnTo>
                      <a:lnTo>
                        <a:pt x="114" y="66"/>
                      </a:lnTo>
                      <a:lnTo>
                        <a:pt x="114" y="63"/>
                      </a:lnTo>
                      <a:lnTo>
                        <a:pt x="113" y="62"/>
                      </a:lnTo>
                      <a:lnTo>
                        <a:pt x="111" y="62"/>
                      </a:lnTo>
                      <a:lnTo>
                        <a:pt x="109" y="62"/>
                      </a:lnTo>
                      <a:lnTo>
                        <a:pt x="106" y="62"/>
                      </a:lnTo>
                      <a:lnTo>
                        <a:pt x="105" y="63"/>
                      </a:lnTo>
                      <a:lnTo>
                        <a:pt x="103" y="66"/>
                      </a:lnTo>
                      <a:lnTo>
                        <a:pt x="100" y="68"/>
                      </a:lnTo>
                      <a:lnTo>
                        <a:pt x="99" y="70"/>
                      </a:lnTo>
                      <a:lnTo>
                        <a:pt x="96" y="72"/>
                      </a:lnTo>
                      <a:lnTo>
                        <a:pt x="94" y="74"/>
                      </a:lnTo>
                      <a:lnTo>
                        <a:pt x="91" y="74"/>
                      </a:lnTo>
                      <a:lnTo>
                        <a:pt x="89" y="76"/>
                      </a:lnTo>
                      <a:lnTo>
                        <a:pt x="87" y="76"/>
                      </a:lnTo>
                      <a:lnTo>
                        <a:pt x="83" y="77"/>
                      </a:lnTo>
                      <a:lnTo>
                        <a:pt x="78" y="74"/>
                      </a:lnTo>
                      <a:lnTo>
                        <a:pt x="76" y="71"/>
                      </a:lnTo>
                      <a:lnTo>
                        <a:pt x="76" y="67"/>
                      </a:lnTo>
                      <a:lnTo>
                        <a:pt x="77" y="61"/>
                      </a:lnTo>
                      <a:lnTo>
                        <a:pt x="81" y="57"/>
                      </a:lnTo>
                      <a:lnTo>
                        <a:pt x="82" y="56"/>
                      </a:lnTo>
                      <a:lnTo>
                        <a:pt x="84" y="55"/>
                      </a:lnTo>
                      <a:lnTo>
                        <a:pt x="87" y="54"/>
                      </a:lnTo>
                      <a:lnTo>
                        <a:pt x="88" y="51"/>
                      </a:lnTo>
                      <a:lnTo>
                        <a:pt x="89" y="51"/>
                      </a:lnTo>
                      <a:lnTo>
                        <a:pt x="89" y="50"/>
                      </a:lnTo>
                      <a:lnTo>
                        <a:pt x="88" y="50"/>
                      </a:lnTo>
                      <a:lnTo>
                        <a:pt x="87" y="49"/>
                      </a:lnTo>
                      <a:close/>
                      <a:moveTo>
                        <a:pt x="2366" y="47"/>
                      </a:moveTo>
                      <a:lnTo>
                        <a:pt x="2368" y="47"/>
                      </a:lnTo>
                      <a:lnTo>
                        <a:pt x="2369" y="48"/>
                      </a:lnTo>
                      <a:lnTo>
                        <a:pt x="2369" y="51"/>
                      </a:lnTo>
                      <a:lnTo>
                        <a:pt x="2370" y="52"/>
                      </a:lnTo>
                      <a:lnTo>
                        <a:pt x="2371" y="56"/>
                      </a:lnTo>
                      <a:lnTo>
                        <a:pt x="2372" y="59"/>
                      </a:lnTo>
                      <a:lnTo>
                        <a:pt x="2373" y="62"/>
                      </a:lnTo>
                      <a:lnTo>
                        <a:pt x="2373" y="65"/>
                      </a:lnTo>
                      <a:lnTo>
                        <a:pt x="2372" y="65"/>
                      </a:lnTo>
                      <a:lnTo>
                        <a:pt x="2371" y="63"/>
                      </a:lnTo>
                      <a:lnTo>
                        <a:pt x="2370" y="63"/>
                      </a:lnTo>
                      <a:lnTo>
                        <a:pt x="2369" y="62"/>
                      </a:lnTo>
                      <a:lnTo>
                        <a:pt x="2369" y="61"/>
                      </a:lnTo>
                      <a:lnTo>
                        <a:pt x="2366" y="60"/>
                      </a:lnTo>
                      <a:lnTo>
                        <a:pt x="2365" y="58"/>
                      </a:lnTo>
                      <a:lnTo>
                        <a:pt x="2365" y="56"/>
                      </a:lnTo>
                      <a:lnTo>
                        <a:pt x="2365" y="55"/>
                      </a:lnTo>
                      <a:lnTo>
                        <a:pt x="2365" y="52"/>
                      </a:lnTo>
                      <a:lnTo>
                        <a:pt x="2366" y="51"/>
                      </a:lnTo>
                      <a:lnTo>
                        <a:pt x="2366" y="48"/>
                      </a:lnTo>
                      <a:lnTo>
                        <a:pt x="2366" y="47"/>
                      </a:lnTo>
                      <a:close/>
                      <a:moveTo>
                        <a:pt x="2468" y="0"/>
                      </a:moveTo>
                      <a:lnTo>
                        <a:pt x="2493" y="84"/>
                      </a:lnTo>
                      <a:lnTo>
                        <a:pt x="2514" y="171"/>
                      </a:lnTo>
                      <a:lnTo>
                        <a:pt x="2530" y="259"/>
                      </a:lnTo>
                      <a:lnTo>
                        <a:pt x="2543" y="350"/>
                      </a:lnTo>
                      <a:lnTo>
                        <a:pt x="2549" y="442"/>
                      </a:lnTo>
                      <a:lnTo>
                        <a:pt x="2536" y="450"/>
                      </a:lnTo>
                      <a:lnTo>
                        <a:pt x="2523" y="458"/>
                      </a:lnTo>
                      <a:lnTo>
                        <a:pt x="2471" y="493"/>
                      </a:lnTo>
                      <a:lnTo>
                        <a:pt x="2418" y="534"/>
                      </a:lnTo>
                      <a:lnTo>
                        <a:pt x="2364" y="579"/>
                      </a:lnTo>
                      <a:lnTo>
                        <a:pt x="2308" y="626"/>
                      </a:lnTo>
                      <a:lnTo>
                        <a:pt x="2249" y="674"/>
                      </a:lnTo>
                      <a:lnTo>
                        <a:pt x="2249" y="673"/>
                      </a:lnTo>
                      <a:lnTo>
                        <a:pt x="2250" y="672"/>
                      </a:lnTo>
                      <a:lnTo>
                        <a:pt x="2251" y="671"/>
                      </a:lnTo>
                      <a:lnTo>
                        <a:pt x="2251" y="670"/>
                      </a:lnTo>
                      <a:lnTo>
                        <a:pt x="2251" y="669"/>
                      </a:lnTo>
                      <a:lnTo>
                        <a:pt x="2252" y="669"/>
                      </a:lnTo>
                      <a:lnTo>
                        <a:pt x="2253" y="667"/>
                      </a:lnTo>
                      <a:lnTo>
                        <a:pt x="2253" y="666"/>
                      </a:lnTo>
                      <a:lnTo>
                        <a:pt x="2253" y="663"/>
                      </a:lnTo>
                      <a:lnTo>
                        <a:pt x="2252" y="663"/>
                      </a:lnTo>
                      <a:lnTo>
                        <a:pt x="2251" y="663"/>
                      </a:lnTo>
                      <a:lnTo>
                        <a:pt x="2250" y="665"/>
                      </a:lnTo>
                      <a:lnTo>
                        <a:pt x="2249" y="666"/>
                      </a:lnTo>
                      <a:lnTo>
                        <a:pt x="2249" y="666"/>
                      </a:lnTo>
                      <a:lnTo>
                        <a:pt x="2244" y="671"/>
                      </a:lnTo>
                      <a:lnTo>
                        <a:pt x="2240" y="677"/>
                      </a:lnTo>
                      <a:lnTo>
                        <a:pt x="2235" y="681"/>
                      </a:lnTo>
                      <a:lnTo>
                        <a:pt x="2235" y="681"/>
                      </a:lnTo>
                      <a:lnTo>
                        <a:pt x="2234" y="682"/>
                      </a:lnTo>
                      <a:lnTo>
                        <a:pt x="2234" y="684"/>
                      </a:lnTo>
                      <a:lnTo>
                        <a:pt x="2233" y="685"/>
                      </a:lnTo>
                      <a:lnTo>
                        <a:pt x="2233" y="688"/>
                      </a:lnTo>
                      <a:lnTo>
                        <a:pt x="2230" y="690"/>
                      </a:lnTo>
                      <a:lnTo>
                        <a:pt x="2226" y="692"/>
                      </a:lnTo>
                      <a:lnTo>
                        <a:pt x="2222" y="694"/>
                      </a:lnTo>
                      <a:lnTo>
                        <a:pt x="2222" y="694"/>
                      </a:lnTo>
                      <a:lnTo>
                        <a:pt x="2219" y="696"/>
                      </a:lnTo>
                      <a:lnTo>
                        <a:pt x="2218" y="696"/>
                      </a:lnTo>
                      <a:lnTo>
                        <a:pt x="2218" y="696"/>
                      </a:lnTo>
                      <a:lnTo>
                        <a:pt x="2219" y="694"/>
                      </a:lnTo>
                      <a:lnTo>
                        <a:pt x="2219" y="693"/>
                      </a:lnTo>
                      <a:lnTo>
                        <a:pt x="2218" y="691"/>
                      </a:lnTo>
                      <a:lnTo>
                        <a:pt x="2218" y="690"/>
                      </a:lnTo>
                      <a:lnTo>
                        <a:pt x="2217" y="688"/>
                      </a:lnTo>
                      <a:lnTo>
                        <a:pt x="2217" y="684"/>
                      </a:lnTo>
                      <a:lnTo>
                        <a:pt x="2216" y="682"/>
                      </a:lnTo>
                      <a:lnTo>
                        <a:pt x="2215" y="681"/>
                      </a:lnTo>
                      <a:lnTo>
                        <a:pt x="2213" y="680"/>
                      </a:lnTo>
                      <a:lnTo>
                        <a:pt x="2211" y="681"/>
                      </a:lnTo>
                      <a:lnTo>
                        <a:pt x="2209" y="684"/>
                      </a:lnTo>
                      <a:lnTo>
                        <a:pt x="2207" y="689"/>
                      </a:lnTo>
                      <a:lnTo>
                        <a:pt x="2205" y="693"/>
                      </a:lnTo>
                      <a:lnTo>
                        <a:pt x="2202" y="699"/>
                      </a:lnTo>
                      <a:lnTo>
                        <a:pt x="2201" y="702"/>
                      </a:lnTo>
                      <a:lnTo>
                        <a:pt x="2200" y="706"/>
                      </a:lnTo>
                      <a:lnTo>
                        <a:pt x="2200" y="710"/>
                      </a:lnTo>
                      <a:lnTo>
                        <a:pt x="2198" y="714"/>
                      </a:lnTo>
                      <a:lnTo>
                        <a:pt x="2185" y="723"/>
                      </a:lnTo>
                      <a:lnTo>
                        <a:pt x="2186" y="722"/>
                      </a:lnTo>
                      <a:lnTo>
                        <a:pt x="2186" y="720"/>
                      </a:lnTo>
                      <a:lnTo>
                        <a:pt x="2187" y="717"/>
                      </a:lnTo>
                      <a:lnTo>
                        <a:pt x="2187" y="715"/>
                      </a:lnTo>
                      <a:lnTo>
                        <a:pt x="2188" y="713"/>
                      </a:lnTo>
                      <a:lnTo>
                        <a:pt x="2122" y="760"/>
                      </a:lnTo>
                      <a:lnTo>
                        <a:pt x="2122" y="759"/>
                      </a:lnTo>
                      <a:lnTo>
                        <a:pt x="2122" y="758"/>
                      </a:lnTo>
                      <a:lnTo>
                        <a:pt x="2121" y="755"/>
                      </a:lnTo>
                      <a:lnTo>
                        <a:pt x="2121" y="753"/>
                      </a:lnTo>
                      <a:lnTo>
                        <a:pt x="2120" y="750"/>
                      </a:lnTo>
                      <a:lnTo>
                        <a:pt x="2118" y="750"/>
                      </a:lnTo>
                      <a:lnTo>
                        <a:pt x="2117" y="750"/>
                      </a:lnTo>
                      <a:lnTo>
                        <a:pt x="2115" y="750"/>
                      </a:lnTo>
                      <a:lnTo>
                        <a:pt x="2114" y="749"/>
                      </a:lnTo>
                      <a:lnTo>
                        <a:pt x="2113" y="747"/>
                      </a:lnTo>
                      <a:lnTo>
                        <a:pt x="2113" y="745"/>
                      </a:lnTo>
                      <a:lnTo>
                        <a:pt x="2112" y="743"/>
                      </a:lnTo>
                      <a:lnTo>
                        <a:pt x="2111" y="739"/>
                      </a:lnTo>
                      <a:lnTo>
                        <a:pt x="2111" y="737"/>
                      </a:lnTo>
                      <a:lnTo>
                        <a:pt x="2111" y="734"/>
                      </a:lnTo>
                      <a:lnTo>
                        <a:pt x="2110" y="731"/>
                      </a:lnTo>
                      <a:lnTo>
                        <a:pt x="2109" y="730"/>
                      </a:lnTo>
                      <a:lnTo>
                        <a:pt x="2107" y="728"/>
                      </a:lnTo>
                      <a:lnTo>
                        <a:pt x="2106" y="730"/>
                      </a:lnTo>
                      <a:lnTo>
                        <a:pt x="2103" y="731"/>
                      </a:lnTo>
                      <a:lnTo>
                        <a:pt x="2101" y="731"/>
                      </a:lnTo>
                      <a:lnTo>
                        <a:pt x="2100" y="732"/>
                      </a:lnTo>
                      <a:lnTo>
                        <a:pt x="2098" y="733"/>
                      </a:lnTo>
                      <a:lnTo>
                        <a:pt x="2097" y="733"/>
                      </a:lnTo>
                      <a:lnTo>
                        <a:pt x="2095" y="732"/>
                      </a:lnTo>
                      <a:lnTo>
                        <a:pt x="2093" y="730"/>
                      </a:lnTo>
                      <a:lnTo>
                        <a:pt x="2092" y="727"/>
                      </a:lnTo>
                      <a:lnTo>
                        <a:pt x="2091" y="726"/>
                      </a:lnTo>
                      <a:lnTo>
                        <a:pt x="2090" y="725"/>
                      </a:lnTo>
                      <a:lnTo>
                        <a:pt x="2089" y="725"/>
                      </a:lnTo>
                      <a:lnTo>
                        <a:pt x="2088" y="725"/>
                      </a:lnTo>
                      <a:lnTo>
                        <a:pt x="2087" y="727"/>
                      </a:lnTo>
                      <a:lnTo>
                        <a:pt x="2087" y="730"/>
                      </a:lnTo>
                      <a:lnTo>
                        <a:pt x="2087" y="732"/>
                      </a:lnTo>
                      <a:lnTo>
                        <a:pt x="2087" y="734"/>
                      </a:lnTo>
                      <a:lnTo>
                        <a:pt x="2088" y="736"/>
                      </a:lnTo>
                      <a:lnTo>
                        <a:pt x="2089" y="738"/>
                      </a:lnTo>
                      <a:lnTo>
                        <a:pt x="2091" y="741"/>
                      </a:lnTo>
                      <a:lnTo>
                        <a:pt x="2096" y="753"/>
                      </a:lnTo>
                      <a:lnTo>
                        <a:pt x="2098" y="766"/>
                      </a:lnTo>
                      <a:lnTo>
                        <a:pt x="2098" y="771"/>
                      </a:lnTo>
                      <a:lnTo>
                        <a:pt x="2099" y="775"/>
                      </a:lnTo>
                      <a:lnTo>
                        <a:pt x="2100" y="777"/>
                      </a:lnTo>
                      <a:lnTo>
                        <a:pt x="2102" y="779"/>
                      </a:lnTo>
                      <a:lnTo>
                        <a:pt x="2104" y="781"/>
                      </a:lnTo>
                      <a:lnTo>
                        <a:pt x="2102" y="782"/>
                      </a:lnTo>
                      <a:lnTo>
                        <a:pt x="2101" y="781"/>
                      </a:lnTo>
                      <a:lnTo>
                        <a:pt x="2099" y="780"/>
                      </a:lnTo>
                      <a:lnTo>
                        <a:pt x="2097" y="780"/>
                      </a:lnTo>
                      <a:lnTo>
                        <a:pt x="2097" y="779"/>
                      </a:lnTo>
                      <a:lnTo>
                        <a:pt x="2096" y="778"/>
                      </a:lnTo>
                      <a:lnTo>
                        <a:pt x="2096" y="778"/>
                      </a:lnTo>
                      <a:lnTo>
                        <a:pt x="2095" y="778"/>
                      </a:lnTo>
                      <a:lnTo>
                        <a:pt x="2086" y="782"/>
                      </a:lnTo>
                      <a:lnTo>
                        <a:pt x="2079" y="787"/>
                      </a:lnTo>
                      <a:lnTo>
                        <a:pt x="2078" y="786"/>
                      </a:lnTo>
                      <a:lnTo>
                        <a:pt x="2077" y="782"/>
                      </a:lnTo>
                      <a:lnTo>
                        <a:pt x="2076" y="779"/>
                      </a:lnTo>
                      <a:lnTo>
                        <a:pt x="2075" y="769"/>
                      </a:lnTo>
                      <a:lnTo>
                        <a:pt x="2075" y="757"/>
                      </a:lnTo>
                      <a:lnTo>
                        <a:pt x="2074" y="746"/>
                      </a:lnTo>
                      <a:lnTo>
                        <a:pt x="2071" y="745"/>
                      </a:lnTo>
                      <a:lnTo>
                        <a:pt x="2069" y="743"/>
                      </a:lnTo>
                      <a:lnTo>
                        <a:pt x="2067" y="743"/>
                      </a:lnTo>
                      <a:lnTo>
                        <a:pt x="2064" y="742"/>
                      </a:lnTo>
                      <a:lnTo>
                        <a:pt x="2062" y="743"/>
                      </a:lnTo>
                      <a:lnTo>
                        <a:pt x="2060" y="745"/>
                      </a:lnTo>
                      <a:lnTo>
                        <a:pt x="2058" y="748"/>
                      </a:lnTo>
                      <a:lnTo>
                        <a:pt x="2056" y="752"/>
                      </a:lnTo>
                      <a:lnTo>
                        <a:pt x="2054" y="755"/>
                      </a:lnTo>
                      <a:lnTo>
                        <a:pt x="2052" y="758"/>
                      </a:lnTo>
                      <a:lnTo>
                        <a:pt x="2049" y="761"/>
                      </a:lnTo>
                      <a:lnTo>
                        <a:pt x="2047" y="766"/>
                      </a:lnTo>
                      <a:lnTo>
                        <a:pt x="2045" y="770"/>
                      </a:lnTo>
                      <a:lnTo>
                        <a:pt x="2042" y="772"/>
                      </a:lnTo>
                      <a:lnTo>
                        <a:pt x="2038" y="775"/>
                      </a:lnTo>
                      <a:lnTo>
                        <a:pt x="2037" y="776"/>
                      </a:lnTo>
                      <a:lnTo>
                        <a:pt x="2036" y="775"/>
                      </a:lnTo>
                      <a:lnTo>
                        <a:pt x="2036" y="774"/>
                      </a:lnTo>
                      <a:lnTo>
                        <a:pt x="2035" y="772"/>
                      </a:lnTo>
                      <a:lnTo>
                        <a:pt x="2034" y="770"/>
                      </a:lnTo>
                      <a:lnTo>
                        <a:pt x="2032" y="769"/>
                      </a:lnTo>
                      <a:lnTo>
                        <a:pt x="2028" y="769"/>
                      </a:lnTo>
                      <a:lnTo>
                        <a:pt x="2026" y="770"/>
                      </a:lnTo>
                      <a:lnTo>
                        <a:pt x="2024" y="771"/>
                      </a:lnTo>
                      <a:lnTo>
                        <a:pt x="2021" y="775"/>
                      </a:lnTo>
                      <a:lnTo>
                        <a:pt x="2019" y="777"/>
                      </a:lnTo>
                      <a:lnTo>
                        <a:pt x="2016" y="783"/>
                      </a:lnTo>
                      <a:lnTo>
                        <a:pt x="2016" y="790"/>
                      </a:lnTo>
                      <a:lnTo>
                        <a:pt x="2016" y="797"/>
                      </a:lnTo>
                      <a:lnTo>
                        <a:pt x="2016" y="800"/>
                      </a:lnTo>
                      <a:lnTo>
                        <a:pt x="2015" y="803"/>
                      </a:lnTo>
                      <a:lnTo>
                        <a:pt x="2014" y="805"/>
                      </a:lnTo>
                      <a:lnTo>
                        <a:pt x="2013" y="808"/>
                      </a:lnTo>
                      <a:lnTo>
                        <a:pt x="2012" y="810"/>
                      </a:lnTo>
                      <a:lnTo>
                        <a:pt x="2011" y="812"/>
                      </a:lnTo>
                      <a:lnTo>
                        <a:pt x="2010" y="813"/>
                      </a:lnTo>
                      <a:lnTo>
                        <a:pt x="2008" y="813"/>
                      </a:lnTo>
                      <a:lnTo>
                        <a:pt x="2006" y="813"/>
                      </a:lnTo>
                      <a:lnTo>
                        <a:pt x="2005" y="814"/>
                      </a:lnTo>
                      <a:lnTo>
                        <a:pt x="2002" y="816"/>
                      </a:lnTo>
                      <a:lnTo>
                        <a:pt x="1999" y="819"/>
                      </a:lnTo>
                      <a:lnTo>
                        <a:pt x="1995" y="823"/>
                      </a:lnTo>
                      <a:lnTo>
                        <a:pt x="1992" y="827"/>
                      </a:lnTo>
                      <a:lnTo>
                        <a:pt x="1990" y="832"/>
                      </a:lnTo>
                      <a:lnTo>
                        <a:pt x="1989" y="836"/>
                      </a:lnTo>
                      <a:lnTo>
                        <a:pt x="1987" y="841"/>
                      </a:lnTo>
                      <a:lnTo>
                        <a:pt x="1987" y="845"/>
                      </a:lnTo>
                      <a:lnTo>
                        <a:pt x="1986" y="850"/>
                      </a:lnTo>
                      <a:lnTo>
                        <a:pt x="1973" y="855"/>
                      </a:lnTo>
                      <a:lnTo>
                        <a:pt x="1975" y="852"/>
                      </a:lnTo>
                      <a:lnTo>
                        <a:pt x="1939" y="872"/>
                      </a:lnTo>
                      <a:lnTo>
                        <a:pt x="1903" y="889"/>
                      </a:lnTo>
                      <a:lnTo>
                        <a:pt x="1903" y="888"/>
                      </a:lnTo>
                      <a:lnTo>
                        <a:pt x="1902" y="887"/>
                      </a:lnTo>
                      <a:lnTo>
                        <a:pt x="1901" y="887"/>
                      </a:lnTo>
                      <a:lnTo>
                        <a:pt x="1901" y="883"/>
                      </a:lnTo>
                      <a:lnTo>
                        <a:pt x="1901" y="878"/>
                      </a:lnTo>
                      <a:lnTo>
                        <a:pt x="1903" y="874"/>
                      </a:lnTo>
                      <a:lnTo>
                        <a:pt x="1908" y="854"/>
                      </a:lnTo>
                      <a:lnTo>
                        <a:pt x="1913" y="836"/>
                      </a:lnTo>
                      <a:lnTo>
                        <a:pt x="1914" y="825"/>
                      </a:lnTo>
                      <a:lnTo>
                        <a:pt x="1915" y="814"/>
                      </a:lnTo>
                      <a:lnTo>
                        <a:pt x="1915" y="811"/>
                      </a:lnTo>
                      <a:lnTo>
                        <a:pt x="1914" y="808"/>
                      </a:lnTo>
                      <a:lnTo>
                        <a:pt x="1914" y="803"/>
                      </a:lnTo>
                      <a:lnTo>
                        <a:pt x="1913" y="799"/>
                      </a:lnTo>
                      <a:lnTo>
                        <a:pt x="1914" y="794"/>
                      </a:lnTo>
                      <a:lnTo>
                        <a:pt x="1916" y="788"/>
                      </a:lnTo>
                      <a:lnTo>
                        <a:pt x="1918" y="780"/>
                      </a:lnTo>
                      <a:lnTo>
                        <a:pt x="1919" y="777"/>
                      </a:lnTo>
                      <a:lnTo>
                        <a:pt x="1922" y="778"/>
                      </a:lnTo>
                      <a:lnTo>
                        <a:pt x="1924" y="779"/>
                      </a:lnTo>
                      <a:lnTo>
                        <a:pt x="1925" y="780"/>
                      </a:lnTo>
                      <a:lnTo>
                        <a:pt x="1927" y="781"/>
                      </a:lnTo>
                      <a:lnTo>
                        <a:pt x="1928" y="781"/>
                      </a:lnTo>
                      <a:lnTo>
                        <a:pt x="1931" y="782"/>
                      </a:lnTo>
                      <a:lnTo>
                        <a:pt x="1933" y="782"/>
                      </a:lnTo>
                      <a:lnTo>
                        <a:pt x="1935" y="781"/>
                      </a:lnTo>
                      <a:lnTo>
                        <a:pt x="1937" y="781"/>
                      </a:lnTo>
                      <a:lnTo>
                        <a:pt x="1939" y="779"/>
                      </a:lnTo>
                      <a:lnTo>
                        <a:pt x="1944" y="777"/>
                      </a:lnTo>
                      <a:lnTo>
                        <a:pt x="1948" y="776"/>
                      </a:lnTo>
                      <a:lnTo>
                        <a:pt x="1953" y="775"/>
                      </a:lnTo>
                      <a:lnTo>
                        <a:pt x="1955" y="777"/>
                      </a:lnTo>
                      <a:lnTo>
                        <a:pt x="1958" y="777"/>
                      </a:lnTo>
                      <a:lnTo>
                        <a:pt x="1960" y="777"/>
                      </a:lnTo>
                      <a:lnTo>
                        <a:pt x="1964" y="777"/>
                      </a:lnTo>
                      <a:lnTo>
                        <a:pt x="1969" y="778"/>
                      </a:lnTo>
                      <a:lnTo>
                        <a:pt x="1975" y="779"/>
                      </a:lnTo>
                      <a:lnTo>
                        <a:pt x="1981" y="775"/>
                      </a:lnTo>
                      <a:lnTo>
                        <a:pt x="1982" y="774"/>
                      </a:lnTo>
                      <a:lnTo>
                        <a:pt x="1983" y="770"/>
                      </a:lnTo>
                      <a:lnTo>
                        <a:pt x="1983" y="768"/>
                      </a:lnTo>
                      <a:lnTo>
                        <a:pt x="1983" y="765"/>
                      </a:lnTo>
                      <a:lnTo>
                        <a:pt x="1983" y="761"/>
                      </a:lnTo>
                      <a:lnTo>
                        <a:pt x="1984" y="759"/>
                      </a:lnTo>
                      <a:lnTo>
                        <a:pt x="1986" y="757"/>
                      </a:lnTo>
                      <a:lnTo>
                        <a:pt x="1986" y="755"/>
                      </a:lnTo>
                      <a:lnTo>
                        <a:pt x="1987" y="754"/>
                      </a:lnTo>
                      <a:lnTo>
                        <a:pt x="1987" y="752"/>
                      </a:lnTo>
                      <a:lnTo>
                        <a:pt x="1988" y="749"/>
                      </a:lnTo>
                      <a:lnTo>
                        <a:pt x="1988" y="746"/>
                      </a:lnTo>
                      <a:lnTo>
                        <a:pt x="1989" y="741"/>
                      </a:lnTo>
                      <a:lnTo>
                        <a:pt x="1990" y="736"/>
                      </a:lnTo>
                      <a:lnTo>
                        <a:pt x="1991" y="732"/>
                      </a:lnTo>
                      <a:lnTo>
                        <a:pt x="1990" y="725"/>
                      </a:lnTo>
                      <a:lnTo>
                        <a:pt x="1990" y="722"/>
                      </a:lnTo>
                      <a:lnTo>
                        <a:pt x="1990" y="718"/>
                      </a:lnTo>
                      <a:lnTo>
                        <a:pt x="1989" y="716"/>
                      </a:lnTo>
                      <a:lnTo>
                        <a:pt x="1988" y="713"/>
                      </a:lnTo>
                      <a:lnTo>
                        <a:pt x="1986" y="712"/>
                      </a:lnTo>
                      <a:lnTo>
                        <a:pt x="1986" y="711"/>
                      </a:lnTo>
                      <a:lnTo>
                        <a:pt x="1986" y="710"/>
                      </a:lnTo>
                      <a:lnTo>
                        <a:pt x="1984" y="709"/>
                      </a:lnTo>
                      <a:lnTo>
                        <a:pt x="1983" y="706"/>
                      </a:lnTo>
                      <a:lnTo>
                        <a:pt x="1983" y="705"/>
                      </a:lnTo>
                      <a:lnTo>
                        <a:pt x="1983" y="703"/>
                      </a:lnTo>
                      <a:lnTo>
                        <a:pt x="1984" y="701"/>
                      </a:lnTo>
                      <a:lnTo>
                        <a:pt x="1984" y="699"/>
                      </a:lnTo>
                      <a:lnTo>
                        <a:pt x="1984" y="696"/>
                      </a:lnTo>
                      <a:lnTo>
                        <a:pt x="1983" y="694"/>
                      </a:lnTo>
                      <a:lnTo>
                        <a:pt x="1981" y="692"/>
                      </a:lnTo>
                      <a:lnTo>
                        <a:pt x="1978" y="690"/>
                      </a:lnTo>
                      <a:lnTo>
                        <a:pt x="1975" y="688"/>
                      </a:lnTo>
                      <a:lnTo>
                        <a:pt x="1972" y="687"/>
                      </a:lnTo>
                      <a:lnTo>
                        <a:pt x="1971" y="685"/>
                      </a:lnTo>
                      <a:lnTo>
                        <a:pt x="1969" y="684"/>
                      </a:lnTo>
                      <a:lnTo>
                        <a:pt x="1967" y="683"/>
                      </a:lnTo>
                      <a:lnTo>
                        <a:pt x="1966" y="681"/>
                      </a:lnTo>
                      <a:lnTo>
                        <a:pt x="1965" y="678"/>
                      </a:lnTo>
                      <a:lnTo>
                        <a:pt x="1964" y="674"/>
                      </a:lnTo>
                      <a:lnTo>
                        <a:pt x="1964" y="672"/>
                      </a:lnTo>
                      <a:lnTo>
                        <a:pt x="1964" y="670"/>
                      </a:lnTo>
                      <a:lnTo>
                        <a:pt x="1964" y="668"/>
                      </a:lnTo>
                      <a:lnTo>
                        <a:pt x="1965" y="667"/>
                      </a:lnTo>
                      <a:lnTo>
                        <a:pt x="1966" y="666"/>
                      </a:lnTo>
                      <a:lnTo>
                        <a:pt x="1967" y="663"/>
                      </a:lnTo>
                      <a:lnTo>
                        <a:pt x="1969" y="662"/>
                      </a:lnTo>
                      <a:lnTo>
                        <a:pt x="1970" y="661"/>
                      </a:lnTo>
                      <a:lnTo>
                        <a:pt x="1972" y="660"/>
                      </a:lnTo>
                      <a:lnTo>
                        <a:pt x="1975" y="661"/>
                      </a:lnTo>
                      <a:lnTo>
                        <a:pt x="1976" y="662"/>
                      </a:lnTo>
                      <a:lnTo>
                        <a:pt x="1977" y="663"/>
                      </a:lnTo>
                      <a:lnTo>
                        <a:pt x="1979" y="665"/>
                      </a:lnTo>
                      <a:lnTo>
                        <a:pt x="1980" y="665"/>
                      </a:lnTo>
                      <a:lnTo>
                        <a:pt x="1982" y="666"/>
                      </a:lnTo>
                      <a:lnTo>
                        <a:pt x="1984" y="666"/>
                      </a:lnTo>
                      <a:lnTo>
                        <a:pt x="1987" y="665"/>
                      </a:lnTo>
                      <a:lnTo>
                        <a:pt x="1988" y="663"/>
                      </a:lnTo>
                      <a:lnTo>
                        <a:pt x="1989" y="660"/>
                      </a:lnTo>
                      <a:lnTo>
                        <a:pt x="1990" y="657"/>
                      </a:lnTo>
                      <a:lnTo>
                        <a:pt x="1989" y="651"/>
                      </a:lnTo>
                      <a:lnTo>
                        <a:pt x="1987" y="647"/>
                      </a:lnTo>
                      <a:lnTo>
                        <a:pt x="1986" y="643"/>
                      </a:lnTo>
                      <a:lnTo>
                        <a:pt x="1988" y="637"/>
                      </a:lnTo>
                      <a:lnTo>
                        <a:pt x="1989" y="636"/>
                      </a:lnTo>
                      <a:lnTo>
                        <a:pt x="1991" y="637"/>
                      </a:lnTo>
                      <a:lnTo>
                        <a:pt x="1992" y="638"/>
                      </a:lnTo>
                      <a:lnTo>
                        <a:pt x="1993" y="639"/>
                      </a:lnTo>
                      <a:lnTo>
                        <a:pt x="1994" y="639"/>
                      </a:lnTo>
                      <a:lnTo>
                        <a:pt x="1997" y="639"/>
                      </a:lnTo>
                      <a:lnTo>
                        <a:pt x="1998" y="639"/>
                      </a:lnTo>
                      <a:lnTo>
                        <a:pt x="1999" y="640"/>
                      </a:lnTo>
                      <a:lnTo>
                        <a:pt x="1999" y="641"/>
                      </a:lnTo>
                      <a:lnTo>
                        <a:pt x="2000" y="644"/>
                      </a:lnTo>
                      <a:lnTo>
                        <a:pt x="2001" y="645"/>
                      </a:lnTo>
                      <a:lnTo>
                        <a:pt x="2002" y="646"/>
                      </a:lnTo>
                      <a:lnTo>
                        <a:pt x="2004" y="646"/>
                      </a:lnTo>
                      <a:lnTo>
                        <a:pt x="2005" y="644"/>
                      </a:lnTo>
                      <a:lnTo>
                        <a:pt x="2005" y="641"/>
                      </a:lnTo>
                      <a:lnTo>
                        <a:pt x="2006" y="639"/>
                      </a:lnTo>
                      <a:lnTo>
                        <a:pt x="2006" y="638"/>
                      </a:lnTo>
                      <a:lnTo>
                        <a:pt x="2008" y="638"/>
                      </a:lnTo>
                      <a:lnTo>
                        <a:pt x="2009" y="638"/>
                      </a:lnTo>
                      <a:lnTo>
                        <a:pt x="2010" y="637"/>
                      </a:lnTo>
                      <a:lnTo>
                        <a:pt x="2011" y="635"/>
                      </a:lnTo>
                      <a:lnTo>
                        <a:pt x="2012" y="633"/>
                      </a:lnTo>
                      <a:lnTo>
                        <a:pt x="2013" y="630"/>
                      </a:lnTo>
                      <a:lnTo>
                        <a:pt x="2014" y="628"/>
                      </a:lnTo>
                      <a:lnTo>
                        <a:pt x="2014" y="626"/>
                      </a:lnTo>
                      <a:lnTo>
                        <a:pt x="2015" y="624"/>
                      </a:lnTo>
                      <a:lnTo>
                        <a:pt x="2015" y="621"/>
                      </a:lnTo>
                      <a:lnTo>
                        <a:pt x="2015" y="618"/>
                      </a:lnTo>
                      <a:lnTo>
                        <a:pt x="2015" y="616"/>
                      </a:lnTo>
                      <a:lnTo>
                        <a:pt x="2016" y="615"/>
                      </a:lnTo>
                      <a:lnTo>
                        <a:pt x="2017" y="612"/>
                      </a:lnTo>
                      <a:lnTo>
                        <a:pt x="2019" y="610"/>
                      </a:lnTo>
                      <a:lnTo>
                        <a:pt x="2019" y="607"/>
                      </a:lnTo>
                      <a:lnTo>
                        <a:pt x="2019" y="604"/>
                      </a:lnTo>
                      <a:lnTo>
                        <a:pt x="2020" y="603"/>
                      </a:lnTo>
                      <a:lnTo>
                        <a:pt x="2021" y="603"/>
                      </a:lnTo>
                      <a:lnTo>
                        <a:pt x="2021" y="604"/>
                      </a:lnTo>
                      <a:lnTo>
                        <a:pt x="2022" y="605"/>
                      </a:lnTo>
                      <a:lnTo>
                        <a:pt x="2022" y="606"/>
                      </a:lnTo>
                      <a:lnTo>
                        <a:pt x="2023" y="606"/>
                      </a:lnTo>
                      <a:lnTo>
                        <a:pt x="2023" y="606"/>
                      </a:lnTo>
                      <a:lnTo>
                        <a:pt x="2024" y="605"/>
                      </a:lnTo>
                      <a:lnTo>
                        <a:pt x="2025" y="603"/>
                      </a:lnTo>
                      <a:lnTo>
                        <a:pt x="2026" y="602"/>
                      </a:lnTo>
                      <a:lnTo>
                        <a:pt x="2027" y="602"/>
                      </a:lnTo>
                      <a:lnTo>
                        <a:pt x="2027" y="602"/>
                      </a:lnTo>
                      <a:lnTo>
                        <a:pt x="2028" y="601"/>
                      </a:lnTo>
                      <a:lnTo>
                        <a:pt x="2031" y="600"/>
                      </a:lnTo>
                      <a:lnTo>
                        <a:pt x="2032" y="600"/>
                      </a:lnTo>
                      <a:lnTo>
                        <a:pt x="2032" y="596"/>
                      </a:lnTo>
                      <a:lnTo>
                        <a:pt x="2033" y="593"/>
                      </a:lnTo>
                      <a:lnTo>
                        <a:pt x="2034" y="591"/>
                      </a:lnTo>
                      <a:lnTo>
                        <a:pt x="2036" y="590"/>
                      </a:lnTo>
                      <a:lnTo>
                        <a:pt x="2036" y="587"/>
                      </a:lnTo>
                      <a:lnTo>
                        <a:pt x="2036" y="585"/>
                      </a:lnTo>
                      <a:lnTo>
                        <a:pt x="2036" y="583"/>
                      </a:lnTo>
                      <a:lnTo>
                        <a:pt x="2036" y="580"/>
                      </a:lnTo>
                      <a:lnTo>
                        <a:pt x="2037" y="579"/>
                      </a:lnTo>
                      <a:lnTo>
                        <a:pt x="2038" y="575"/>
                      </a:lnTo>
                      <a:lnTo>
                        <a:pt x="2038" y="573"/>
                      </a:lnTo>
                      <a:lnTo>
                        <a:pt x="2039" y="570"/>
                      </a:lnTo>
                      <a:lnTo>
                        <a:pt x="2041" y="567"/>
                      </a:lnTo>
                      <a:lnTo>
                        <a:pt x="2041" y="562"/>
                      </a:lnTo>
                      <a:lnTo>
                        <a:pt x="2042" y="558"/>
                      </a:lnTo>
                      <a:lnTo>
                        <a:pt x="2043" y="553"/>
                      </a:lnTo>
                      <a:lnTo>
                        <a:pt x="2045" y="552"/>
                      </a:lnTo>
                      <a:lnTo>
                        <a:pt x="2047" y="551"/>
                      </a:lnTo>
                      <a:lnTo>
                        <a:pt x="2049" y="551"/>
                      </a:lnTo>
                      <a:lnTo>
                        <a:pt x="2052" y="549"/>
                      </a:lnTo>
                      <a:lnTo>
                        <a:pt x="2053" y="549"/>
                      </a:lnTo>
                      <a:lnTo>
                        <a:pt x="2054" y="548"/>
                      </a:lnTo>
                      <a:lnTo>
                        <a:pt x="2056" y="548"/>
                      </a:lnTo>
                      <a:lnTo>
                        <a:pt x="2057" y="547"/>
                      </a:lnTo>
                      <a:lnTo>
                        <a:pt x="2058" y="545"/>
                      </a:lnTo>
                      <a:lnTo>
                        <a:pt x="2059" y="542"/>
                      </a:lnTo>
                      <a:lnTo>
                        <a:pt x="2060" y="541"/>
                      </a:lnTo>
                      <a:lnTo>
                        <a:pt x="2062" y="541"/>
                      </a:lnTo>
                      <a:lnTo>
                        <a:pt x="2063" y="540"/>
                      </a:lnTo>
                      <a:lnTo>
                        <a:pt x="2065" y="540"/>
                      </a:lnTo>
                      <a:lnTo>
                        <a:pt x="2066" y="541"/>
                      </a:lnTo>
                      <a:lnTo>
                        <a:pt x="2067" y="541"/>
                      </a:lnTo>
                      <a:lnTo>
                        <a:pt x="2068" y="541"/>
                      </a:lnTo>
                      <a:lnTo>
                        <a:pt x="2069" y="540"/>
                      </a:lnTo>
                      <a:lnTo>
                        <a:pt x="2069" y="538"/>
                      </a:lnTo>
                      <a:lnTo>
                        <a:pt x="2070" y="534"/>
                      </a:lnTo>
                      <a:lnTo>
                        <a:pt x="2071" y="529"/>
                      </a:lnTo>
                      <a:lnTo>
                        <a:pt x="2071" y="525"/>
                      </a:lnTo>
                      <a:lnTo>
                        <a:pt x="2071" y="512"/>
                      </a:lnTo>
                      <a:lnTo>
                        <a:pt x="2071" y="510"/>
                      </a:lnTo>
                      <a:lnTo>
                        <a:pt x="2070" y="508"/>
                      </a:lnTo>
                      <a:lnTo>
                        <a:pt x="2070" y="505"/>
                      </a:lnTo>
                      <a:lnTo>
                        <a:pt x="2069" y="503"/>
                      </a:lnTo>
                      <a:lnTo>
                        <a:pt x="2069" y="502"/>
                      </a:lnTo>
                      <a:lnTo>
                        <a:pt x="2068" y="499"/>
                      </a:lnTo>
                      <a:lnTo>
                        <a:pt x="2067" y="496"/>
                      </a:lnTo>
                      <a:lnTo>
                        <a:pt x="2067" y="494"/>
                      </a:lnTo>
                      <a:lnTo>
                        <a:pt x="2067" y="491"/>
                      </a:lnTo>
                      <a:lnTo>
                        <a:pt x="2067" y="484"/>
                      </a:lnTo>
                      <a:lnTo>
                        <a:pt x="2066" y="482"/>
                      </a:lnTo>
                      <a:lnTo>
                        <a:pt x="2065" y="479"/>
                      </a:lnTo>
                      <a:lnTo>
                        <a:pt x="2065" y="476"/>
                      </a:lnTo>
                      <a:lnTo>
                        <a:pt x="2065" y="473"/>
                      </a:lnTo>
                      <a:lnTo>
                        <a:pt x="2065" y="465"/>
                      </a:lnTo>
                      <a:lnTo>
                        <a:pt x="2066" y="458"/>
                      </a:lnTo>
                      <a:lnTo>
                        <a:pt x="2069" y="451"/>
                      </a:lnTo>
                      <a:lnTo>
                        <a:pt x="2070" y="449"/>
                      </a:lnTo>
                      <a:lnTo>
                        <a:pt x="2071" y="448"/>
                      </a:lnTo>
                      <a:lnTo>
                        <a:pt x="2073" y="448"/>
                      </a:lnTo>
                      <a:lnTo>
                        <a:pt x="2075" y="449"/>
                      </a:lnTo>
                      <a:lnTo>
                        <a:pt x="2076" y="449"/>
                      </a:lnTo>
                      <a:lnTo>
                        <a:pt x="2077" y="447"/>
                      </a:lnTo>
                      <a:lnTo>
                        <a:pt x="2078" y="444"/>
                      </a:lnTo>
                      <a:lnTo>
                        <a:pt x="2080" y="442"/>
                      </a:lnTo>
                      <a:lnTo>
                        <a:pt x="2081" y="442"/>
                      </a:lnTo>
                      <a:lnTo>
                        <a:pt x="2081" y="442"/>
                      </a:lnTo>
                      <a:lnTo>
                        <a:pt x="2082" y="444"/>
                      </a:lnTo>
                      <a:lnTo>
                        <a:pt x="2082" y="447"/>
                      </a:lnTo>
                      <a:lnTo>
                        <a:pt x="2082" y="449"/>
                      </a:lnTo>
                      <a:lnTo>
                        <a:pt x="2082" y="451"/>
                      </a:lnTo>
                      <a:lnTo>
                        <a:pt x="2082" y="477"/>
                      </a:lnTo>
                      <a:lnTo>
                        <a:pt x="2081" y="477"/>
                      </a:lnTo>
                      <a:lnTo>
                        <a:pt x="2081" y="479"/>
                      </a:lnTo>
                      <a:lnTo>
                        <a:pt x="2080" y="480"/>
                      </a:lnTo>
                      <a:lnTo>
                        <a:pt x="2080" y="482"/>
                      </a:lnTo>
                      <a:lnTo>
                        <a:pt x="2080" y="497"/>
                      </a:lnTo>
                      <a:lnTo>
                        <a:pt x="2080" y="501"/>
                      </a:lnTo>
                      <a:lnTo>
                        <a:pt x="2079" y="504"/>
                      </a:lnTo>
                      <a:lnTo>
                        <a:pt x="2079" y="507"/>
                      </a:lnTo>
                      <a:lnTo>
                        <a:pt x="2080" y="509"/>
                      </a:lnTo>
                      <a:lnTo>
                        <a:pt x="2080" y="514"/>
                      </a:lnTo>
                      <a:lnTo>
                        <a:pt x="2081" y="518"/>
                      </a:lnTo>
                      <a:lnTo>
                        <a:pt x="2082" y="523"/>
                      </a:lnTo>
                      <a:lnTo>
                        <a:pt x="2084" y="527"/>
                      </a:lnTo>
                      <a:lnTo>
                        <a:pt x="2085" y="530"/>
                      </a:lnTo>
                      <a:lnTo>
                        <a:pt x="2086" y="534"/>
                      </a:lnTo>
                      <a:lnTo>
                        <a:pt x="2087" y="535"/>
                      </a:lnTo>
                      <a:lnTo>
                        <a:pt x="2089" y="536"/>
                      </a:lnTo>
                      <a:lnTo>
                        <a:pt x="2091" y="534"/>
                      </a:lnTo>
                      <a:lnTo>
                        <a:pt x="2092" y="532"/>
                      </a:lnTo>
                      <a:lnTo>
                        <a:pt x="2095" y="532"/>
                      </a:lnTo>
                      <a:lnTo>
                        <a:pt x="2096" y="531"/>
                      </a:lnTo>
                      <a:lnTo>
                        <a:pt x="2097" y="529"/>
                      </a:lnTo>
                      <a:lnTo>
                        <a:pt x="2098" y="527"/>
                      </a:lnTo>
                      <a:lnTo>
                        <a:pt x="2098" y="526"/>
                      </a:lnTo>
                      <a:lnTo>
                        <a:pt x="2099" y="525"/>
                      </a:lnTo>
                      <a:lnTo>
                        <a:pt x="2099" y="525"/>
                      </a:lnTo>
                      <a:lnTo>
                        <a:pt x="2101" y="524"/>
                      </a:lnTo>
                      <a:lnTo>
                        <a:pt x="2102" y="523"/>
                      </a:lnTo>
                      <a:lnTo>
                        <a:pt x="2102" y="521"/>
                      </a:lnTo>
                      <a:lnTo>
                        <a:pt x="2102" y="520"/>
                      </a:lnTo>
                      <a:lnTo>
                        <a:pt x="2103" y="519"/>
                      </a:lnTo>
                      <a:lnTo>
                        <a:pt x="2103" y="519"/>
                      </a:lnTo>
                      <a:lnTo>
                        <a:pt x="2104" y="519"/>
                      </a:lnTo>
                      <a:lnTo>
                        <a:pt x="2104" y="520"/>
                      </a:lnTo>
                      <a:lnTo>
                        <a:pt x="2104" y="523"/>
                      </a:lnTo>
                      <a:lnTo>
                        <a:pt x="2104" y="525"/>
                      </a:lnTo>
                      <a:lnTo>
                        <a:pt x="2107" y="527"/>
                      </a:lnTo>
                      <a:lnTo>
                        <a:pt x="2107" y="530"/>
                      </a:lnTo>
                      <a:lnTo>
                        <a:pt x="2107" y="532"/>
                      </a:lnTo>
                      <a:lnTo>
                        <a:pt x="2108" y="536"/>
                      </a:lnTo>
                      <a:lnTo>
                        <a:pt x="2109" y="538"/>
                      </a:lnTo>
                      <a:lnTo>
                        <a:pt x="2110" y="540"/>
                      </a:lnTo>
                      <a:lnTo>
                        <a:pt x="2111" y="541"/>
                      </a:lnTo>
                      <a:lnTo>
                        <a:pt x="2111" y="541"/>
                      </a:lnTo>
                      <a:lnTo>
                        <a:pt x="2111" y="540"/>
                      </a:lnTo>
                      <a:lnTo>
                        <a:pt x="2111" y="538"/>
                      </a:lnTo>
                      <a:lnTo>
                        <a:pt x="2112" y="537"/>
                      </a:lnTo>
                      <a:lnTo>
                        <a:pt x="2112" y="535"/>
                      </a:lnTo>
                      <a:lnTo>
                        <a:pt x="2112" y="532"/>
                      </a:lnTo>
                      <a:lnTo>
                        <a:pt x="2113" y="531"/>
                      </a:lnTo>
                      <a:lnTo>
                        <a:pt x="2114" y="532"/>
                      </a:lnTo>
                      <a:lnTo>
                        <a:pt x="2115" y="534"/>
                      </a:lnTo>
                      <a:lnTo>
                        <a:pt x="2117" y="534"/>
                      </a:lnTo>
                      <a:lnTo>
                        <a:pt x="2118" y="534"/>
                      </a:lnTo>
                      <a:lnTo>
                        <a:pt x="2120" y="531"/>
                      </a:lnTo>
                      <a:lnTo>
                        <a:pt x="2121" y="529"/>
                      </a:lnTo>
                      <a:lnTo>
                        <a:pt x="2121" y="528"/>
                      </a:lnTo>
                      <a:lnTo>
                        <a:pt x="2122" y="527"/>
                      </a:lnTo>
                      <a:lnTo>
                        <a:pt x="2123" y="526"/>
                      </a:lnTo>
                      <a:lnTo>
                        <a:pt x="2124" y="525"/>
                      </a:lnTo>
                      <a:lnTo>
                        <a:pt x="2125" y="523"/>
                      </a:lnTo>
                      <a:lnTo>
                        <a:pt x="2125" y="521"/>
                      </a:lnTo>
                      <a:lnTo>
                        <a:pt x="2126" y="520"/>
                      </a:lnTo>
                      <a:lnTo>
                        <a:pt x="2128" y="518"/>
                      </a:lnTo>
                      <a:lnTo>
                        <a:pt x="2129" y="516"/>
                      </a:lnTo>
                      <a:lnTo>
                        <a:pt x="2130" y="515"/>
                      </a:lnTo>
                      <a:lnTo>
                        <a:pt x="2132" y="513"/>
                      </a:lnTo>
                      <a:lnTo>
                        <a:pt x="2133" y="510"/>
                      </a:lnTo>
                      <a:lnTo>
                        <a:pt x="2135" y="509"/>
                      </a:lnTo>
                      <a:lnTo>
                        <a:pt x="2135" y="510"/>
                      </a:lnTo>
                      <a:lnTo>
                        <a:pt x="2136" y="510"/>
                      </a:lnTo>
                      <a:lnTo>
                        <a:pt x="2136" y="510"/>
                      </a:lnTo>
                      <a:lnTo>
                        <a:pt x="2137" y="512"/>
                      </a:lnTo>
                      <a:lnTo>
                        <a:pt x="2137" y="513"/>
                      </a:lnTo>
                      <a:lnTo>
                        <a:pt x="2139" y="514"/>
                      </a:lnTo>
                      <a:lnTo>
                        <a:pt x="2139" y="515"/>
                      </a:lnTo>
                      <a:lnTo>
                        <a:pt x="2140" y="516"/>
                      </a:lnTo>
                      <a:lnTo>
                        <a:pt x="2141" y="518"/>
                      </a:lnTo>
                      <a:lnTo>
                        <a:pt x="2141" y="519"/>
                      </a:lnTo>
                      <a:lnTo>
                        <a:pt x="2142" y="521"/>
                      </a:lnTo>
                      <a:lnTo>
                        <a:pt x="2143" y="523"/>
                      </a:lnTo>
                      <a:lnTo>
                        <a:pt x="2144" y="523"/>
                      </a:lnTo>
                      <a:lnTo>
                        <a:pt x="2145" y="523"/>
                      </a:lnTo>
                      <a:lnTo>
                        <a:pt x="2146" y="520"/>
                      </a:lnTo>
                      <a:lnTo>
                        <a:pt x="2146" y="519"/>
                      </a:lnTo>
                      <a:lnTo>
                        <a:pt x="2147" y="516"/>
                      </a:lnTo>
                      <a:lnTo>
                        <a:pt x="2147" y="514"/>
                      </a:lnTo>
                      <a:lnTo>
                        <a:pt x="2148" y="513"/>
                      </a:lnTo>
                      <a:lnTo>
                        <a:pt x="2151" y="512"/>
                      </a:lnTo>
                      <a:lnTo>
                        <a:pt x="2153" y="510"/>
                      </a:lnTo>
                      <a:lnTo>
                        <a:pt x="2154" y="507"/>
                      </a:lnTo>
                      <a:lnTo>
                        <a:pt x="2155" y="503"/>
                      </a:lnTo>
                      <a:lnTo>
                        <a:pt x="2155" y="498"/>
                      </a:lnTo>
                      <a:lnTo>
                        <a:pt x="2154" y="495"/>
                      </a:lnTo>
                      <a:lnTo>
                        <a:pt x="2154" y="492"/>
                      </a:lnTo>
                      <a:lnTo>
                        <a:pt x="2154" y="488"/>
                      </a:lnTo>
                      <a:lnTo>
                        <a:pt x="2154" y="485"/>
                      </a:lnTo>
                      <a:lnTo>
                        <a:pt x="2154" y="482"/>
                      </a:lnTo>
                      <a:lnTo>
                        <a:pt x="2154" y="469"/>
                      </a:lnTo>
                      <a:lnTo>
                        <a:pt x="2155" y="464"/>
                      </a:lnTo>
                      <a:lnTo>
                        <a:pt x="2156" y="460"/>
                      </a:lnTo>
                      <a:lnTo>
                        <a:pt x="2156" y="455"/>
                      </a:lnTo>
                      <a:lnTo>
                        <a:pt x="2156" y="452"/>
                      </a:lnTo>
                      <a:lnTo>
                        <a:pt x="2157" y="450"/>
                      </a:lnTo>
                      <a:lnTo>
                        <a:pt x="2157" y="449"/>
                      </a:lnTo>
                      <a:lnTo>
                        <a:pt x="2158" y="448"/>
                      </a:lnTo>
                      <a:lnTo>
                        <a:pt x="2158" y="447"/>
                      </a:lnTo>
                      <a:lnTo>
                        <a:pt x="2161" y="445"/>
                      </a:lnTo>
                      <a:lnTo>
                        <a:pt x="2162" y="445"/>
                      </a:lnTo>
                      <a:lnTo>
                        <a:pt x="2163" y="445"/>
                      </a:lnTo>
                      <a:lnTo>
                        <a:pt x="2164" y="448"/>
                      </a:lnTo>
                      <a:lnTo>
                        <a:pt x="2165" y="450"/>
                      </a:lnTo>
                      <a:lnTo>
                        <a:pt x="2166" y="452"/>
                      </a:lnTo>
                      <a:lnTo>
                        <a:pt x="2167" y="455"/>
                      </a:lnTo>
                      <a:lnTo>
                        <a:pt x="2168" y="458"/>
                      </a:lnTo>
                      <a:lnTo>
                        <a:pt x="2169" y="460"/>
                      </a:lnTo>
                      <a:lnTo>
                        <a:pt x="2170" y="461"/>
                      </a:lnTo>
                      <a:lnTo>
                        <a:pt x="2172" y="462"/>
                      </a:lnTo>
                      <a:lnTo>
                        <a:pt x="2173" y="462"/>
                      </a:lnTo>
                      <a:lnTo>
                        <a:pt x="2174" y="461"/>
                      </a:lnTo>
                      <a:lnTo>
                        <a:pt x="2174" y="459"/>
                      </a:lnTo>
                      <a:lnTo>
                        <a:pt x="2174" y="455"/>
                      </a:lnTo>
                      <a:lnTo>
                        <a:pt x="2175" y="449"/>
                      </a:lnTo>
                      <a:lnTo>
                        <a:pt x="2175" y="441"/>
                      </a:lnTo>
                      <a:lnTo>
                        <a:pt x="2174" y="433"/>
                      </a:lnTo>
                      <a:lnTo>
                        <a:pt x="2174" y="431"/>
                      </a:lnTo>
                      <a:lnTo>
                        <a:pt x="2173" y="431"/>
                      </a:lnTo>
                      <a:lnTo>
                        <a:pt x="2172" y="431"/>
                      </a:lnTo>
                      <a:lnTo>
                        <a:pt x="2172" y="432"/>
                      </a:lnTo>
                      <a:lnTo>
                        <a:pt x="2170" y="433"/>
                      </a:lnTo>
                      <a:lnTo>
                        <a:pt x="2169" y="433"/>
                      </a:lnTo>
                      <a:lnTo>
                        <a:pt x="2168" y="434"/>
                      </a:lnTo>
                      <a:lnTo>
                        <a:pt x="2165" y="434"/>
                      </a:lnTo>
                      <a:lnTo>
                        <a:pt x="2163" y="434"/>
                      </a:lnTo>
                      <a:lnTo>
                        <a:pt x="2161" y="433"/>
                      </a:lnTo>
                      <a:lnTo>
                        <a:pt x="2159" y="430"/>
                      </a:lnTo>
                      <a:lnTo>
                        <a:pt x="2158" y="428"/>
                      </a:lnTo>
                      <a:lnTo>
                        <a:pt x="2158" y="425"/>
                      </a:lnTo>
                      <a:lnTo>
                        <a:pt x="2159" y="421"/>
                      </a:lnTo>
                      <a:lnTo>
                        <a:pt x="2161" y="418"/>
                      </a:lnTo>
                      <a:lnTo>
                        <a:pt x="2161" y="416"/>
                      </a:lnTo>
                      <a:lnTo>
                        <a:pt x="2161" y="414"/>
                      </a:lnTo>
                      <a:lnTo>
                        <a:pt x="2161" y="410"/>
                      </a:lnTo>
                      <a:lnTo>
                        <a:pt x="2161" y="407"/>
                      </a:lnTo>
                      <a:lnTo>
                        <a:pt x="2162" y="405"/>
                      </a:lnTo>
                      <a:lnTo>
                        <a:pt x="2162" y="405"/>
                      </a:lnTo>
                      <a:lnTo>
                        <a:pt x="2163" y="405"/>
                      </a:lnTo>
                      <a:lnTo>
                        <a:pt x="2164" y="406"/>
                      </a:lnTo>
                      <a:lnTo>
                        <a:pt x="2165" y="407"/>
                      </a:lnTo>
                      <a:lnTo>
                        <a:pt x="2167" y="406"/>
                      </a:lnTo>
                      <a:lnTo>
                        <a:pt x="2169" y="405"/>
                      </a:lnTo>
                      <a:lnTo>
                        <a:pt x="2169" y="403"/>
                      </a:lnTo>
                      <a:lnTo>
                        <a:pt x="2170" y="400"/>
                      </a:lnTo>
                      <a:lnTo>
                        <a:pt x="2172" y="399"/>
                      </a:lnTo>
                      <a:lnTo>
                        <a:pt x="2173" y="398"/>
                      </a:lnTo>
                      <a:lnTo>
                        <a:pt x="2174" y="398"/>
                      </a:lnTo>
                      <a:lnTo>
                        <a:pt x="2176" y="398"/>
                      </a:lnTo>
                      <a:lnTo>
                        <a:pt x="2178" y="397"/>
                      </a:lnTo>
                      <a:lnTo>
                        <a:pt x="2180" y="396"/>
                      </a:lnTo>
                      <a:lnTo>
                        <a:pt x="2183" y="396"/>
                      </a:lnTo>
                      <a:lnTo>
                        <a:pt x="2185" y="397"/>
                      </a:lnTo>
                      <a:lnTo>
                        <a:pt x="2186" y="399"/>
                      </a:lnTo>
                      <a:lnTo>
                        <a:pt x="2187" y="400"/>
                      </a:lnTo>
                      <a:lnTo>
                        <a:pt x="2187" y="400"/>
                      </a:lnTo>
                      <a:lnTo>
                        <a:pt x="2189" y="401"/>
                      </a:lnTo>
                      <a:lnTo>
                        <a:pt x="2190" y="400"/>
                      </a:lnTo>
                      <a:lnTo>
                        <a:pt x="2191" y="399"/>
                      </a:lnTo>
                      <a:lnTo>
                        <a:pt x="2191" y="398"/>
                      </a:lnTo>
                      <a:lnTo>
                        <a:pt x="2193" y="397"/>
                      </a:lnTo>
                      <a:lnTo>
                        <a:pt x="2194" y="396"/>
                      </a:lnTo>
                      <a:lnTo>
                        <a:pt x="2195" y="395"/>
                      </a:lnTo>
                      <a:lnTo>
                        <a:pt x="2196" y="394"/>
                      </a:lnTo>
                      <a:lnTo>
                        <a:pt x="2198" y="392"/>
                      </a:lnTo>
                      <a:lnTo>
                        <a:pt x="2199" y="392"/>
                      </a:lnTo>
                      <a:lnTo>
                        <a:pt x="2200" y="393"/>
                      </a:lnTo>
                      <a:lnTo>
                        <a:pt x="2201" y="394"/>
                      </a:lnTo>
                      <a:lnTo>
                        <a:pt x="2202" y="394"/>
                      </a:lnTo>
                      <a:lnTo>
                        <a:pt x="2204" y="394"/>
                      </a:lnTo>
                      <a:lnTo>
                        <a:pt x="2204" y="394"/>
                      </a:lnTo>
                      <a:lnTo>
                        <a:pt x="2205" y="393"/>
                      </a:lnTo>
                      <a:lnTo>
                        <a:pt x="2205" y="392"/>
                      </a:lnTo>
                      <a:lnTo>
                        <a:pt x="2205" y="389"/>
                      </a:lnTo>
                      <a:lnTo>
                        <a:pt x="2205" y="388"/>
                      </a:lnTo>
                      <a:lnTo>
                        <a:pt x="2204" y="387"/>
                      </a:lnTo>
                      <a:lnTo>
                        <a:pt x="2204" y="387"/>
                      </a:lnTo>
                      <a:lnTo>
                        <a:pt x="2202" y="387"/>
                      </a:lnTo>
                      <a:lnTo>
                        <a:pt x="2201" y="387"/>
                      </a:lnTo>
                      <a:lnTo>
                        <a:pt x="2201" y="386"/>
                      </a:lnTo>
                      <a:lnTo>
                        <a:pt x="2200" y="384"/>
                      </a:lnTo>
                      <a:lnTo>
                        <a:pt x="2199" y="383"/>
                      </a:lnTo>
                      <a:lnTo>
                        <a:pt x="2198" y="383"/>
                      </a:lnTo>
                      <a:lnTo>
                        <a:pt x="2197" y="381"/>
                      </a:lnTo>
                      <a:lnTo>
                        <a:pt x="2197" y="381"/>
                      </a:lnTo>
                      <a:lnTo>
                        <a:pt x="2197" y="381"/>
                      </a:lnTo>
                      <a:lnTo>
                        <a:pt x="2196" y="383"/>
                      </a:lnTo>
                      <a:lnTo>
                        <a:pt x="2196" y="385"/>
                      </a:lnTo>
                      <a:lnTo>
                        <a:pt x="2194" y="386"/>
                      </a:lnTo>
                      <a:lnTo>
                        <a:pt x="2193" y="387"/>
                      </a:lnTo>
                      <a:lnTo>
                        <a:pt x="2191" y="387"/>
                      </a:lnTo>
                      <a:lnTo>
                        <a:pt x="2190" y="387"/>
                      </a:lnTo>
                      <a:lnTo>
                        <a:pt x="2187" y="387"/>
                      </a:lnTo>
                      <a:lnTo>
                        <a:pt x="2185" y="386"/>
                      </a:lnTo>
                      <a:lnTo>
                        <a:pt x="2183" y="385"/>
                      </a:lnTo>
                      <a:lnTo>
                        <a:pt x="2180" y="386"/>
                      </a:lnTo>
                      <a:lnTo>
                        <a:pt x="2178" y="386"/>
                      </a:lnTo>
                      <a:lnTo>
                        <a:pt x="2176" y="387"/>
                      </a:lnTo>
                      <a:lnTo>
                        <a:pt x="2175" y="386"/>
                      </a:lnTo>
                      <a:lnTo>
                        <a:pt x="2175" y="384"/>
                      </a:lnTo>
                      <a:lnTo>
                        <a:pt x="2174" y="383"/>
                      </a:lnTo>
                      <a:lnTo>
                        <a:pt x="2173" y="382"/>
                      </a:lnTo>
                      <a:lnTo>
                        <a:pt x="2172" y="383"/>
                      </a:lnTo>
                      <a:lnTo>
                        <a:pt x="2170" y="383"/>
                      </a:lnTo>
                      <a:lnTo>
                        <a:pt x="2170" y="385"/>
                      </a:lnTo>
                      <a:lnTo>
                        <a:pt x="2169" y="386"/>
                      </a:lnTo>
                      <a:lnTo>
                        <a:pt x="2168" y="388"/>
                      </a:lnTo>
                      <a:lnTo>
                        <a:pt x="2167" y="389"/>
                      </a:lnTo>
                      <a:lnTo>
                        <a:pt x="2165" y="390"/>
                      </a:lnTo>
                      <a:lnTo>
                        <a:pt x="2163" y="392"/>
                      </a:lnTo>
                      <a:lnTo>
                        <a:pt x="2161" y="392"/>
                      </a:lnTo>
                      <a:lnTo>
                        <a:pt x="2161" y="394"/>
                      </a:lnTo>
                      <a:lnTo>
                        <a:pt x="2158" y="395"/>
                      </a:lnTo>
                      <a:lnTo>
                        <a:pt x="2156" y="396"/>
                      </a:lnTo>
                      <a:lnTo>
                        <a:pt x="2156" y="392"/>
                      </a:lnTo>
                      <a:lnTo>
                        <a:pt x="2157" y="392"/>
                      </a:lnTo>
                      <a:lnTo>
                        <a:pt x="2157" y="392"/>
                      </a:lnTo>
                      <a:lnTo>
                        <a:pt x="2158" y="390"/>
                      </a:lnTo>
                      <a:lnTo>
                        <a:pt x="2158" y="389"/>
                      </a:lnTo>
                      <a:lnTo>
                        <a:pt x="2161" y="389"/>
                      </a:lnTo>
                      <a:lnTo>
                        <a:pt x="2161" y="387"/>
                      </a:lnTo>
                      <a:lnTo>
                        <a:pt x="2161" y="386"/>
                      </a:lnTo>
                      <a:lnTo>
                        <a:pt x="2158" y="383"/>
                      </a:lnTo>
                      <a:lnTo>
                        <a:pt x="2158" y="379"/>
                      </a:lnTo>
                      <a:lnTo>
                        <a:pt x="2157" y="376"/>
                      </a:lnTo>
                      <a:lnTo>
                        <a:pt x="2155" y="374"/>
                      </a:lnTo>
                      <a:lnTo>
                        <a:pt x="2154" y="372"/>
                      </a:lnTo>
                      <a:lnTo>
                        <a:pt x="2152" y="370"/>
                      </a:lnTo>
                      <a:lnTo>
                        <a:pt x="2152" y="368"/>
                      </a:lnTo>
                      <a:lnTo>
                        <a:pt x="2152" y="367"/>
                      </a:lnTo>
                      <a:lnTo>
                        <a:pt x="2151" y="365"/>
                      </a:lnTo>
                      <a:lnTo>
                        <a:pt x="2150" y="364"/>
                      </a:lnTo>
                      <a:lnTo>
                        <a:pt x="2148" y="363"/>
                      </a:lnTo>
                      <a:lnTo>
                        <a:pt x="2147" y="361"/>
                      </a:lnTo>
                      <a:lnTo>
                        <a:pt x="2147" y="359"/>
                      </a:lnTo>
                      <a:lnTo>
                        <a:pt x="2146" y="355"/>
                      </a:lnTo>
                      <a:lnTo>
                        <a:pt x="2146" y="352"/>
                      </a:lnTo>
                      <a:lnTo>
                        <a:pt x="2146" y="350"/>
                      </a:lnTo>
                      <a:lnTo>
                        <a:pt x="2146" y="347"/>
                      </a:lnTo>
                      <a:lnTo>
                        <a:pt x="2147" y="345"/>
                      </a:lnTo>
                      <a:lnTo>
                        <a:pt x="2147" y="342"/>
                      </a:lnTo>
                      <a:lnTo>
                        <a:pt x="2148" y="339"/>
                      </a:lnTo>
                      <a:lnTo>
                        <a:pt x="2147" y="329"/>
                      </a:lnTo>
                      <a:lnTo>
                        <a:pt x="2146" y="319"/>
                      </a:lnTo>
                      <a:lnTo>
                        <a:pt x="2146" y="299"/>
                      </a:lnTo>
                      <a:lnTo>
                        <a:pt x="2152" y="292"/>
                      </a:lnTo>
                      <a:lnTo>
                        <a:pt x="2153" y="291"/>
                      </a:lnTo>
                      <a:lnTo>
                        <a:pt x="2154" y="288"/>
                      </a:lnTo>
                      <a:lnTo>
                        <a:pt x="2155" y="286"/>
                      </a:lnTo>
                      <a:lnTo>
                        <a:pt x="2155" y="283"/>
                      </a:lnTo>
                      <a:lnTo>
                        <a:pt x="2156" y="279"/>
                      </a:lnTo>
                      <a:lnTo>
                        <a:pt x="2157" y="275"/>
                      </a:lnTo>
                      <a:lnTo>
                        <a:pt x="2158" y="272"/>
                      </a:lnTo>
                      <a:lnTo>
                        <a:pt x="2158" y="267"/>
                      </a:lnTo>
                      <a:lnTo>
                        <a:pt x="2161" y="263"/>
                      </a:lnTo>
                      <a:lnTo>
                        <a:pt x="2161" y="259"/>
                      </a:lnTo>
                      <a:lnTo>
                        <a:pt x="2161" y="256"/>
                      </a:lnTo>
                      <a:lnTo>
                        <a:pt x="2161" y="254"/>
                      </a:lnTo>
                      <a:lnTo>
                        <a:pt x="2163" y="252"/>
                      </a:lnTo>
                      <a:lnTo>
                        <a:pt x="2165" y="250"/>
                      </a:lnTo>
                      <a:lnTo>
                        <a:pt x="2165" y="247"/>
                      </a:lnTo>
                      <a:lnTo>
                        <a:pt x="2166" y="239"/>
                      </a:lnTo>
                      <a:lnTo>
                        <a:pt x="2163" y="230"/>
                      </a:lnTo>
                      <a:lnTo>
                        <a:pt x="2158" y="223"/>
                      </a:lnTo>
                      <a:lnTo>
                        <a:pt x="2156" y="221"/>
                      </a:lnTo>
                      <a:lnTo>
                        <a:pt x="2154" y="219"/>
                      </a:lnTo>
                      <a:lnTo>
                        <a:pt x="2152" y="219"/>
                      </a:lnTo>
                      <a:lnTo>
                        <a:pt x="2151" y="218"/>
                      </a:lnTo>
                      <a:lnTo>
                        <a:pt x="2150" y="218"/>
                      </a:lnTo>
                      <a:lnTo>
                        <a:pt x="2147" y="218"/>
                      </a:lnTo>
                      <a:lnTo>
                        <a:pt x="2146" y="219"/>
                      </a:lnTo>
                      <a:lnTo>
                        <a:pt x="2144" y="218"/>
                      </a:lnTo>
                      <a:lnTo>
                        <a:pt x="2143" y="218"/>
                      </a:lnTo>
                      <a:lnTo>
                        <a:pt x="2143" y="219"/>
                      </a:lnTo>
                      <a:lnTo>
                        <a:pt x="2143" y="220"/>
                      </a:lnTo>
                      <a:lnTo>
                        <a:pt x="2143" y="221"/>
                      </a:lnTo>
                      <a:lnTo>
                        <a:pt x="2143" y="223"/>
                      </a:lnTo>
                      <a:lnTo>
                        <a:pt x="2144" y="225"/>
                      </a:lnTo>
                      <a:lnTo>
                        <a:pt x="2143" y="225"/>
                      </a:lnTo>
                      <a:lnTo>
                        <a:pt x="2143" y="226"/>
                      </a:lnTo>
                      <a:lnTo>
                        <a:pt x="2142" y="226"/>
                      </a:lnTo>
                      <a:lnTo>
                        <a:pt x="2141" y="226"/>
                      </a:lnTo>
                      <a:lnTo>
                        <a:pt x="2140" y="227"/>
                      </a:lnTo>
                      <a:lnTo>
                        <a:pt x="2140" y="230"/>
                      </a:lnTo>
                      <a:lnTo>
                        <a:pt x="2139" y="239"/>
                      </a:lnTo>
                      <a:lnTo>
                        <a:pt x="2141" y="247"/>
                      </a:lnTo>
                      <a:lnTo>
                        <a:pt x="2142" y="258"/>
                      </a:lnTo>
                      <a:lnTo>
                        <a:pt x="2142" y="262"/>
                      </a:lnTo>
                      <a:lnTo>
                        <a:pt x="2142" y="265"/>
                      </a:lnTo>
                      <a:lnTo>
                        <a:pt x="2141" y="268"/>
                      </a:lnTo>
                      <a:lnTo>
                        <a:pt x="2140" y="270"/>
                      </a:lnTo>
                      <a:lnTo>
                        <a:pt x="2139" y="273"/>
                      </a:lnTo>
                      <a:lnTo>
                        <a:pt x="2137" y="275"/>
                      </a:lnTo>
                      <a:lnTo>
                        <a:pt x="2136" y="279"/>
                      </a:lnTo>
                      <a:lnTo>
                        <a:pt x="2135" y="284"/>
                      </a:lnTo>
                      <a:lnTo>
                        <a:pt x="2133" y="286"/>
                      </a:lnTo>
                      <a:lnTo>
                        <a:pt x="2131" y="289"/>
                      </a:lnTo>
                      <a:lnTo>
                        <a:pt x="2129" y="292"/>
                      </a:lnTo>
                      <a:lnTo>
                        <a:pt x="2126" y="295"/>
                      </a:lnTo>
                      <a:lnTo>
                        <a:pt x="2123" y="301"/>
                      </a:lnTo>
                      <a:lnTo>
                        <a:pt x="2121" y="308"/>
                      </a:lnTo>
                      <a:lnTo>
                        <a:pt x="2122" y="317"/>
                      </a:lnTo>
                      <a:lnTo>
                        <a:pt x="2122" y="321"/>
                      </a:lnTo>
                      <a:lnTo>
                        <a:pt x="2122" y="324"/>
                      </a:lnTo>
                      <a:lnTo>
                        <a:pt x="2123" y="328"/>
                      </a:lnTo>
                      <a:lnTo>
                        <a:pt x="2122" y="331"/>
                      </a:lnTo>
                      <a:lnTo>
                        <a:pt x="2122" y="334"/>
                      </a:lnTo>
                      <a:lnTo>
                        <a:pt x="2121" y="336"/>
                      </a:lnTo>
                      <a:lnTo>
                        <a:pt x="2121" y="339"/>
                      </a:lnTo>
                      <a:lnTo>
                        <a:pt x="2121" y="342"/>
                      </a:lnTo>
                      <a:lnTo>
                        <a:pt x="2122" y="345"/>
                      </a:lnTo>
                      <a:lnTo>
                        <a:pt x="2122" y="350"/>
                      </a:lnTo>
                      <a:lnTo>
                        <a:pt x="2122" y="354"/>
                      </a:lnTo>
                      <a:lnTo>
                        <a:pt x="2124" y="359"/>
                      </a:lnTo>
                      <a:lnTo>
                        <a:pt x="2124" y="361"/>
                      </a:lnTo>
                      <a:lnTo>
                        <a:pt x="2124" y="362"/>
                      </a:lnTo>
                      <a:lnTo>
                        <a:pt x="2125" y="364"/>
                      </a:lnTo>
                      <a:lnTo>
                        <a:pt x="2126" y="365"/>
                      </a:lnTo>
                      <a:lnTo>
                        <a:pt x="2129" y="367"/>
                      </a:lnTo>
                      <a:lnTo>
                        <a:pt x="2129" y="370"/>
                      </a:lnTo>
                      <a:lnTo>
                        <a:pt x="2129" y="372"/>
                      </a:lnTo>
                      <a:lnTo>
                        <a:pt x="2131" y="374"/>
                      </a:lnTo>
                      <a:lnTo>
                        <a:pt x="2131" y="374"/>
                      </a:lnTo>
                      <a:lnTo>
                        <a:pt x="2131" y="374"/>
                      </a:lnTo>
                      <a:lnTo>
                        <a:pt x="2131" y="375"/>
                      </a:lnTo>
                      <a:lnTo>
                        <a:pt x="2133" y="376"/>
                      </a:lnTo>
                      <a:lnTo>
                        <a:pt x="2134" y="378"/>
                      </a:lnTo>
                      <a:lnTo>
                        <a:pt x="2134" y="381"/>
                      </a:lnTo>
                      <a:lnTo>
                        <a:pt x="2134" y="384"/>
                      </a:lnTo>
                      <a:lnTo>
                        <a:pt x="2135" y="386"/>
                      </a:lnTo>
                      <a:lnTo>
                        <a:pt x="2135" y="389"/>
                      </a:lnTo>
                      <a:lnTo>
                        <a:pt x="2135" y="395"/>
                      </a:lnTo>
                      <a:lnTo>
                        <a:pt x="2134" y="401"/>
                      </a:lnTo>
                      <a:lnTo>
                        <a:pt x="2133" y="408"/>
                      </a:lnTo>
                      <a:lnTo>
                        <a:pt x="2131" y="411"/>
                      </a:lnTo>
                      <a:lnTo>
                        <a:pt x="2128" y="416"/>
                      </a:lnTo>
                      <a:lnTo>
                        <a:pt x="2124" y="422"/>
                      </a:lnTo>
                      <a:lnTo>
                        <a:pt x="2124" y="431"/>
                      </a:lnTo>
                      <a:lnTo>
                        <a:pt x="2124" y="433"/>
                      </a:lnTo>
                      <a:lnTo>
                        <a:pt x="2125" y="437"/>
                      </a:lnTo>
                      <a:lnTo>
                        <a:pt x="2124" y="440"/>
                      </a:lnTo>
                      <a:lnTo>
                        <a:pt x="2124" y="443"/>
                      </a:lnTo>
                      <a:lnTo>
                        <a:pt x="2124" y="447"/>
                      </a:lnTo>
                      <a:lnTo>
                        <a:pt x="2124" y="449"/>
                      </a:lnTo>
                      <a:lnTo>
                        <a:pt x="2125" y="451"/>
                      </a:lnTo>
                      <a:lnTo>
                        <a:pt x="2125" y="453"/>
                      </a:lnTo>
                      <a:lnTo>
                        <a:pt x="2126" y="455"/>
                      </a:lnTo>
                      <a:lnTo>
                        <a:pt x="2126" y="459"/>
                      </a:lnTo>
                      <a:lnTo>
                        <a:pt x="2126" y="462"/>
                      </a:lnTo>
                      <a:lnTo>
                        <a:pt x="2126" y="465"/>
                      </a:lnTo>
                      <a:lnTo>
                        <a:pt x="2126" y="469"/>
                      </a:lnTo>
                      <a:lnTo>
                        <a:pt x="2124" y="473"/>
                      </a:lnTo>
                      <a:lnTo>
                        <a:pt x="2123" y="477"/>
                      </a:lnTo>
                      <a:lnTo>
                        <a:pt x="2122" y="482"/>
                      </a:lnTo>
                      <a:lnTo>
                        <a:pt x="2121" y="484"/>
                      </a:lnTo>
                      <a:lnTo>
                        <a:pt x="2120" y="485"/>
                      </a:lnTo>
                      <a:lnTo>
                        <a:pt x="2119" y="485"/>
                      </a:lnTo>
                      <a:lnTo>
                        <a:pt x="2118" y="484"/>
                      </a:lnTo>
                      <a:lnTo>
                        <a:pt x="2117" y="483"/>
                      </a:lnTo>
                      <a:lnTo>
                        <a:pt x="2114" y="483"/>
                      </a:lnTo>
                      <a:lnTo>
                        <a:pt x="2113" y="483"/>
                      </a:lnTo>
                      <a:lnTo>
                        <a:pt x="2113" y="484"/>
                      </a:lnTo>
                      <a:lnTo>
                        <a:pt x="2111" y="487"/>
                      </a:lnTo>
                      <a:lnTo>
                        <a:pt x="2111" y="490"/>
                      </a:lnTo>
                      <a:lnTo>
                        <a:pt x="2110" y="493"/>
                      </a:lnTo>
                      <a:lnTo>
                        <a:pt x="2109" y="495"/>
                      </a:lnTo>
                      <a:lnTo>
                        <a:pt x="2107" y="495"/>
                      </a:lnTo>
                      <a:lnTo>
                        <a:pt x="2106" y="496"/>
                      </a:lnTo>
                      <a:lnTo>
                        <a:pt x="2103" y="496"/>
                      </a:lnTo>
                      <a:lnTo>
                        <a:pt x="2102" y="497"/>
                      </a:lnTo>
                      <a:lnTo>
                        <a:pt x="2101" y="499"/>
                      </a:lnTo>
                      <a:lnTo>
                        <a:pt x="2100" y="504"/>
                      </a:lnTo>
                      <a:lnTo>
                        <a:pt x="2099" y="507"/>
                      </a:lnTo>
                      <a:lnTo>
                        <a:pt x="2098" y="512"/>
                      </a:lnTo>
                      <a:lnTo>
                        <a:pt x="2096" y="514"/>
                      </a:lnTo>
                      <a:lnTo>
                        <a:pt x="2095" y="514"/>
                      </a:lnTo>
                      <a:lnTo>
                        <a:pt x="2092" y="514"/>
                      </a:lnTo>
                      <a:lnTo>
                        <a:pt x="2091" y="514"/>
                      </a:lnTo>
                      <a:lnTo>
                        <a:pt x="2089" y="514"/>
                      </a:lnTo>
                      <a:lnTo>
                        <a:pt x="2088" y="513"/>
                      </a:lnTo>
                      <a:lnTo>
                        <a:pt x="2087" y="512"/>
                      </a:lnTo>
                      <a:lnTo>
                        <a:pt x="2086" y="510"/>
                      </a:lnTo>
                      <a:lnTo>
                        <a:pt x="2086" y="508"/>
                      </a:lnTo>
                      <a:lnTo>
                        <a:pt x="2087" y="506"/>
                      </a:lnTo>
                      <a:lnTo>
                        <a:pt x="2087" y="504"/>
                      </a:lnTo>
                      <a:lnTo>
                        <a:pt x="2088" y="502"/>
                      </a:lnTo>
                      <a:lnTo>
                        <a:pt x="2088" y="499"/>
                      </a:lnTo>
                      <a:lnTo>
                        <a:pt x="2089" y="497"/>
                      </a:lnTo>
                      <a:lnTo>
                        <a:pt x="2089" y="486"/>
                      </a:lnTo>
                      <a:lnTo>
                        <a:pt x="2089" y="484"/>
                      </a:lnTo>
                      <a:lnTo>
                        <a:pt x="2089" y="483"/>
                      </a:lnTo>
                      <a:lnTo>
                        <a:pt x="2090" y="482"/>
                      </a:lnTo>
                      <a:lnTo>
                        <a:pt x="2090" y="482"/>
                      </a:lnTo>
                      <a:lnTo>
                        <a:pt x="2091" y="482"/>
                      </a:lnTo>
                      <a:lnTo>
                        <a:pt x="2092" y="482"/>
                      </a:lnTo>
                      <a:lnTo>
                        <a:pt x="2093" y="482"/>
                      </a:lnTo>
                      <a:lnTo>
                        <a:pt x="2095" y="481"/>
                      </a:lnTo>
                      <a:lnTo>
                        <a:pt x="2096" y="479"/>
                      </a:lnTo>
                      <a:lnTo>
                        <a:pt x="2097" y="476"/>
                      </a:lnTo>
                      <a:lnTo>
                        <a:pt x="2098" y="475"/>
                      </a:lnTo>
                      <a:lnTo>
                        <a:pt x="2098" y="470"/>
                      </a:lnTo>
                      <a:lnTo>
                        <a:pt x="2097" y="463"/>
                      </a:lnTo>
                      <a:lnTo>
                        <a:pt x="2096" y="455"/>
                      </a:lnTo>
                      <a:lnTo>
                        <a:pt x="2093" y="451"/>
                      </a:lnTo>
                      <a:lnTo>
                        <a:pt x="2092" y="449"/>
                      </a:lnTo>
                      <a:lnTo>
                        <a:pt x="2092" y="447"/>
                      </a:lnTo>
                      <a:lnTo>
                        <a:pt x="2090" y="443"/>
                      </a:lnTo>
                      <a:lnTo>
                        <a:pt x="2089" y="440"/>
                      </a:lnTo>
                      <a:lnTo>
                        <a:pt x="2089" y="436"/>
                      </a:lnTo>
                      <a:lnTo>
                        <a:pt x="2091" y="431"/>
                      </a:lnTo>
                      <a:lnTo>
                        <a:pt x="2093" y="429"/>
                      </a:lnTo>
                      <a:lnTo>
                        <a:pt x="2095" y="426"/>
                      </a:lnTo>
                      <a:lnTo>
                        <a:pt x="2097" y="422"/>
                      </a:lnTo>
                      <a:lnTo>
                        <a:pt x="2099" y="420"/>
                      </a:lnTo>
                      <a:lnTo>
                        <a:pt x="2100" y="417"/>
                      </a:lnTo>
                      <a:lnTo>
                        <a:pt x="2102" y="414"/>
                      </a:lnTo>
                      <a:lnTo>
                        <a:pt x="2102" y="411"/>
                      </a:lnTo>
                      <a:lnTo>
                        <a:pt x="2101" y="409"/>
                      </a:lnTo>
                      <a:lnTo>
                        <a:pt x="2100" y="407"/>
                      </a:lnTo>
                      <a:lnTo>
                        <a:pt x="2099" y="407"/>
                      </a:lnTo>
                      <a:lnTo>
                        <a:pt x="2098" y="408"/>
                      </a:lnTo>
                      <a:lnTo>
                        <a:pt x="2098" y="409"/>
                      </a:lnTo>
                      <a:lnTo>
                        <a:pt x="2098" y="411"/>
                      </a:lnTo>
                      <a:lnTo>
                        <a:pt x="2096" y="416"/>
                      </a:lnTo>
                      <a:lnTo>
                        <a:pt x="2095" y="419"/>
                      </a:lnTo>
                      <a:lnTo>
                        <a:pt x="2092" y="421"/>
                      </a:lnTo>
                      <a:lnTo>
                        <a:pt x="2091" y="425"/>
                      </a:lnTo>
                      <a:lnTo>
                        <a:pt x="2090" y="426"/>
                      </a:lnTo>
                      <a:lnTo>
                        <a:pt x="2089" y="426"/>
                      </a:lnTo>
                      <a:lnTo>
                        <a:pt x="2088" y="426"/>
                      </a:lnTo>
                      <a:lnTo>
                        <a:pt x="2087" y="425"/>
                      </a:lnTo>
                      <a:lnTo>
                        <a:pt x="2087" y="422"/>
                      </a:lnTo>
                      <a:lnTo>
                        <a:pt x="2087" y="420"/>
                      </a:lnTo>
                      <a:lnTo>
                        <a:pt x="2086" y="418"/>
                      </a:lnTo>
                      <a:lnTo>
                        <a:pt x="2085" y="415"/>
                      </a:lnTo>
                      <a:lnTo>
                        <a:pt x="2085" y="411"/>
                      </a:lnTo>
                      <a:lnTo>
                        <a:pt x="2085" y="405"/>
                      </a:lnTo>
                      <a:lnTo>
                        <a:pt x="2085" y="397"/>
                      </a:lnTo>
                      <a:lnTo>
                        <a:pt x="2084" y="390"/>
                      </a:lnTo>
                      <a:lnTo>
                        <a:pt x="2080" y="387"/>
                      </a:lnTo>
                      <a:lnTo>
                        <a:pt x="2079" y="387"/>
                      </a:lnTo>
                      <a:lnTo>
                        <a:pt x="2079" y="387"/>
                      </a:lnTo>
                      <a:lnTo>
                        <a:pt x="2079" y="389"/>
                      </a:lnTo>
                      <a:lnTo>
                        <a:pt x="2079" y="392"/>
                      </a:lnTo>
                      <a:lnTo>
                        <a:pt x="2080" y="394"/>
                      </a:lnTo>
                      <a:lnTo>
                        <a:pt x="2080" y="396"/>
                      </a:lnTo>
                      <a:lnTo>
                        <a:pt x="2080" y="398"/>
                      </a:lnTo>
                      <a:lnTo>
                        <a:pt x="2080" y="400"/>
                      </a:lnTo>
                      <a:lnTo>
                        <a:pt x="2079" y="401"/>
                      </a:lnTo>
                      <a:lnTo>
                        <a:pt x="2078" y="403"/>
                      </a:lnTo>
                      <a:lnTo>
                        <a:pt x="2077" y="404"/>
                      </a:lnTo>
                      <a:lnTo>
                        <a:pt x="2076" y="406"/>
                      </a:lnTo>
                      <a:lnTo>
                        <a:pt x="2075" y="408"/>
                      </a:lnTo>
                      <a:lnTo>
                        <a:pt x="2074" y="411"/>
                      </a:lnTo>
                      <a:lnTo>
                        <a:pt x="2073" y="416"/>
                      </a:lnTo>
                      <a:lnTo>
                        <a:pt x="2071" y="419"/>
                      </a:lnTo>
                      <a:lnTo>
                        <a:pt x="2069" y="422"/>
                      </a:lnTo>
                      <a:lnTo>
                        <a:pt x="2068" y="422"/>
                      </a:lnTo>
                      <a:lnTo>
                        <a:pt x="2067" y="422"/>
                      </a:lnTo>
                      <a:lnTo>
                        <a:pt x="2066" y="423"/>
                      </a:lnTo>
                      <a:lnTo>
                        <a:pt x="2065" y="425"/>
                      </a:lnTo>
                      <a:lnTo>
                        <a:pt x="2063" y="427"/>
                      </a:lnTo>
                      <a:lnTo>
                        <a:pt x="2060" y="428"/>
                      </a:lnTo>
                      <a:lnTo>
                        <a:pt x="2059" y="428"/>
                      </a:lnTo>
                      <a:lnTo>
                        <a:pt x="2057" y="428"/>
                      </a:lnTo>
                      <a:lnTo>
                        <a:pt x="2054" y="427"/>
                      </a:lnTo>
                      <a:lnTo>
                        <a:pt x="2052" y="425"/>
                      </a:lnTo>
                      <a:lnTo>
                        <a:pt x="2049" y="422"/>
                      </a:lnTo>
                      <a:lnTo>
                        <a:pt x="2047" y="422"/>
                      </a:lnTo>
                      <a:lnTo>
                        <a:pt x="2047" y="422"/>
                      </a:lnTo>
                      <a:lnTo>
                        <a:pt x="2046" y="421"/>
                      </a:lnTo>
                      <a:lnTo>
                        <a:pt x="2044" y="419"/>
                      </a:lnTo>
                      <a:lnTo>
                        <a:pt x="2043" y="418"/>
                      </a:lnTo>
                      <a:lnTo>
                        <a:pt x="2044" y="406"/>
                      </a:lnTo>
                      <a:lnTo>
                        <a:pt x="2045" y="396"/>
                      </a:lnTo>
                      <a:lnTo>
                        <a:pt x="2045" y="394"/>
                      </a:lnTo>
                      <a:lnTo>
                        <a:pt x="2044" y="392"/>
                      </a:lnTo>
                      <a:lnTo>
                        <a:pt x="2043" y="389"/>
                      </a:lnTo>
                      <a:lnTo>
                        <a:pt x="2042" y="387"/>
                      </a:lnTo>
                      <a:lnTo>
                        <a:pt x="2041" y="385"/>
                      </a:lnTo>
                      <a:lnTo>
                        <a:pt x="2041" y="382"/>
                      </a:lnTo>
                      <a:lnTo>
                        <a:pt x="2041" y="378"/>
                      </a:lnTo>
                      <a:lnTo>
                        <a:pt x="2041" y="375"/>
                      </a:lnTo>
                      <a:lnTo>
                        <a:pt x="2041" y="372"/>
                      </a:lnTo>
                      <a:lnTo>
                        <a:pt x="2039" y="368"/>
                      </a:lnTo>
                      <a:lnTo>
                        <a:pt x="2039" y="365"/>
                      </a:lnTo>
                      <a:lnTo>
                        <a:pt x="2038" y="363"/>
                      </a:lnTo>
                      <a:lnTo>
                        <a:pt x="2036" y="362"/>
                      </a:lnTo>
                      <a:lnTo>
                        <a:pt x="2035" y="362"/>
                      </a:lnTo>
                      <a:lnTo>
                        <a:pt x="2033" y="363"/>
                      </a:lnTo>
                      <a:lnTo>
                        <a:pt x="2032" y="363"/>
                      </a:lnTo>
                      <a:lnTo>
                        <a:pt x="2031" y="362"/>
                      </a:lnTo>
                      <a:lnTo>
                        <a:pt x="2028" y="361"/>
                      </a:lnTo>
                      <a:lnTo>
                        <a:pt x="2026" y="360"/>
                      </a:lnTo>
                      <a:lnTo>
                        <a:pt x="2025" y="357"/>
                      </a:lnTo>
                      <a:lnTo>
                        <a:pt x="2023" y="355"/>
                      </a:lnTo>
                      <a:lnTo>
                        <a:pt x="2023" y="352"/>
                      </a:lnTo>
                      <a:lnTo>
                        <a:pt x="2025" y="353"/>
                      </a:lnTo>
                      <a:lnTo>
                        <a:pt x="2027" y="354"/>
                      </a:lnTo>
                      <a:lnTo>
                        <a:pt x="2030" y="355"/>
                      </a:lnTo>
                      <a:lnTo>
                        <a:pt x="2032" y="355"/>
                      </a:lnTo>
                      <a:lnTo>
                        <a:pt x="2034" y="355"/>
                      </a:lnTo>
                      <a:lnTo>
                        <a:pt x="2036" y="354"/>
                      </a:lnTo>
                      <a:lnTo>
                        <a:pt x="2036" y="353"/>
                      </a:lnTo>
                      <a:lnTo>
                        <a:pt x="2036" y="351"/>
                      </a:lnTo>
                      <a:lnTo>
                        <a:pt x="2036" y="347"/>
                      </a:lnTo>
                      <a:lnTo>
                        <a:pt x="2035" y="345"/>
                      </a:lnTo>
                      <a:lnTo>
                        <a:pt x="2035" y="342"/>
                      </a:lnTo>
                      <a:lnTo>
                        <a:pt x="2034" y="339"/>
                      </a:lnTo>
                      <a:lnTo>
                        <a:pt x="2034" y="336"/>
                      </a:lnTo>
                      <a:lnTo>
                        <a:pt x="2034" y="308"/>
                      </a:lnTo>
                      <a:lnTo>
                        <a:pt x="2034" y="307"/>
                      </a:lnTo>
                      <a:lnTo>
                        <a:pt x="2034" y="306"/>
                      </a:lnTo>
                      <a:lnTo>
                        <a:pt x="2034" y="306"/>
                      </a:lnTo>
                      <a:lnTo>
                        <a:pt x="2035" y="306"/>
                      </a:lnTo>
                      <a:lnTo>
                        <a:pt x="2036" y="306"/>
                      </a:lnTo>
                      <a:lnTo>
                        <a:pt x="2037" y="306"/>
                      </a:lnTo>
                      <a:lnTo>
                        <a:pt x="2038" y="305"/>
                      </a:lnTo>
                      <a:lnTo>
                        <a:pt x="2038" y="302"/>
                      </a:lnTo>
                      <a:lnTo>
                        <a:pt x="2039" y="301"/>
                      </a:lnTo>
                      <a:lnTo>
                        <a:pt x="2041" y="299"/>
                      </a:lnTo>
                      <a:lnTo>
                        <a:pt x="2042" y="295"/>
                      </a:lnTo>
                      <a:lnTo>
                        <a:pt x="2044" y="290"/>
                      </a:lnTo>
                      <a:lnTo>
                        <a:pt x="2046" y="286"/>
                      </a:lnTo>
                      <a:lnTo>
                        <a:pt x="2049" y="281"/>
                      </a:lnTo>
                      <a:lnTo>
                        <a:pt x="2052" y="281"/>
                      </a:lnTo>
                      <a:lnTo>
                        <a:pt x="2054" y="281"/>
                      </a:lnTo>
                      <a:lnTo>
                        <a:pt x="2056" y="279"/>
                      </a:lnTo>
                      <a:lnTo>
                        <a:pt x="2056" y="279"/>
                      </a:lnTo>
                      <a:lnTo>
                        <a:pt x="2056" y="277"/>
                      </a:lnTo>
                      <a:lnTo>
                        <a:pt x="2057" y="274"/>
                      </a:lnTo>
                      <a:lnTo>
                        <a:pt x="2058" y="272"/>
                      </a:lnTo>
                      <a:lnTo>
                        <a:pt x="2059" y="267"/>
                      </a:lnTo>
                      <a:lnTo>
                        <a:pt x="2060" y="264"/>
                      </a:lnTo>
                      <a:lnTo>
                        <a:pt x="2063" y="261"/>
                      </a:lnTo>
                      <a:lnTo>
                        <a:pt x="2065" y="256"/>
                      </a:lnTo>
                      <a:lnTo>
                        <a:pt x="2065" y="254"/>
                      </a:lnTo>
                      <a:lnTo>
                        <a:pt x="2065" y="252"/>
                      </a:lnTo>
                      <a:lnTo>
                        <a:pt x="2066" y="248"/>
                      </a:lnTo>
                      <a:lnTo>
                        <a:pt x="2067" y="247"/>
                      </a:lnTo>
                      <a:lnTo>
                        <a:pt x="2067" y="245"/>
                      </a:lnTo>
                      <a:lnTo>
                        <a:pt x="2068" y="243"/>
                      </a:lnTo>
                      <a:lnTo>
                        <a:pt x="2069" y="242"/>
                      </a:lnTo>
                      <a:lnTo>
                        <a:pt x="2070" y="242"/>
                      </a:lnTo>
                      <a:lnTo>
                        <a:pt x="2071" y="241"/>
                      </a:lnTo>
                      <a:lnTo>
                        <a:pt x="2073" y="235"/>
                      </a:lnTo>
                      <a:lnTo>
                        <a:pt x="2074" y="227"/>
                      </a:lnTo>
                      <a:lnTo>
                        <a:pt x="2076" y="221"/>
                      </a:lnTo>
                      <a:lnTo>
                        <a:pt x="2076" y="210"/>
                      </a:lnTo>
                      <a:lnTo>
                        <a:pt x="2076" y="207"/>
                      </a:lnTo>
                      <a:lnTo>
                        <a:pt x="2077" y="204"/>
                      </a:lnTo>
                      <a:lnTo>
                        <a:pt x="2078" y="202"/>
                      </a:lnTo>
                      <a:lnTo>
                        <a:pt x="2078" y="201"/>
                      </a:lnTo>
                      <a:lnTo>
                        <a:pt x="2079" y="199"/>
                      </a:lnTo>
                      <a:lnTo>
                        <a:pt x="2079" y="198"/>
                      </a:lnTo>
                      <a:lnTo>
                        <a:pt x="2078" y="196"/>
                      </a:lnTo>
                      <a:lnTo>
                        <a:pt x="2078" y="193"/>
                      </a:lnTo>
                      <a:lnTo>
                        <a:pt x="2078" y="192"/>
                      </a:lnTo>
                      <a:lnTo>
                        <a:pt x="2077" y="190"/>
                      </a:lnTo>
                      <a:lnTo>
                        <a:pt x="2077" y="188"/>
                      </a:lnTo>
                      <a:lnTo>
                        <a:pt x="2077" y="186"/>
                      </a:lnTo>
                      <a:lnTo>
                        <a:pt x="2078" y="185"/>
                      </a:lnTo>
                      <a:lnTo>
                        <a:pt x="2078" y="183"/>
                      </a:lnTo>
                      <a:lnTo>
                        <a:pt x="2078" y="177"/>
                      </a:lnTo>
                      <a:lnTo>
                        <a:pt x="2078" y="176"/>
                      </a:lnTo>
                      <a:lnTo>
                        <a:pt x="2079" y="176"/>
                      </a:lnTo>
                      <a:lnTo>
                        <a:pt x="2079" y="176"/>
                      </a:lnTo>
                      <a:lnTo>
                        <a:pt x="2080" y="176"/>
                      </a:lnTo>
                      <a:lnTo>
                        <a:pt x="2080" y="175"/>
                      </a:lnTo>
                      <a:lnTo>
                        <a:pt x="2080" y="166"/>
                      </a:lnTo>
                      <a:lnTo>
                        <a:pt x="2081" y="165"/>
                      </a:lnTo>
                      <a:lnTo>
                        <a:pt x="2082" y="164"/>
                      </a:lnTo>
                      <a:lnTo>
                        <a:pt x="2084" y="163"/>
                      </a:lnTo>
                      <a:lnTo>
                        <a:pt x="2085" y="161"/>
                      </a:lnTo>
                      <a:lnTo>
                        <a:pt x="2085" y="144"/>
                      </a:lnTo>
                      <a:lnTo>
                        <a:pt x="2084" y="142"/>
                      </a:lnTo>
                      <a:lnTo>
                        <a:pt x="2082" y="141"/>
                      </a:lnTo>
                      <a:lnTo>
                        <a:pt x="2082" y="139"/>
                      </a:lnTo>
                      <a:lnTo>
                        <a:pt x="2082" y="138"/>
                      </a:lnTo>
                      <a:lnTo>
                        <a:pt x="2082" y="137"/>
                      </a:lnTo>
                      <a:lnTo>
                        <a:pt x="2081" y="136"/>
                      </a:lnTo>
                      <a:lnTo>
                        <a:pt x="2081" y="134"/>
                      </a:lnTo>
                      <a:lnTo>
                        <a:pt x="2081" y="133"/>
                      </a:lnTo>
                      <a:lnTo>
                        <a:pt x="2082" y="131"/>
                      </a:lnTo>
                      <a:lnTo>
                        <a:pt x="2084" y="127"/>
                      </a:lnTo>
                      <a:lnTo>
                        <a:pt x="2084" y="124"/>
                      </a:lnTo>
                      <a:lnTo>
                        <a:pt x="2082" y="121"/>
                      </a:lnTo>
                      <a:lnTo>
                        <a:pt x="2082" y="117"/>
                      </a:lnTo>
                      <a:lnTo>
                        <a:pt x="2082" y="113"/>
                      </a:lnTo>
                      <a:lnTo>
                        <a:pt x="2084" y="114"/>
                      </a:lnTo>
                      <a:lnTo>
                        <a:pt x="2084" y="115"/>
                      </a:lnTo>
                      <a:lnTo>
                        <a:pt x="2085" y="115"/>
                      </a:lnTo>
                      <a:lnTo>
                        <a:pt x="2085" y="114"/>
                      </a:lnTo>
                      <a:lnTo>
                        <a:pt x="2085" y="111"/>
                      </a:lnTo>
                      <a:lnTo>
                        <a:pt x="2085" y="111"/>
                      </a:lnTo>
                      <a:lnTo>
                        <a:pt x="2085" y="111"/>
                      </a:lnTo>
                      <a:lnTo>
                        <a:pt x="2086" y="113"/>
                      </a:lnTo>
                      <a:lnTo>
                        <a:pt x="2086" y="114"/>
                      </a:lnTo>
                      <a:lnTo>
                        <a:pt x="2087" y="116"/>
                      </a:lnTo>
                      <a:lnTo>
                        <a:pt x="2087" y="117"/>
                      </a:lnTo>
                      <a:lnTo>
                        <a:pt x="2087" y="119"/>
                      </a:lnTo>
                      <a:lnTo>
                        <a:pt x="2088" y="120"/>
                      </a:lnTo>
                      <a:lnTo>
                        <a:pt x="2088" y="121"/>
                      </a:lnTo>
                      <a:lnTo>
                        <a:pt x="2089" y="121"/>
                      </a:lnTo>
                      <a:lnTo>
                        <a:pt x="2089" y="120"/>
                      </a:lnTo>
                      <a:lnTo>
                        <a:pt x="2089" y="113"/>
                      </a:lnTo>
                      <a:lnTo>
                        <a:pt x="2089" y="112"/>
                      </a:lnTo>
                      <a:lnTo>
                        <a:pt x="2090" y="112"/>
                      </a:lnTo>
                      <a:lnTo>
                        <a:pt x="2090" y="112"/>
                      </a:lnTo>
                      <a:lnTo>
                        <a:pt x="2091" y="113"/>
                      </a:lnTo>
                      <a:lnTo>
                        <a:pt x="2092" y="113"/>
                      </a:lnTo>
                      <a:lnTo>
                        <a:pt x="2093" y="114"/>
                      </a:lnTo>
                      <a:lnTo>
                        <a:pt x="2093" y="113"/>
                      </a:lnTo>
                      <a:lnTo>
                        <a:pt x="2093" y="112"/>
                      </a:lnTo>
                      <a:lnTo>
                        <a:pt x="2092" y="109"/>
                      </a:lnTo>
                      <a:lnTo>
                        <a:pt x="2092" y="105"/>
                      </a:lnTo>
                      <a:lnTo>
                        <a:pt x="2091" y="103"/>
                      </a:lnTo>
                      <a:lnTo>
                        <a:pt x="2091" y="101"/>
                      </a:lnTo>
                      <a:lnTo>
                        <a:pt x="2091" y="100"/>
                      </a:lnTo>
                      <a:lnTo>
                        <a:pt x="2092" y="101"/>
                      </a:lnTo>
                      <a:lnTo>
                        <a:pt x="2092" y="101"/>
                      </a:lnTo>
                      <a:lnTo>
                        <a:pt x="2093" y="102"/>
                      </a:lnTo>
                      <a:lnTo>
                        <a:pt x="2095" y="103"/>
                      </a:lnTo>
                      <a:lnTo>
                        <a:pt x="2095" y="103"/>
                      </a:lnTo>
                      <a:lnTo>
                        <a:pt x="2096" y="102"/>
                      </a:lnTo>
                      <a:lnTo>
                        <a:pt x="2096" y="100"/>
                      </a:lnTo>
                      <a:lnTo>
                        <a:pt x="2096" y="99"/>
                      </a:lnTo>
                      <a:lnTo>
                        <a:pt x="2095" y="96"/>
                      </a:lnTo>
                      <a:lnTo>
                        <a:pt x="2095" y="95"/>
                      </a:lnTo>
                      <a:lnTo>
                        <a:pt x="2095" y="93"/>
                      </a:lnTo>
                      <a:lnTo>
                        <a:pt x="2095" y="92"/>
                      </a:lnTo>
                      <a:lnTo>
                        <a:pt x="2095" y="91"/>
                      </a:lnTo>
                      <a:lnTo>
                        <a:pt x="2096" y="91"/>
                      </a:lnTo>
                      <a:lnTo>
                        <a:pt x="2097" y="92"/>
                      </a:lnTo>
                      <a:lnTo>
                        <a:pt x="2097" y="92"/>
                      </a:lnTo>
                      <a:lnTo>
                        <a:pt x="2098" y="93"/>
                      </a:lnTo>
                      <a:lnTo>
                        <a:pt x="2098" y="93"/>
                      </a:lnTo>
                      <a:lnTo>
                        <a:pt x="2098" y="91"/>
                      </a:lnTo>
                      <a:lnTo>
                        <a:pt x="2098" y="80"/>
                      </a:lnTo>
                      <a:lnTo>
                        <a:pt x="2097" y="78"/>
                      </a:lnTo>
                      <a:lnTo>
                        <a:pt x="2097" y="76"/>
                      </a:lnTo>
                      <a:lnTo>
                        <a:pt x="2096" y="73"/>
                      </a:lnTo>
                      <a:lnTo>
                        <a:pt x="2096" y="71"/>
                      </a:lnTo>
                      <a:lnTo>
                        <a:pt x="2096" y="71"/>
                      </a:lnTo>
                      <a:lnTo>
                        <a:pt x="2097" y="72"/>
                      </a:lnTo>
                      <a:lnTo>
                        <a:pt x="2098" y="73"/>
                      </a:lnTo>
                      <a:lnTo>
                        <a:pt x="2099" y="74"/>
                      </a:lnTo>
                      <a:lnTo>
                        <a:pt x="2099" y="77"/>
                      </a:lnTo>
                      <a:lnTo>
                        <a:pt x="2100" y="78"/>
                      </a:lnTo>
                      <a:lnTo>
                        <a:pt x="2101" y="80"/>
                      </a:lnTo>
                      <a:lnTo>
                        <a:pt x="2102" y="80"/>
                      </a:lnTo>
                      <a:lnTo>
                        <a:pt x="2102" y="80"/>
                      </a:lnTo>
                      <a:lnTo>
                        <a:pt x="2102" y="79"/>
                      </a:lnTo>
                      <a:lnTo>
                        <a:pt x="2102" y="78"/>
                      </a:lnTo>
                      <a:lnTo>
                        <a:pt x="2102" y="77"/>
                      </a:lnTo>
                      <a:lnTo>
                        <a:pt x="2102" y="74"/>
                      </a:lnTo>
                      <a:lnTo>
                        <a:pt x="2102" y="73"/>
                      </a:lnTo>
                      <a:lnTo>
                        <a:pt x="2103" y="73"/>
                      </a:lnTo>
                      <a:lnTo>
                        <a:pt x="2104" y="73"/>
                      </a:lnTo>
                      <a:lnTo>
                        <a:pt x="2106" y="74"/>
                      </a:lnTo>
                      <a:lnTo>
                        <a:pt x="2106" y="76"/>
                      </a:lnTo>
                      <a:lnTo>
                        <a:pt x="2107" y="76"/>
                      </a:lnTo>
                      <a:lnTo>
                        <a:pt x="2108" y="78"/>
                      </a:lnTo>
                      <a:lnTo>
                        <a:pt x="2108" y="78"/>
                      </a:lnTo>
                      <a:lnTo>
                        <a:pt x="2109" y="77"/>
                      </a:lnTo>
                      <a:lnTo>
                        <a:pt x="2109" y="76"/>
                      </a:lnTo>
                      <a:lnTo>
                        <a:pt x="2109" y="74"/>
                      </a:lnTo>
                      <a:lnTo>
                        <a:pt x="2109" y="72"/>
                      </a:lnTo>
                      <a:lnTo>
                        <a:pt x="2109" y="71"/>
                      </a:lnTo>
                      <a:lnTo>
                        <a:pt x="2110" y="70"/>
                      </a:lnTo>
                      <a:lnTo>
                        <a:pt x="2111" y="69"/>
                      </a:lnTo>
                      <a:lnTo>
                        <a:pt x="2111" y="70"/>
                      </a:lnTo>
                      <a:lnTo>
                        <a:pt x="2111" y="72"/>
                      </a:lnTo>
                      <a:lnTo>
                        <a:pt x="2112" y="73"/>
                      </a:lnTo>
                      <a:lnTo>
                        <a:pt x="2113" y="74"/>
                      </a:lnTo>
                      <a:lnTo>
                        <a:pt x="2114" y="76"/>
                      </a:lnTo>
                      <a:lnTo>
                        <a:pt x="2114" y="74"/>
                      </a:lnTo>
                      <a:lnTo>
                        <a:pt x="2115" y="73"/>
                      </a:lnTo>
                      <a:lnTo>
                        <a:pt x="2115" y="72"/>
                      </a:lnTo>
                      <a:lnTo>
                        <a:pt x="2115" y="71"/>
                      </a:lnTo>
                      <a:lnTo>
                        <a:pt x="2115" y="71"/>
                      </a:lnTo>
                      <a:lnTo>
                        <a:pt x="2117" y="71"/>
                      </a:lnTo>
                      <a:lnTo>
                        <a:pt x="2118" y="71"/>
                      </a:lnTo>
                      <a:lnTo>
                        <a:pt x="2119" y="73"/>
                      </a:lnTo>
                      <a:lnTo>
                        <a:pt x="2120" y="74"/>
                      </a:lnTo>
                      <a:lnTo>
                        <a:pt x="2121" y="76"/>
                      </a:lnTo>
                      <a:lnTo>
                        <a:pt x="2121" y="77"/>
                      </a:lnTo>
                      <a:lnTo>
                        <a:pt x="2122" y="76"/>
                      </a:lnTo>
                      <a:lnTo>
                        <a:pt x="2122" y="74"/>
                      </a:lnTo>
                      <a:lnTo>
                        <a:pt x="2123" y="73"/>
                      </a:lnTo>
                      <a:lnTo>
                        <a:pt x="2123" y="72"/>
                      </a:lnTo>
                      <a:lnTo>
                        <a:pt x="2123" y="72"/>
                      </a:lnTo>
                      <a:lnTo>
                        <a:pt x="2124" y="71"/>
                      </a:lnTo>
                      <a:lnTo>
                        <a:pt x="2125" y="71"/>
                      </a:lnTo>
                      <a:lnTo>
                        <a:pt x="2125" y="70"/>
                      </a:lnTo>
                      <a:lnTo>
                        <a:pt x="2126" y="68"/>
                      </a:lnTo>
                      <a:lnTo>
                        <a:pt x="2126" y="65"/>
                      </a:lnTo>
                      <a:lnTo>
                        <a:pt x="2125" y="63"/>
                      </a:lnTo>
                      <a:lnTo>
                        <a:pt x="2125" y="62"/>
                      </a:lnTo>
                      <a:lnTo>
                        <a:pt x="2125" y="62"/>
                      </a:lnTo>
                      <a:lnTo>
                        <a:pt x="2125" y="62"/>
                      </a:lnTo>
                      <a:lnTo>
                        <a:pt x="2126" y="62"/>
                      </a:lnTo>
                      <a:lnTo>
                        <a:pt x="2128" y="65"/>
                      </a:lnTo>
                      <a:lnTo>
                        <a:pt x="2129" y="66"/>
                      </a:lnTo>
                      <a:lnTo>
                        <a:pt x="2130" y="66"/>
                      </a:lnTo>
                      <a:lnTo>
                        <a:pt x="2130" y="65"/>
                      </a:lnTo>
                      <a:lnTo>
                        <a:pt x="2131" y="62"/>
                      </a:lnTo>
                      <a:lnTo>
                        <a:pt x="2131" y="59"/>
                      </a:lnTo>
                      <a:lnTo>
                        <a:pt x="2131" y="56"/>
                      </a:lnTo>
                      <a:lnTo>
                        <a:pt x="2131" y="54"/>
                      </a:lnTo>
                      <a:lnTo>
                        <a:pt x="2132" y="52"/>
                      </a:lnTo>
                      <a:lnTo>
                        <a:pt x="2132" y="51"/>
                      </a:lnTo>
                      <a:lnTo>
                        <a:pt x="2133" y="51"/>
                      </a:lnTo>
                      <a:lnTo>
                        <a:pt x="2134" y="52"/>
                      </a:lnTo>
                      <a:lnTo>
                        <a:pt x="2135" y="54"/>
                      </a:lnTo>
                      <a:lnTo>
                        <a:pt x="2135" y="56"/>
                      </a:lnTo>
                      <a:lnTo>
                        <a:pt x="2135" y="57"/>
                      </a:lnTo>
                      <a:lnTo>
                        <a:pt x="2136" y="58"/>
                      </a:lnTo>
                      <a:lnTo>
                        <a:pt x="2136" y="59"/>
                      </a:lnTo>
                      <a:lnTo>
                        <a:pt x="2137" y="58"/>
                      </a:lnTo>
                      <a:lnTo>
                        <a:pt x="2137" y="58"/>
                      </a:lnTo>
                      <a:lnTo>
                        <a:pt x="2137" y="57"/>
                      </a:lnTo>
                      <a:lnTo>
                        <a:pt x="2137" y="56"/>
                      </a:lnTo>
                      <a:lnTo>
                        <a:pt x="2137" y="55"/>
                      </a:lnTo>
                      <a:lnTo>
                        <a:pt x="2139" y="54"/>
                      </a:lnTo>
                      <a:lnTo>
                        <a:pt x="2140" y="54"/>
                      </a:lnTo>
                      <a:lnTo>
                        <a:pt x="2140" y="55"/>
                      </a:lnTo>
                      <a:lnTo>
                        <a:pt x="2141" y="55"/>
                      </a:lnTo>
                      <a:lnTo>
                        <a:pt x="2142" y="56"/>
                      </a:lnTo>
                      <a:lnTo>
                        <a:pt x="2143" y="57"/>
                      </a:lnTo>
                      <a:lnTo>
                        <a:pt x="2143" y="57"/>
                      </a:lnTo>
                      <a:lnTo>
                        <a:pt x="2144" y="56"/>
                      </a:lnTo>
                      <a:lnTo>
                        <a:pt x="2144" y="55"/>
                      </a:lnTo>
                      <a:lnTo>
                        <a:pt x="2144" y="55"/>
                      </a:lnTo>
                      <a:lnTo>
                        <a:pt x="2145" y="55"/>
                      </a:lnTo>
                      <a:lnTo>
                        <a:pt x="2145" y="56"/>
                      </a:lnTo>
                      <a:lnTo>
                        <a:pt x="2145" y="56"/>
                      </a:lnTo>
                      <a:lnTo>
                        <a:pt x="2146" y="56"/>
                      </a:lnTo>
                      <a:lnTo>
                        <a:pt x="2151" y="56"/>
                      </a:lnTo>
                      <a:lnTo>
                        <a:pt x="2151" y="56"/>
                      </a:lnTo>
                      <a:lnTo>
                        <a:pt x="2151" y="55"/>
                      </a:lnTo>
                      <a:lnTo>
                        <a:pt x="2151" y="54"/>
                      </a:lnTo>
                      <a:lnTo>
                        <a:pt x="2151" y="52"/>
                      </a:lnTo>
                      <a:lnTo>
                        <a:pt x="2151" y="51"/>
                      </a:lnTo>
                      <a:lnTo>
                        <a:pt x="2152" y="52"/>
                      </a:lnTo>
                      <a:lnTo>
                        <a:pt x="2153" y="55"/>
                      </a:lnTo>
                      <a:lnTo>
                        <a:pt x="2154" y="57"/>
                      </a:lnTo>
                      <a:lnTo>
                        <a:pt x="2154" y="58"/>
                      </a:lnTo>
                      <a:lnTo>
                        <a:pt x="2156" y="60"/>
                      </a:lnTo>
                      <a:lnTo>
                        <a:pt x="2157" y="60"/>
                      </a:lnTo>
                      <a:lnTo>
                        <a:pt x="2158" y="61"/>
                      </a:lnTo>
                      <a:lnTo>
                        <a:pt x="2158" y="62"/>
                      </a:lnTo>
                      <a:lnTo>
                        <a:pt x="2161" y="63"/>
                      </a:lnTo>
                      <a:lnTo>
                        <a:pt x="2161" y="65"/>
                      </a:lnTo>
                      <a:lnTo>
                        <a:pt x="2161" y="66"/>
                      </a:lnTo>
                      <a:lnTo>
                        <a:pt x="2161" y="67"/>
                      </a:lnTo>
                      <a:lnTo>
                        <a:pt x="2163" y="68"/>
                      </a:lnTo>
                      <a:lnTo>
                        <a:pt x="2164" y="68"/>
                      </a:lnTo>
                      <a:lnTo>
                        <a:pt x="2165" y="68"/>
                      </a:lnTo>
                      <a:lnTo>
                        <a:pt x="2165" y="69"/>
                      </a:lnTo>
                      <a:lnTo>
                        <a:pt x="2165" y="69"/>
                      </a:lnTo>
                      <a:lnTo>
                        <a:pt x="2167" y="72"/>
                      </a:lnTo>
                      <a:lnTo>
                        <a:pt x="2167" y="74"/>
                      </a:lnTo>
                      <a:lnTo>
                        <a:pt x="2168" y="76"/>
                      </a:lnTo>
                      <a:lnTo>
                        <a:pt x="2169" y="76"/>
                      </a:lnTo>
                      <a:lnTo>
                        <a:pt x="2172" y="78"/>
                      </a:lnTo>
                      <a:lnTo>
                        <a:pt x="2174" y="80"/>
                      </a:lnTo>
                      <a:lnTo>
                        <a:pt x="2174" y="82"/>
                      </a:lnTo>
                      <a:lnTo>
                        <a:pt x="2176" y="84"/>
                      </a:lnTo>
                      <a:lnTo>
                        <a:pt x="2177" y="85"/>
                      </a:lnTo>
                      <a:lnTo>
                        <a:pt x="2177" y="88"/>
                      </a:lnTo>
                      <a:lnTo>
                        <a:pt x="2177" y="89"/>
                      </a:lnTo>
                      <a:lnTo>
                        <a:pt x="2176" y="89"/>
                      </a:lnTo>
                      <a:lnTo>
                        <a:pt x="2176" y="90"/>
                      </a:lnTo>
                      <a:lnTo>
                        <a:pt x="2176" y="90"/>
                      </a:lnTo>
                      <a:lnTo>
                        <a:pt x="2175" y="90"/>
                      </a:lnTo>
                      <a:lnTo>
                        <a:pt x="2174" y="90"/>
                      </a:lnTo>
                      <a:lnTo>
                        <a:pt x="2172" y="91"/>
                      </a:lnTo>
                      <a:lnTo>
                        <a:pt x="2173" y="93"/>
                      </a:lnTo>
                      <a:lnTo>
                        <a:pt x="2173" y="95"/>
                      </a:lnTo>
                      <a:lnTo>
                        <a:pt x="2174" y="99"/>
                      </a:lnTo>
                      <a:lnTo>
                        <a:pt x="2174" y="102"/>
                      </a:lnTo>
                      <a:lnTo>
                        <a:pt x="2175" y="105"/>
                      </a:lnTo>
                      <a:lnTo>
                        <a:pt x="2176" y="106"/>
                      </a:lnTo>
                      <a:lnTo>
                        <a:pt x="2177" y="109"/>
                      </a:lnTo>
                      <a:lnTo>
                        <a:pt x="2178" y="110"/>
                      </a:lnTo>
                      <a:lnTo>
                        <a:pt x="2179" y="111"/>
                      </a:lnTo>
                      <a:lnTo>
                        <a:pt x="2180" y="112"/>
                      </a:lnTo>
                      <a:lnTo>
                        <a:pt x="2180" y="113"/>
                      </a:lnTo>
                      <a:lnTo>
                        <a:pt x="2183" y="115"/>
                      </a:lnTo>
                      <a:lnTo>
                        <a:pt x="2185" y="116"/>
                      </a:lnTo>
                      <a:lnTo>
                        <a:pt x="2187" y="117"/>
                      </a:lnTo>
                      <a:lnTo>
                        <a:pt x="2189" y="120"/>
                      </a:lnTo>
                      <a:lnTo>
                        <a:pt x="2190" y="122"/>
                      </a:lnTo>
                      <a:lnTo>
                        <a:pt x="2193" y="123"/>
                      </a:lnTo>
                      <a:lnTo>
                        <a:pt x="2194" y="124"/>
                      </a:lnTo>
                      <a:lnTo>
                        <a:pt x="2194" y="124"/>
                      </a:lnTo>
                      <a:lnTo>
                        <a:pt x="2194" y="125"/>
                      </a:lnTo>
                      <a:lnTo>
                        <a:pt x="2194" y="124"/>
                      </a:lnTo>
                      <a:lnTo>
                        <a:pt x="2194" y="124"/>
                      </a:lnTo>
                      <a:lnTo>
                        <a:pt x="2194" y="123"/>
                      </a:lnTo>
                      <a:lnTo>
                        <a:pt x="2193" y="122"/>
                      </a:lnTo>
                      <a:lnTo>
                        <a:pt x="2194" y="121"/>
                      </a:lnTo>
                      <a:lnTo>
                        <a:pt x="2194" y="120"/>
                      </a:lnTo>
                      <a:lnTo>
                        <a:pt x="2196" y="121"/>
                      </a:lnTo>
                      <a:lnTo>
                        <a:pt x="2196" y="122"/>
                      </a:lnTo>
                      <a:lnTo>
                        <a:pt x="2197" y="123"/>
                      </a:lnTo>
                      <a:lnTo>
                        <a:pt x="2198" y="124"/>
                      </a:lnTo>
                      <a:lnTo>
                        <a:pt x="2199" y="125"/>
                      </a:lnTo>
                      <a:lnTo>
                        <a:pt x="2199" y="126"/>
                      </a:lnTo>
                      <a:lnTo>
                        <a:pt x="2200" y="126"/>
                      </a:lnTo>
                      <a:lnTo>
                        <a:pt x="2200" y="126"/>
                      </a:lnTo>
                      <a:lnTo>
                        <a:pt x="2202" y="127"/>
                      </a:lnTo>
                      <a:lnTo>
                        <a:pt x="2205" y="128"/>
                      </a:lnTo>
                      <a:lnTo>
                        <a:pt x="2207" y="131"/>
                      </a:lnTo>
                      <a:lnTo>
                        <a:pt x="2209" y="131"/>
                      </a:lnTo>
                      <a:lnTo>
                        <a:pt x="2210" y="130"/>
                      </a:lnTo>
                      <a:lnTo>
                        <a:pt x="2212" y="130"/>
                      </a:lnTo>
                      <a:lnTo>
                        <a:pt x="2213" y="131"/>
                      </a:lnTo>
                      <a:lnTo>
                        <a:pt x="2213" y="132"/>
                      </a:lnTo>
                      <a:lnTo>
                        <a:pt x="2215" y="133"/>
                      </a:lnTo>
                      <a:lnTo>
                        <a:pt x="2216" y="134"/>
                      </a:lnTo>
                      <a:lnTo>
                        <a:pt x="2216" y="136"/>
                      </a:lnTo>
                      <a:lnTo>
                        <a:pt x="2216" y="137"/>
                      </a:lnTo>
                      <a:lnTo>
                        <a:pt x="2219" y="143"/>
                      </a:lnTo>
                      <a:lnTo>
                        <a:pt x="2221" y="147"/>
                      </a:lnTo>
                      <a:lnTo>
                        <a:pt x="2224" y="152"/>
                      </a:lnTo>
                      <a:lnTo>
                        <a:pt x="2227" y="155"/>
                      </a:lnTo>
                      <a:lnTo>
                        <a:pt x="2228" y="158"/>
                      </a:lnTo>
                      <a:lnTo>
                        <a:pt x="2229" y="160"/>
                      </a:lnTo>
                      <a:lnTo>
                        <a:pt x="2230" y="163"/>
                      </a:lnTo>
                      <a:lnTo>
                        <a:pt x="2231" y="166"/>
                      </a:lnTo>
                      <a:lnTo>
                        <a:pt x="2233" y="169"/>
                      </a:lnTo>
                      <a:lnTo>
                        <a:pt x="2235" y="172"/>
                      </a:lnTo>
                      <a:lnTo>
                        <a:pt x="2238" y="175"/>
                      </a:lnTo>
                      <a:lnTo>
                        <a:pt x="2243" y="183"/>
                      </a:lnTo>
                      <a:lnTo>
                        <a:pt x="2249" y="196"/>
                      </a:lnTo>
                      <a:lnTo>
                        <a:pt x="2252" y="208"/>
                      </a:lnTo>
                      <a:lnTo>
                        <a:pt x="2251" y="221"/>
                      </a:lnTo>
                      <a:lnTo>
                        <a:pt x="2251" y="223"/>
                      </a:lnTo>
                      <a:lnTo>
                        <a:pt x="2250" y="225"/>
                      </a:lnTo>
                      <a:lnTo>
                        <a:pt x="2249" y="227"/>
                      </a:lnTo>
                      <a:lnTo>
                        <a:pt x="2249" y="230"/>
                      </a:lnTo>
                      <a:lnTo>
                        <a:pt x="2248" y="231"/>
                      </a:lnTo>
                      <a:lnTo>
                        <a:pt x="2245" y="230"/>
                      </a:lnTo>
                      <a:lnTo>
                        <a:pt x="2244" y="230"/>
                      </a:lnTo>
                      <a:lnTo>
                        <a:pt x="2242" y="230"/>
                      </a:lnTo>
                      <a:lnTo>
                        <a:pt x="2241" y="230"/>
                      </a:lnTo>
                      <a:lnTo>
                        <a:pt x="2240" y="231"/>
                      </a:lnTo>
                      <a:lnTo>
                        <a:pt x="2240" y="232"/>
                      </a:lnTo>
                      <a:lnTo>
                        <a:pt x="2239" y="232"/>
                      </a:lnTo>
                      <a:lnTo>
                        <a:pt x="2238" y="232"/>
                      </a:lnTo>
                      <a:lnTo>
                        <a:pt x="2235" y="231"/>
                      </a:lnTo>
                      <a:lnTo>
                        <a:pt x="2233" y="230"/>
                      </a:lnTo>
                      <a:lnTo>
                        <a:pt x="2231" y="227"/>
                      </a:lnTo>
                      <a:lnTo>
                        <a:pt x="2228" y="225"/>
                      </a:lnTo>
                      <a:lnTo>
                        <a:pt x="2224" y="223"/>
                      </a:lnTo>
                      <a:lnTo>
                        <a:pt x="2222" y="221"/>
                      </a:lnTo>
                      <a:lnTo>
                        <a:pt x="2221" y="220"/>
                      </a:lnTo>
                      <a:lnTo>
                        <a:pt x="2219" y="218"/>
                      </a:lnTo>
                      <a:lnTo>
                        <a:pt x="2218" y="215"/>
                      </a:lnTo>
                      <a:lnTo>
                        <a:pt x="2216" y="212"/>
                      </a:lnTo>
                      <a:lnTo>
                        <a:pt x="2211" y="205"/>
                      </a:lnTo>
                      <a:lnTo>
                        <a:pt x="2207" y="201"/>
                      </a:lnTo>
                      <a:lnTo>
                        <a:pt x="2202" y="197"/>
                      </a:lnTo>
                      <a:lnTo>
                        <a:pt x="2201" y="196"/>
                      </a:lnTo>
                      <a:lnTo>
                        <a:pt x="2200" y="197"/>
                      </a:lnTo>
                      <a:lnTo>
                        <a:pt x="2200" y="197"/>
                      </a:lnTo>
                      <a:lnTo>
                        <a:pt x="2200" y="198"/>
                      </a:lnTo>
                      <a:lnTo>
                        <a:pt x="2200" y="200"/>
                      </a:lnTo>
                      <a:lnTo>
                        <a:pt x="2200" y="201"/>
                      </a:lnTo>
                      <a:lnTo>
                        <a:pt x="2202" y="203"/>
                      </a:lnTo>
                      <a:lnTo>
                        <a:pt x="2205" y="205"/>
                      </a:lnTo>
                      <a:lnTo>
                        <a:pt x="2205" y="208"/>
                      </a:lnTo>
                      <a:lnTo>
                        <a:pt x="2207" y="210"/>
                      </a:lnTo>
                      <a:lnTo>
                        <a:pt x="2207" y="212"/>
                      </a:lnTo>
                      <a:lnTo>
                        <a:pt x="2208" y="214"/>
                      </a:lnTo>
                      <a:lnTo>
                        <a:pt x="2209" y="216"/>
                      </a:lnTo>
                      <a:lnTo>
                        <a:pt x="2210" y="219"/>
                      </a:lnTo>
                      <a:lnTo>
                        <a:pt x="2211" y="220"/>
                      </a:lnTo>
                      <a:lnTo>
                        <a:pt x="2213" y="221"/>
                      </a:lnTo>
                      <a:lnTo>
                        <a:pt x="2216" y="225"/>
                      </a:lnTo>
                      <a:lnTo>
                        <a:pt x="2217" y="230"/>
                      </a:lnTo>
                      <a:lnTo>
                        <a:pt x="2218" y="234"/>
                      </a:lnTo>
                      <a:lnTo>
                        <a:pt x="2220" y="239"/>
                      </a:lnTo>
                      <a:lnTo>
                        <a:pt x="2220" y="243"/>
                      </a:lnTo>
                      <a:lnTo>
                        <a:pt x="2220" y="247"/>
                      </a:lnTo>
                      <a:lnTo>
                        <a:pt x="2223" y="263"/>
                      </a:lnTo>
                      <a:lnTo>
                        <a:pt x="2224" y="277"/>
                      </a:lnTo>
                      <a:lnTo>
                        <a:pt x="2226" y="279"/>
                      </a:lnTo>
                      <a:lnTo>
                        <a:pt x="2227" y="280"/>
                      </a:lnTo>
                      <a:lnTo>
                        <a:pt x="2228" y="281"/>
                      </a:lnTo>
                      <a:lnTo>
                        <a:pt x="2229" y="281"/>
                      </a:lnTo>
                      <a:lnTo>
                        <a:pt x="2229" y="281"/>
                      </a:lnTo>
                      <a:lnTo>
                        <a:pt x="2231" y="284"/>
                      </a:lnTo>
                      <a:lnTo>
                        <a:pt x="2233" y="286"/>
                      </a:lnTo>
                      <a:lnTo>
                        <a:pt x="2233" y="288"/>
                      </a:lnTo>
                      <a:lnTo>
                        <a:pt x="2235" y="291"/>
                      </a:lnTo>
                      <a:lnTo>
                        <a:pt x="2238" y="294"/>
                      </a:lnTo>
                      <a:lnTo>
                        <a:pt x="2239" y="296"/>
                      </a:lnTo>
                      <a:lnTo>
                        <a:pt x="2241" y="297"/>
                      </a:lnTo>
                      <a:lnTo>
                        <a:pt x="2242" y="298"/>
                      </a:lnTo>
                      <a:lnTo>
                        <a:pt x="2243" y="297"/>
                      </a:lnTo>
                      <a:lnTo>
                        <a:pt x="2244" y="295"/>
                      </a:lnTo>
                      <a:lnTo>
                        <a:pt x="2244" y="292"/>
                      </a:lnTo>
                      <a:lnTo>
                        <a:pt x="2244" y="288"/>
                      </a:lnTo>
                      <a:lnTo>
                        <a:pt x="2242" y="284"/>
                      </a:lnTo>
                      <a:lnTo>
                        <a:pt x="2242" y="283"/>
                      </a:lnTo>
                      <a:lnTo>
                        <a:pt x="2241" y="281"/>
                      </a:lnTo>
                      <a:lnTo>
                        <a:pt x="2240" y="281"/>
                      </a:lnTo>
                      <a:lnTo>
                        <a:pt x="2239" y="280"/>
                      </a:lnTo>
                      <a:lnTo>
                        <a:pt x="2238" y="279"/>
                      </a:lnTo>
                      <a:lnTo>
                        <a:pt x="2237" y="279"/>
                      </a:lnTo>
                      <a:lnTo>
                        <a:pt x="2237" y="278"/>
                      </a:lnTo>
                      <a:lnTo>
                        <a:pt x="2235" y="276"/>
                      </a:lnTo>
                      <a:lnTo>
                        <a:pt x="2234" y="274"/>
                      </a:lnTo>
                      <a:lnTo>
                        <a:pt x="2233" y="272"/>
                      </a:lnTo>
                      <a:lnTo>
                        <a:pt x="2233" y="269"/>
                      </a:lnTo>
                      <a:lnTo>
                        <a:pt x="2232" y="267"/>
                      </a:lnTo>
                      <a:lnTo>
                        <a:pt x="2231" y="265"/>
                      </a:lnTo>
                      <a:lnTo>
                        <a:pt x="2231" y="263"/>
                      </a:lnTo>
                      <a:lnTo>
                        <a:pt x="2232" y="259"/>
                      </a:lnTo>
                      <a:lnTo>
                        <a:pt x="2233" y="258"/>
                      </a:lnTo>
                      <a:lnTo>
                        <a:pt x="2234" y="257"/>
                      </a:lnTo>
                      <a:lnTo>
                        <a:pt x="2237" y="258"/>
                      </a:lnTo>
                      <a:lnTo>
                        <a:pt x="2239" y="259"/>
                      </a:lnTo>
                      <a:lnTo>
                        <a:pt x="2240" y="263"/>
                      </a:lnTo>
                      <a:lnTo>
                        <a:pt x="2241" y="267"/>
                      </a:lnTo>
                      <a:lnTo>
                        <a:pt x="2242" y="270"/>
                      </a:lnTo>
                      <a:lnTo>
                        <a:pt x="2243" y="272"/>
                      </a:lnTo>
                      <a:lnTo>
                        <a:pt x="2245" y="274"/>
                      </a:lnTo>
                      <a:lnTo>
                        <a:pt x="2246" y="275"/>
                      </a:lnTo>
                      <a:lnTo>
                        <a:pt x="2249" y="275"/>
                      </a:lnTo>
                      <a:lnTo>
                        <a:pt x="2250" y="276"/>
                      </a:lnTo>
                      <a:lnTo>
                        <a:pt x="2251" y="276"/>
                      </a:lnTo>
                      <a:lnTo>
                        <a:pt x="2253" y="277"/>
                      </a:lnTo>
                      <a:lnTo>
                        <a:pt x="2254" y="278"/>
                      </a:lnTo>
                      <a:lnTo>
                        <a:pt x="2255" y="279"/>
                      </a:lnTo>
                      <a:lnTo>
                        <a:pt x="2256" y="280"/>
                      </a:lnTo>
                      <a:lnTo>
                        <a:pt x="2257" y="281"/>
                      </a:lnTo>
                      <a:lnTo>
                        <a:pt x="2257" y="280"/>
                      </a:lnTo>
                      <a:lnTo>
                        <a:pt x="2257" y="279"/>
                      </a:lnTo>
                      <a:lnTo>
                        <a:pt x="2255" y="274"/>
                      </a:lnTo>
                      <a:lnTo>
                        <a:pt x="2254" y="269"/>
                      </a:lnTo>
                      <a:lnTo>
                        <a:pt x="2253" y="265"/>
                      </a:lnTo>
                      <a:lnTo>
                        <a:pt x="2252" y="261"/>
                      </a:lnTo>
                      <a:lnTo>
                        <a:pt x="2250" y="256"/>
                      </a:lnTo>
                      <a:lnTo>
                        <a:pt x="2249" y="253"/>
                      </a:lnTo>
                      <a:lnTo>
                        <a:pt x="2249" y="250"/>
                      </a:lnTo>
                      <a:lnTo>
                        <a:pt x="2249" y="247"/>
                      </a:lnTo>
                      <a:lnTo>
                        <a:pt x="2249" y="245"/>
                      </a:lnTo>
                      <a:lnTo>
                        <a:pt x="2250" y="245"/>
                      </a:lnTo>
                      <a:lnTo>
                        <a:pt x="2252" y="244"/>
                      </a:lnTo>
                      <a:lnTo>
                        <a:pt x="2253" y="243"/>
                      </a:lnTo>
                      <a:lnTo>
                        <a:pt x="2253" y="241"/>
                      </a:lnTo>
                      <a:lnTo>
                        <a:pt x="2254" y="239"/>
                      </a:lnTo>
                      <a:lnTo>
                        <a:pt x="2255" y="235"/>
                      </a:lnTo>
                      <a:lnTo>
                        <a:pt x="2255" y="234"/>
                      </a:lnTo>
                      <a:lnTo>
                        <a:pt x="2256" y="232"/>
                      </a:lnTo>
                      <a:lnTo>
                        <a:pt x="2257" y="229"/>
                      </a:lnTo>
                      <a:lnTo>
                        <a:pt x="2257" y="225"/>
                      </a:lnTo>
                      <a:lnTo>
                        <a:pt x="2257" y="224"/>
                      </a:lnTo>
                      <a:lnTo>
                        <a:pt x="2257" y="223"/>
                      </a:lnTo>
                      <a:lnTo>
                        <a:pt x="2257" y="222"/>
                      </a:lnTo>
                      <a:lnTo>
                        <a:pt x="2259" y="222"/>
                      </a:lnTo>
                      <a:lnTo>
                        <a:pt x="2260" y="223"/>
                      </a:lnTo>
                      <a:lnTo>
                        <a:pt x="2260" y="225"/>
                      </a:lnTo>
                      <a:lnTo>
                        <a:pt x="2261" y="227"/>
                      </a:lnTo>
                      <a:lnTo>
                        <a:pt x="2263" y="230"/>
                      </a:lnTo>
                      <a:lnTo>
                        <a:pt x="2264" y="232"/>
                      </a:lnTo>
                      <a:lnTo>
                        <a:pt x="2264" y="233"/>
                      </a:lnTo>
                      <a:lnTo>
                        <a:pt x="2265" y="234"/>
                      </a:lnTo>
                      <a:lnTo>
                        <a:pt x="2267" y="234"/>
                      </a:lnTo>
                      <a:lnTo>
                        <a:pt x="2268" y="236"/>
                      </a:lnTo>
                      <a:lnTo>
                        <a:pt x="2268" y="237"/>
                      </a:lnTo>
                      <a:lnTo>
                        <a:pt x="2270" y="237"/>
                      </a:lnTo>
                      <a:lnTo>
                        <a:pt x="2271" y="237"/>
                      </a:lnTo>
                      <a:lnTo>
                        <a:pt x="2271" y="236"/>
                      </a:lnTo>
                      <a:lnTo>
                        <a:pt x="2271" y="225"/>
                      </a:lnTo>
                      <a:lnTo>
                        <a:pt x="2271" y="221"/>
                      </a:lnTo>
                      <a:lnTo>
                        <a:pt x="2270" y="218"/>
                      </a:lnTo>
                      <a:lnTo>
                        <a:pt x="2267" y="213"/>
                      </a:lnTo>
                      <a:lnTo>
                        <a:pt x="2266" y="210"/>
                      </a:lnTo>
                      <a:lnTo>
                        <a:pt x="2266" y="208"/>
                      </a:lnTo>
                      <a:lnTo>
                        <a:pt x="2265" y="203"/>
                      </a:lnTo>
                      <a:lnTo>
                        <a:pt x="2264" y="199"/>
                      </a:lnTo>
                      <a:lnTo>
                        <a:pt x="2264" y="194"/>
                      </a:lnTo>
                      <a:lnTo>
                        <a:pt x="2264" y="188"/>
                      </a:lnTo>
                      <a:lnTo>
                        <a:pt x="2263" y="183"/>
                      </a:lnTo>
                      <a:lnTo>
                        <a:pt x="2262" y="179"/>
                      </a:lnTo>
                      <a:lnTo>
                        <a:pt x="2262" y="176"/>
                      </a:lnTo>
                      <a:lnTo>
                        <a:pt x="2262" y="174"/>
                      </a:lnTo>
                      <a:lnTo>
                        <a:pt x="2261" y="171"/>
                      </a:lnTo>
                      <a:lnTo>
                        <a:pt x="2260" y="168"/>
                      </a:lnTo>
                      <a:lnTo>
                        <a:pt x="2257" y="164"/>
                      </a:lnTo>
                      <a:lnTo>
                        <a:pt x="2260" y="166"/>
                      </a:lnTo>
                      <a:lnTo>
                        <a:pt x="2262" y="168"/>
                      </a:lnTo>
                      <a:lnTo>
                        <a:pt x="2264" y="169"/>
                      </a:lnTo>
                      <a:lnTo>
                        <a:pt x="2266" y="170"/>
                      </a:lnTo>
                      <a:lnTo>
                        <a:pt x="2267" y="171"/>
                      </a:lnTo>
                      <a:lnTo>
                        <a:pt x="2270" y="172"/>
                      </a:lnTo>
                      <a:lnTo>
                        <a:pt x="2271" y="174"/>
                      </a:lnTo>
                      <a:lnTo>
                        <a:pt x="2271" y="175"/>
                      </a:lnTo>
                      <a:lnTo>
                        <a:pt x="2273" y="179"/>
                      </a:lnTo>
                      <a:lnTo>
                        <a:pt x="2274" y="183"/>
                      </a:lnTo>
                      <a:lnTo>
                        <a:pt x="2275" y="188"/>
                      </a:lnTo>
                      <a:lnTo>
                        <a:pt x="2275" y="191"/>
                      </a:lnTo>
                      <a:lnTo>
                        <a:pt x="2275" y="192"/>
                      </a:lnTo>
                      <a:lnTo>
                        <a:pt x="2275" y="194"/>
                      </a:lnTo>
                      <a:lnTo>
                        <a:pt x="2274" y="194"/>
                      </a:lnTo>
                      <a:lnTo>
                        <a:pt x="2273" y="194"/>
                      </a:lnTo>
                      <a:lnTo>
                        <a:pt x="2273" y="196"/>
                      </a:lnTo>
                      <a:lnTo>
                        <a:pt x="2272" y="196"/>
                      </a:lnTo>
                      <a:lnTo>
                        <a:pt x="2271" y="197"/>
                      </a:lnTo>
                      <a:lnTo>
                        <a:pt x="2271" y="199"/>
                      </a:lnTo>
                      <a:lnTo>
                        <a:pt x="2272" y="205"/>
                      </a:lnTo>
                      <a:lnTo>
                        <a:pt x="2275" y="213"/>
                      </a:lnTo>
                      <a:lnTo>
                        <a:pt x="2277" y="219"/>
                      </a:lnTo>
                      <a:lnTo>
                        <a:pt x="2278" y="221"/>
                      </a:lnTo>
                      <a:lnTo>
                        <a:pt x="2279" y="223"/>
                      </a:lnTo>
                      <a:lnTo>
                        <a:pt x="2281" y="223"/>
                      </a:lnTo>
                      <a:lnTo>
                        <a:pt x="2283" y="223"/>
                      </a:lnTo>
                      <a:lnTo>
                        <a:pt x="2284" y="222"/>
                      </a:lnTo>
                      <a:lnTo>
                        <a:pt x="2285" y="220"/>
                      </a:lnTo>
                      <a:lnTo>
                        <a:pt x="2286" y="219"/>
                      </a:lnTo>
                      <a:lnTo>
                        <a:pt x="2287" y="215"/>
                      </a:lnTo>
                      <a:lnTo>
                        <a:pt x="2286" y="212"/>
                      </a:lnTo>
                      <a:lnTo>
                        <a:pt x="2286" y="209"/>
                      </a:lnTo>
                      <a:lnTo>
                        <a:pt x="2285" y="204"/>
                      </a:lnTo>
                      <a:lnTo>
                        <a:pt x="2286" y="201"/>
                      </a:lnTo>
                      <a:lnTo>
                        <a:pt x="2286" y="199"/>
                      </a:lnTo>
                      <a:lnTo>
                        <a:pt x="2287" y="197"/>
                      </a:lnTo>
                      <a:lnTo>
                        <a:pt x="2289" y="194"/>
                      </a:lnTo>
                      <a:lnTo>
                        <a:pt x="2292" y="193"/>
                      </a:lnTo>
                      <a:lnTo>
                        <a:pt x="2293" y="192"/>
                      </a:lnTo>
                      <a:lnTo>
                        <a:pt x="2294" y="189"/>
                      </a:lnTo>
                      <a:lnTo>
                        <a:pt x="2296" y="186"/>
                      </a:lnTo>
                      <a:lnTo>
                        <a:pt x="2298" y="185"/>
                      </a:lnTo>
                      <a:lnTo>
                        <a:pt x="2299" y="182"/>
                      </a:lnTo>
                      <a:lnTo>
                        <a:pt x="2302" y="181"/>
                      </a:lnTo>
                      <a:lnTo>
                        <a:pt x="2303" y="180"/>
                      </a:lnTo>
                      <a:lnTo>
                        <a:pt x="2305" y="179"/>
                      </a:lnTo>
                      <a:lnTo>
                        <a:pt x="2305" y="177"/>
                      </a:lnTo>
                      <a:lnTo>
                        <a:pt x="2306" y="175"/>
                      </a:lnTo>
                      <a:lnTo>
                        <a:pt x="2307" y="172"/>
                      </a:lnTo>
                      <a:lnTo>
                        <a:pt x="2308" y="170"/>
                      </a:lnTo>
                      <a:lnTo>
                        <a:pt x="2310" y="168"/>
                      </a:lnTo>
                      <a:lnTo>
                        <a:pt x="2311" y="169"/>
                      </a:lnTo>
                      <a:lnTo>
                        <a:pt x="2311" y="170"/>
                      </a:lnTo>
                      <a:lnTo>
                        <a:pt x="2313" y="172"/>
                      </a:lnTo>
                      <a:lnTo>
                        <a:pt x="2313" y="175"/>
                      </a:lnTo>
                      <a:lnTo>
                        <a:pt x="2313" y="177"/>
                      </a:lnTo>
                      <a:lnTo>
                        <a:pt x="2313" y="179"/>
                      </a:lnTo>
                      <a:lnTo>
                        <a:pt x="2313" y="181"/>
                      </a:lnTo>
                      <a:lnTo>
                        <a:pt x="2313" y="183"/>
                      </a:lnTo>
                      <a:lnTo>
                        <a:pt x="2314" y="186"/>
                      </a:lnTo>
                      <a:lnTo>
                        <a:pt x="2315" y="188"/>
                      </a:lnTo>
                      <a:lnTo>
                        <a:pt x="2315" y="189"/>
                      </a:lnTo>
                      <a:lnTo>
                        <a:pt x="2316" y="190"/>
                      </a:lnTo>
                      <a:lnTo>
                        <a:pt x="2317" y="191"/>
                      </a:lnTo>
                      <a:lnTo>
                        <a:pt x="2319" y="190"/>
                      </a:lnTo>
                      <a:lnTo>
                        <a:pt x="2319" y="183"/>
                      </a:lnTo>
                      <a:lnTo>
                        <a:pt x="2320" y="182"/>
                      </a:lnTo>
                      <a:lnTo>
                        <a:pt x="2321" y="182"/>
                      </a:lnTo>
                      <a:lnTo>
                        <a:pt x="2321" y="180"/>
                      </a:lnTo>
                      <a:lnTo>
                        <a:pt x="2321" y="179"/>
                      </a:lnTo>
                      <a:lnTo>
                        <a:pt x="2322" y="178"/>
                      </a:lnTo>
                      <a:lnTo>
                        <a:pt x="2324" y="179"/>
                      </a:lnTo>
                      <a:lnTo>
                        <a:pt x="2325" y="180"/>
                      </a:lnTo>
                      <a:lnTo>
                        <a:pt x="2327" y="181"/>
                      </a:lnTo>
                      <a:lnTo>
                        <a:pt x="2328" y="183"/>
                      </a:lnTo>
                      <a:lnTo>
                        <a:pt x="2328" y="183"/>
                      </a:lnTo>
                      <a:lnTo>
                        <a:pt x="2329" y="183"/>
                      </a:lnTo>
                      <a:lnTo>
                        <a:pt x="2329" y="182"/>
                      </a:lnTo>
                      <a:lnTo>
                        <a:pt x="2330" y="181"/>
                      </a:lnTo>
                      <a:lnTo>
                        <a:pt x="2331" y="180"/>
                      </a:lnTo>
                      <a:lnTo>
                        <a:pt x="2331" y="179"/>
                      </a:lnTo>
                      <a:lnTo>
                        <a:pt x="2332" y="177"/>
                      </a:lnTo>
                      <a:lnTo>
                        <a:pt x="2333" y="175"/>
                      </a:lnTo>
                      <a:lnTo>
                        <a:pt x="2335" y="172"/>
                      </a:lnTo>
                      <a:lnTo>
                        <a:pt x="2335" y="171"/>
                      </a:lnTo>
                      <a:lnTo>
                        <a:pt x="2336" y="171"/>
                      </a:lnTo>
                      <a:lnTo>
                        <a:pt x="2337" y="172"/>
                      </a:lnTo>
                      <a:lnTo>
                        <a:pt x="2338" y="176"/>
                      </a:lnTo>
                      <a:lnTo>
                        <a:pt x="2338" y="179"/>
                      </a:lnTo>
                      <a:lnTo>
                        <a:pt x="2338" y="182"/>
                      </a:lnTo>
                      <a:lnTo>
                        <a:pt x="2338" y="186"/>
                      </a:lnTo>
                      <a:lnTo>
                        <a:pt x="2339" y="190"/>
                      </a:lnTo>
                      <a:lnTo>
                        <a:pt x="2340" y="192"/>
                      </a:lnTo>
                      <a:lnTo>
                        <a:pt x="2341" y="193"/>
                      </a:lnTo>
                      <a:lnTo>
                        <a:pt x="2342" y="193"/>
                      </a:lnTo>
                      <a:lnTo>
                        <a:pt x="2342" y="192"/>
                      </a:lnTo>
                      <a:lnTo>
                        <a:pt x="2343" y="190"/>
                      </a:lnTo>
                      <a:lnTo>
                        <a:pt x="2343" y="188"/>
                      </a:lnTo>
                      <a:lnTo>
                        <a:pt x="2343" y="186"/>
                      </a:lnTo>
                      <a:lnTo>
                        <a:pt x="2343" y="183"/>
                      </a:lnTo>
                      <a:lnTo>
                        <a:pt x="2343" y="182"/>
                      </a:lnTo>
                      <a:lnTo>
                        <a:pt x="2344" y="181"/>
                      </a:lnTo>
                      <a:lnTo>
                        <a:pt x="2344" y="181"/>
                      </a:lnTo>
                      <a:lnTo>
                        <a:pt x="2346" y="180"/>
                      </a:lnTo>
                      <a:lnTo>
                        <a:pt x="2346" y="179"/>
                      </a:lnTo>
                      <a:lnTo>
                        <a:pt x="2346" y="177"/>
                      </a:lnTo>
                      <a:lnTo>
                        <a:pt x="2346" y="175"/>
                      </a:lnTo>
                      <a:lnTo>
                        <a:pt x="2344" y="171"/>
                      </a:lnTo>
                      <a:lnTo>
                        <a:pt x="2343" y="168"/>
                      </a:lnTo>
                      <a:lnTo>
                        <a:pt x="2342" y="166"/>
                      </a:lnTo>
                      <a:lnTo>
                        <a:pt x="2341" y="163"/>
                      </a:lnTo>
                      <a:lnTo>
                        <a:pt x="2341" y="159"/>
                      </a:lnTo>
                      <a:lnTo>
                        <a:pt x="2340" y="157"/>
                      </a:lnTo>
                      <a:lnTo>
                        <a:pt x="2340" y="156"/>
                      </a:lnTo>
                      <a:lnTo>
                        <a:pt x="2339" y="155"/>
                      </a:lnTo>
                      <a:lnTo>
                        <a:pt x="2338" y="154"/>
                      </a:lnTo>
                      <a:lnTo>
                        <a:pt x="2337" y="153"/>
                      </a:lnTo>
                      <a:lnTo>
                        <a:pt x="2337" y="153"/>
                      </a:lnTo>
                      <a:lnTo>
                        <a:pt x="2336" y="150"/>
                      </a:lnTo>
                      <a:lnTo>
                        <a:pt x="2335" y="149"/>
                      </a:lnTo>
                      <a:lnTo>
                        <a:pt x="2333" y="147"/>
                      </a:lnTo>
                      <a:lnTo>
                        <a:pt x="2332" y="146"/>
                      </a:lnTo>
                      <a:lnTo>
                        <a:pt x="2332" y="144"/>
                      </a:lnTo>
                      <a:lnTo>
                        <a:pt x="2331" y="142"/>
                      </a:lnTo>
                      <a:lnTo>
                        <a:pt x="2330" y="138"/>
                      </a:lnTo>
                      <a:lnTo>
                        <a:pt x="2330" y="136"/>
                      </a:lnTo>
                      <a:lnTo>
                        <a:pt x="2330" y="133"/>
                      </a:lnTo>
                      <a:lnTo>
                        <a:pt x="2329" y="132"/>
                      </a:lnTo>
                      <a:lnTo>
                        <a:pt x="2330" y="132"/>
                      </a:lnTo>
                      <a:lnTo>
                        <a:pt x="2330" y="132"/>
                      </a:lnTo>
                      <a:lnTo>
                        <a:pt x="2331" y="133"/>
                      </a:lnTo>
                      <a:lnTo>
                        <a:pt x="2332" y="135"/>
                      </a:lnTo>
                      <a:lnTo>
                        <a:pt x="2333" y="137"/>
                      </a:lnTo>
                      <a:lnTo>
                        <a:pt x="2335" y="138"/>
                      </a:lnTo>
                      <a:lnTo>
                        <a:pt x="2336" y="141"/>
                      </a:lnTo>
                      <a:lnTo>
                        <a:pt x="2337" y="142"/>
                      </a:lnTo>
                      <a:lnTo>
                        <a:pt x="2337" y="142"/>
                      </a:lnTo>
                      <a:lnTo>
                        <a:pt x="2337" y="144"/>
                      </a:lnTo>
                      <a:lnTo>
                        <a:pt x="2338" y="146"/>
                      </a:lnTo>
                      <a:lnTo>
                        <a:pt x="2339" y="148"/>
                      </a:lnTo>
                      <a:lnTo>
                        <a:pt x="2341" y="150"/>
                      </a:lnTo>
                      <a:lnTo>
                        <a:pt x="2341" y="152"/>
                      </a:lnTo>
                      <a:lnTo>
                        <a:pt x="2341" y="154"/>
                      </a:lnTo>
                      <a:lnTo>
                        <a:pt x="2342" y="155"/>
                      </a:lnTo>
                      <a:lnTo>
                        <a:pt x="2343" y="155"/>
                      </a:lnTo>
                      <a:lnTo>
                        <a:pt x="2346" y="155"/>
                      </a:lnTo>
                      <a:lnTo>
                        <a:pt x="2348" y="156"/>
                      </a:lnTo>
                      <a:lnTo>
                        <a:pt x="2351" y="157"/>
                      </a:lnTo>
                      <a:lnTo>
                        <a:pt x="2354" y="159"/>
                      </a:lnTo>
                      <a:lnTo>
                        <a:pt x="2359" y="164"/>
                      </a:lnTo>
                      <a:lnTo>
                        <a:pt x="2363" y="169"/>
                      </a:lnTo>
                      <a:lnTo>
                        <a:pt x="2368" y="175"/>
                      </a:lnTo>
                      <a:lnTo>
                        <a:pt x="2374" y="187"/>
                      </a:lnTo>
                      <a:lnTo>
                        <a:pt x="2381" y="197"/>
                      </a:lnTo>
                      <a:lnTo>
                        <a:pt x="2381" y="198"/>
                      </a:lnTo>
                      <a:lnTo>
                        <a:pt x="2382" y="200"/>
                      </a:lnTo>
                      <a:lnTo>
                        <a:pt x="2383" y="201"/>
                      </a:lnTo>
                      <a:lnTo>
                        <a:pt x="2384" y="202"/>
                      </a:lnTo>
                      <a:lnTo>
                        <a:pt x="2385" y="203"/>
                      </a:lnTo>
                      <a:lnTo>
                        <a:pt x="2386" y="203"/>
                      </a:lnTo>
                      <a:lnTo>
                        <a:pt x="2387" y="201"/>
                      </a:lnTo>
                      <a:lnTo>
                        <a:pt x="2387" y="197"/>
                      </a:lnTo>
                      <a:lnTo>
                        <a:pt x="2386" y="194"/>
                      </a:lnTo>
                      <a:lnTo>
                        <a:pt x="2386" y="191"/>
                      </a:lnTo>
                      <a:lnTo>
                        <a:pt x="2385" y="189"/>
                      </a:lnTo>
                      <a:lnTo>
                        <a:pt x="2383" y="188"/>
                      </a:lnTo>
                      <a:lnTo>
                        <a:pt x="2381" y="183"/>
                      </a:lnTo>
                      <a:lnTo>
                        <a:pt x="2380" y="179"/>
                      </a:lnTo>
                      <a:lnTo>
                        <a:pt x="2379" y="175"/>
                      </a:lnTo>
                      <a:lnTo>
                        <a:pt x="2377" y="171"/>
                      </a:lnTo>
                      <a:lnTo>
                        <a:pt x="2377" y="169"/>
                      </a:lnTo>
                      <a:lnTo>
                        <a:pt x="2376" y="168"/>
                      </a:lnTo>
                      <a:lnTo>
                        <a:pt x="2375" y="167"/>
                      </a:lnTo>
                      <a:lnTo>
                        <a:pt x="2374" y="167"/>
                      </a:lnTo>
                      <a:lnTo>
                        <a:pt x="2373" y="167"/>
                      </a:lnTo>
                      <a:lnTo>
                        <a:pt x="2372" y="166"/>
                      </a:lnTo>
                      <a:lnTo>
                        <a:pt x="2371" y="163"/>
                      </a:lnTo>
                      <a:lnTo>
                        <a:pt x="2370" y="160"/>
                      </a:lnTo>
                      <a:lnTo>
                        <a:pt x="2370" y="157"/>
                      </a:lnTo>
                      <a:lnTo>
                        <a:pt x="2370" y="156"/>
                      </a:lnTo>
                      <a:lnTo>
                        <a:pt x="2370" y="155"/>
                      </a:lnTo>
                      <a:lnTo>
                        <a:pt x="2371" y="154"/>
                      </a:lnTo>
                      <a:lnTo>
                        <a:pt x="2372" y="152"/>
                      </a:lnTo>
                      <a:lnTo>
                        <a:pt x="2372" y="150"/>
                      </a:lnTo>
                      <a:lnTo>
                        <a:pt x="2372" y="148"/>
                      </a:lnTo>
                      <a:lnTo>
                        <a:pt x="2372" y="146"/>
                      </a:lnTo>
                      <a:lnTo>
                        <a:pt x="2372" y="135"/>
                      </a:lnTo>
                      <a:lnTo>
                        <a:pt x="2371" y="133"/>
                      </a:lnTo>
                      <a:lnTo>
                        <a:pt x="2370" y="131"/>
                      </a:lnTo>
                      <a:lnTo>
                        <a:pt x="2369" y="128"/>
                      </a:lnTo>
                      <a:lnTo>
                        <a:pt x="2368" y="127"/>
                      </a:lnTo>
                      <a:lnTo>
                        <a:pt x="2366" y="127"/>
                      </a:lnTo>
                      <a:lnTo>
                        <a:pt x="2365" y="128"/>
                      </a:lnTo>
                      <a:lnTo>
                        <a:pt x="2365" y="117"/>
                      </a:lnTo>
                      <a:lnTo>
                        <a:pt x="2364" y="116"/>
                      </a:lnTo>
                      <a:lnTo>
                        <a:pt x="2364" y="114"/>
                      </a:lnTo>
                      <a:lnTo>
                        <a:pt x="2364" y="113"/>
                      </a:lnTo>
                      <a:lnTo>
                        <a:pt x="2364" y="112"/>
                      </a:lnTo>
                      <a:lnTo>
                        <a:pt x="2365" y="111"/>
                      </a:lnTo>
                      <a:lnTo>
                        <a:pt x="2366" y="111"/>
                      </a:lnTo>
                      <a:lnTo>
                        <a:pt x="2366" y="112"/>
                      </a:lnTo>
                      <a:lnTo>
                        <a:pt x="2368" y="112"/>
                      </a:lnTo>
                      <a:lnTo>
                        <a:pt x="2368" y="111"/>
                      </a:lnTo>
                      <a:lnTo>
                        <a:pt x="2369" y="109"/>
                      </a:lnTo>
                      <a:lnTo>
                        <a:pt x="2369" y="105"/>
                      </a:lnTo>
                      <a:lnTo>
                        <a:pt x="2370" y="104"/>
                      </a:lnTo>
                      <a:lnTo>
                        <a:pt x="2370" y="102"/>
                      </a:lnTo>
                      <a:lnTo>
                        <a:pt x="2370" y="93"/>
                      </a:lnTo>
                      <a:lnTo>
                        <a:pt x="2369" y="91"/>
                      </a:lnTo>
                      <a:lnTo>
                        <a:pt x="2369" y="89"/>
                      </a:lnTo>
                      <a:lnTo>
                        <a:pt x="2369" y="87"/>
                      </a:lnTo>
                      <a:lnTo>
                        <a:pt x="2369" y="84"/>
                      </a:lnTo>
                      <a:lnTo>
                        <a:pt x="2370" y="82"/>
                      </a:lnTo>
                      <a:lnTo>
                        <a:pt x="2370" y="69"/>
                      </a:lnTo>
                      <a:lnTo>
                        <a:pt x="2370" y="67"/>
                      </a:lnTo>
                      <a:lnTo>
                        <a:pt x="2370" y="65"/>
                      </a:lnTo>
                      <a:lnTo>
                        <a:pt x="2371" y="65"/>
                      </a:lnTo>
                      <a:lnTo>
                        <a:pt x="2371" y="65"/>
                      </a:lnTo>
                      <a:lnTo>
                        <a:pt x="2372" y="65"/>
                      </a:lnTo>
                      <a:lnTo>
                        <a:pt x="2373" y="66"/>
                      </a:lnTo>
                      <a:lnTo>
                        <a:pt x="2374" y="67"/>
                      </a:lnTo>
                      <a:lnTo>
                        <a:pt x="2375" y="68"/>
                      </a:lnTo>
                      <a:lnTo>
                        <a:pt x="2375" y="68"/>
                      </a:lnTo>
                      <a:lnTo>
                        <a:pt x="2376" y="68"/>
                      </a:lnTo>
                      <a:lnTo>
                        <a:pt x="2377" y="68"/>
                      </a:lnTo>
                      <a:lnTo>
                        <a:pt x="2379" y="67"/>
                      </a:lnTo>
                      <a:lnTo>
                        <a:pt x="2380" y="69"/>
                      </a:lnTo>
                      <a:lnTo>
                        <a:pt x="2381" y="70"/>
                      </a:lnTo>
                      <a:lnTo>
                        <a:pt x="2382" y="71"/>
                      </a:lnTo>
                      <a:lnTo>
                        <a:pt x="2383" y="71"/>
                      </a:lnTo>
                      <a:lnTo>
                        <a:pt x="2386" y="81"/>
                      </a:lnTo>
                      <a:lnTo>
                        <a:pt x="2390" y="91"/>
                      </a:lnTo>
                      <a:lnTo>
                        <a:pt x="2390" y="113"/>
                      </a:lnTo>
                      <a:lnTo>
                        <a:pt x="2388" y="116"/>
                      </a:lnTo>
                      <a:lnTo>
                        <a:pt x="2390" y="120"/>
                      </a:lnTo>
                      <a:lnTo>
                        <a:pt x="2391" y="122"/>
                      </a:lnTo>
                      <a:lnTo>
                        <a:pt x="2392" y="125"/>
                      </a:lnTo>
                      <a:lnTo>
                        <a:pt x="2393" y="127"/>
                      </a:lnTo>
                      <a:lnTo>
                        <a:pt x="2394" y="131"/>
                      </a:lnTo>
                      <a:lnTo>
                        <a:pt x="2395" y="133"/>
                      </a:lnTo>
                      <a:lnTo>
                        <a:pt x="2396" y="135"/>
                      </a:lnTo>
                      <a:lnTo>
                        <a:pt x="2397" y="137"/>
                      </a:lnTo>
                      <a:lnTo>
                        <a:pt x="2397" y="139"/>
                      </a:lnTo>
                      <a:lnTo>
                        <a:pt x="2397" y="142"/>
                      </a:lnTo>
                      <a:lnTo>
                        <a:pt x="2397" y="144"/>
                      </a:lnTo>
                      <a:lnTo>
                        <a:pt x="2397" y="146"/>
                      </a:lnTo>
                      <a:lnTo>
                        <a:pt x="2397" y="148"/>
                      </a:lnTo>
                      <a:lnTo>
                        <a:pt x="2397" y="150"/>
                      </a:lnTo>
                      <a:lnTo>
                        <a:pt x="2397" y="153"/>
                      </a:lnTo>
                      <a:lnTo>
                        <a:pt x="2399" y="166"/>
                      </a:lnTo>
                      <a:lnTo>
                        <a:pt x="2401" y="179"/>
                      </a:lnTo>
                      <a:lnTo>
                        <a:pt x="2402" y="189"/>
                      </a:lnTo>
                      <a:lnTo>
                        <a:pt x="2404" y="201"/>
                      </a:lnTo>
                      <a:lnTo>
                        <a:pt x="2405" y="203"/>
                      </a:lnTo>
                      <a:lnTo>
                        <a:pt x="2405" y="205"/>
                      </a:lnTo>
                      <a:lnTo>
                        <a:pt x="2406" y="209"/>
                      </a:lnTo>
                      <a:lnTo>
                        <a:pt x="2406" y="212"/>
                      </a:lnTo>
                      <a:lnTo>
                        <a:pt x="2408" y="215"/>
                      </a:lnTo>
                      <a:lnTo>
                        <a:pt x="2408" y="218"/>
                      </a:lnTo>
                      <a:lnTo>
                        <a:pt x="2408" y="221"/>
                      </a:lnTo>
                      <a:lnTo>
                        <a:pt x="2406" y="223"/>
                      </a:lnTo>
                      <a:lnTo>
                        <a:pt x="2407" y="226"/>
                      </a:lnTo>
                      <a:lnTo>
                        <a:pt x="2407" y="229"/>
                      </a:lnTo>
                      <a:lnTo>
                        <a:pt x="2408" y="232"/>
                      </a:lnTo>
                      <a:lnTo>
                        <a:pt x="2408" y="234"/>
                      </a:lnTo>
                      <a:lnTo>
                        <a:pt x="2408" y="236"/>
                      </a:lnTo>
                      <a:lnTo>
                        <a:pt x="2407" y="239"/>
                      </a:lnTo>
                      <a:lnTo>
                        <a:pt x="2406" y="241"/>
                      </a:lnTo>
                      <a:lnTo>
                        <a:pt x="2406" y="243"/>
                      </a:lnTo>
                      <a:lnTo>
                        <a:pt x="2405" y="246"/>
                      </a:lnTo>
                      <a:lnTo>
                        <a:pt x="2403" y="248"/>
                      </a:lnTo>
                      <a:lnTo>
                        <a:pt x="2402" y="251"/>
                      </a:lnTo>
                      <a:lnTo>
                        <a:pt x="2401" y="252"/>
                      </a:lnTo>
                      <a:lnTo>
                        <a:pt x="2399" y="252"/>
                      </a:lnTo>
                      <a:lnTo>
                        <a:pt x="2398" y="254"/>
                      </a:lnTo>
                      <a:lnTo>
                        <a:pt x="2398" y="256"/>
                      </a:lnTo>
                      <a:lnTo>
                        <a:pt x="2398" y="257"/>
                      </a:lnTo>
                      <a:lnTo>
                        <a:pt x="2399" y="259"/>
                      </a:lnTo>
                      <a:lnTo>
                        <a:pt x="2401" y="261"/>
                      </a:lnTo>
                      <a:lnTo>
                        <a:pt x="2401" y="261"/>
                      </a:lnTo>
                      <a:lnTo>
                        <a:pt x="2402" y="261"/>
                      </a:lnTo>
                      <a:lnTo>
                        <a:pt x="2403" y="262"/>
                      </a:lnTo>
                      <a:lnTo>
                        <a:pt x="2405" y="263"/>
                      </a:lnTo>
                      <a:lnTo>
                        <a:pt x="2406" y="264"/>
                      </a:lnTo>
                      <a:lnTo>
                        <a:pt x="2407" y="264"/>
                      </a:lnTo>
                      <a:lnTo>
                        <a:pt x="2408" y="264"/>
                      </a:lnTo>
                      <a:lnTo>
                        <a:pt x="2408" y="263"/>
                      </a:lnTo>
                      <a:lnTo>
                        <a:pt x="2408" y="261"/>
                      </a:lnTo>
                      <a:lnTo>
                        <a:pt x="2409" y="258"/>
                      </a:lnTo>
                      <a:lnTo>
                        <a:pt x="2410" y="256"/>
                      </a:lnTo>
                      <a:lnTo>
                        <a:pt x="2412" y="255"/>
                      </a:lnTo>
                      <a:lnTo>
                        <a:pt x="2413" y="254"/>
                      </a:lnTo>
                      <a:lnTo>
                        <a:pt x="2413" y="252"/>
                      </a:lnTo>
                      <a:lnTo>
                        <a:pt x="2414" y="245"/>
                      </a:lnTo>
                      <a:lnTo>
                        <a:pt x="2414" y="237"/>
                      </a:lnTo>
                      <a:lnTo>
                        <a:pt x="2415" y="232"/>
                      </a:lnTo>
                      <a:lnTo>
                        <a:pt x="2416" y="229"/>
                      </a:lnTo>
                      <a:lnTo>
                        <a:pt x="2416" y="225"/>
                      </a:lnTo>
                      <a:lnTo>
                        <a:pt x="2416" y="222"/>
                      </a:lnTo>
                      <a:lnTo>
                        <a:pt x="2415" y="218"/>
                      </a:lnTo>
                      <a:lnTo>
                        <a:pt x="2413" y="214"/>
                      </a:lnTo>
                      <a:lnTo>
                        <a:pt x="2413" y="211"/>
                      </a:lnTo>
                      <a:lnTo>
                        <a:pt x="2412" y="207"/>
                      </a:lnTo>
                      <a:lnTo>
                        <a:pt x="2412" y="203"/>
                      </a:lnTo>
                      <a:lnTo>
                        <a:pt x="2413" y="201"/>
                      </a:lnTo>
                      <a:lnTo>
                        <a:pt x="2414" y="198"/>
                      </a:lnTo>
                      <a:lnTo>
                        <a:pt x="2415" y="197"/>
                      </a:lnTo>
                      <a:lnTo>
                        <a:pt x="2416" y="197"/>
                      </a:lnTo>
                      <a:lnTo>
                        <a:pt x="2417" y="196"/>
                      </a:lnTo>
                      <a:lnTo>
                        <a:pt x="2418" y="196"/>
                      </a:lnTo>
                      <a:lnTo>
                        <a:pt x="2420" y="197"/>
                      </a:lnTo>
                      <a:lnTo>
                        <a:pt x="2422" y="199"/>
                      </a:lnTo>
                      <a:lnTo>
                        <a:pt x="2425" y="209"/>
                      </a:lnTo>
                      <a:lnTo>
                        <a:pt x="2426" y="221"/>
                      </a:lnTo>
                      <a:lnTo>
                        <a:pt x="2426" y="224"/>
                      </a:lnTo>
                      <a:lnTo>
                        <a:pt x="2427" y="229"/>
                      </a:lnTo>
                      <a:lnTo>
                        <a:pt x="2427" y="232"/>
                      </a:lnTo>
                      <a:lnTo>
                        <a:pt x="2428" y="236"/>
                      </a:lnTo>
                      <a:lnTo>
                        <a:pt x="2430" y="237"/>
                      </a:lnTo>
                      <a:lnTo>
                        <a:pt x="2433" y="239"/>
                      </a:lnTo>
                      <a:lnTo>
                        <a:pt x="2433" y="239"/>
                      </a:lnTo>
                      <a:lnTo>
                        <a:pt x="2434" y="237"/>
                      </a:lnTo>
                      <a:lnTo>
                        <a:pt x="2435" y="236"/>
                      </a:lnTo>
                      <a:lnTo>
                        <a:pt x="2435" y="235"/>
                      </a:lnTo>
                      <a:lnTo>
                        <a:pt x="2434" y="234"/>
                      </a:lnTo>
                      <a:lnTo>
                        <a:pt x="2433" y="234"/>
                      </a:lnTo>
                      <a:lnTo>
                        <a:pt x="2431" y="233"/>
                      </a:lnTo>
                      <a:lnTo>
                        <a:pt x="2431" y="232"/>
                      </a:lnTo>
                      <a:lnTo>
                        <a:pt x="2430" y="230"/>
                      </a:lnTo>
                      <a:lnTo>
                        <a:pt x="2429" y="226"/>
                      </a:lnTo>
                      <a:lnTo>
                        <a:pt x="2428" y="223"/>
                      </a:lnTo>
                      <a:lnTo>
                        <a:pt x="2428" y="221"/>
                      </a:lnTo>
                      <a:lnTo>
                        <a:pt x="2428" y="219"/>
                      </a:lnTo>
                      <a:lnTo>
                        <a:pt x="2429" y="219"/>
                      </a:lnTo>
                      <a:lnTo>
                        <a:pt x="2429" y="219"/>
                      </a:lnTo>
                      <a:lnTo>
                        <a:pt x="2430" y="219"/>
                      </a:lnTo>
                      <a:lnTo>
                        <a:pt x="2431" y="219"/>
                      </a:lnTo>
                      <a:lnTo>
                        <a:pt x="2433" y="219"/>
                      </a:lnTo>
                      <a:lnTo>
                        <a:pt x="2433" y="218"/>
                      </a:lnTo>
                      <a:lnTo>
                        <a:pt x="2433" y="216"/>
                      </a:lnTo>
                      <a:lnTo>
                        <a:pt x="2430" y="209"/>
                      </a:lnTo>
                      <a:lnTo>
                        <a:pt x="2428" y="202"/>
                      </a:lnTo>
                      <a:lnTo>
                        <a:pt x="2424" y="197"/>
                      </a:lnTo>
                      <a:lnTo>
                        <a:pt x="2423" y="194"/>
                      </a:lnTo>
                      <a:lnTo>
                        <a:pt x="2422" y="192"/>
                      </a:lnTo>
                      <a:lnTo>
                        <a:pt x="2420" y="190"/>
                      </a:lnTo>
                      <a:lnTo>
                        <a:pt x="2419" y="188"/>
                      </a:lnTo>
                      <a:lnTo>
                        <a:pt x="2417" y="187"/>
                      </a:lnTo>
                      <a:lnTo>
                        <a:pt x="2415" y="188"/>
                      </a:lnTo>
                      <a:lnTo>
                        <a:pt x="2415" y="188"/>
                      </a:lnTo>
                      <a:lnTo>
                        <a:pt x="2414" y="189"/>
                      </a:lnTo>
                      <a:lnTo>
                        <a:pt x="2413" y="190"/>
                      </a:lnTo>
                      <a:lnTo>
                        <a:pt x="2410" y="191"/>
                      </a:lnTo>
                      <a:lnTo>
                        <a:pt x="2409" y="191"/>
                      </a:lnTo>
                      <a:lnTo>
                        <a:pt x="2408" y="191"/>
                      </a:lnTo>
                      <a:lnTo>
                        <a:pt x="2406" y="190"/>
                      </a:lnTo>
                      <a:lnTo>
                        <a:pt x="2406" y="179"/>
                      </a:lnTo>
                      <a:lnTo>
                        <a:pt x="2405" y="175"/>
                      </a:lnTo>
                      <a:lnTo>
                        <a:pt x="2405" y="171"/>
                      </a:lnTo>
                      <a:lnTo>
                        <a:pt x="2404" y="168"/>
                      </a:lnTo>
                      <a:lnTo>
                        <a:pt x="2405" y="160"/>
                      </a:lnTo>
                      <a:lnTo>
                        <a:pt x="2405" y="154"/>
                      </a:lnTo>
                      <a:lnTo>
                        <a:pt x="2404" y="146"/>
                      </a:lnTo>
                      <a:lnTo>
                        <a:pt x="2399" y="133"/>
                      </a:lnTo>
                      <a:lnTo>
                        <a:pt x="2396" y="120"/>
                      </a:lnTo>
                      <a:lnTo>
                        <a:pt x="2395" y="113"/>
                      </a:lnTo>
                      <a:lnTo>
                        <a:pt x="2395" y="105"/>
                      </a:lnTo>
                      <a:lnTo>
                        <a:pt x="2396" y="100"/>
                      </a:lnTo>
                      <a:lnTo>
                        <a:pt x="2396" y="100"/>
                      </a:lnTo>
                      <a:lnTo>
                        <a:pt x="2397" y="101"/>
                      </a:lnTo>
                      <a:lnTo>
                        <a:pt x="2398" y="101"/>
                      </a:lnTo>
                      <a:lnTo>
                        <a:pt x="2399" y="101"/>
                      </a:lnTo>
                      <a:lnTo>
                        <a:pt x="2401" y="100"/>
                      </a:lnTo>
                      <a:lnTo>
                        <a:pt x="2402" y="98"/>
                      </a:lnTo>
                      <a:lnTo>
                        <a:pt x="2402" y="95"/>
                      </a:lnTo>
                      <a:lnTo>
                        <a:pt x="2402" y="93"/>
                      </a:lnTo>
                      <a:lnTo>
                        <a:pt x="2402" y="91"/>
                      </a:lnTo>
                      <a:lnTo>
                        <a:pt x="2402" y="88"/>
                      </a:lnTo>
                      <a:lnTo>
                        <a:pt x="2402" y="84"/>
                      </a:lnTo>
                      <a:lnTo>
                        <a:pt x="2401" y="82"/>
                      </a:lnTo>
                      <a:lnTo>
                        <a:pt x="2399" y="79"/>
                      </a:lnTo>
                      <a:lnTo>
                        <a:pt x="2397" y="76"/>
                      </a:lnTo>
                      <a:lnTo>
                        <a:pt x="2397" y="76"/>
                      </a:lnTo>
                      <a:lnTo>
                        <a:pt x="2396" y="74"/>
                      </a:lnTo>
                      <a:lnTo>
                        <a:pt x="2396" y="72"/>
                      </a:lnTo>
                      <a:lnTo>
                        <a:pt x="2396" y="71"/>
                      </a:lnTo>
                      <a:lnTo>
                        <a:pt x="2396" y="69"/>
                      </a:lnTo>
                      <a:lnTo>
                        <a:pt x="2396" y="69"/>
                      </a:lnTo>
                      <a:lnTo>
                        <a:pt x="2396" y="70"/>
                      </a:lnTo>
                      <a:lnTo>
                        <a:pt x="2397" y="71"/>
                      </a:lnTo>
                      <a:lnTo>
                        <a:pt x="2397" y="72"/>
                      </a:lnTo>
                      <a:lnTo>
                        <a:pt x="2397" y="73"/>
                      </a:lnTo>
                      <a:lnTo>
                        <a:pt x="2397" y="73"/>
                      </a:lnTo>
                      <a:lnTo>
                        <a:pt x="2399" y="77"/>
                      </a:lnTo>
                      <a:lnTo>
                        <a:pt x="2401" y="80"/>
                      </a:lnTo>
                      <a:lnTo>
                        <a:pt x="2402" y="82"/>
                      </a:lnTo>
                      <a:lnTo>
                        <a:pt x="2402" y="84"/>
                      </a:lnTo>
                      <a:lnTo>
                        <a:pt x="2403" y="89"/>
                      </a:lnTo>
                      <a:lnTo>
                        <a:pt x="2403" y="93"/>
                      </a:lnTo>
                      <a:lnTo>
                        <a:pt x="2404" y="98"/>
                      </a:lnTo>
                      <a:lnTo>
                        <a:pt x="2404" y="111"/>
                      </a:lnTo>
                      <a:lnTo>
                        <a:pt x="2405" y="115"/>
                      </a:lnTo>
                      <a:lnTo>
                        <a:pt x="2406" y="120"/>
                      </a:lnTo>
                      <a:lnTo>
                        <a:pt x="2406" y="124"/>
                      </a:lnTo>
                      <a:lnTo>
                        <a:pt x="2407" y="127"/>
                      </a:lnTo>
                      <a:lnTo>
                        <a:pt x="2409" y="130"/>
                      </a:lnTo>
                      <a:lnTo>
                        <a:pt x="2410" y="132"/>
                      </a:lnTo>
                      <a:lnTo>
                        <a:pt x="2412" y="133"/>
                      </a:lnTo>
                      <a:lnTo>
                        <a:pt x="2414" y="134"/>
                      </a:lnTo>
                      <a:lnTo>
                        <a:pt x="2415" y="135"/>
                      </a:lnTo>
                      <a:lnTo>
                        <a:pt x="2416" y="136"/>
                      </a:lnTo>
                      <a:lnTo>
                        <a:pt x="2417" y="137"/>
                      </a:lnTo>
                      <a:lnTo>
                        <a:pt x="2419" y="138"/>
                      </a:lnTo>
                      <a:lnTo>
                        <a:pt x="2420" y="139"/>
                      </a:lnTo>
                      <a:lnTo>
                        <a:pt x="2422" y="139"/>
                      </a:lnTo>
                      <a:lnTo>
                        <a:pt x="2423" y="139"/>
                      </a:lnTo>
                      <a:lnTo>
                        <a:pt x="2424" y="139"/>
                      </a:lnTo>
                      <a:lnTo>
                        <a:pt x="2423" y="137"/>
                      </a:lnTo>
                      <a:lnTo>
                        <a:pt x="2422" y="135"/>
                      </a:lnTo>
                      <a:lnTo>
                        <a:pt x="2420" y="132"/>
                      </a:lnTo>
                      <a:lnTo>
                        <a:pt x="2419" y="131"/>
                      </a:lnTo>
                      <a:lnTo>
                        <a:pt x="2418" y="130"/>
                      </a:lnTo>
                      <a:lnTo>
                        <a:pt x="2417" y="128"/>
                      </a:lnTo>
                      <a:lnTo>
                        <a:pt x="2415" y="126"/>
                      </a:lnTo>
                      <a:lnTo>
                        <a:pt x="2414" y="124"/>
                      </a:lnTo>
                      <a:lnTo>
                        <a:pt x="2412" y="121"/>
                      </a:lnTo>
                      <a:lnTo>
                        <a:pt x="2410" y="117"/>
                      </a:lnTo>
                      <a:lnTo>
                        <a:pt x="2409" y="113"/>
                      </a:lnTo>
                      <a:lnTo>
                        <a:pt x="2408" y="109"/>
                      </a:lnTo>
                      <a:lnTo>
                        <a:pt x="2407" y="107"/>
                      </a:lnTo>
                      <a:lnTo>
                        <a:pt x="2407" y="106"/>
                      </a:lnTo>
                      <a:lnTo>
                        <a:pt x="2407" y="105"/>
                      </a:lnTo>
                      <a:lnTo>
                        <a:pt x="2407" y="105"/>
                      </a:lnTo>
                      <a:lnTo>
                        <a:pt x="2408" y="106"/>
                      </a:lnTo>
                      <a:lnTo>
                        <a:pt x="2410" y="109"/>
                      </a:lnTo>
                      <a:lnTo>
                        <a:pt x="2410" y="111"/>
                      </a:lnTo>
                      <a:lnTo>
                        <a:pt x="2412" y="113"/>
                      </a:lnTo>
                      <a:lnTo>
                        <a:pt x="2413" y="115"/>
                      </a:lnTo>
                      <a:lnTo>
                        <a:pt x="2415" y="116"/>
                      </a:lnTo>
                      <a:lnTo>
                        <a:pt x="2416" y="115"/>
                      </a:lnTo>
                      <a:lnTo>
                        <a:pt x="2417" y="113"/>
                      </a:lnTo>
                      <a:lnTo>
                        <a:pt x="2417" y="111"/>
                      </a:lnTo>
                      <a:lnTo>
                        <a:pt x="2417" y="107"/>
                      </a:lnTo>
                      <a:lnTo>
                        <a:pt x="2415" y="104"/>
                      </a:lnTo>
                      <a:lnTo>
                        <a:pt x="2413" y="102"/>
                      </a:lnTo>
                      <a:lnTo>
                        <a:pt x="2413" y="101"/>
                      </a:lnTo>
                      <a:lnTo>
                        <a:pt x="2412" y="99"/>
                      </a:lnTo>
                      <a:lnTo>
                        <a:pt x="2412" y="99"/>
                      </a:lnTo>
                      <a:lnTo>
                        <a:pt x="2410" y="98"/>
                      </a:lnTo>
                      <a:lnTo>
                        <a:pt x="2410" y="95"/>
                      </a:lnTo>
                      <a:lnTo>
                        <a:pt x="2412" y="93"/>
                      </a:lnTo>
                      <a:lnTo>
                        <a:pt x="2412" y="92"/>
                      </a:lnTo>
                      <a:lnTo>
                        <a:pt x="2413" y="91"/>
                      </a:lnTo>
                      <a:lnTo>
                        <a:pt x="2414" y="91"/>
                      </a:lnTo>
                      <a:lnTo>
                        <a:pt x="2414" y="91"/>
                      </a:lnTo>
                      <a:lnTo>
                        <a:pt x="2415" y="92"/>
                      </a:lnTo>
                      <a:lnTo>
                        <a:pt x="2416" y="93"/>
                      </a:lnTo>
                      <a:lnTo>
                        <a:pt x="2417" y="95"/>
                      </a:lnTo>
                      <a:lnTo>
                        <a:pt x="2417" y="100"/>
                      </a:lnTo>
                      <a:lnTo>
                        <a:pt x="2419" y="100"/>
                      </a:lnTo>
                      <a:lnTo>
                        <a:pt x="2422" y="101"/>
                      </a:lnTo>
                      <a:lnTo>
                        <a:pt x="2424" y="102"/>
                      </a:lnTo>
                      <a:lnTo>
                        <a:pt x="2426" y="104"/>
                      </a:lnTo>
                      <a:lnTo>
                        <a:pt x="2426" y="105"/>
                      </a:lnTo>
                      <a:lnTo>
                        <a:pt x="2427" y="109"/>
                      </a:lnTo>
                      <a:lnTo>
                        <a:pt x="2428" y="111"/>
                      </a:lnTo>
                      <a:lnTo>
                        <a:pt x="2430" y="113"/>
                      </a:lnTo>
                      <a:lnTo>
                        <a:pt x="2433" y="114"/>
                      </a:lnTo>
                      <a:lnTo>
                        <a:pt x="2434" y="116"/>
                      </a:lnTo>
                      <a:lnTo>
                        <a:pt x="2434" y="119"/>
                      </a:lnTo>
                      <a:lnTo>
                        <a:pt x="2435" y="120"/>
                      </a:lnTo>
                      <a:lnTo>
                        <a:pt x="2437" y="122"/>
                      </a:lnTo>
                      <a:lnTo>
                        <a:pt x="2438" y="123"/>
                      </a:lnTo>
                      <a:lnTo>
                        <a:pt x="2439" y="124"/>
                      </a:lnTo>
                      <a:lnTo>
                        <a:pt x="2439" y="124"/>
                      </a:lnTo>
                      <a:lnTo>
                        <a:pt x="2441" y="125"/>
                      </a:lnTo>
                      <a:lnTo>
                        <a:pt x="2442" y="126"/>
                      </a:lnTo>
                      <a:lnTo>
                        <a:pt x="2444" y="130"/>
                      </a:lnTo>
                      <a:lnTo>
                        <a:pt x="2444" y="132"/>
                      </a:lnTo>
                      <a:lnTo>
                        <a:pt x="2442" y="135"/>
                      </a:lnTo>
                      <a:lnTo>
                        <a:pt x="2441" y="137"/>
                      </a:lnTo>
                      <a:lnTo>
                        <a:pt x="2441" y="146"/>
                      </a:lnTo>
                      <a:lnTo>
                        <a:pt x="2444" y="150"/>
                      </a:lnTo>
                      <a:lnTo>
                        <a:pt x="2444" y="155"/>
                      </a:lnTo>
                      <a:lnTo>
                        <a:pt x="2444" y="159"/>
                      </a:lnTo>
                      <a:lnTo>
                        <a:pt x="2444" y="163"/>
                      </a:lnTo>
                      <a:lnTo>
                        <a:pt x="2445" y="166"/>
                      </a:lnTo>
                      <a:lnTo>
                        <a:pt x="2446" y="170"/>
                      </a:lnTo>
                      <a:lnTo>
                        <a:pt x="2446" y="172"/>
                      </a:lnTo>
                      <a:lnTo>
                        <a:pt x="2446" y="172"/>
                      </a:lnTo>
                      <a:lnTo>
                        <a:pt x="2447" y="172"/>
                      </a:lnTo>
                      <a:lnTo>
                        <a:pt x="2447" y="171"/>
                      </a:lnTo>
                      <a:lnTo>
                        <a:pt x="2448" y="170"/>
                      </a:lnTo>
                      <a:lnTo>
                        <a:pt x="2449" y="170"/>
                      </a:lnTo>
                      <a:lnTo>
                        <a:pt x="2450" y="169"/>
                      </a:lnTo>
                      <a:lnTo>
                        <a:pt x="2450" y="168"/>
                      </a:lnTo>
                      <a:lnTo>
                        <a:pt x="2450" y="168"/>
                      </a:lnTo>
                      <a:lnTo>
                        <a:pt x="2451" y="167"/>
                      </a:lnTo>
                      <a:lnTo>
                        <a:pt x="2452" y="166"/>
                      </a:lnTo>
                      <a:lnTo>
                        <a:pt x="2452" y="164"/>
                      </a:lnTo>
                      <a:lnTo>
                        <a:pt x="2452" y="161"/>
                      </a:lnTo>
                      <a:lnTo>
                        <a:pt x="2452" y="157"/>
                      </a:lnTo>
                      <a:lnTo>
                        <a:pt x="2450" y="152"/>
                      </a:lnTo>
                      <a:lnTo>
                        <a:pt x="2448" y="147"/>
                      </a:lnTo>
                      <a:lnTo>
                        <a:pt x="2446" y="144"/>
                      </a:lnTo>
                      <a:lnTo>
                        <a:pt x="2446" y="122"/>
                      </a:lnTo>
                      <a:lnTo>
                        <a:pt x="2445" y="119"/>
                      </a:lnTo>
                      <a:lnTo>
                        <a:pt x="2442" y="116"/>
                      </a:lnTo>
                      <a:lnTo>
                        <a:pt x="2440" y="114"/>
                      </a:lnTo>
                      <a:lnTo>
                        <a:pt x="2437" y="111"/>
                      </a:lnTo>
                      <a:lnTo>
                        <a:pt x="2437" y="111"/>
                      </a:lnTo>
                      <a:lnTo>
                        <a:pt x="2437" y="109"/>
                      </a:lnTo>
                      <a:lnTo>
                        <a:pt x="2436" y="106"/>
                      </a:lnTo>
                      <a:lnTo>
                        <a:pt x="2435" y="104"/>
                      </a:lnTo>
                      <a:lnTo>
                        <a:pt x="2434" y="104"/>
                      </a:lnTo>
                      <a:lnTo>
                        <a:pt x="2433" y="104"/>
                      </a:lnTo>
                      <a:lnTo>
                        <a:pt x="2433" y="103"/>
                      </a:lnTo>
                      <a:lnTo>
                        <a:pt x="2430" y="102"/>
                      </a:lnTo>
                      <a:lnTo>
                        <a:pt x="2427" y="92"/>
                      </a:lnTo>
                      <a:lnTo>
                        <a:pt x="2426" y="82"/>
                      </a:lnTo>
                      <a:lnTo>
                        <a:pt x="2426" y="78"/>
                      </a:lnTo>
                      <a:lnTo>
                        <a:pt x="2424" y="73"/>
                      </a:lnTo>
                      <a:lnTo>
                        <a:pt x="2422" y="69"/>
                      </a:lnTo>
                      <a:lnTo>
                        <a:pt x="2423" y="67"/>
                      </a:lnTo>
                      <a:lnTo>
                        <a:pt x="2423" y="65"/>
                      </a:lnTo>
                      <a:lnTo>
                        <a:pt x="2424" y="62"/>
                      </a:lnTo>
                      <a:lnTo>
                        <a:pt x="2424" y="60"/>
                      </a:lnTo>
                      <a:lnTo>
                        <a:pt x="2426" y="59"/>
                      </a:lnTo>
                      <a:lnTo>
                        <a:pt x="2427" y="58"/>
                      </a:lnTo>
                      <a:lnTo>
                        <a:pt x="2429" y="58"/>
                      </a:lnTo>
                      <a:lnTo>
                        <a:pt x="2431" y="58"/>
                      </a:lnTo>
                      <a:lnTo>
                        <a:pt x="2433" y="58"/>
                      </a:lnTo>
                      <a:lnTo>
                        <a:pt x="2435" y="59"/>
                      </a:lnTo>
                      <a:lnTo>
                        <a:pt x="2437" y="60"/>
                      </a:lnTo>
                      <a:lnTo>
                        <a:pt x="2439" y="60"/>
                      </a:lnTo>
                      <a:lnTo>
                        <a:pt x="2441" y="60"/>
                      </a:lnTo>
                      <a:lnTo>
                        <a:pt x="2444" y="61"/>
                      </a:lnTo>
                      <a:lnTo>
                        <a:pt x="2446" y="61"/>
                      </a:lnTo>
                      <a:lnTo>
                        <a:pt x="2448" y="60"/>
                      </a:lnTo>
                      <a:lnTo>
                        <a:pt x="2450" y="59"/>
                      </a:lnTo>
                      <a:lnTo>
                        <a:pt x="2451" y="57"/>
                      </a:lnTo>
                      <a:lnTo>
                        <a:pt x="2451" y="55"/>
                      </a:lnTo>
                      <a:lnTo>
                        <a:pt x="2450" y="51"/>
                      </a:lnTo>
                      <a:lnTo>
                        <a:pt x="2449" y="48"/>
                      </a:lnTo>
                      <a:lnTo>
                        <a:pt x="2447" y="45"/>
                      </a:lnTo>
                      <a:lnTo>
                        <a:pt x="2446" y="41"/>
                      </a:lnTo>
                      <a:lnTo>
                        <a:pt x="2446" y="39"/>
                      </a:lnTo>
                      <a:lnTo>
                        <a:pt x="2446" y="36"/>
                      </a:lnTo>
                      <a:lnTo>
                        <a:pt x="2447" y="35"/>
                      </a:lnTo>
                      <a:lnTo>
                        <a:pt x="2446" y="34"/>
                      </a:lnTo>
                      <a:lnTo>
                        <a:pt x="2446" y="33"/>
                      </a:lnTo>
                      <a:lnTo>
                        <a:pt x="2445" y="32"/>
                      </a:lnTo>
                      <a:lnTo>
                        <a:pt x="2444" y="30"/>
                      </a:lnTo>
                      <a:lnTo>
                        <a:pt x="2445" y="28"/>
                      </a:lnTo>
                      <a:lnTo>
                        <a:pt x="2446" y="26"/>
                      </a:lnTo>
                      <a:lnTo>
                        <a:pt x="2446" y="24"/>
                      </a:lnTo>
                      <a:lnTo>
                        <a:pt x="2446" y="22"/>
                      </a:lnTo>
                      <a:lnTo>
                        <a:pt x="2447" y="19"/>
                      </a:lnTo>
                      <a:lnTo>
                        <a:pt x="2448" y="17"/>
                      </a:lnTo>
                      <a:lnTo>
                        <a:pt x="2450" y="14"/>
                      </a:lnTo>
                      <a:lnTo>
                        <a:pt x="2451" y="13"/>
                      </a:lnTo>
                      <a:lnTo>
                        <a:pt x="2453" y="11"/>
                      </a:lnTo>
                      <a:lnTo>
                        <a:pt x="2455" y="8"/>
                      </a:lnTo>
                      <a:lnTo>
                        <a:pt x="2456" y="6"/>
                      </a:lnTo>
                      <a:lnTo>
                        <a:pt x="2457" y="5"/>
                      </a:lnTo>
                      <a:lnTo>
                        <a:pt x="2458" y="3"/>
                      </a:lnTo>
                      <a:lnTo>
                        <a:pt x="2458" y="2"/>
                      </a:lnTo>
                      <a:lnTo>
                        <a:pt x="2459" y="2"/>
                      </a:lnTo>
                      <a:lnTo>
                        <a:pt x="2460" y="3"/>
                      </a:lnTo>
                      <a:lnTo>
                        <a:pt x="2461" y="3"/>
                      </a:lnTo>
                      <a:lnTo>
                        <a:pt x="2462" y="4"/>
                      </a:lnTo>
                      <a:lnTo>
                        <a:pt x="2463" y="4"/>
                      </a:lnTo>
                      <a:lnTo>
                        <a:pt x="2464" y="2"/>
                      </a:lnTo>
                      <a:lnTo>
                        <a:pt x="2466" y="1"/>
                      </a:lnTo>
                      <a:lnTo>
                        <a:pt x="2467" y="0"/>
                      </a:lnTo>
                      <a:lnTo>
                        <a:pt x="2468"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38" name="Freeform 35"/>
                <p:cNvSpPr>
                  <a:spLocks noEditPoints="1"/>
                </p:cNvSpPr>
                <p:nvPr/>
              </p:nvSpPr>
              <p:spPr bwMode="auto">
                <a:xfrm>
                  <a:off x="5574" y="743"/>
                  <a:ext cx="411" cy="160"/>
                </a:xfrm>
                <a:custGeom>
                  <a:avLst/>
                  <a:gdLst>
                    <a:gd name="T0" fmla="*/ 1350 w 2878"/>
                    <a:gd name="T1" fmla="*/ 168 h 1116"/>
                    <a:gd name="T2" fmla="*/ 1286 w 2878"/>
                    <a:gd name="T3" fmla="*/ 147 h 1116"/>
                    <a:gd name="T4" fmla="*/ 2781 w 2878"/>
                    <a:gd name="T5" fmla="*/ 174 h 1116"/>
                    <a:gd name="T6" fmla="*/ 2758 w 2878"/>
                    <a:gd name="T7" fmla="*/ 229 h 1116"/>
                    <a:gd name="T8" fmla="*/ 2754 w 2878"/>
                    <a:gd name="T9" fmla="*/ 259 h 1116"/>
                    <a:gd name="T10" fmla="*/ 2765 w 2878"/>
                    <a:gd name="T11" fmla="*/ 346 h 1116"/>
                    <a:gd name="T12" fmla="*/ 2734 w 2878"/>
                    <a:gd name="T13" fmla="*/ 292 h 1116"/>
                    <a:gd name="T14" fmla="*/ 2739 w 2878"/>
                    <a:gd name="T15" fmla="*/ 242 h 1116"/>
                    <a:gd name="T16" fmla="*/ 2742 w 2878"/>
                    <a:gd name="T17" fmla="*/ 179 h 1116"/>
                    <a:gd name="T18" fmla="*/ 2756 w 2878"/>
                    <a:gd name="T19" fmla="*/ 149 h 1116"/>
                    <a:gd name="T20" fmla="*/ 1292 w 2878"/>
                    <a:gd name="T21" fmla="*/ 106 h 1116"/>
                    <a:gd name="T22" fmla="*/ 941 w 2878"/>
                    <a:gd name="T23" fmla="*/ 103 h 1116"/>
                    <a:gd name="T24" fmla="*/ 899 w 2878"/>
                    <a:gd name="T25" fmla="*/ 138 h 1116"/>
                    <a:gd name="T26" fmla="*/ 2135 w 2878"/>
                    <a:gd name="T27" fmla="*/ 49 h 1116"/>
                    <a:gd name="T28" fmla="*/ 1025 w 2878"/>
                    <a:gd name="T29" fmla="*/ 53 h 1116"/>
                    <a:gd name="T30" fmla="*/ 1046 w 2878"/>
                    <a:gd name="T31" fmla="*/ 107 h 1116"/>
                    <a:gd name="T32" fmla="*/ 1112 w 2878"/>
                    <a:gd name="T33" fmla="*/ 158 h 1116"/>
                    <a:gd name="T34" fmla="*/ 1149 w 2878"/>
                    <a:gd name="T35" fmla="*/ 137 h 1116"/>
                    <a:gd name="T36" fmla="*/ 1229 w 2878"/>
                    <a:gd name="T37" fmla="*/ 113 h 1116"/>
                    <a:gd name="T38" fmla="*/ 1220 w 2878"/>
                    <a:gd name="T39" fmla="*/ 161 h 1116"/>
                    <a:gd name="T40" fmla="*/ 1164 w 2878"/>
                    <a:gd name="T41" fmla="*/ 238 h 1116"/>
                    <a:gd name="T42" fmla="*/ 1061 w 2878"/>
                    <a:gd name="T43" fmla="*/ 272 h 1116"/>
                    <a:gd name="T44" fmla="*/ 1047 w 2878"/>
                    <a:gd name="T45" fmla="*/ 377 h 1116"/>
                    <a:gd name="T46" fmla="*/ 961 w 2878"/>
                    <a:gd name="T47" fmla="*/ 531 h 1116"/>
                    <a:gd name="T48" fmla="*/ 1091 w 2878"/>
                    <a:gd name="T49" fmla="*/ 650 h 1116"/>
                    <a:gd name="T50" fmla="*/ 1241 w 2878"/>
                    <a:gd name="T51" fmla="*/ 794 h 1116"/>
                    <a:gd name="T52" fmla="*/ 1291 w 2878"/>
                    <a:gd name="T53" fmla="*/ 773 h 1116"/>
                    <a:gd name="T54" fmla="*/ 1303 w 2878"/>
                    <a:gd name="T55" fmla="*/ 549 h 1116"/>
                    <a:gd name="T56" fmla="*/ 1308 w 2878"/>
                    <a:gd name="T57" fmla="*/ 415 h 1116"/>
                    <a:gd name="T58" fmla="*/ 1437 w 2878"/>
                    <a:gd name="T59" fmla="*/ 467 h 1116"/>
                    <a:gd name="T60" fmla="*/ 1484 w 2878"/>
                    <a:gd name="T61" fmla="*/ 551 h 1116"/>
                    <a:gd name="T62" fmla="*/ 1565 w 2878"/>
                    <a:gd name="T63" fmla="*/ 532 h 1116"/>
                    <a:gd name="T64" fmla="*/ 1658 w 2878"/>
                    <a:gd name="T65" fmla="*/ 695 h 1116"/>
                    <a:gd name="T66" fmla="*/ 1752 w 2878"/>
                    <a:gd name="T67" fmla="*/ 788 h 1116"/>
                    <a:gd name="T68" fmla="*/ 1733 w 2878"/>
                    <a:gd name="T69" fmla="*/ 906 h 1116"/>
                    <a:gd name="T70" fmla="*/ 1783 w 2878"/>
                    <a:gd name="T71" fmla="*/ 985 h 1116"/>
                    <a:gd name="T72" fmla="*/ 1727 w 2878"/>
                    <a:gd name="T73" fmla="*/ 976 h 1116"/>
                    <a:gd name="T74" fmla="*/ 1679 w 2878"/>
                    <a:gd name="T75" fmla="*/ 947 h 1116"/>
                    <a:gd name="T76" fmla="*/ 1650 w 2878"/>
                    <a:gd name="T77" fmla="*/ 906 h 1116"/>
                    <a:gd name="T78" fmla="*/ 1494 w 2878"/>
                    <a:gd name="T79" fmla="*/ 960 h 1116"/>
                    <a:gd name="T80" fmla="*/ 1641 w 2878"/>
                    <a:gd name="T81" fmla="*/ 1018 h 1116"/>
                    <a:gd name="T82" fmla="*/ 1569 w 2878"/>
                    <a:gd name="T83" fmla="*/ 1045 h 1116"/>
                    <a:gd name="T84" fmla="*/ 1480 w 2878"/>
                    <a:gd name="T85" fmla="*/ 1078 h 1116"/>
                    <a:gd name="T86" fmla="*/ 1314 w 2878"/>
                    <a:gd name="T87" fmla="*/ 1074 h 1116"/>
                    <a:gd name="T88" fmla="*/ 1134 w 2878"/>
                    <a:gd name="T89" fmla="*/ 998 h 1116"/>
                    <a:gd name="T90" fmla="*/ 1112 w 2878"/>
                    <a:gd name="T91" fmla="*/ 935 h 1116"/>
                    <a:gd name="T92" fmla="*/ 57 w 2878"/>
                    <a:gd name="T93" fmla="*/ 437 h 1116"/>
                    <a:gd name="T94" fmla="*/ 40 w 2878"/>
                    <a:gd name="T95" fmla="*/ 386 h 1116"/>
                    <a:gd name="T96" fmla="*/ 42 w 2878"/>
                    <a:gd name="T97" fmla="*/ 358 h 1116"/>
                    <a:gd name="T98" fmla="*/ 64 w 2878"/>
                    <a:gd name="T99" fmla="*/ 269 h 1116"/>
                    <a:gd name="T100" fmla="*/ 136 w 2878"/>
                    <a:gd name="T101" fmla="*/ 200 h 1116"/>
                    <a:gd name="T102" fmla="*/ 160 w 2878"/>
                    <a:gd name="T103" fmla="*/ 199 h 1116"/>
                    <a:gd name="T104" fmla="*/ 233 w 2878"/>
                    <a:gd name="T105" fmla="*/ 208 h 1116"/>
                    <a:gd name="T106" fmla="*/ 338 w 2878"/>
                    <a:gd name="T107" fmla="*/ 236 h 1116"/>
                    <a:gd name="T108" fmla="*/ 387 w 2878"/>
                    <a:gd name="T109" fmla="*/ 183 h 1116"/>
                    <a:gd name="T110" fmla="*/ 444 w 2878"/>
                    <a:gd name="T111" fmla="*/ 134 h 1116"/>
                    <a:gd name="T112" fmla="*/ 498 w 2878"/>
                    <a:gd name="T113" fmla="*/ 175 h 1116"/>
                    <a:gd name="T114" fmla="*/ 626 w 2878"/>
                    <a:gd name="T115" fmla="*/ 178 h 1116"/>
                    <a:gd name="T116" fmla="*/ 736 w 2878"/>
                    <a:gd name="T117" fmla="*/ 222 h 1116"/>
                    <a:gd name="T118" fmla="*/ 819 w 2878"/>
                    <a:gd name="T119" fmla="*/ 185 h 1116"/>
                    <a:gd name="T120" fmla="*/ 943 w 2878"/>
                    <a:gd name="T121" fmla="*/ 174 h 1116"/>
                    <a:gd name="T122" fmla="*/ 980 w 2878"/>
                    <a:gd name="T123" fmla="*/ 142 h 1116"/>
                    <a:gd name="T124" fmla="*/ 954 w 2878"/>
                    <a:gd name="T125" fmla="*/ 42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78" h="1116">
                      <a:moveTo>
                        <a:pt x="2874" y="211"/>
                      </a:moveTo>
                      <a:lnTo>
                        <a:pt x="2875" y="213"/>
                      </a:lnTo>
                      <a:lnTo>
                        <a:pt x="2876" y="215"/>
                      </a:lnTo>
                      <a:lnTo>
                        <a:pt x="2877" y="218"/>
                      </a:lnTo>
                      <a:lnTo>
                        <a:pt x="2877" y="221"/>
                      </a:lnTo>
                      <a:lnTo>
                        <a:pt x="2878" y="223"/>
                      </a:lnTo>
                      <a:lnTo>
                        <a:pt x="2878" y="224"/>
                      </a:lnTo>
                      <a:lnTo>
                        <a:pt x="2877" y="225"/>
                      </a:lnTo>
                      <a:lnTo>
                        <a:pt x="2876" y="225"/>
                      </a:lnTo>
                      <a:lnTo>
                        <a:pt x="2874" y="224"/>
                      </a:lnTo>
                      <a:lnTo>
                        <a:pt x="2873" y="222"/>
                      </a:lnTo>
                      <a:lnTo>
                        <a:pt x="2871" y="218"/>
                      </a:lnTo>
                      <a:lnTo>
                        <a:pt x="2871" y="216"/>
                      </a:lnTo>
                      <a:lnTo>
                        <a:pt x="2871" y="214"/>
                      </a:lnTo>
                      <a:lnTo>
                        <a:pt x="2871" y="212"/>
                      </a:lnTo>
                      <a:lnTo>
                        <a:pt x="2873" y="212"/>
                      </a:lnTo>
                      <a:lnTo>
                        <a:pt x="2874" y="211"/>
                      </a:lnTo>
                      <a:lnTo>
                        <a:pt x="2874" y="211"/>
                      </a:lnTo>
                      <a:close/>
                      <a:moveTo>
                        <a:pt x="1379" y="175"/>
                      </a:moveTo>
                      <a:lnTo>
                        <a:pt x="1382" y="175"/>
                      </a:lnTo>
                      <a:lnTo>
                        <a:pt x="1385" y="177"/>
                      </a:lnTo>
                      <a:lnTo>
                        <a:pt x="1389" y="179"/>
                      </a:lnTo>
                      <a:lnTo>
                        <a:pt x="1390" y="181"/>
                      </a:lnTo>
                      <a:lnTo>
                        <a:pt x="1390" y="182"/>
                      </a:lnTo>
                      <a:lnTo>
                        <a:pt x="1389" y="184"/>
                      </a:lnTo>
                      <a:lnTo>
                        <a:pt x="1388" y="185"/>
                      </a:lnTo>
                      <a:lnTo>
                        <a:pt x="1385" y="186"/>
                      </a:lnTo>
                      <a:lnTo>
                        <a:pt x="1382" y="186"/>
                      </a:lnTo>
                      <a:lnTo>
                        <a:pt x="1379" y="185"/>
                      </a:lnTo>
                      <a:lnTo>
                        <a:pt x="1375" y="184"/>
                      </a:lnTo>
                      <a:lnTo>
                        <a:pt x="1373" y="181"/>
                      </a:lnTo>
                      <a:lnTo>
                        <a:pt x="1373" y="179"/>
                      </a:lnTo>
                      <a:lnTo>
                        <a:pt x="1374" y="178"/>
                      </a:lnTo>
                      <a:lnTo>
                        <a:pt x="1376" y="175"/>
                      </a:lnTo>
                      <a:lnTo>
                        <a:pt x="1379" y="175"/>
                      </a:lnTo>
                      <a:close/>
                      <a:moveTo>
                        <a:pt x="1340" y="167"/>
                      </a:moveTo>
                      <a:lnTo>
                        <a:pt x="1350" y="168"/>
                      </a:lnTo>
                      <a:lnTo>
                        <a:pt x="1360" y="171"/>
                      </a:lnTo>
                      <a:lnTo>
                        <a:pt x="1364" y="175"/>
                      </a:lnTo>
                      <a:lnTo>
                        <a:pt x="1365" y="183"/>
                      </a:lnTo>
                      <a:lnTo>
                        <a:pt x="1365" y="191"/>
                      </a:lnTo>
                      <a:lnTo>
                        <a:pt x="1365" y="199"/>
                      </a:lnTo>
                      <a:lnTo>
                        <a:pt x="1364" y="204"/>
                      </a:lnTo>
                      <a:lnTo>
                        <a:pt x="1360" y="212"/>
                      </a:lnTo>
                      <a:lnTo>
                        <a:pt x="1352" y="216"/>
                      </a:lnTo>
                      <a:lnTo>
                        <a:pt x="1342" y="217"/>
                      </a:lnTo>
                      <a:lnTo>
                        <a:pt x="1332" y="216"/>
                      </a:lnTo>
                      <a:lnTo>
                        <a:pt x="1327" y="214"/>
                      </a:lnTo>
                      <a:lnTo>
                        <a:pt x="1323" y="211"/>
                      </a:lnTo>
                      <a:lnTo>
                        <a:pt x="1319" y="207"/>
                      </a:lnTo>
                      <a:lnTo>
                        <a:pt x="1316" y="204"/>
                      </a:lnTo>
                      <a:lnTo>
                        <a:pt x="1317" y="197"/>
                      </a:lnTo>
                      <a:lnTo>
                        <a:pt x="1320" y="190"/>
                      </a:lnTo>
                      <a:lnTo>
                        <a:pt x="1324" y="182"/>
                      </a:lnTo>
                      <a:lnTo>
                        <a:pt x="1327" y="173"/>
                      </a:lnTo>
                      <a:lnTo>
                        <a:pt x="1332" y="169"/>
                      </a:lnTo>
                      <a:lnTo>
                        <a:pt x="1340" y="167"/>
                      </a:lnTo>
                      <a:close/>
                      <a:moveTo>
                        <a:pt x="1280" y="167"/>
                      </a:moveTo>
                      <a:lnTo>
                        <a:pt x="1282" y="167"/>
                      </a:lnTo>
                      <a:lnTo>
                        <a:pt x="1284" y="167"/>
                      </a:lnTo>
                      <a:lnTo>
                        <a:pt x="1286" y="168"/>
                      </a:lnTo>
                      <a:lnTo>
                        <a:pt x="1285" y="170"/>
                      </a:lnTo>
                      <a:lnTo>
                        <a:pt x="1284" y="171"/>
                      </a:lnTo>
                      <a:lnTo>
                        <a:pt x="1283" y="172"/>
                      </a:lnTo>
                      <a:lnTo>
                        <a:pt x="1281" y="172"/>
                      </a:lnTo>
                      <a:lnTo>
                        <a:pt x="1279" y="172"/>
                      </a:lnTo>
                      <a:lnTo>
                        <a:pt x="1277" y="171"/>
                      </a:lnTo>
                      <a:lnTo>
                        <a:pt x="1276" y="169"/>
                      </a:lnTo>
                      <a:lnTo>
                        <a:pt x="1277" y="168"/>
                      </a:lnTo>
                      <a:lnTo>
                        <a:pt x="1279" y="167"/>
                      </a:lnTo>
                      <a:lnTo>
                        <a:pt x="1280" y="167"/>
                      </a:lnTo>
                      <a:close/>
                      <a:moveTo>
                        <a:pt x="1281" y="146"/>
                      </a:moveTo>
                      <a:lnTo>
                        <a:pt x="1286" y="146"/>
                      </a:lnTo>
                      <a:lnTo>
                        <a:pt x="1286" y="147"/>
                      </a:lnTo>
                      <a:lnTo>
                        <a:pt x="1286" y="149"/>
                      </a:lnTo>
                      <a:lnTo>
                        <a:pt x="1286" y="150"/>
                      </a:lnTo>
                      <a:lnTo>
                        <a:pt x="1285" y="151"/>
                      </a:lnTo>
                      <a:lnTo>
                        <a:pt x="1285" y="152"/>
                      </a:lnTo>
                      <a:lnTo>
                        <a:pt x="1284" y="152"/>
                      </a:lnTo>
                      <a:lnTo>
                        <a:pt x="1283" y="151"/>
                      </a:lnTo>
                      <a:lnTo>
                        <a:pt x="1282" y="151"/>
                      </a:lnTo>
                      <a:lnTo>
                        <a:pt x="1281" y="150"/>
                      </a:lnTo>
                      <a:lnTo>
                        <a:pt x="1280" y="149"/>
                      </a:lnTo>
                      <a:lnTo>
                        <a:pt x="1279" y="148"/>
                      </a:lnTo>
                      <a:lnTo>
                        <a:pt x="1280" y="147"/>
                      </a:lnTo>
                      <a:lnTo>
                        <a:pt x="1281" y="146"/>
                      </a:lnTo>
                      <a:close/>
                      <a:moveTo>
                        <a:pt x="2786" y="129"/>
                      </a:moveTo>
                      <a:lnTo>
                        <a:pt x="2787" y="129"/>
                      </a:lnTo>
                      <a:lnTo>
                        <a:pt x="2790" y="131"/>
                      </a:lnTo>
                      <a:lnTo>
                        <a:pt x="2792" y="135"/>
                      </a:lnTo>
                      <a:lnTo>
                        <a:pt x="2794" y="138"/>
                      </a:lnTo>
                      <a:lnTo>
                        <a:pt x="2794" y="141"/>
                      </a:lnTo>
                      <a:lnTo>
                        <a:pt x="2796" y="146"/>
                      </a:lnTo>
                      <a:lnTo>
                        <a:pt x="2797" y="149"/>
                      </a:lnTo>
                      <a:lnTo>
                        <a:pt x="2797" y="153"/>
                      </a:lnTo>
                      <a:lnTo>
                        <a:pt x="2797" y="157"/>
                      </a:lnTo>
                      <a:lnTo>
                        <a:pt x="2796" y="160"/>
                      </a:lnTo>
                      <a:lnTo>
                        <a:pt x="2794" y="162"/>
                      </a:lnTo>
                      <a:lnTo>
                        <a:pt x="2794" y="164"/>
                      </a:lnTo>
                      <a:lnTo>
                        <a:pt x="2793" y="167"/>
                      </a:lnTo>
                      <a:lnTo>
                        <a:pt x="2792" y="168"/>
                      </a:lnTo>
                      <a:lnTo>
                        <a:pt x="2790" y="169"/>
                      </a:lnTo>
                      <a:lnTo>
                        <a:pt x="2789" y="169"/>
                      </a:lnTo>
                      <a:lnTo>
                        <a:pt x="2788" y="168"/>
                      </a:lnTo>
                      <a:lnTo>
                        <a:pt x="2787" y="168"/>
                      </a:lnTo>
                      <a:lnTo>
                        <a:pt x="2786" y="168"/>
                      </a:lnTo>
                      <a:lnTo>
                        <a:pt x="2785" y="168"/>
                      </a:lnTo>
                      <a:lnTo>
                        <a:pt x="2783" y="169"/>
                      </a:lnTo>
                      <a:lnTo>
                        <a:pt x="2782" y="170"/>
                      </a:lnTo>
                      <a:lnTo>
                        <a:pt x="2782" y="172"/>
                      </a:lnTo>
                      <a:lnTo>
                        <a:pt x="2781" y="174"/>
                      </a:lnTo>
                      <a:lnTo>
                        <a:pt x="2779" y="175"/>
                      </a:lnTo>
                      <a:lnTo>
                        <a:pt x="2778" y="177"/>
                      </a:lnTo>
                      <a:lnTo>
                        <a:pt x="2777" y="177"/>
                      </a:lnTo>
                      <a:lnTo>
                        <a:pt x="2776" y="177"/>
                      </a:lnTo>
                      <a:lnTo>
                        <a:pt x="2776" y="178"/>
                      </a:lnTo>
                      <a:lnTo>
                        <a:pt x="2775" y="180"/>
                      </a:lnTo>
                      <a:lnTo>
                        <a:pt x="2774" y="182"/>
                      </a:lnTo>
                      <a:lnTo>
                        <a:pt x="2772" y="183"/>
                      </a:lnTo>
                      <a:lnTo>
                        <a:pt x="2772" y="185"/>
                      </a:lnTo>
                      <a:lnTo>
                        <a:pt x="2770" y="186"/>
                      </a:lnTo>
                      <a:lnTo>
                        <a:pt x="2768" y="188"/>
                      </a:lnTo>
                      <a:lnTo>
                        <a:pt x="2768" y="196"/>
                      </a:lnTo>
                      <a:lnTo>
                        <a:pt x="2768" y="197"/>
                      </a:lnTo>
                      <a:lnTo>
                        <a:pt x="2767" y="199"/>
                      </a:lnTo>
                      <a:lnTo>
                        <a:pt x="2765" y="200"/>
                      </a:lnTo>
                      <a:lnTo>
                        <a:pt x="2764" y="201"/>
                      </a:lnTo>
                      <a:lnTo>
                        <a:pt x="2764" y="207"/>
                      </a:lnTo>
                      <a:lnTo>
                        <a:pt x="2764" y="210"/>
                      </a:lnTo>
                      <a:lnTo>
                        <a:pt x="2763" y="211"/>
                      </a:lnTo>
                      <a:lnTo>
                        <a:pt x="2763" y="211"/>
                      </a:lnTo>
                      <a:lnTo>
                        <a:pt x="2761" y="210"/>
                      </a:lnTo>
                      <a:lnTo>
                        <a:pt x="2759" y="210"/>
                      </a:lnTo>
                      <a:lnTo>
                        <a:pt x="2758" y="211"/>
                      </a:lnTo>
                      <a:lnTo>
                        <a:pt x="2758" y="212"/>
                      </a:lnTo>
                      <a:lnTo>
                        <a:pt x="2759" y="214"/>
                      </a:lnTo>
                      <a:lnTo>
                        <a:pt x="2759" y="215"/>
                      </a:lnTo>
                      <a:lnTo>
                        <a:pt x="2759" y="217"/>
                      </a:lnTo>
                      <a:lnTo>
                        <a:pt x="2758" y="218"/>
                      </a:lnTo>
                      <a:lnTo>
                        <a:pt x="2758" y="218"/>
                      </a:lnTo>
                      <a:lnTo>
                        <a:pt x="2758" y="218"/>
                      </a:lnTo>
                      <a:lnTo>
                        <a:pt x="2757" y="220"/>
                      </a:lnTo>
                      <a:lnTo>
                        <a:pt x="2757" y="220"/>
                      </a:lnTo>
                      <a:lnTo>
                        <a:pt x="2758" y="221"/>
                      </a:lnTo>
                      <a:lnTo>
                        <a:pt x="2758" y="223"/>
                      </a:lnTo>
                      <a:lnTo>
                        <a:pt x="2758" y="225"/>
                      </a:lnTo>
                      <a:lnTo>
                        <a:pt x="2758" y="227"/>
                      </a:lnTo>
                      <a:lnTo>
                        <a:pt x="2758" y="229"/>
                      </a:lnTo>
                      <a:lnTo>
                        <a:pt x="2758" y="229"/>
                      </a:lnTo>
                      <a:lnTo>
                        <a:pt x="2757" y="228"/>
                      </a:lnTo>
                      <a:lnTo>
                        <a:pt x="2755" y="226"/>
                      </a:lnTo>
                      <a:lnTo>
                        <a:pt x="2753" y="224"/>
                      </a:lnTo>
                      <a:lnTo>
                        <a:pt x="2751" y="223"/>
                      </a:lnTo>
                      <a:lnTo>
                        <a:pt x="2750" y="223"/>
                      </a:lnTo>
                      <a:lnTo>
                        <a:pt x="2749" y="223"/>
                      </a:lnTo>
                      <a:lnTo>
                        <a:pt x="2749" y="225"/>
                      </a:lnTo>
                      <a:lnTo>
                        <a:pt x="2750" y="226"/>
                      </a:lnTo>
                      <a:lnTo>
                        <a:pt x="2751" y="227"/>
                      </a:lnTo>
                      <a:lnTo>
                        <a:pt x="2753" y="228"/>
                      </a:lnTo>
                      <a:lnTo>
                        <a:pt x="2754" y="231"/>
                      </a:lnTo>
                      <a:lnTo>
                        <a:pt x="2755" y="232"/>
                      </a:lnTo>
                      <a:lnTo>
                        <a:pt x="2756" y="234"/>
                      </a:lnTo>
                      <a:lnTo>
                        <a:pt x="2756" y="235"/>
                      </a:lnTo>
                      <a:lnTo>
                        <a:pt x="2755" y="236"/>
                      </a:lnTo>
                      <a:lnTo>
                        <a:pt x="2754" y="236"/>
                      </a:lnTo>
                      <a:lnTo>
                        <a:pt x="2756" y="244"/>
                      </a:lnTo>
                      <a:lnTo>
                        <a:pt x="2756" y="244"/>
                      </a:lnTo>
                      <a:lnTo>
                        <a:pt x="2755" y="244"/>
                      </a:lnTo>
                      <a:lnTo>
                        <a:pt x="2755" y="244"/>
                      </a:lnTo>
                      <a:lnTo>
                        <a:pt x="2754" y="243"/>
                      </a:lnTo>
                      <a:lnTo>
                        <a:pt x="2754" y="242"/>
                      </a:lnTo>
                      <a:lnTo>
                        <a:pt x="2753" y="242"/>
                      </a:lnTo>
                      <a:lnTo>
                        <a:pt x="2751" y="243"/>
                      </a:lnTo>
                      <a:lnTo>
                        <a:pt x="2751" y="244"/>
                      </a:lnTo>
                      <a:lnTo>
                        <a:pt x="2753" y="245"/>
                      </a:lnTo>
                      <a:lnTo>
                        <a:pt x="2754" y="246"/>
                      </a:lnTo>
                      <a:lnTo>
                        <a:pt x="2754" y="248"/>
                      </a:lnTo>
                      <a:lnTo>
                        <a:pt x="2756" y="250"/>
                      </a:lnTo>
                      <a:lnTo>
                        <a:pt x="2756" y="253"/>
                      </a:lnTo>
                      <a:lnTo>
                        <a:pt x="2754" y="253"/>
                      </a:lnTo>
                      <a:lnTo>
                        <a:pt x="2754" y="255"/>
                      </a:lnTo>
                      <a:lnTo>
                        <a:pt x="2755" y="256"/>
                      </a:lnTo>
                      <a:lnTo>
                        <a:pt x="2755" y="258"/>
                      </a:lnTo>
                      <a:lnTo>
                        <a:pt x="2755" y="258"/>
                      </a:lnTo>
                      <a:lnTo>
                        <a:pt x="2754" y="259"/>
                      </a:lnTo>
                      <a:lnTo>
                        <a:pt x="2753" y="259"/>
                      </a:lnTo>
                      <a:lnTo>
                        <a:pt x="2753" y="261"/>
                      </a:lnTo>
                      <a:lnTo>
                        <a:pt x="2753" y="264"/>
                      </a:lnTo>
                      <a:lnTo>
                        <a:pt x="2753" y="267"/>
                      </a:lnTo>
                      <a:lnTo>
                        <a:pt x="2754" y="269"/>
                      </a:lnTo>
                      <a:lnTo>
                        <a:pt x="2754" y="272"/>
                      </a:lnTo>
                      <a:lnTo>
                        <a:pt x="2754" y="275"/>
                      </a:lnTo>
                      <a:lnTo>
                        <a:pt x="2753" y="284"/>
                      </a:lnTo>
                      <a:lnTo>
                        <a:pt x="2754" y="297"/>
                      </a:lnTo>
                      <a:lnTo>
                        <a:pt x="2757" y="309"/>
                      </a:lnTo>
                      <a:lnTo>
                        <a:pt x="2761" y="321"/>
                      </a:lnTo>
                      <a:lnTo>
                        <a:pt x="2763" y="323"/>
                      </a:lnTo>
                      <a:lnTo>
                        <a:pt x="2765" y="325"/>
                      </a:lnTo>
                      <a:lnTo>
                        <a:pt x="2766" y="327"/>
                      </a:lnTo>
                      <a:lnTo>
                        <a:pt x="2766" y="330"/>
                      </a:lnTo>
                      <a:lnTo>
                        <a:pt x="2767" y="332"/>
                      </a:lnTo>
                      <a:lnTo>
                        <a:pt x="2768" y="334"/>
                      </a:lnTo>
                      <a:lnTo>
                        <a:pt x="2768" y="335"/>
                      </a:lnTo>
                      <a:lnTo>
                        <a:pt x="2769" y="335"/>
                      </a:lnTo>
                      <a:lnTo>
                        <a:pt x="2770" y="336"/>
                      </a:lnTo>
                      <a:lnTo>
                        <a:pt x="2771" y="338"/>
                      </a:lnTo>
                      <a:lnTo>
                        <a:pt x="2771" y="340"/>
                      </a:lnTo>
                      <a:lnTo>
                        <a:pt x="2772" y="342"/>
                      </a:lnTo>
                      <a:lnTo>
                        <a:pt x="2774" y="344"/>
                      </a:lnTo>
                      <a:lnTo>
                        <a:pt x="2775" y="346"/>
                      </a:lnTo>
                      <a:lnTo>
                        <a:pt x="2776" y="348"/>
                      </a:lnTo>
                      <a:lnTo>
                        <a:pt x="2774" y="348"/>
                      </a:lnTo>
                      <a:lnTo>
                        <a:pt x="2772" y="348"/>
                      </a:lnTo>
                      <a:lnTo>
                        <a:pt x="2771" y="346"/>
                      </a:lnTo>
                      <a:lnTo>
                        <a:pt x="2770" y="345"/>
                      </a:lnTo>
                      <a:lnTo>
                        <a:pt x="2770" y="343"/>
                      </a:lnTo>
                      <a:lnTo>
                        <a:pt x="2769" y="343"/>
                      </a:lnTo>
                      <a:lnTo>
                        <a:pt x="2767" y="343"/>
                      </a:lnTo>
                      <a:lnTo>
                        <a:pt x="2766" y="344"/>
                      </a:lnTo>
                      <a:lnTo>
                        <a:pt x="2766" y="345"/>
                      </a:lnTo>
                      <a:lnTo>
                        <a:pt x="2766" y="346"/>
                      </a:lnTo>
                      <a:lnTo>
                        <a:pt x="2765" y="346"/>
                      </a:lnTo>
                      <a:lnTo>
                        <a:pt x="2764" y="346"/>
                      </a:lnTo>
                      <a:lnTo>
                        <a:pt x="2764" y="346"/>
                      </a:lnTo>
                      <a:lnTo>
                        <a:pt x="2764" y="345"/>
                      </a:lnTo>
                      <a:lnTo>
                        <a:pt x="2763" y="344"/>
                      </a:lnTo>
                      <a:lnTo>
                        <a:pt x="2761" y="342"/>
                      </a:lnTo>
                      <a:lnTo>
                        <a:pt x="2760" y="342"/>
                      </a:lnTo>
                      <a:lnTo>
                        <a:pt x="2759" y="341"/>
                      </a:lnTo>
                      <a:lnTo>
                        <a:pt x="2758" y="341"/>
                      </a:lnTo>
                      <a:lnTo>
                        <a:pt x="2757" y="340"/>
                      </a:lnTo>
                      <a:lnTo>
                        <a:pt x="2755" y="338"/>
                      </a:lnTo>
                      <a:lnTo>
                        <a:pt x="2754" y="338"/>
                      </a:lnTo>
                      <a:lnTo>
                        <a:pt x="2754" y="336"/>
                      </a:lnTo>
                      <a:lnTo>
                        <a:pt x="2753" y="334"/>
                      </a:lnTo>
                      <a:lnTo>
                        <a:pt x="2753" y="332"/>
                      </a:lnTo>
                      <a:lnTo>
                        <a:pt x="2753" y="331"/>
                      </a:lnTo>
                      <a:lnTo>
                        <a:pt x="2754" y="330"/>
                      </a:lnTo>
                      <a:lnTo>
                        <a:pt x="2754" y="327"/>
                      </a:lnTo>
                      <a:lnTo>
                        <a:pt x="2754" y="326"/>
                      </a:lnTo>
                      <a:lnTo>
                        <a:pt x="2753" y="324"/>
                      </a:lnTo>
                      <a:lnTo>
                        <a:pt x="2751" y="322"/>
                      </a:lnTo>
                      <a:lnTo>
                        <a:pt x="2750" y="319"/>
                      </a:lnTo>
                      <a:lnTo>
                        <a:pt x="2748" y="316"/>
                      </a:lnTo>
                      <a:lnTo>
                        <a:pt x="2747" y="314"/>
                      </a:lnTo>
                      <a:lnTo>
                        <a:pt x="2747" y="313"/>
                      </a:lnTo>
                      <a:lnTo>
                        <a:pt x="2746" y="312"/>
                      </a:lnTo>
                      <a:lnTo>
                        <a:pt x="2745" y="312"/>
                      </a:lnTo>
                      <a:lnTo>
                        <a:pt x="2743" y="311"/>
                      </a:lnTo>
                      <a:lnTo>
                        <a:pt x="2742" y="311"/>
                      </a:lnTo>
                      <a:lnTo>
                        <a:pt x="2739" y="310"/>
                      </a:lnTo>
                      <a:lnTo>
                        <a:pt x="2738" y="309"/>
                      </a:lnTo>
                      <a:lnTo>
                        <a:pt x="2736" y="306"/>
                      </a:lnTo>
                      <a:lnTo>
                        <a:pt x="2735" y="303"/>
                      </a:lnTo>
                      <a:lnTo>
                        <a:pt x="2734" y="301"/>
                      </a:lnTo>
                      <a:lnTo>
                        <a:pt x="2734" y="299"/>
                      </a:lnTo>
                      <a:lnTo>
                        <a:pt x="2734" y="297"/>
                      </a:lnTo>
                      <a:lnTo>
                        <a:pt x="2734" y="294"/>
                      </a:lnTo>
                      <a:lnTo>
                        <a:pt x="2734" y="292"/>
                      </a:lnTo>
                      <a:lnTo>
                        <a:pt x="2734" y="290"/>
                      </a:lnTo>
                      <a:lnTo>
                        <a:pt x="2734" y="290"/>
                      </a:lnTo>
                      <a:lnTo>
                        <a:pt x="2735" y="290"/>
                      </a:lnTo>
                      <a:lnTo>
                        <a:pt x="2736" y="290"/>
                      </a:lnTo>
                      <a:lnTo>
                        <a:pt x="2737" y="289"/>
                      </a:lnTo>
                      <a:lnTo>
                        <a:pt x="2737" y="287"/>
                      </a:lnTo>
                      <a:lnTo>
                        <a:pt x="2737" y="286"/>
                      </a:lnTo>
                      <a:lnTo>
                        <a:pt x="2737" y="283"/>
                      </a:lnTo>
                      <a:lnTo>
                        <a:pt x="2737" y="281"/>
                      </a:lnTo>
                      <a:lnTo>
                        <a:pt x="2737" y="279"/>
                      </a:lnTo>
                      <a:lnTo>
                        <a:pt x="2737" y="272"/>
                      </a:lnTo>
                      <a:lnTo>
                        <a:pt x="2736" y="271"/>
                      </a:lnTo>
                      <a:lnTo>
                        <a:pt x="2735" y="271"/>
                      </a:lnTo>
                      <a:lnTo>
                        <a:pt x="2735" y="270"/>
                      </a:lnTo>
                      <a:lnTo>
                        <a:pt x="2735" y="270"/>
                      </a:lnTo>
                      <a:lnTo>
                        <a:pt x="2735" y="268"/>
                      </a:lnTo>
                      <a:lnTo>
                        <a:pt x="2734" y="267"/>
                      </a:lnTo>
                      <a:lnTo>
                        <a:pt x="2734" y="265"/>
                      </a:lnTo>
                      <a:lnTo>
                        <a:pt x="2734" y="264"/>
                      </a:lnTo>
                      <a:lnTo>
                        <a:pt x="2734" y="262"/>
                      </a:lnTo>
                      <a:lnTo>
                        <a:pt x="2734" y="261"/>
                      </a:lnTo>
                      <a:lnTo>
                        <a:pt x="2735" y="261"/>
                      </a:lnTo>
                      <a:lnTo>
                        <a:pt x="2735" y="262"/>
                      </a:lnTo>
                      <a:lnTo>
                        <a:pt x="2736" y="262"/>
                      </a:lnTo>
                      <a:lnTo>
                        <a:pt x="2736" y="262"/>
                      </a:lnTo>
                      <a:lnTo>
                        <a:pt x="2737" y="261"/>
                      </a:lnTo>
                      <a:lnTo>
                        <a:pt x="2736" y="257"/>
                      </a:lnTo>
                      <a:lnTo>
                        <a:pt x="2735" y="255"/>
                      </a:lnTo>
                      <a:lnTo>
                        <a:pt x="2735" y="251"/>
                      </a:lnTo>
                      <a:lnTo>
                        <a:pt x="2736" y="250"/>
                      </a:lnTo>
                      <a:lnTo>
                        <a:pt x="2737" y="250"/>
                      </a:lnTo>
                      <a:lnTo>
                        <a:pt x="2738" y="249"/>
                      </a:lnTo>
                      <a:lnTo>
                        <a:pt x="2739" y="248"/>
                      </a:lnTo>
                      <a:lnTo>
                        <a:pt x="2739" y="247"/>
                      </a:lnTo>
                      <a:lnTo>
                        <a:pt x="2739" y="246"/>
                      </a:lnTo>
                      <a:lnTo>
                        <a:pt x="2739" y="244"/>
                      </a:lnTo>
                      <a:lnTo>
                        <a:pt x="2739" y="242"/>
                      </a:lnTo>
                      <a:lnTo>
                        <a:pt x="2738" y="238"/>
                      </a:lnTo>
                      <a:lnTo>
                        <a:pt x="2737" y="236"/>
                      </a:lnTo>
                      <a:lnTo>
                        <a:pt x="2735" y="235"/>
                      </a:lnTo>
                      <a:lnTo>
                        <a:pt x="2735" y="234"/>
                      </a:lnTo>
                      <a:lnTo>
                        <a:pt x="2735" y="232"/>
                      </a:lnTo>
                      <a:lnTo>
                        <a:pt x="2735" y="231"/>
                      </a:lnTo>
                      <a:lnTo>
                        <a:pt x="2736" y="228"/>
                      </a:lnTo>
                      <a:lnTo>
                        <a:pt x="2736" y="226"/>
                      </a:lnTo>
                      <a:lnTo>
                        <a:pt x="2737" y="225"/>
                      </a:lnTo>
                      <a:lnTo>
                        <a:pt x="2737" y="214"/>
                      </a:lnTo>
                      <a:lnTo>
                        <a:pt x="2738" y="212"/>
                      </a:lnTo>
                      <a:lnTo>
                        <a:pt x="2739" y="210"/>
                      </a:lnTo>
                      <a:lnTo>
                        <a:pt x="2739" y="207"/>
                      </a:lnTo>
                      <a:lnTo>
                        <a:pt x="2739" y="199"/>
                      </a:lnTo>
                      <a:lnTo>
                        <a:pt x="2739" y="197"/>
                      </a:lnTo>
                      <a:lnTo>
                        <a:pt x="2738" y="196"/>
                      </a:lnTo>
                      <a:lnTo>
                        <a:pt x="2737" y="195"/>
                      </a:lnTo>
                      <a:lnTo>
                        <a:pt x="2737" y="194"/>
                      </a:lnTo>
                      <a:lnTo>
                        <a:pt x="2736" y="193"/>
                      </a:lnTo>
                      <a:lnTo>
                        <a:pt x="2735" y="191"/>
                      </a:lnTo>
                      <a:lnTo>
                        <a:pt x="2734" y="188"/>
                      </a:lnTo>
                      <a:lnTo>
                        <a:pt x="2734" y="185"/>
                      </a:lnTo>
                      <a:lnTo>
                        <a:pt x="2734" y="183"/>
                      </a:lnTo>
                      <a:lnTo>
                        <a:pt x="2734" y="182"/>
                      </a:lnTo>
                      <a:lnTo>
                        <a:pt x="2735" y="181"/>
                      </a:lnTo>
                      <a:lnTo>
                        <a:pt x="2735" y="181"/>
                      </a:lnTo>
                      <a:lnTo>
                        <a:pt x="2735" y="182"/>
                      </a:lnTo>
                      <a:lnTo>
                        <a:pt x="2736" y="182"/>
                      </a:lnTo>
                      <a:lnTo>
                        <a:pt x="2736" y="182"/>
                      </a:lnTo>
                      <a:lnTo>
                        <a:pt x="2737" y="181"/>
                      </a:lnTo>
                      <a:lnTo>
                        <a:pt x="2737" y="181"/>
                      </a:lnTo>
                      <a:lnTo>
                        <a:pt x="2737" y="180"/>
                      </a:lnTo>
                      <a:lnTo>
                        <a:pt x="2737" y="178"/>
                      </a:lnTo>
                      <a:lnTo>
                        <a:pt x="2738" y="177"/>
                      </a:lnTo>
                      <a:lnTo>
                        <a:pt x="2739" y="177"/>
                      </a:lnTo>
                      <a:lnTo>
                        <a:pt x="2740" y="178"/>
                      </a:lnTo>
                      <a:lnTo>
                        <a:pt x="2742" y="179"/>
                      </a:lnTo>
                      <a:lnTo>
                        <a:pt x="2742" y="180"/>
                      </a:lnTo>
                      <a:lnTo>
                        <a:pt x="2743" y="180"/>
                      </a:lnTo>
                      <a:lnTo>
                        <a:pt x="2744" y="179"/>
                      </a:lnTo>
                      <a:lnTo>
                        <a:pt x="2745" y="178"/>
                      </a:lnTo>
                      <a:lnTo>
                        <a:pt x="2745" y="177"/>
                      </a:lnTo>
                      <a:lnTo>
                        <a:pt x="2744" y="174"/>
                      </a:lnTo>
                      <a:lnTo>
                        <a:pt x="2744" y="172"/>
                      </a:lnTo>
                      <a:lnTo>
                        <a:pt x="2743" y="171"/>
                      </a:lnTo>
                      <a:lnTo>
                        <a:pt x="2743" y="169"/>
                      </a:lnTo>
                      <a:lnTo>
                        <a:pt x="2743" y="168"/>
                      </a:lnTo>
                      <a:lnTo>
                        <a:pt x="2743" y="168"/>
                      </a:lnTo>
                      <a:lnTo>
                        <a:pt x="2744" y="168"/>
                      </a:lnTo>
                      <a:lnTo>
                        <a:pt x="2745" y="168"/>
                      </a:lnTo>
                      <a:lnTo>
                        <a:pt x="2746" y="168"/>
                      </a:lnTo>
                      <a:lnTo>
                        <a:pt x="2746" y="167"/>
                      </a:lnTo>
                      <a:lnTo>
                        <a:pt x="2746" y="164"/>
                      </a:lnTo>
                      <a:lnTo>
                        <a:pt x="2746" y="163"/>
                      </a:lnTo>
                      <a:lnTo>
                        <a:pt x="2746" y="161"/>
                      </a:lnTo>
                      <a:lnTo>
                        <a:pt x="2746" y="160"/>
                      </a:lnTo>
                      <a:lnTo>
                        <a:pt x="2746" y="159"/>
                      </a:lnTo>
                      <a:lnTo>
                        <a:pt x="2748" y="158"/>
                      </a:lnTo>
                      <a:lnTo>
                        <a:pt x="2749" y="158"/>
                      </a:lnTo>
                      <a:lnTo>
                        <a:pt x="2750" y="158"/>
                      </a:lnTo>
                      <a:lnTo>
                        <a:pt x="2751" y="158"/>
                      </a:lnTo>
                      <a:lnTo>
                        <a:pt x="2751" y="157"/>
                      </a:lnTo>
                      <a:lnTo>
                        <a:pt x="2751" y="152"/>
                      </a:lnTo>
                      <a:lnTo>
                        <a:pt x="2753" y="152"/>
                      </a:lnTo>
                      <a:lnTo>
                        <a:pt x="2753" y="153"/>
                      </a:lnTo>
                      <a:lnTo>
                        <a:pt x="2754" y="155"/>
                      </a:lnTo>
                      <a:lnTo>
                        <a:pt x="2755" y="156"/>
                      </a:lnTo>
                      <a:lnTo>
                        <a:pt x="2755" y="157"/>
                      </a:lnTo>
                      <a:lnTo>
                        <a:pt x="2756" y="157"/>
                      </a:lnTo>
                      <a:lnTo>
                        <a:pt x="2756" y="156"/>
                      </a:lnTo>
                      <a:lnTo>
                        <a:pt x="2756" y="155"/>
                      </a:lnTo>
                      <a:lnTo>
                        <a:pt x="2756" y="152"/>
                      </a:lnTo>
                      <a:lnTo>
                        <a:pt x="2756" y="150"/>
                      </a:lnTo>
                      <a:lnTo>
                        <a:pt x="2756" y="149"/>
                      </a:lnTo>
                      <a:lnTo>
                        <a:pt x="2756" y="148"/>
                      </a:lnTo>
                      <a:lnTo>
                        <a:pt x="2756" y="147"/>
                      </a:lnTo>
                      <a:lnTo>
                        <a:pt x="2757" y="147"/>
                      </a:lnTo>
                      <a:lnTo>
                        <a:pt x="2758" y="148"/>
                      </a:lnTo>
                      <a:lnTo>
                        <a:pt x="2760" y="148"/>
                      </a:lnTo>
                      <a:lnTo>
                        <a:pt x="2761" y="149"/>
                      </a:lnTo>
                      <a:lnTo>
                        <a:pt x="2761" y="150"/>
                      </a:lnTo>
                      <a:lnTo>
                        <a:pt x="2764" y="152"/>
                      </a:lnTo>
                      <a:lnTo>
                        <a:pt x="2765" y="151"/>
                      </a:lnTo>
                      <a:lnTo>
                        <a:pt x="2766" y="151"/>
                      </a:lnTo>
                      <a:lnTo>
                        <a:pt x="2766" y="150"/>
                      </a:lnTo>
                      <a:lnTo>
                        <a:pt x="2766" y="150"/>
                      </a:lnTo>
                      <a:lnTo>
                        <a:pt x="2768" y="150"/>
                      </a:lnTo>
                      <a:lnTo>
                        <a:pt x="2769" y="150"/>
                      </a:lnTo>
                      <a:lnTo>
                        <a:pt x="2771" y="150"/>
                      </a:lnTo>
                      <a:lnTo>
                        <a:pt x="2772" y="150"/>
                      </a:lnTo>
                      <a:lnTo>
                        <a:pt x="2776" y="148"/>
                      </a:lnTo>
                      <a:lnTo>
                        <a:pt x="2777" y="147"/>
                      </a:lnTo>
                      <a:lnTo>
                        <a:pt x="2778" y="146"/>
                      </a:lnTo>
                      <a:lnTo>
                        <a:pt x="2778" y="145"/>
                      </a:lnTo>
                      <a:lnTo>
                        <a:pt x="2779" y="144"/>
                      </a:lnTo>
                      <a:lnTo>
                        <a:pt x="2779" y="142"/>
                      </a:lnTo>
                      <a:lnTo>
                        <a:pt x="2778" y="141"/>
                      </a:lnTo>
                      <a:lnTo>
                        <a:pt x="2778" y="137"/>
                      </a:lnTo>
                      <a:lnTo>
                        <a:pt x="2778" y="135"/>
                      </a:lnTo>
                      <a:lnTo>
                        <a:pt x="2780" y="131"/>
                      </a:lnTo>
                      <a:lnTo>
                        <a:pt x="2781" y="131"/>
                      </a:lnTo>
                      <a:lnTo>
                        <a:pt x="2783" y="130"/>
                      </a:lnTo>
                      <a:lnTo>
                        <a:pt x="2785" y="129"/>
                      </a:lnTo>
                      <a:lnTo>
                        <a:pt x="2786" y="129"/>
                      </a:lnTo>
                      <a:close/>
                      <a:moveTo>
                        <a:pt x="1292" y="100"/>
                      </a:moveTo>
                      <a:lnTo>
                        <a:pt x="1292" y="101"/>
                      </a:lnTo>
                      <a:lnTo>
                        <a:pt x="1293" y="102"/>
                      </a:lnTo>
                      <a:lnTo>
                        <a:pt x="1294" y="103"/>
                      </a:lnTo>
                      <a:lnTo>
                        <a:pt x="1294" y="104"/>
                      </a:lnTo>
                      <a:lnTo>
                        <a:pt x="1294" y="105"/>
                      </a:lnTo>
                      <a:lnTo>
                        <a:pt x="1292" y="106"/>
                      </a:lnTo>
                      <a:lnTo>
                        <a:pt x="1291" y="108"/>
                      </a:lnTo>
                      <a:lnTo>
                        <a:pt x="1291" y="111"/>
                      </a:lnTo>
                      <a:lnTo>
                        <a:pt x="1292" y="112"/>
                      </a:lnTo>
                      <a:lnTo>
                        <a:pt x="1292" y="118"/>
                      </a:lnTo>
                      <a:lnTo>
                        <a:pt x="1290" y="126"/>
                      </a:lnTo>
                      <a:lnTo>
                        <a:pt x="1284" y="131"/>
                      </a:lnTo>
                      <a:lnTo>
                        <a:pt x="1280" y="135"/>
                      </a:lnTo>
                      <a:lnTo>
                        <a:pt x="1276" y="135"/>
                      </a:lnTo>
                      <a:lnTo>
                        <a:pt x="1274" y="135"/>
                      </a:lnTo>
                      <a:lnTo>
                        <a:pt x="1272" y="133"/>
                      </a:lnTo>
                      <a:lnTo>
                        <a:pt x="1271" y="131"/>
                      </a:lnTo>
                      <a:lnTo>
                        <a:pt x="1271" y="129"/>
                      </a:lnTo>
                      <a:lnTo>
                        <a:pt x="1272" y="127"/>
                      </a:lnTo>
                      <a:lnTo>
                        <a:pt x="1273" y="125"/>
                      </a:lnTo>
                      <a:lnTo>
                        <a:pt x="1275" y="124"/>
                      </a:lnTo>
                      <a:lnTo>
                        <a:pt x="1279" y="123"/>
                      </a:lnTo>
                      <a:lnTo>
                        <a:pt x="1281" y="122"/>
                      </a:lnTo>
                      <a:lnTo>
                        <a:pt x="1283" y="122"/>
                      </a:lnTo>
                      <a:lnTo>
                        <a:pt x="1285" y="120"/>
                      </a:lnTo>
                      <a:lnTo>
                        <a:pt x="1287" y="119"/>
                      </a:lnTo>
                      <a:lnTo>
                        <a:pt x="1287" y="117"/>
                      </a:lnTo>
                      <a:lnTo>
                        <a:pt x="1287" y="115"/>
                      </a:lnTo>
                      <a:lnTo>
                        <a:pt x="1286" y="114"/>
                      </a:lnTo>
                      <a:lnTo>
                        <a:pt x="1286" y="112"/>
                      </a:lnTo>
                      <a:lnTo>
                        <a:pt x="1285" y="108"/>
                      </a:lnTo>
                      <a:lnTo>
                        <a:pt x="1285" y="106"/>
                      </a:lnTo>
                      <a:lnTo>
                        <a:pt x="1285" y="104"/>
                      </a:lnTo>
                      <a:lnTo>
                        <a:pt x="1285" y="103"/>
                      </a:lnTo>
                      <a:lnTo>
                        <a:pt x="1286" y="101"/>
                      </a:lnTo>
                      <a:lnTo>
                        <a:pt x="1288" y="101"/>
                      </a:lnTo>
                      <a:lnTo>
                        <a:pt x="1292" y="100"/>
                      </a:lnTo>
                      <a:close/>
                      <a:moveTo>
                        <a:pt x="933" y="93"/>
                      </a:moveTo>
                      <a:lnTo>
                        <a:pt x="936" y="93"/>
                      </a:lnTo>
                      <a:lnTo>
                        <a:pt x="937" y="94"/>
                      </a:lnTo>
                      <a:lnTo>
                        <a:pt x="939" y="96"/>
                      </a:lnTo>
                      <a:lnTo>
                        <a:pt x="941" y="100"/>
                      </a:lnTo>
                      <a:lnTo>
                        <a:pt x="941" y="103"/>
                      </a:lnTo>
                      <a:lnTo>
                        <a:pt x="939" y="106"/>
                      </a:lnTo>
                      <a:lnTo>
                        <a:pt x="941" y="108"/>
                      </a:lnTo>
                      <a:lnTo>
                        <a:pt x="941" y="112"/>
                      </a:lnTo>
                      <a:lnTo>
                        <a:pt x="943" y="114"/>
                      </a:lnTo>
                      <a:lnTo>
                        <a:pt x="946" y="117"/>
                      </a:lnTo>
                      <a:lnTo>
                        <a:pt x="949" y="120"/>
                      </a:lnTo>
                      <a:lnTo>
                        <a:pt x="952" y="123"/>
                      </a:lnTo>
                      <a:lnTo>
                        <a:pt x="954" y="126"/>
                      </a:lnTo>
                      <a:lnTo>
                        <a:pt x="959" y="134"/>
                      </a:lnTo>
                      <a:lnTo>
                        <a:pt x="965" y="141"/>
                      </a:lnTo>
                      <a:lnTo>
                        <a:pt x="969" y="150"/>
                      </a:lnTo>
                      <a:lnTo>
                        <a:pt x="968" y="155"/>
                      </a:lnTo>
                      <a:lnTo>
                        <a:pt x="965" y="161"/>
                      </a:lnTo>
                      <a:lnTo>
                        <a:pt x="959" y="166"/>
                      </a:lnTo>
                      <a:lnTo>
                        <a:pt x="953" y="170"/>
                      </a:lnTo>
                      <a:lnTo>
                        <a:pt x="947" y="171"/>
                      </a:lnTo>
                      <a:lnTo>
                        <a:pt x="939" y="172"/>
                      </a:lnTo>
                      <a:lnTo>
                        <a:pt x="939" y="172"/>
                      </a:lnTo>
                      <a:lnTo>
                        <a:pt x="937" y="173"/>
                      </a:lnTo>
                      <a:lnTo>
                        <a:pt x="937" y="173"/>
                      </a:lnTo>
                      <a:lnTo>
                        <a:pt x="928" y="172"/>
                      </a:lnTo>
                      <a:lnTo>
                        <a:pt x="921" y="169"/>
                      </a:lnTo>
                      <a:lnTo>
                        <a:pt x="917" y="166"/>
                      </a:lnTo>
                      <a:lnTo>
                        <a:pt x="916" y="160"/>
                      </a:lnTo>
                      <a:lnTo>
                        <a:pt x="914" y="155"/>
                      </a:lnTo>
                      <a:lnTo>
                        <a:pt x="912" y="150"/>
                      </a:lnTo>
                      <a:lnTo>
                        <a:pt x="908" y="150"/>
                      </a:lnTo>
                      <a:lnTo>
                        <a:pt x="906" y="150"/>
                      </a:lnTo>
                      <a:lnTo>
                        <a:pt x="905" y="150"/>
                      </a:lnTo>
                      <a:lnTo>
                        <a:pt x="903" y="150"/>
                      </a:lnTo>
                      <a:lnTo>
                        <a:pt x="902" y="150"/>
                      </a:lnTo>
                      <a:lnTo>
                        <a:pt x="900" y="150"/>
                      </a:lnTo>
                      <a:lnTo>
                        <a:pt x="899" y="149"/>
                      </a:lnTo>
                      <a:lnTo>
                        <a:pt x="898" y="148"/>
                      </a:lnTo>
                      <a:lnTo>
                        <a:pt x="897" y="146"/>
                      </a:lnTo>
                      <a:lnTo>
                        <a:pt x="898" y="141"/>
                      </a:lnTo>
                      <a:lnTo>
                        <a:pt x="899" y="138"/>
                      </a:lnTo>
                      <a:lnTo>
                        <a:pt x="901" y="136"/>
                      </a:lnTo>
                      <a:lnTo>
                        <a:pt x="903" y="134"/>
                      </a:lnTo>
                      <a:lnTo>
                        <a:pt x="914" y="116"/>
                      </a:lnTo>
                      <a:lnTo>
                        <a:pt x="925" y="97"/>
                      </a:lnTo>
                      <a:lnTo>
                        <a:pt x="928" y="95"/>
                      </a:lnTo>
                      <a:lnTo>
                        <a:pt x="931" y="93"/>
                      </a:lnTo>
                      <a:lnTo>
                        <a:pt x="933" y="93"/>
                      </a:lnTo>
                      <a:close/>
                      <a:moveTo>
                        <a:pt x="2135" y="49"/>
                      </a:moveTo>
                      <a:lnTo>
                        <a:pt x="2139" y="50"/>
                      </a:lnTo>
                      <a:lnTo>
                        <a:pt x="2145" y="53"/>
                      </a:lnTo>
                      <a:lnTo>
                        <a:pt x="2150" y="57"/>
                      </a:lnTo>
                      <a:lnTo>
                        <a:pt x="2155" y="60"/>
                      </a:lnTo>
                      <a:lnTo>
                        <a:pt x="2159" y="65"/>
                      </a:lnTo>
                      <a:lnTo>
                        <a:pt x="2163" y="72"/>
                      </a:lnTo>
                      <a:lnTo>
                        <a:pt x="2165" y="80"/>
                      </a:lnTo>
                      <a:lnTo>
                        <a:pt x="2165" y="83"/>
                      </a:lnTo>
                      <a:lnTo>
                        <a:pt x="2165" y="86"/>
                      </a:lnTo>
                      <a:lnTo>
                        <a:pt x="2166" y="90"/>
                      </a:lnTo>
                      <a:lnTo>
                        <a:pt x="2166" y="93"/>
                      </a:lnTo>
                      <a:lnTo>
                        <a:pt x="2165" y="95"/>
                      </a:lnTo>
                      <a:lnTo>
                        <a:pt x="2164" y="96"/>
                      </a:lnTo>
                      <a:lnTo>
                        <a:pt x="2161" y="96"/>
                      </a:lnTo>
                      <a:lnTo>
                        <a:pt x="2160" y="95"/>
                      </a:lnTo>
                      <a:lnTo>
                        <a:pt x="2158" y="94"/>
                      </a:lnTo>
                      <a:lnTo>
                        <a:pt x="2156" y="92"/>
                      </a:lnTo>
                      <a:lnTo>
                        <a:pt x="2154" y="90"/>
                      </a:lnTo>
                      <a:lnTo>
                        <a:pt x="2153" y="88"/>
                      </a:lnTo>
                      <a:lnTo>
                        <a:pt x="2149" y="87"/>
                      </a:lnTo>
                      <a:lnTo>
                        <a:pt x="2147" y="85"/>
                      </a:lnTo>
                      <a:lnTo>
                        <a:pt x="2144" y="84"/>
                      </a:lnTo>
                      <a:lnTo>
                        <a:pt x="2142" y="81"/>
                      </a:lnTo>
                      <a:lnTo>
                        <a:pt x="2139" y="77"/>
                      </a:lnTo>
                      <a:lnTo>
                        <a:pt x="2136" y="70"/>
                      </a:lnTo>
                      <a:lnTo>
                        <a:pt x="2133" y="62"/>
                      </a:lnTo>
                      <a:lnTo>
                        <a:pt x="2132" y="55"/>
                      </a:lnTo>
                      <a:lnTo>
                        <a:pt x="2132" y="51"/>
                      </a:lnTo>
                      <a:lnTo>
                        <a:pt x="2135" y="49"/>
                      </a:lnTo>
                      <a:close/>
                      <a:moveTo>
                        <a:pt x="2808" y="27"/>
                      </a:moveTo>
                      <a:lnTo>
                        <a:pt x="2809" y="27"/>
                      </a:lnTo>
                      <a:lnTo>
                        <a:pt x="2810" y="28"/>
                      </a:lnTo>
                      <a:lnTo>
                        <a:pt x="2812" y="29"/>
                      </a:lnTo>
                      <a:lnTo>
                        <a:pt x="2813" y="30"/>
                      </a:lnTo>
                      <a:lnTo>
                        <a:pt x="2813" y="31"/>
                      </a:lnTo>
                      <a:lnTo>
                        <a:pt x="2814" y="32"/>
                      </a:lnTo>
                      <a:lnTo>
                        <a:pt x="2814" y="32"/>
                      </a:lnTo>
                      <a:lnTo>
                        <a:pt x="2814" y="33"/>
                      </a:lnTo>
                      <a:lnTo>
                        <a:pt x="2814" y="33"/>
                      </a:lnTo>
                      <a:lnTo>
                        <a:pt x="2813" y="33"/>
                      </a:lnTo>
                      <a:lnTo>
                        <a:pt x="2811" y="31"/>
                      </a:lnTo>
                      <a:lnTo>
                        <a:pt x="2810" y="30"/>
                      </a:lnTo>
                      <a:lnTo>
                        <a:pt x="2809" y="29"/>
                      </a:lnTo>
                      <a:lnTo>
                        <a:pt x="2808" y="28"/>
                      </a:lnTo>
                      <a:lnTo>
                        <a:pt x="2807" y="27"/>
                      </a:lnTo>
                      <a:lnTo>
                        <a:pt x="2808" y="27"/>
                      </a:lnTo>
                      <a:close/>
                      <a:moveTo>
                        <a:pt x="986" y="0"/>
                      </a:moveTo>
                      <a:lnTo>
                        <a:pt x="988" y="3"/>
                      </a:lnTo>
                      <a:lnTo>
                        <a:pt x="989" y="4"/>
                      </a:lnTo>
                      <a:lnTo>
                        <a:pt x="989" y="5"/>
                      </a:lnTo>
                      <a:lnTo>
                        <a:pt x="990" y="6"/>
                      </a:lnTo>
                      <a:lnTo>
                        <a:pt x="990" y="7"/>
                      </a:lnTo>
                      <a:lnTo>
                        <a:pt x="992" y="8"/>
                      </a:lnTo>
                      <a:lnTo>
                        <a:pt x="994" y="9"/>
                      </a:lnTo>
                      <a:lnTo>
                        <a:pt x="1000" y="8"/>
                      </a:lnTo>
                      <a:lnTo>
                        <a:pt x="1003" y="8"/>
                      </a:lnTo>
                      <a:lnTo>
                        <a:pt x="1007" y="9"/>
                      </a:lnTo>
                      <a:lnTo>
                        <a:pt x="1009" y="11"/>
                      </a:lnTo>
                      <a:lnTo>
                        <a:pt x="1010" y="14"/>
                      </a:lnTo>
                      <a:lnTo>
                        <a:pt x="1011" y="18"/>
                      </a:lnTo>
                      <a:lnTo>
                        <a:pt x="1012" y="22"/>
                      </a:lnTo>
                      <a:lnTo>
                        <a:pt x="1014" y="29"/>
                      </a:lnTo>
                      <a:lnTo>
                        <a:pt x="1020" y="36"/>
                      </a:lnTo>
                      <a:lnTo>
                        <a:pt x="1023" y="42"/>
                      </a:lnTo>
                      <a:lnTo>
                        <a:pt x="1023" y="48"/>
                      </a:lnTo>
                      <a:lnTo>
                        <a:pt x="1025" y="53"/>
                      </a:lnTo>
                      <a:lnTo>
                        <a:pt x="1030" y="60"/>
                      </a:lnTo>
                      <a:lnTo>
                        <a:pt x="1032" y="61"/>
                      </a:lnTo>
                      <a:lnTo>
                        <a:pt x="1034" y="64"/>
                      </a:lnTo>
                      <a:lnTo>
                        <a:pt x="1036" y="68"/>
                      </a:lnTo>
                      <a:lnTo>
                        <a:pt x="1039" y="71"/>
                      </a:lnTo>
                      <a:lnTo>
                        <a:pt x="1040" y="73"/>
                      </a:lnTo>
                      <a:lnTo>
                        <a:pt x="1040" y="76"/>
                      </a:lnTo>
                      <a:lnTo>
                        <a:pt x="1039" y="77"/>
                      </a:lnTo>
                      <a:lnTo>
                        <a:pt x="1037" y="79"/>
                      </a:lnTo>
                      <a:lnTo>
                        <a:pt x="1036" y="79"/>
                      </a:lnTo>
                      <a:lnTo>
                        <a:pt x="1034" y="79"/>
                      </a:lnTo>
                      <a:lnTo>
                        <a:pt x="1032" y="79"/>
                      </a:lnTo>
                      <a:lnTo>
                        <a:pt x="1030" y="79"/>
                      </a:lnTo>
                      <a:lnTo>
                        <a:pt x="1028" y="79"/>
                      </a:lnTo>
                      <a:lnTo>
                        <a:pt x="1025" y="79"/>
                      </a:lnTo>
                      <a:lnTo>
                        <a:pt x="1023" y="80"/>
                      </a:lnTo>
                      <a:lnTo>
                        <a:pt x="1022" y="82"/>
                      </a:lnTo>
                      <a:lnTo>
                        <a:pt x="1023" y="84"/>
                      </a:lnTo>
                      <a:lnTo>
                        <a:pt x="1024" y="86"/>
                      </a:lnTo>
                      <a:lnTo>
                        <a:pt x="1025" y="87"/>
                      </a:lnTo>
                      <a:lnTo>
                        <a:pt x="1025" y="91"/>
                      </a:lnTo>
                      <a:lnTo>
                        <a:pt x="1024" y="92"/>
                      </a:lnTo>
                      <a:lnTo>
                        <a:pt x="1023" y="94"/>
                      </a:lnTo>
                      <a:lnTo>
                        <a:pt x="1022" y="95"/>
                      </a:lnTo>
                      <a:lnTo>
                        <a:pt x="1021" y="97"/>
                      </a:lnTo>
                      <a:lnTo>
                        <a:pt x="1021" y="100"/>
                      </a:lnTo>
                      <a:lnTo>
                        <a:pt x="1023" y="103"/>
                      </a:lnTo>
                      <a:lnTo>
                        <a:pt x="1024" y="105"/>
                      </a:lnTo>
                      <a:lnTo>
                        <a:pt x="1028" y="106"/>
                      </a:lnTo>
                      <a:lnTo>
                        <a:pt x="1030" y="106"/>
                      </a:lnTo>
                      <a:lnTo>
                        <a:pt x="1033" y="105"/>
                      </a:lnTo>
                      <a:lnTo>
                        <a:pt x="1035" y="105"/>
                      </a:lnTo>
                      <a:lnTo>
                        <a:pt x="1037" y="104"/>
                      </a:lnTo>
                      <a:lnTo>
                        <a:pt x="1040" y="104"/>
                      </a:lnTo>
                      <a:lnTo>
                        <a:pt x="1042" y="104"/>
                      </a:lnTo>
                      <a:lnTo>
                        <a:pt x="1045" y="106"/>
                      </a:lnTo>
                      <a:lnTo>
                        <a:pt x="1046" y="107"/>
                      </a:lnTo>
                      <a:lnTo>
                        <a:pt x="1048" y="108"/>
                      </a:lnTo>
                      <a:lnTo>
                        <a:pt x="1051" y="109"/>
                      </a:lnTo>
                      <a:lnTo>
                        <a:pt x="1053" y="109"/>
                      </a:lnTo>
                      <a:lnTo>
                        <a:pt x="1055" y="111"/>
                      </a:lnTo>
                      <a:lnTo>
                        <a:pt x="1056" y="113"/>
                      </a:lnTo>
                      <a:lnTo>
                        <a:pt x="1056" y="119"/>
                      </a:lnTo>
                      <a:lnTo>
                        <a:pt x="1053" y="126"/>
                      </a:lnTo>
                      <a:lnTo>
                        <a:pt x="1052" y="133"/>
                      </a:lnTo>
                      <a:lnTo>
                        <a:pt x="1052" y="134"/>
                      </a:lnTo>
                      <a:lnTo>
                        <a:pt x="1053" y="137"/>
                      </a:lnTo>
                      <a:lnTo>
                        <a:pt x="1054" y="139"/>
                      </a:lnTo>
                      <a:lnTo>
                        <a:pt x="1054" y="141"/>
                      </a:lnTo>
                      <a:lnTo>
                        <a:pt x="1054" y="145"/>
                      </a:lnTo>
                      <a:lnTo>
                        <a:pt x="1056" y="151"/>
                      </a:lnTo>
                      <a:lnTo>
                        <a:pt x="1058" y="158"/>
                      </a:lnTo>
                      <a:lnTo>
                        <a:pt x="1063" y="161"/>
                      </a:lnTo>
                      <a:lnTo>
                        <a:pt x="1065" y="152"/>
                      </a:lnTo>
                      <a:lnTo>
                        <a:pt x="1065" y="145"/>
                      </a:lnTo>
                      <a:lnTo>
                        <a:pt x="1067" y="136"/>
                      </a:lnTo>
                      <a:lnTo>
                        <a:pt x="1070" y="128"/>
                      </a:lnTo>
                      <a:lnTo>
                        <a:pt x="1078" y="122"/>
                      </a:lnTo>
                      <a:lnTo>
                        <a:pt x="1080" y="120"/>
                      </a:lnTo>
                      <a:lnTo>
                        <a:pt x="1083" y="119"/>
                      </a:lnTo>
                      <a:lnTo>
                        <a:pt x="1086" y="118"/>
                      </a:lnTo>
                      <a:lnTo>
                        <a:pt x="1088" y="117"/>
                      </a:lnTo>
                      <a:lnTo>
                        <a:pt x="1091" y="117"/>
                      </a:lnTo>
                      <a:lnTo>
                        <a:pt x="1094" y="117"/>
                      </a:lnTo>
                      <a:lnTo>
                        <a:pt x="1096" y="119"/>
                      </a:lnTo>
                      <a:lnTo>
                        <a:pt x="1098" y="126"/>
                      </a:lnTo>
                      <a:lnTo>
                        <a:pt x="1101" y="131"/>
                      </a:lnTo>
                      <a:lnTo>
                        <a:pt x="1107" y="137"/>
                      </a:lnTo>
                      <a:lnTo>
                        <a:pt x="1111" y="140"/>
                      </a:lnTo>
                      <a:lnTo>
                        <a:pt x="1113" y="144"/>
                      </a:lnTo>
                      <a:lnTo>
                        <a:pt x="1114" y="148"/>
                      </a:lnTo>
                      <a:lnTo>
                        <a:pt x="1116" y="152"/>
                      </a:lnTo>
                      <a:lnTo>
                        <a:pt x="1113" y="156"/>
                      </a:lnTo>
                      <a:lnTo>
                        <a:pt x="1112" y="158"/>
                      </a:lnTo>
                      <a:lnTo>
                        <a:pt x="1109" y="159"/>
                      </a:lnTo>
                      <a:lnTo>
                        <a:pt x="1107" y="161"/>
                      </a:lnTo>
                      <a:lnTo>
                        <a:pt x="1105" y="163"/>
                      </a:lnTo>
                      <a:lnTo>
                        <a:pt x="1100" y="171"/>
                      </a:lnTo>
                      <a:lnTo>
                        <a:pt x="1099" y="180"/>
                      </a:lnTo>
                      <a:lnTo>
                        <a:pt x="1101" y="190"/>
                      </a:lnTo>
                      <a:lnTo>
                        <a:pt x="1107" y="196"/>
                      </a:lnTo>
                      <a:lnTo>
                        <a:pt x="1108" y="197"/>
                      </a:lnTo>
                      <a:lnTo>
                        <a:pt x="1110" y="199"/>
                      </a:lnTo>
                      <a:lnTo>
                        <a:pt x="1111" y="199"/>
                      </a:lnTo>
                      <a:lnTo>
                        <a:pt x="1112" y="201"/>
                      </a:lnTo>
                      <a:lnTo>
                        <a:pt x="1113" y="203"/>
                      </a:lnTo>
                      <a:lnTo>
                        <a:pt x="1116" y="205"/>
                      </a:lnTo>
                      <a:lnTo>
                        <a:pt x="1118" y="206"/>
                      </a:lnTo>
                      <a:lnTo>
                        <a:pt x="1120" y="207"/>
                      </a:lnTo>
                      <a:lnTo>
                        <a:pt x="1122" y="206"/>
                      </a:lnTo>
                      <a:lnTo>
                        <a:pt x="1124" y="205"/>
                      </a:lnTo>
                      <a:lnTo>
                        <a:pt x="1125" y="204"/>
                      </a:lnTo>
                      <a:lnTo>
                        <a:pt x="1125" y="202"/>
                      </a:lnTo>
                      <a:lnTo>
                        <a:pt x="1127" y="201"/>
                      </a:lnTo>
                      <a:lnTo>
                        <a:pt x="1127" y="194"/>
                      </a:lnTo>
                      <a:lnTo>
                        <a:pt x="1124" y="190"/>
                      </a:lnTo>
                      <a:lnTo>
                        <a:pt x="1122" y="184"/>
                      </a:lnTo>
                      <a:lnTo>
                        <a:pt x="1122" y="179"/>
                      </a:lnTo>
                      <a:lnTo>
                        <a:pt x="1124" y="172"/>
                      </a:lnTo>
                      <a:lnTo>
                        <a:pt x="1128" y="169"/>
                      </a:lnTo>
                      <a:lnTo>
                        <a:pt x="1133" y="168"/>
                      </a:lnTo>
                      <a:lnTo>
                        <a:pt x="1139" y="168"/>
                      </a:lnTo>
                      <a:lnTo>
                        <a:pt x="1144" y="168"/>
                      </a:lnTo>
                      <a:lnTo>
                        <a:pt x="1150" y="166"/>
                      </a:lnTo>
                      <a:lnTo>
                        <a:pt x="1152" y="162"/>
                      </a:lnTo>
                      <a:lnTo>
                        <a:pt x="1152" y="158"/>
                      </a:lnTo>
                      <a:lnTo>
                        <a:pt x="1151" y="152"/>
                      </a:lnTo>
                      <a:lnTo>
                        <a:pt x="1149" y="147"/>
                      </a:lnTo>
                      <a:lnTo>
                        <a:pt x="1149" y="144"/>
                      </a:lnTo>
                      <a:lnTo>
                        <a:pt x="1149" y="140"/>
                      </a:lnTo>
                      <a:lnTo>
                        <a:pt x="1149" y="137"/>
                      </a:lnTo>
                      <a:lnTo>
                        <a:pt x="1151" y="134"/>
                      </a:lnTo>
                      <a:lnTo>
                        <a:pt x="1153" y="131"/>
                      </a:lnTo>
                      <a:lnTo>
                        <a:pt x="1155" y="130"/>
                      </a:lnTo>
                      <a:lnTo>
                        <a:pt x="1160" y="130"/>
                      </a:lnTo>
                      <a:lnTo>
                        <a:pt x="1163" y="129"/>
                      </a:lnTo>
                      <a:lnTo>
                        <a:pt x="1166" y="128"/>
                      </a:lnTo>
                      <a:lnTo>
                        <a:pt x="1167" y="126"/>
                      </a:lnTo>
                      <a:lnTo>
                        <a:pt x="1168" y="123"/>
                      </a:lnTo>
                      <a:lnTo>
                        <a:pt x="1168" y="119"/>
                      </a:lnTo>
                      <a:lnTo>
                        <a:pt x="1165" y="116"/>
                      </a:lnTo>
                      <a:lnTo>
                        <a:pt x="1163" y="113"/>
                      </a:lnTo>
                      <a:lnTo>
                        <a:pt x="1160" y="109"/>
                      </a:lnTo>
                      <a:lnTo>
                        <a:pt x="1157" y="106"/>
                      </a:lnTo>
                      <a:lnTo>
                        <a:pt x="1156" y="103"/>
                      </a:lnTo>
                      <a:lnTo>
                        <a:pt x="1155" y="101"/>
                      </a:lnTo>
                      <a:lnTo>
                        <a:pt x="1155" y="97"/>
                      </a:lnTo>
                      <a:lnTo>
                        <a:pt x="1156" y="94"/>
                      </a:lnTo>
                      <a:lnTo>
                        <a:pt x="1157" y="92"/>
                      </a:lnTo>
                      <a:lnTo>
                        <a:pt x="1160" y="91"/>
                      </a:lnTo>
                      <a:lnTo>
                        <a:pt x="1166" y="88"/>
                      </a:lnTo>
                      <a:lnTo>
                        <a:pt x="1176" y="88"/>
                      </a:lnTo>
                      <a:lnTo>
                        <a:pt x="1186" y="91"/>
                      </a:lnTo>
                      <a:lnTo>
                        <a:pt x="1195" y="93"/>
                      </a:lnTo>
                      <a:lnTo>
                        <a:pt x="1199" y="93"/>
                      </a:lnTo>
                      <a:lnTo>
                        <a:pt x="1204" y="93"/>
                      </a:lnTo>
                      <a:lnTo>
                        <a:pt x="1208" y="93"/>
                      </a:lnTo>
                      <a:lnTo>
                        <a:pt x="1211" y="95"/>
                      </a:lnTo>
                      <a:lnTo>
                        <a:pt x="1214" y="97"/>
                      </a:lnTo>
                      <a:lnTo>
                        <a:pt x="1215" y="100"/>
                      </a:lnTo>
                      <a:lnTo>
                        <a:pt x="1216" y="102"/>
                      </a:lnTo>
                      <a:lnTo>
                        <a:pt x="1218" y="104"/>
                      </a:lnTo>
                      <a:lnTo>
                        <a:pt x="1220" y="105"/>
                      </a:lnTo>
                      <a:lnTo>
                        <a:pt x="1222" y="106"/>
                      </a:lnTo>
                      <a:lnTo>
                        <a:pt x="1226" y="107"/>
                      </a:lnTo>
                      <a:lnTo>
                        <a:pt x="1227" y="109"/>
                      </a:lnTo>
                      <a:lnTo>
                        <a:pt x="1228" y="111"/>
                      </a:lnTo>
                      <a:lnTo>
                        <a:pt x="1229" y="113"/>
                      </a:lnTo>
                      <a:lnTo>
                        <a:pt x="1231" y="114"/>
                      </a:lnTo>
                      <a:lnTo>
                        <a:pt x="1232" y="114"/>
                      </a:lnTo>
                      <a:lnTo>
                        <a:pt x="1234" y="115"/>
                      </a:lnTo>
                      <a:lnTo>
                        <a:pt x="1236" y="116"/>
                      </a:lnTo>
                      <a:lnTo>
                        <a:pt x="1236" y="117"/>
                      </a:lnTo>
                      <a:lnTo>
                        <a:pt x="1238" y="118"/>
                      </a:lnTo>
                      <a:lnTo>
                        <a:pt x="1239" y="120"/>
                      </a:lnTo>
                      <a:lnTo>
                        <a:pt x="1240" y="123"/>
                      </a:lnTo>
                      <a:lnTo>
                        <a:pt x="1241" y="124"/>
                      </a:lnTo>
                      <a:lnTo>
                        <a:pt x="1240" y="126"/>
                      </a:lnTo>
                      <a:lnTo>
                        <a:pt x="1239" y="126"/>
                      </a:lnTo>
                      <a:lnTo>
                        <a:pt x="1237" y="127"/>
                      </a:lnTo>
                      <a:lnTo>
                        <a:pt x="1234" y="127"/>
                      </a:lnTo>
                      <a:lnTo>
                        <a:pt x="1232" y="127"/>
                      </a:lnTo>
                      <a:lnTo>
                        <a:pt x="1231" y="127"/>
                      </a:lnTo>
                      <a:lnTo>
                        <a:pt x="1229" y="128"/>
                      </a:lnTo>
                      <a:lnTo>
                        <a:pt x="1229" y="129"/>
                      </a:lnTo>
                      <a:lnTo>
                        <a:pt x="1229" y="130"/>
                      </a:lnTo>
                      <a:lnTo>
                        <a:pt x="1229" y="133"/>
                      </a:lnTo>
                      <a:lnTo>
                        <a:pt x="1232" y="133"/>
                      </a:lnTo>
                      <a:lnTo>
                        <a:pt x="1234" y="134"/>
                      </a:lnTo>
                      <a:lnTo>
                        <a:pt x="1237" y="136"/>
                      </a:lnTo>
                      <a:lnTo>
                        <a:pt x="1238" y="138"/>
                      </a:lnTo>
                      <a:lnTo>
                        <a:pt x="1239" y="141"/>
                      </a:lnTo>
                      <a:lnTo>
                        <a:pt x="1238" y="144"/>
                      </a:lnTo>
                      <a:lnTo>
                        <a:pt x="1237" y="146"/>
                      </a:lnTo>
                      <a:lnTo>
                        <a:pt x="1233" y="148"/>
                      </a:lnTo>
                      <a:lnTo>
                        <a:pt x="1231" y="150"/>
                      </a:lnTo>
                      <a:lnTo>
                        <a:pt x="1228" y="151"/>
                      </a:lnTo>
                      <a:lnTo>
                        <a:pt x="1225" y="152"/>
                      </a:lnTo>
                      <a:lnTo>
                        <a:pt x="1221" y="153"/>
                      </a:lnTo>
                      <a:lnTo>
                        <a:pt x="1218" y="155"/>
                      </a:lnTo>
                      <a:lnTo>
                        <a:pt x="1216" y="156"/>
                      </a:lnTo>
                      <a:lnTo>
                        <a:pt x="1216" y="157"/>
                      </a:lnTo>
                      <a:lnTo>
                        <a:pt x="1217" y="159"/>
                      </a:lnTo>
                      <a:lnTo>
                        <a:pt x="1218" y="160"/>
                      </a:lnTo>
                      <a:lnTo>
                        <a:pt x="1220" y="161"/>
                      </a:lnTo>
                      <a:lnTo>
                        <a:pt x="1222" y="163"/>
                      </a:lnTo>
                      <a:lnTo>
                        <a:pt x="1225" y="166"/>
                      </a:lnTo>
                      <a:lnTo>
                        <a:pt x="1227" y="167"/>
                      </a:lnTo>
                      <a:lnTo>
                        <a:pt x="1228" y="169"/>
                      </a:lnTo>
                      <a:lnTo>
                        <a:pt x="1228" y="171"/>
                      </a:lnTo>
                      <a:lnTo>
                        <a:pt x="1227" y="173"/>
                      </a:lnTo>
                      <a:lnTo>
                        <a:pt x="1227" y="174"/>
                      </a:lnTo>
                      <a:lnTo>
                        <a:pt x="1226" y="177"/>
                      </a:lnTo>
                      <a:lnTo>
                        <a:pt x="1225" y="179"/>
                      </a:lnTo>
                      <a:lnTo>
                        <a:pt x="1225" y="181"/>
                      </a:lnTo>
                      <a:lnTo>
                        <a:pt x="1226" y="183"/>
                      </a:lnTo>
                      <a:lnTo>
                        <a:pt x="1228" y="185"/>
                      </a:lnTo>
                      <a:lnTo>
                        <a:pt x="1230" y="188"/>
                      </a:lnTo>
                      <a:lnTo>
                        <a:pt x="1232" y="190"/>
                      </a:lnTo>
                      <a:lnTo>
                        <a:pt x="1233" y="192"/>
                      </a:lnTo>
                      <a:lnTo>
                        <a:pt x="1233" y="203"/>
                      </a:lnTo>
                      <a:lnTo>
                        <a:pt x="1229" y="212"/>
                      </a:lnTo>
                      <a:lnTo>
                        <a:pt x="1223" y="221"/>
                      </a:lnTo>
                      <a:lnTo>
                        <a:pt x="1216" y="229"/>
                      </a:lnTo>
                      <a:lnTo>
                        <a:pt x="1214" y="233"/>
                      </a:lnTo>
                      <a:lnTo>
                        <a:pt x="1209" y="237"/>
                      </a:lnTo>
                      <a:lnTo>
                        <a:pt x="1204" y="243"/>
                      </a:lnTo>
                      <a:lnTo>
                        <a:pt x="1198" y="247"/>
                      </a:lnTo>
                      <a:lnTo>
                        <a:pt x="1193" y="249"/>
                      </a:lnTo>
                      <a:lnTo>
                        <a:pt x="1188" y="247"/>
                      </a:lnTo>
                      <a:lnTo>
                        <a:pt x="1182" y="239"/>
                      </a:lnTo>
                      <a:lnTo>
                        <a:pt x="1177" y="232"/>
                      </a:lnTo>
                      <a:lnTo>
                        <a:pt x="1171" y="225"/>
                      </a:lnTo>
                      <a:lnTo>
                        <a:pt x="1167" y="223"/>
                      </a:lnTo>
                      <a:lnTo>
                        <a:pt x="1164" y="223"/>
                      </a:lnTo>
                      <a:lnTo>
                        <a:pt x="1163" y="224"/>
                      </a:lnTo>
                      <a:lnTo>
                        <a:pt x="1161" y="226"/>
                      </a:lnTo>
                      <a:lnTo>
                        <a:pt x="1161" y="228"/>
                      </a:lnTo>
                      <a:lnTo>
                        <a:pt x="1162" y="232"/>
                      </a:lnTo>
                      <a:lnTo>
                        <a:pt x="1162" y="234"/>
                      </a:lnTo>
                      <a:lnTo>
                        <a:pt x="1163" y="236"/>
                      </a:lnTo>
                      <a:lnTo>
                        <a:pt x="1164" y="238"/>
                      </a:lnTo>
                      <a:lnTo>
                        <a:pt x="1165" y="240"/>
                      </a:lnTo>
                      <a:lnTo>
                        <a:pt x="1166" y="243"/>
                      </a:lnTo>
                      <a:lnTo>
                        <a:pt x="1166" y="244"/>
                      </a:lnTo>
                      <a:lnTo>
                        <a:pt x="1167" y="246"/>
                      </a:lnTo>
                      <a:lnTo>
                        <a:pt x="1168" y="248"/>
                      </a:lnTo>
                      <a:lnTo>
                        <a:pt x="1168" y="250"/>
                      </a:lnTo>
                      <a:lnTo>
                        <a:pt x="1170" y="253"/>
                      </a:lnTo>
                      <a:lnTo>
                        <a:pt x="1170" y="255"/>
                      </a:lnTo>
                      <a:lnTo>
                        <a:pt x="1170" y="256"/>
                      </a:lnTo>
                      <a:lnTo>
                        <a:pt x="1170" y="258"/>
                      </a:lnTo>
                      <a:lnTo>
                        <a:pt x="1168" y="258"/>
                      </a:lnTo>
                      <a:lnTo>
                        <a:pt x="1166" y="258"/>
                      </a:lnTo>
                      <a:lnTo>
                        <a:pt x="1164" y="258"/>
                      </a:lnTo>
                      <a:lnTo>
                        <a:pt x="1157" y="255"/>
                      </a:lnTo>
                      <a:lnTo>
                        <a:pt x="1153" y="250"/>
                      </a:lnTo>
                      <a:lnTo>
                        <a:pt x="1149" y="247"/>
                      </a:lnTo>
                      <a:lnTo>
                        <a:pt x="1143" y="244"/>
                      </a:lnTo>
                      <a:lnTo>
                        <a:pt x="1135" y="245"/>
                      </a:lnTo>
                      <a:lnTo>
                        <a:pt x="1132" y="247"/>
                      </a:lnTo>
                      <a:lnTo>
                        <a:pt x="1133" y="249"/>
                      </a:lnTo>
                      <a:lnTo>
                        <a:pt x="1135" y="254"/>
                      </a:lnTo>
                      <a:lnTo>
                        <a:pt x="1139" y="258"/>
                      </a:lnTo>
                      <a:lnTo>
                        <a:pt x="1140" y="262"/>
                      </a:lnTo>
                      <a:lnTo>
                        <a:pt x="1140" y="267"/>
                      </a:lnTo>
                      <a:lnTo>
                        <a:pt x="1133" y="277"/>
                      </a:lnTo>
                      <a:lnTo>
                        <a:pt x="1124" y="284"/>
                      </a:lnTo>
                      <a:lnTo>
                        <a:pt x="1120" y="287"/>
                      </a:lnTo>
                      <a:lnTo>
                        <a:pt x="1116" y="289"/>
                      </a:lnTo>
                      <a:lnTo>
                        <a:pt x="1111" y="290"/>
                      </a:lnTo>
                      <a:lnTo>
                        <a:pt x="1107" y="289"/>
                      </a:lnTo>
                      <a:lnTo>
                        <a:pt x="1098" y="284"/>
                      </a:lnTo>
                      <a:lnTo>
                        <a:pt x="1091" y="278"/>
                      </a:lnTo>
                      <a:lnTo>
                        <a:pt x="1085" y="271"/>
                      </a:lnTo>
                      <a:lnTo>
                        <a:pt x="1078" y="267"/>
                      </a:lnTo>
                      <a:lnTo>
                        <a:pt x="1072" y="266"/>
                      </a:lnTo>
                      <a:lnTo>
                        <a:pt x="1065" y="268"/>
                      </a:lnTo>
                      <a:lnTo>
                        <a:pt x="1061" y="272"/>
                      </a:lnTo>
                      <a:lnTo>
                        <a:pt x="1059" y="277"/>
                      </a:lnTo>
                      <a:lnTo>
                        <a:pt x="1061" y="281"/>
                      </a:lnTo>
                      <a:lnTo>
                        <a:pt x="1067" y="284"/>
                      </a:lnTo>
                      <a:lnTo>
                        <a:pt x="1070" y="284"/>
                      </a:lnTo>
                      <a:lnTo>
                        <a:pt x="1074" y="286"/>
                      </a:lnTo>
                      <a:lnTo>
                        <a:pt x="1075" y="287"/>
                      </a:lnTo>
                      <a:lnTo>
                        <a:pt x="1076" y="289"/>
                      </a:lnTo>
                      <a:lnTo>
                        <a:pt x="1077" y="291"/>
                      </a:lnTo>
                      <a:lnTo>
                        <a:pt x="1078" y="293"/>
                      </a:lnTo>
                      <a:lnTo>
                        <a:pt x="1084" y="297"/>
                      </a:lnTo>
                      <a:lnTo>
                        <a:pt x="1089" y="298"/>
                      </a:lnTo>
                      <a:lnTo>
                        <a:pt x="1098" y="298"/>
                      </a:lnTo>
                      <a:lnTo>
                        <a:pt x="1102" y="298"/>
                      </a:lnTo>
                      <a:lnTo>
                        <a:pt x="1107" y="298"/>
                      </a:lnTo>
                      <a:lnTo>
                        <a:pt x="1111" y="298"/>
                      </a:lnTo>
                      <a:lnTo>
                        <a:pt x="1116" y="300"/>
                      </a:lnTo>
                      <a:lnTo>
                        <a:pt x="1118" y="304"/>
                      </a:lnTo>
                      <a:lnTo>
                        <a:pt x="1119" y="308"/>
                      </a:lnTo>
                      <a:lnTo>
                        <a:pt x="1118" y="311"/>
                      </a:lnTo>
                      <a:lnTo>
                        <a:pt x="1116" y="313"/>
                      </a:lnTo>
                      <a:lnTo>
                        <a:pt x="1113" y="315"/>
                      </a:lnTo>
                      <a:lnTo>
                        <a:pt x="1106" y="324"/>
                      </a:lnTo>
                      <a:lnTo>
                        <a:pt x="1100" y="335"/>
                      </a:lnTo>
                      <a:lnTo>
                        <a:pt x="1094" y="345"/>
                      </a:lnTo>
                      <a:lnTo>
                        <a:pt x="1087" y="353"/>
                      </a:lnTo>
                      <a:lnTo>
                        <a:pt x="1081" y="354"/>
                      </a:lnTo>
                      <a:lnTo>
                        <a:pt x="1076" y="354"/>
                      </a:lnTo>
                      <a:lnTo>
                        <a:pt x="1069" y="353"/>
                      </a:lnTo>
                      <a:lnTo>
                        <a:pt x="1064" y="353"/>
                      </a:lnTo>
                      <a:lnTo>
                        <a:pt x="1059" y="353"/>
                      </a:lnTo>
                      <a:lnTo>
                        <a:pt x="1056" y="357"/>
                      </a:lnTo>
                      <a:lnTo>
                        <a:pt x="1055" y="362"/>
                      </a:lnTo>
                      <a:lnTo>
                        <a:pt x="1055" y="366"/>
                      </a:lnTo>
                      <a:lnTo>
                        <a:pt x="1056" y="370"/>
                      </a:lnTo>
                      <a:lnTo>
                        <a:pt x="1055" y="374"/>
                      </a:lnTo>
                      <a:lnTo>
                        <a:pt x="1053" y="376"/>
                      </a:lnTo>
                      <a:lnTo>
                        <a:pt x="1047" y="377"/>
                      </a:lnTo>
                      <a:lnTo>
                        <a:pt x="1041" y="376"/>
                      </a:lnTo>
                      <a:lnTo>
                        <a:pt x="1033" y="374"/>
                      </a:lnTo>
                      <a:lnTo>
                        <a:pt x="1025" y="373"/>
                      </a:lnTo>
                      <a:lnTo>
                        <a:pt x="1019" y="373"/>
                      </a:lnTo>
                      <a:lnTo>
                        <a:pt x="1014" y="375"/>
                      </a:lnTo>
                      <a:lnTo>
                        <a:pt x="1012" y="377"/>
                      </a:lnTo>
                      <a:lnTo>
                        <a:pt x="1015" y="379"/>
                      </a:lnTo>
                      <a:lnTo>
                        <a:pt x="1020" y="381"/>
                      </a:lnTo>
                      <a:lnTo>
                        <a:pt x="1026" y="384"/>
                      </a:lnTo>
                      <a:lnTo>
                        <a:pt x="1031" y="385"/>
                      </a:lnTo>
                      <a:lnTo>
                        <a:pt x="1034" y="386"/>
                      </a:lnTo>
                      <a:lnTo>
                        <a:pt x="1039" y="388"/>
                      </a:lnTo>
                      <a:lnTo>
                        <a:pt x="1043" y="391"/>
                      </a:lnTo>
                      <a:lnTo>
                        <a:pt x="1046" y="395"/>
                      </a:lnTo>
                      <a:lnTo>
                        <a:pt x="1045" y="399"/>
                      </a:lnTo>
                      <a:lnTo>
                        <a:pt x="1041" y="403"/>
                      </a:lnTo>
                      <a:lnTo>
                        <a:pt x="1033" y="407"/>
                      </a:lnTo>
                      <a:lnTo>
                        <a:pt x="1024" y="410"/>
                      </a:lnTo>
                      <a:lnTo>
                        <a:pt x="1017" y="414"/>
                      </a:lnTo>
                      <a:lnTo>
                        <a:pt x="1014" y="415"/>
                      </a:lnTo>
                      <a:lnTo>
                        <a:pt x="1014" y="418"/>
                      </a:lnTo>
                      <a:lnTo>
                        <a:pt x="1013" y="420"/>
                      </a:lnTo>
                      <a:lnTo>
                        <a:pt x="1013" y="422"/>
                      </a:lnTo>
                      <a:lnTo>
                        <a:pt x="1013" y="424"/>
                      </a:lnTo>
                      <a:lnTo>
                        <a:pt x="1012" y="425"/>
                      </a:lnTo>
                      <a:lnTo>
                        <a:pt x="1010" y="430"/>
                      </a:lnTo>
                      <a:lnTo>
                        <a:pt x="1008" y="434"/>
                      </a:lnTo>
                      <a:lnTo>
                        <a:pt x="1004" y="437"/>
                      </a:lnTo>
                      <a:lnTo>
                        <a:pt x="1001" y="441"/>
                      </a:lnTo>
                      <a:lnTo>
                        <a:pt x="992" y="452"/>
                      </a:lnTo>
                      <a:lnTo>
                        <a:pt x="986" y="464"/>
                      </a:lnTo>
                      <a:lnTo>
                        <a:pt x="979" y="478"/>
                      </a:lnTo>
                      <a:lnTo>
                        <a:pt x="974" y="489"/>
                      </a:lnTo>
                      <a:lnTo>
                        <a:pt x="968" y="499"/>
                      </a:lnTo>
                      <a:lnTo>
                        <a:pt x="964" y="510"/>
                      </a:lnTo>
                      <a:lnTo>
                        <a:pt x="961" y="522"/>
                      </a:lnTo>
                      <a:lnTo>
                        <a:pt x="961" y="531"/>
                      </a:lnTo>
                      <a:lnTo>
                        <a:pt x="960" y="542"/>
                      </a:lnTo>
                      <a:lnTo>
                        <a:pt x="960" y="553"/>
                      </a:lnTo>
                      <a:lnTo>
                        <a:pt x="963" y="563"/>
                      </a:lnTo>
                      <a:lnTo>
                        <a:pt x="966" y="571"/>
                      </a:lnTo>
                      <a:lnTo>
                        <a:pt x="971" y="575"/>
                      </a:lnTo>
                      <a:lnTo>
                        <a:pt x="977" y="577"/>
                      </a:lnTo>
                      <a:lnTo>
                        <a:pt x="983" y="577"/>
                      </a:lnTo>
                      <a:lnTo>
                        <a:pt x="990" y="578"/>
                      </a:lnTo>
                      <a:lnTo>
                        <a:pt x="994" y="582"/>
                      </a:lnTo>
                      <a:lnTo>
                        <a:pt x="998" y="591"/>
                      </a:lnTo>
                      <a:lnTo>
                        <a:pt x="998" y="599"/>
                      </a:lnTo>
                      <a:lnTo>
                        <a:pt x="998" y="607"/>
                      </a:lnTo>
                      <a:lnTo>
                        <a:pt x="999" y="615"/>
                      </a:lnTo>
                      <a:lnTo>
                        <a:pt x="1002" y="622"/>
                      </a:lnTo>
                      <a:lnTo>
                        <a:pt x="1004" y="629"/>
                      </a:lnTo>
                      <a:lnTo>
                        <a:pt x="1005" y="637"/>
                      </a:lnTo>
                      <a:lnTo>
                        <a:pt x="1005" y="639"/>
                      </a:lnTo>
                      <a:lnTo>
                        <a:pt x="1005" y="641"/>
                      </a:lnTo>
                      <a:lnTo>
                        <a:pt x="1007" y="642"/>
                      </a:lnTo>
                      <a:lnTo>
                        <a:pt x="1007" y="644"/>
                      </a:lnTo>
                      <a:lnTo>
                        <a:pt x="1008" y="646"/>
                      </a:lnTo>
                      <a:lnTo>
                        <a:pt x="1010" y="646"/>
                      </a:lnTo>
                      <a:lnTo>
                        <a:pt x="1012" y="646"/>
                      </a:lnTo>
                      <a:lnTo>
                        <a:pt x="1018" y="643"/>
                      </a:lnTo>
                      <a:lnTo>
                        <a:pt x="1022" y="640"/>
                      </a:lnTo>
                      <a:lnTo>
                        <a:pt x="1026" y="638"/>
                      </a:lnTo>
                      <a:lnTo>
                        <a:pt x="1032" y="637"/>
                      </a:lnTo>
                      <a:lnTo>
                        <a:pt x="1039" y="639"/>
                      </a:lnTo>
                      <a:lnTo>
                        <a:pt x="1042" y="641"/>
                      </a:lnTo>
                      <a:lnTo>
                        <a:pt x="1045" y="643"/>
                      </a:lnTo>
                      <a:lnTo>
                        <a:pt x="1048" y="646"/>
                      </a:lnTo>
                      <a:lnTo>
                        <a:pt x="1052" y="647"/>
                      </a:lnTo>
                      <a:lnTo>
                        <a:pt x="1056" y="648"/>
                      </a:lnTo>
                      <a:lnTo>
                        <a:pt x="1066" y="648"/>
                      </a:lnTo>
                      <a:lnTo>
                        <a:pt x="1078" y="646"/>
                      </a:lnTo>
                      <a:lnTo>
                        <a:pt x="1086" y="647"/>
                      </a:lnTo>
                      <a:lnTo>
                        <a:pt x="1091" y="650"/>
                      </a:lnTo>
                      <a:lnTo>
                        <a:pt x="1095" y="655"/>
                      </a:lnTo>
                      <a:lnTo>
                        <a:pt x="1098" y="661"/>
                      </a:lnTo>
                      <a:lnTo>
                        <a:pt x="1102" y="668"/>
                      </a:lnTo>
                      <a:lnTo>
                        <a:pt x="1108" y="674"/>
                      </a:lnTo>
                      <a:lnTo>
                        <a:pt x="1116" y="679"/>
                      </a:lnTo>
                      <a:lnTo>
                        <a:pt x="1124" y="683"/>
                      </a:lnTo>
                      <a:lnTo>
                        <a:pt x="1135" y="690"/>
                      </a:lnTo>
                      <a:lnTo>
                        <a:pt x="1146" y="696"/>
                      </a:lnTo>
                      <a:lnTo>
                        <a:pt x="1159" y="703"/>
                      </a:lnTo>
                      <a:lnTo>
                        <a:pt x="1171" y="707"/>
                      </a:lnTo>
                      <a:lnTo>
                        <a:pt x="1182" y="709"/>
                      </a:lnTo>
                      <a:lnTo>
                        <a:pt x="1195" y="709"/>
                      </a:lnTo>
                      <a:lnTo>
                        <a:pt x="1201" y="709"/>
                      </a:lnTo>
                      <a:lnTo>
                        <a:pt x="1210" y="709"/>
                      </a:lnTo>
                      <a:lnTo>
                        <a:pt x="1216" y="712"/>
                      </a:lnTo>
                      <a:lnTo>
                        <a:pt x="1219" y="719"/>
                      </a:lnTo>
                      <a:lnTo>
                        <a:pt x="1221" y="727"/>
                      </a:lnTo>
                      <a:lnTo>
                        <a:pt x="1220" y="734"/>
                      </a:lnTo>
                      <a:lnTo>
                        <a:pt x="1216" y="739"/>
                      </a:lnTo>
                      <a:lnTo>
                        <a:pt x="1211" y="745"/>
                      </a:lnTo>
                      <a:lnTo>
                        <a:pt x="1209" y="751"/>
                      </a:lnTo>
                      <a:lnTo>
                        <a:pt x="1209" y="753"/>
                      </a:lnTo>
                      <a:lnTo>
                        <a:pt x="1210" y="757"/>
                      </a:lnTo>
                      <a:lnTo>
                        <a:pt x="1212" y="759"/>
                      </a:lnTo>
                      <a:lnTo>
                        <a:pt x="1214" y="762"/>
                      </a:lnTo>
                      <a:lnTo>
                        <a:pt x="1214" y="764"/>
                      </a:lnTo>
                      <a:lnTo>
                        <a:pt x="1215" y="771"/>
                      </a:lnTo>
                      <a:lnTo>
                        <a:pt x="1216" y="779"/>
                      </a:lnTo>
                      <a:lnTo>
                        <a:pt x="1217" y="785"/>
                      </a:lnTo>
                      <a:lnTo>
                        <a:pt x="1220" y="792"/>
                      </a:lnTo>
                      <a:lnTo>
                        <a:pt x="1227" y="795"/>
                      </a:lnTo>
                      <a:lnTo>
                        <a:pt x="1229" y="795"/>
                      </a:lnTo>
                      <a:lnTo>
                        <a:pt x="1231" y="795"/>
                      </a:lnTo>
                      <a:lnTo>
                        <a:pt x="1233" y="796"/>
                      </a:lnTo>
                      <a:lnTo>
                        <a:pt x="1237" y="796"/>
                      </a:lnTo>
                      <a:lnTo>
                        <a:pt x="1239" y="795"/>
                      </a:lnTo>
                      <a:lnTo>
                        <a:pt x="1241" y="794"/>
                      </a:lnTo>
                      <a:lnTo>
                        <a:pt x="1242" y="793"/>
                      </a:lnTo>
                      <a:lnTo>
                        <a:pt x="1243" y="791"/>
                      </a:lnTo>
                      <a:lnTo>
                        <a:pt x="1243" y="789"/>
                      </a:lnTo>
                      <a:lnTo>
                        <a:pt x="1242" y="786"/>
                      </a:lnTo>
                      <a:lnTo>
                        <a:pt x="1241" y="784"/>
                      </a:lnTo>
                      <a:lnTo>
                        <a:pt x="1240" y="782"/>
                      </a:lnTo>
                      <a:lnTo>
                        <a:pt x="1248" y="782"/>
                      </a:lnTo>
                      <a:lnTo>
                        <a:pt x="1253" y="785"/>
                      </a:lnTo>
                      <a:lnTo>
                        <a:pt x="1256" y="792"/>
                      </a:lnTo>
                      <a:lnTo>
                        <a:pt x="1258" y="800"/>
                      </a:lnTo>
                      <a:lnTo>
                        <a:pt x="1258" y="806"/>
                      </a:lnTo>
                      <a:lnTo>
                        <a:pt x="1258" y="813"/>
                      </a:lnTo>
                      <a:lnTo>
                        <a:pt x="1255" y="821"/>
                      </a:lnTo>
                      <a:lnTo>
                        <a:pt x="1253" y="828"/>
                      </a:lnTo>
                      <a:lnTo>
                        <a:pt x="1253" y="835"/>
                      </a:lnTo>
                      <a:lnTo>
                        <a:pt x="1254" y="842"/>
                      </a:lnTo>
                      <a:lnTo>
                        <a:pt x="1260" y="846"/>
                      </a:lnTo>
                      <a:lnTo>
                        <a:pt x="1269" y="850"/>
                      </a:lnTo>
                      <a:lnTo>
                        <a:pt x="1275" y="849"/>
                      </a:lnTo>
                      <a:lnTo>
                        <a:pt x="1279" y="845"/>
                      </a:lnTo>
                      <a:lnTo>
                        <a:pt x="1280" y="835"/>
                      </a:lnTo>
                      <a:lnTo>
                        <a:pt x="1280" y="832"/>
                      </a:lnTo>
                      <a:lnTo>
                        <a:pt x="1280" y="829"/>
                      </a:lnTo>
                      <a:lnTo>
                        <a:pt x="1281" y="827"/>
                      </a:lnTo>
                      <a:lnTo>
                        <a:pt x="1283" y="826"/>
                      </a:lnTo>
                      <a:lnTo>
                        <a:pt x="1284" y="826"/>
                      </a:lnTo>
                      <a:lnTo>
                        <a:pt x="1286" y="826"/>
                      </a:lnTo>
                      <a:lnTo>
                        <a:pt x="1288" y="826"/>
                      </a:lnTo>
                      <a:lnTo>
                        <a:pt x="1291" y="826"/>
                      </a:lnTo>
                      <a:lnTo>
                        <a:pt x="1292" y="825"/>
                      </a:lnTo>
                      <a:lnTo>
                        <a:pt x="1294" y="824"/>
                      </a:lnTo>
                      <a:lnTo>
                        <a:pt x="1295" y="822"/>
                      </a:lnTo>
                      <a:lnTo>
                        <a:pt x="1299" y="812"/>
                      </a:lnTo>
                      <a:lnTo>
                        <a:pt x="1299" y="803"/>
                      </a:lnTo>
                      <a:lnTo>
                        <a:pt x="1296" y="793"/>
                      </a:lnTo>
                      <a:lnTo>
                        <a:pt x="1293" y="783"/>
                      </a:lnTo>
                      <a:lnTo>
                        <a:pt x="1291" y="773"/>
                      </a:lnTo>
                      <a:lnTo>
                        <a:pt x="1290" y="762"/>
                      </a:lnTo>
                      <a:lnTo>
                        <a:pt x="1287" y="752"/>
                      </a:lnTo>
                      <a:lnTo>
                        <a:pt x="1284" y="742"/>
                      </a:lnTo>
                      <a:lnTo>
                        <a:pt x="1277" y="731"/>
                      </a:lnTo>
                      <a:lnTo>
                        <a:pt x="1276" y="729"/>
                      </a:lnTo>
                      <a:lnTo>
                        <a:pt x="1275" y="727"/>
                      </a:lnTo>
                      <a:lnTo>
                        <a:pt x="1275" y="726"/>
                      </a:lnTo>
                      <a:lnTo>
                        <a:pt x="1276" y="725"/>
                      </a:lnTo>
                      <a:lnTo>
                        <a:pt x="1279" y="724"/>
                      </a:lnTo>
                      <a:lnTo>
                        <a:pt x="1281" y="723"/>
                      </a:lnTo>
                      <a:lnTo>
                        <a:pt x="1284" y="723"/>
                      </a:lnTo>
                      <a:lnTo>
                        <a:pt x="1286" y="722"/>
                      </a:lnTo>
                      <a:lnTo>
                        <a:pt x="1288" y="722"/>
                      </a:lnTo>
                      <a:lnTo>
                        <a:pt x="1291" y="720"/>
                      </a:lnTo>
                      <a:lnTo>
                        <a:pt x="1302" y="716"/>
                      </a:lnTo>
                      <a:lnTo>
                        <a:pt x="1313" y="712"/>
                      </a:lnTo>
                      <a:lnTo>
                        <a:pt x="1319" y="707"/>
                      </a:lnTo>
                      <a:lnTo>
                        <a:pt x="1324" y="702"/>
                      </a:lnTo>
                      <a:lnTo>
                        <a:pt x="1328" y="696"/>
                      </a:lnTo>
                      <a:lnTo>
                        <a:pt x="1330" y="693"/>
                      </a:lnTo>
                      <a:lnTo>
                        <a:pt x="1334" y="690"/>
                      </a:lnTo>
                      <a:lnTo>
                        <a:pt x="1337" y="686"/>
                      </a:lnTo>
                      <a:lnTo>
                        <a:pt x="1339" y="683"/>
                      </a:lnTo>
                      <a:lnTo>
                        <a:pt x="1339" y="671"/>
                      </a:lnTo>
                      <a:lnTo>
                        <a:pt x="1338" y="658"/>
                      </a:lnTo>
                      <a:lnTo>
                        <a:pt x="1335" y="646"/>
                      </a:lnTo>
                      <a:lnTo>
                        <a:pt x="1330" y="622"/>
                      </a:lnTo>
                      <a:lnTo>
                        <a:pt x="1321" y="602"/>
                      </a:lnTo>
                      <a:lnTo>
                        <a:pt x="1316" y="594"/>
                      </a:lnTo>
                      <a:lnTo>
                        <a:pt x="1309" y="587"/>
                      </a:lnTo>
                      <a:lnTo>
                        <a:pt x="1304" y="580"/>
                      </a:lnTo>
                      <a:lnTo>
                        <a:pt x="1299" y="572"/>
                      </a:lnTo>
                      <a:lnTo>
                        <a:pt x="1297" y="562"/>
                      </a:lnTo>
                      <a:lnTo>
                        <a:pt x="1298" y="557"/>
                      </a:lnTo>
                      <a:lnTo>
                        <a:pt x="1298" y="554"/>
                      </a:lnTo>
                      <a:lnTo>
                        <a:pt x="1301" y="551"/>
                      </a:lnTo>
                      <a:lnTo>
                        <a:pt x="1303" y="549"/>
                      </a:lnTo>
                      <a:lnTo>
                        <a:pt x="1306" y="546"/>
                      </a:lnTo>
                      <a:lnTo>
                        <a:pt x="1309" y="544"/>
                      </a:lnTo>
                      <a:lnTo>
                        <a:pt x="1312" y="541"/>
                      </a:lnTo>
                      <a:lnTo>
                        <a:pt x="1314" y="538"/>
                      </a:lnTo>
                      <a:lnTo>
                        <a:pt x="1316" y="534"/>
                      </a:lnTo>
                      <a:lnTo>
                        <a:pt x="1317" y="531"/>
                      </a:lnTo>
                      <a:lnTo>
                        <a:pt x="1319" y="526"/>
                      </a:lnTo>
                      <a:lnTo>
                        <a:pt x="1318" y="521"/>
                      </a:lnTo>
                      <a:lnTo>
                        <a:pt x="1317" y="518"/>
                      </a:lnTo>
                      <a:lnTo>
                        <a:pt x="1315" y="513"/>
                      </a:lnTo>
                      <a:lnTo>
                        <a:pt x="1314" y="509"/>
                      </a:lnTo>
                      <a:lnTo>
                        <a:pt x="1314" y="506"/>
                      </a:lnTo>
                      <a:lnTo>
                        <a:pt x="1314" y="502"/>
                      </a:lnTo>
                      <a:lnTo>
                        <a:pt x="1313" y="499"/>
                      </a:lnTo>
                      <a:lnTo>
                        <a:pt x="1310" y="496"/>
                      </a:lnTo>
                      <a:lnTo>
                        <a:pt x="1309" y="495"/>
                      </a:lnTo>
                      <a:lnTo>
                        <a:pt x="1307" y="494"/>
                      </a:lnTo>
                      <a:lnTo>
                        <a:pt x="1305" y="493"/>
                      </a:lnTo>
                      <a:lnTo>
                        <a:pt x="1303" y="493"/>
                      </a:lnTo>
                      <a:lnTo>
                        <a:pt x="1301" y="491"/>
                      </a:lnTo>
                      <a:lnTo>
                        <a:pt x="1299" y="491"/>
                      </a:lnTo>
                      <a:lnTo>
                        <a:pt x="1297" y="491"/>
                      </a:lnTo>
                      <a:lnTo>
                        <a:pt x="1297" y="490"/>
                      </a:lnTo>
                      <a:lnTo>
                        <a:pt x="1297" y="489"/>
                      </a:lnTo>
                      <a:lnTo>
                        <a:pt x="1297" y="488"/>
                      </a:lnTo>
                      <a:lnTo>
                        <a:pt x="1299" y="486"/>
                      </a:lnTo>
                      <a:lnTo>
                        <a:pt x="1302" y="483"/>
                      </a:lnTo>
                      <a:lnTo>
                        <a:pt x="1308" y="469"/>
                      </a:lnTo>
                      <a:lnTo>
                        <a:pt x="1308" y="457"/>
                      </a:lnTo>
                      <a:lnTo>
                        <a:pt x="1302" y="445"/>
                      </a:lnTo>
                      <a:lnTo>
                        <a:pt x="1301" y="440"/>
                      </a:lnTo>
                      <a:lnTo>
                        <a:pt x="1302" y="434"/>
                      </a:lnTo>
                      <a:lnTo>
                        <a:pt x="1304" y="428"/>
                      </a:lnTo>
                      <a:lnTo>
                        <a:pt x="1305" y="425"/>
                      </a:lnTo>
                      <a:lnTo>
                        <a:pt x="1306" y="422"/>
                      </a:lnTo>
                      <a:lnTo>
                        <a:pt x="1307" y="419"/>
                      </a:lnTo>
                      <a:lnTo>
                        <a:pt x="1308" y="415"/>
                      </a:lnTo>
                      <a:lnTo>
                        <a:pt x="1310" y="412"/>
                      </a:lnTo>
                      <a:lnTo>
                        <a:pt x="1313" y="410"/>
                      </a:lnTo>
                      <a:lnTo>
                        <a:pt x="1314" y="409"/>
                      </a:lnTo>
                      <a:lnTo>
                        <a:pt x="1315" y="409"/>
                      </a:lnTo>
                      <a:lnTo>
                        <a:pt x="1317" y="410"/>
                      </a:lnTo>
                      <a:lnTo>
                        <a:pt x="1318" y="411"/>
                      </a:lnTo>
                      <a:lnTo>
                        <a:pt x="1319" y="413"/>
                      </a:lnTo>
                      <a:lnTo>
                        <a:pt x="1320" y="415"/>
                      </a:lnTo>
                      <a:lnTo>
                        <a:pt x="1321" y="417"/>
                      </a:lnTo>
                      <a:lnTo>
                        <a:pt x="1325" y="419"/>
                      </a:lnTo>
                      <a:lnTo>
                        <a:pt x="1327" y="419"/>
                      </a:lnTo>
                      <a:lnTo>
                        <a:pt x="1329" y="420"/>
                      </a:lnTo>
                      <a:lnTo>
                        <a:pt x="1332" y="420"/>
                      </a:lnTo>
                      <a:lnTo>
                        <a:pt x="1335" y="421"/>
                      </a:lnTo>
                      <a:lnTo>
                        <a:pt x="1346" y="423"/>
                      </a:lnTo>
                      <a:lnTo>
                        <a:pt x="1356" y="428"/>
                      </a:lnTo>
                      <a:lnTo>
                        <a:pt x="1365" y="430"/>
                      </a:lnTo>
                      <a:lnTo>
                        <a:pt x="1369" y="430"/>
                      </a:lnTo>
                      <a:lnTo>
                        <a:pt x="1372" y="430"/>
                      </a:lnTo>
                      <a:lnTo>
                        <a:pt x="1376" y="429"/>
                      </a:lnTo>
                      <a:lnTo>
                        <a:pt x="1380" y="429"/>
                      </a:lnTo>
                      <a:lnTo>
                        <a:pt x="1383" y="428"/>
                      </a:lnTo>
                      <a:lnTo>
                        <a:pt x="1384" y="425"/>
                      </a:lnTo>
                      <a:lnTo>
                        <a:pt x="1386" y="423"/>
                      </a:lnTo>
                      <a:lnTo>
                        <a:pt x="1389" y="421"/>
                      </a:lnTo>
                      <a:lnTo>
                        <a:pt x="1391" y="420"/>
                      </a:lnTo>
                      <a:lnTo>
                        <a:pt x="1392" y="419"/>
                      </a:lnTo>
                      <a:lnTo>
                        <a:pt x="1395" y="421"/>
                      </a:lnTo>
                      <a:lnTo>
                        <a:pt x="1401" y="425"/>
                      </a:lnTo>
                      <a:lnTo>
                        <a:pt x="1406" y="432"/>
                      </a:lnTo>
                      <a:lnTo>
                        <a:pt x="1411" y="437"/>
                      </a:lnTo>
                      <a:lnTo>
                        <a:pt x="1414" y="441"/>
                      </a:lnTo>
                      <a:lnTo>
                        <a:pt x="1424" y="450"/>
                      </a:lnTo>
                      <a:lnTo>
                        <a:pt x="1432" y="458"/>
                      </a:lnTo>
                      <a:lnTo>
                        <a:pt x="1433" y="461"/>
                      </a:lnTo>
                      <a:lnTo>
                        <a:pt x="1435" y="464"/>
                      </a:lnTo>
                      <a:lnTo>
                        <a:pt x="1437" y="467"/>
                      </a:lnTo>
                      <a:lnTo>
                        <a:pt x="1440" y="468"/>
                      </a:lnTo>
                      <a:lnTo>
                        <a:pt x="1443" y="469"/>
                      </a:lnTo>
                      <a:lnTo>
                        <a:pt x="1445" y="471"/>
                      </a:lnTo>
                      <a:lnTo>
                        <a:pt x="1447" y="472"/>
                      </a:lnTo>
                      <a:lnTo>
                        <a:pt x="1450" y="473"/>
                      </a:lnTo>
                      <a:lnTo>
                        <a:pt x="1454" y="474"/>
                      </a:lnTo>
                      <a:lnTo>
                        <a:pt x="1455" y="475"/>
                      </a:lnTo>
                      <a:lnTo>
                        <a:pt x="1457" y="476"/>
                      </a:lnTo>
                      <a:lnTo>
                        <a:pt x="1458" y="478"/>
                      </a:lnTo>
                      <a:lnTo>
                        <a:pt x="1460" y="480"/>
                      </a:lnTo>
                      <a:lnTo>
                        <a:pt x="1463" y="482"/>
                      </a:lnTo>
                      <a:lnTo>
                        <a:pt x="1468" y="483"/>
                      </a:lnTo>
                      <a:lnTo>
                        <a:pt x="1472" y="484"/>
                      </a:lnTo>
                      <a:lnTo>
                        <a:pt x="1478" y="485"/>
                      </a:lnTo>
                      <a:lnTo>
                        <a:pt x="1479" y="485"/>
                      </a:lnTo>
                      <a:lnTo>
                        <a:pt x="1480" y="485"/>
                      </a:lnTo>
                      <a:lnTo>
                        <a:pt x="1480" y="484"/>
                      </a:lnTo>
                      <a:lnTo>
                        <a:pt x="1481" y="483"/>
                      </a:lnTo>
                      <a:lnTo>
                        <a:pt x="1482" y="482"/>
                      </a:lnTo>
                      <a:lnTo>
                        <a:pt x="1483" y="480"/>
                      </a:lnTo>
                      <a:lnTo>
                        <a:pt x="1484" y="480"/>
                      </a:lnTo>
                      <a:lnTo>
                        <a:pt x="1487" y="480"/>
                      </a:lnTo>
                      <a:lnTo>
                        <a:pt x="1489" y="483"/>
                      </a:lnTo>
                      <a:lnTo>
                        <a:pt x="1488" y="487"/>
                      </a:lnTo>
                      <a:lnTo>
                        <a:pt x="1485" y="491"/>
                      </a:lnTo>
                      <a:lnTo>
                        <a:pt x="1482" y="497"/>
                      </a:lnTo>
                      <a:lnTo>
                        <a:pt x="1480" y="501"/>
                      </a:lnTo>
                      <a:lnTo>
                        <a:pt x="1480" y="505"/>
                      </a:lnTo>
                      <a:lnTo>
                        <a:pt x="1481" y="510"/>
                      </a:lnTo>
                      <a:lnTo>
                        <a:pt x="1483" y="516"/>
                      </a:lnTo>
                      <a:lnTo>
                        <a:pt x="1484" y="522"/>
                      </a:lnTo>
                      <a:lnTo>
                        <a:pt x="1484" y="540"/>
                      </a:lnTo>
                      <a:lnTo>
                        <a:pt x="1483" y="542"/>
                      </a:lnTo>
                      <a:lnTo>
                        <a:pt x="1482" y="544"/>
                      </a:lnTo>
                      <a:lnTo>
                        <a:pt x="1482" y="546"/>
                      </a:lnTo>
                      <a:lnTo>
                        <a:pt x="1483" y="549"/>
                      </a:lnTo>
                      <a:lnTo>
                        <a:pt x="1484" y="551"/>
                      </a:lnTo>
                      <a:lnTo>
                        <a:pt x="1488" y="553"/>
                      </a:lnTo>
                      <a:lnTo>
                        <a:pt x="1490" y="555"/>
                      </a:lnTo>
                      <a:lnTo>
                        <a:pt x="1492" y="559"/>
                      </a:lnTo>
                      <a:lnTo>
                        <a:pt x="1493" y="562"/>
                      </a:lnTo>
                      <a:lnTo>
                        <a:pt x="1494" y="565"/>
                      </a:lnTo>
                      <a:lnTo>
                        <a:pt x="1494" y="567"/>
                      </a:lnTo>
                      <a:lnTo>
                        <a:pt x="1494" y="571"/>
                      </a:lnTo>
                      <a:lnTo>
                        <a:pt x="1494" y="573"/>
                      </a:lnTo>
                      <a:lnTo>
                        <a:pt x="1495" y="575"/>
                      </a:lnTo>
                      <a:lnTo>
                        <a:pt x="1498" y="576"/>
                      </a:lnTo>
                      <a:lnTo>
                        <a:pt x="1500" y="577"/>
                      </a:lnTo>
                      <a:lnTo>
                        <a:pt x="1503" y="576"/>
                      </a:lnTo>
                      <a:lnTo>
                        <a:pt x="1505" y="576"/>
                      </a:lnTo>
                      <a:lnTo>
                        <a:pt x="1509" y="575"/>
                      </a:lnTo>
                      <a:lnTo>
                        <a:pt x="1511" y="575"/>
                      </a:lnTo>
                      <a:lnTo>
                        <a:pt x="1515" y="577"/>
                      </a:lnTo>
                      <a:lnTo>
                        <a:pt x="1517" y="582"/>
                      </a:lnTo>
                      <a:lnTo>
                        <a:pt x="1521" y="588"/>
                      </a:lnTo>
                      <a:lnTo>
                        <a:pt x="1524" y="593"/>
                      </a:lnTo>
                      <a:lnTo>
                        <a:pt x="1530" y="597"/>
                      </a:lnTo>
                      <a:lnTo>
                        <a:pt x="1535" y="596"/>
                      </a:lnTo>
                      <a:lnTo>
                        <a:pt x="1539" y="592"/>
                      </a:lnTo>
                      <a:lnTo>
                        <a:pt x="1544" y="586"/>
                      </a:lnTo>
                      <a:lnTo>
                        <a:pt x="1546" y="583"/>
                      </a:lnTo>
                      <a:lnTo>
                        <a:pt x="1548" y="580"/>
                      </a:lnTo>
                      <a:lnTo>
                        <a:pt x="1550" y="577"/>
                      </a:lnTo>
                      <a:lnTo>
                        <a:pt x="1552" y="575"/>
                      </a:lnTo>
                      <a:lnTo>
                        <a:pt x="1554" y="574"/>
                      </a:lnTo>
                      <a:lnTo>
                        <a:pt x="1555" y="574"/>
                      </a:lnTo>
                      <a:lnTo>
                        <a:pt x="1557" y="574"/>
                      </a:lnTo>
                      <a:lnTo>
                        <a:pt x="1559" y="573"/>
                      </a:lnTo>
                      <a:lnTo>
                        <a:pt x="1563" y="566"/>
                      </a:lnTo>
                      <a:lnTo>
                        <a:pt x="1564" y="560"/>
                      </a:lnTo>
                      <a:lnTo>
                        <a:pt x="1565" y="552"/>
                      </a:lnTo>
                      <a:lnTo>
                        <a:pt x="1566" y="544"/>
                      </a:lnTo>
                      <a:lnTo>
                        <a:pt x="1566" y="538"/>
                      </a:lnTo>
                      <a:lnTo>
                        <a:pt x="1565" y="532"/>
                      </a:lnTo>
                      <a:lnTo>
                        <a:pt x="1565" y="527"/>
                      </a:lnTo>
                      <a:lnTo>
                        <a:pt x="1570" y="522"/>
                      </a:lnTo>
                      <a:lnTo>
                        <a:pt x="1577" y="517"/>
                      </a:lnTo>
                      <a:lnTo>
                        <a:pt x="1580" y="511"/>
                      </a:lnTo>
                      <a:lnTo>
                        <a:pt x="1580" y="506"/>
                      </a:lnTo>
                      <a:lnTo>
                        <a:pt x="1577" y="498"/>
                      </a:lnTo>
                      <a:lnTo>
                        <a:pt x="1576" y="495"/>
                      </a:lnTo>
                      <a:lnTo>
                        <a:pt x="1577" y="493"/>
                      </a:lnTo>
                      <a:lnTo>
                        <a:pt x="1578" y="490"/>
                      </a:lnTo>
                      <a:lnTo>
                        <a:pt x="1579" y="489"/>
                      </a:lnTo>
                      <a:lnTo>
                        <a:pt x="1581" y="489"/>
                      </a:lnTo>
                      <a:lnTo>
                        <a:pt x="1583" y="490"/>
                      </a:lnTo>
                      <a:lnTo>
                        <a:pt x="1585" y="491"/>
                      </a:lnTo>
                      <a:lnTo>
                        <a:pt x="1587" y="494"/>
                      </a:lnTo>
                      <a:lnTo>
                        <a:pt x="1588" y="496"/>
                      </a:lnTo>
                      <a:lnTo>
                        <a:pt x="1587" y="502"/>
                      </a:lnTo>
                      <a:lnTo>
                        <a:pt x="1585" y="509"/>
                      </a:lnTo>
                      <a:lnTo>
                        <a:pt x="1583" y="517"/>
                      </a:lnTo>
                      <a:lnTo>
                        <a:pt x="1586" y="524"/>
                      </a:lnTo>
                      <a:lnTo>
                        <a:pt x="1592" y="539"/>
                      </a:lnTo>
                      <a:lnTo>
                        <a:pt x="1601" y="553"/>
                      </a:lnTo>
                      <a:lnTo>
                        <a:pt x="1607" y="568"/>
                      </a:lnTo>
                      <a:lnTo>
                        <a:pt x="1614" y="583"/>
                      </a:lnTo>
                      <a:lnTo>
                        <a:pt x="1622" y="595"/>
                      </a:lnTo>
                      <a:lnTo>
                        <a:pt x="1627" y="607"/>
                      </a:lnTo>
                      <a:lnTo>
                        <a:pt x="1633" y="619"/>
                      </a:lnTo>
                      <a:lnTo>
                        <a:pt x="1635" y="622"/>
                      </a:lnTo>
                      <a:lnTo>
                        <a:pt x="1637" y="627"/>
                      </a:lnTo>
                      <a:lnTo>
                        <a:pt x="1641" y="632"/>
                      </a:lnTo>
                      <a:lnTo>
                        <a:pt x="1642" y="637"/>
                      </a:lnTo>
                      <a:lnTo>
                        <a:pt x="1642" y="643"/>
                      </a:lnTo>
                      <a:lnTo>
                        <a:pt x="1640" y="650"/>
                      </a:lnTo>
                      <a:lnTo>
                        <a:pt x="1637" y="657"/>
                      </a:lnTo>
                      <a:lnTo>
                        <a:pt x="1642" y="669"/>
                      </a:lnTo>
                      <a:lnTo>
                        <a:pt x="1648" y="681"/>
                      </a:lnTo>
                      <a:lnTo>
                        <a:pt x="1655" y="692"/>
                      </a:lnTo>
                      <a:lnTo>
                        <a:pt x="1658" y="695"/>
                      </a:lnTo>
                      <a:lnTo>
                        <a:pt x="1662" y="698"/>
                      </a:lnTo>
                      <a:lnTo>
                        <a:pt x="1665" y="700"/>
                      </a:lnTo>
                      <a:lnTo>
                        <a:pt x="1668" y="701"/>
                      </a:lnTo>
                      <a:lnTo>
                        <a:pt x="1672" y="701"/>
                      </a:lnTo>
                      <a:lnTo>
                        <a:pt x="1675" y="703"/>
                      </a:lnTo>
                      <a:lnTo>
                        <a:pt x="1677" y="704"/>
                      </a:lnTo>
                      <a:lnTo>
                        <a:pt x="1679" y="706"/>
                      </a:lnTo>
                      <a:lnTo>
                        <a:pt x="1681" y="707"/>
                      </a:lnTo>
                      <a:lnTo>
                        <a:pt x="1684" y="708"/>
                      </a:lnTo>
                      <a:lnTo>
                        <a:pt x="1686" y="708"/>
                      </a:lnTo>
                      <a:lnTo>
                        <a:pt x="1688" y="708"/>
                      </a:lnTo>
                      <a:lnTo>
                        <a:pt x="1690" y="709"/>
                      </a:lnTo>
                      <a:lnTo>
                        <a:pt x="1692" y="711"/>
                      </a:lnTo>
                      <a:lnTo>
                        <a:pt x="1694" y="712"/>
                      </a:lnTo>
                      <a:lnTo>
                        <a:pt x="1695" y="714"/>
                      </a:lnTo>
                      <a:lnTo>
                        <a:pt x="1695" y="717"/>
                      </a:lnTo>
                      <a:lnTo>
                        <a:pt x="1696" y="719"/>
                      </a:lnTo>
                      <a:lnTo>
                        <a:pt x="1697" y="723"/>
                      </a:lnTo>
                      <a:lnTo>
                        <a:pt x="1699" y="724"/>
                      </a:lnTo>
                      <a:lnTo>
                        <a:pt x="1701" y="725"/>
                      </a:lnTo>
                      <a:lnTo>
                        <a:pt x="1706" y="727"/>
                      </a:lnTo>
                      <a:lnTo>
                        <a:pt x="1710" y="728"/>
                      </a:lnTo>
                      <a:lnTo>
                        <a:pt x="1714" y="729"/>
                      </a:lnTo>
                      <a:lnTo>
                        <a:pt x="1717" y="731"/>
                      </a:lnTo>
                      <a:lnTo>
                        <a:pt x="1718" y="734"/>
                      </a:lnTo>
                      <a:lnTo>
                        <a:pt x="1720" y="737"/>
                      </a:lnTo>
                      <a:lnTo>
                        <a:pt x="1721" y="739"/>
                      </a:lnTo>
                      <a:lnTo>
                        <a:pt x="1721" y="742"/>
                      </a:lnTo>
                      <a:lnTo>
                        <a:pt x="1723" y="748"/>
                      </a:lnTo>
                      <a:lnTo>
                        <a:pt x="1721" y="753"/>
                      </a:lnTo>
                      <a:lnTo>
                        <a:pt x="1719" y="757"/>
                      </a:lnTo>
                      <a:lnTo>
                        <a:pt x="1719" y="761"/>
                      </a:lnTo>
                      <a:lnTo>
                        <a:pt x="1723" y="764"/>
                      </a:lnTo>
                      <a:lnTo>
                        <a:pt x="1732" y="769"/>
                      </a:lnTo>
                      <a:lnTo>
                        <a:pt x="1741" y="772"/>
                      </a:lnTo>
                      <a:lnTo>
                        <a:pt x="1747" y="778"/>
                      </a:lnTo>
                      <a:lnTo>
                        <a:pt x="1752" y="788"/>
                      </a:lnTo>
                      <a:lnTo>
                        <a:pt x="1752" y="797"/>
                      </a:lnTo>
                      <a:lnTo>
                        <a:pt x="1751" y="801"/>
                      </a:lnTo>
                      <a:lnTo>
                        <a:pt x="1750" y="803"/>
                      </a:lnTo>
                      <a:lnTo>
                        <a:pt x="1747" y="805"/>
                      </a:lnTo>
                      <a:lnTo>
                        <a:pt x="1745" y="806"/>
                      </a:lnTo>
                      <a:lnTo>
                        <a:pt x="1743" y="808"/>
                      </a:lnTo>
                      <a:lnTo>
                        <a:pt x="1742" y="811"/>
                      </a:lnTo>
                      <a:lnTo>
                        <a:pt x="1742" y="813"/>
                      </a:lnTo>
                      <a:lnTo>
                        <a:pt x="1742" y="815"/>
                      </a:lnTo>
                      <a:lnTo>
                        <a:pt x="1743" y="817"/>
                      </a:lnTo>
                      <a:lnTo>
                        <a:pt x="1745" y="820"/>
                      </a:lnTo>
                      <a:lnTo>
                        <a:pt x="1746" y="822"/>
                      </a:lnTo>
                      <a:lnTo>
                        <a:pt x="1747" y="824"/>
                      </a:lnTo>
                      <a:lnTo>
                        <a:pt x="1751" y="829"/>
                      </a:lnTo>
                      <a:lnTo>
                        <a:pt x="1752" y="837"/>
                      </a:lnTo>
                      <a:lnTo>
                        <a:pt x="1754" y="844"/>
                      </a:lnTo>
                      <a:lnTo>
                        <a:pt x="1755" y="850"/>
                      </a:lnTo>
                      <a:lnTo>
                        <a:pt x="1753" y="855"/>
                      </a:lnTo>
                      <a:lnTo>
                        <a:pt x="1749" y="859"/>
                      </a:lnTo>
                      <a:lnTo>
                        <a:pt x="1744" y="864"/>
                      </a:lnTo>
                      <a:lnTo>
                        <a:pt x="1741" y="868"/>
                      </a:lnTo>
                      <a:lnTo>
                        <a:pt x="1739" y="872"/>
                      </a:lnTo>
                      <a:lnTo>
                        <a:pt x="1736" y="872"/>
                      </a:lnTo>
                      <a:lnTo>
                        <a:pt x="1734" y="871"/>
                      </a:lnTo>
                      <a:lnTo>
                        <a:pt x="1732" y="871"/>
                      </a:lnTo>
                      <a:lnTo>
                        <a:pt x="1730" y="871"/>
                      </a:lnTo>
                      <a:lnTo>
                        <a:pt x="1729" y="871"/>
                      </a:lnTo>
                      <a:lnTo>
                        <a:pt x="1727" y="872"/>
                      </a:lnTo>
                      <a:lnTo>
                        <a:pt x="1725" y="875"/>
                      </a:lnTo>
                      <a:lnTo>
                        <a:pt x="1725" y="882"/>
                      </a:lnTo>
                      <a:lnTo>
                        <a:pt x="1724" y="889"/>
                      </a:lnTo>
                      <a:lnTo>
                        <a:pt x="1725" y="897"/>
                      </a:lnTo>
                      <a:lnTo>
                        <a:pt x="1727" y="899"/>
                      </a:lnTo>
                      <a:lnTo>
                        <a:pt x="1728" y="901"/>
                      </a:lnTo>
                      <a:lnTo>
                        <a:pt x="1729" y="903"/>
                      </a:lnTo>
                      <a:lnTo>
                        <a:pt x="1731" y="905"/>
                      </a:lnTo>
                      <a:lnTo>
                        <a:pt x="1733" y="906"/>
                      </a:lnTo>
                      <a:lnTo>
                        <a:pt x="1735" y="908"/>
                      </a:lnTo>
                      <a:lnTo>
                        <a:pt x="1738" y="908"/>
                      </a:lnTo>
                      <a:lnTo>
                        <a:pt x="1741" y="905"/>
                      </a:lnTo>
                      <a:lnTo>
                        <a:pt x="1743" y="903"/>
                      </a:lnTo>
                      <a:lnTo>
                        <a:pt x="1744" y="902"/>
                      </a:lnTo>
                      <a:lnTo>
                        <a:pt x="1745" y="901"/>
                      </a:lnTo>
                      <a:lnTo>
                        <a:pt x="1747" y="900"/>
                      </a:lnTo>
                      <a:lnTo>
                        <a:pt x="1749" y="900"/>
                      </a:lnTo>
                      <a:lnTo>
                        <a:pt x="1750" y="901"/>
                      </a:lnTo>
                      <a:lnTo>
                        <a:pt x="1752" y="903"/>
                      </a:lnTo>
                      <a:lnTo>
                        <a:pt x="1754" y="908"/>
                      </a:lnTo>
                      <a:lnTo>
                        <a:pt x="1756" y="912"/>
                      </a:lnTo>
                      <a:lnTo>
                        <a:pt x="1758" y="916"/>
                      </a:lnTo>
                      <a:lnTo>
                        <a:pt x="1762" y="920"/>
                      </a:lnTo>
                      <a:lnTo>
                        <a:pt x="1766" y="921"/>
                      </a:lnTo>
                      <a:lnTo>
                        <a:pt x="1772" y="919"/>
                      </a:lnTo>
                      <a:lnTo>
                        <a:pt x="1774" y="914"/>
                      </a:lnTo>
                      <a:lnTo>
                        <a:pt x="1774" y="910"/>
                      </a:lnTo>
                      <a:lnTo>
                        <a:pt x="1773" y="904"/>
                      </a:lnTo>
                      <a:lnTo>
                        <a:pt x="1772" y="900"/>
                      </a:lnTo>
                      <a:lnTo>
                        <a:pt x="1774" y="898"/>
                      </a:lnTo>
                      <a:lnTo>
                        <a:pt x="1778" y="897"/>
                      </a:lnTo>
                      <a:lnTo>
                        <a:pt x="1782" y="900"/>
                      </a:lnTo>
                      <a:lnTo>
                        <a:pt x="1784" y="906"/>
                      </a:lnTo>
                      <a:lnTo>
                        <a:pt x="1786" y="914"/>
                      </a:lnTo>
                      <a:lnTo>
                        <a:pt x="1787" y="921"/>
                      </a:lnTo>
                      <a:lnTo>
                        <a:pt x="1787" y="925"/>
                      </a:lnTo>
                      <a:lnTo>
                        <a:pt x="1787" y="932"/>
                      </a:lnTo>
                      <a:lnTo>
                        <a:pt x="1788" y="937"/>
                      </a:lnTo>
                      <a:lnTo>
                        <a:pt x="1790" y="942"/>
                      </a:lnTo>
                      <a:lnTo>
                        <a:pt x="1794" y="947"/>
                      </a:lnTo>
                      <a:lnTo>
                        <a:pt x="1794" y="954"/>
                      </a:lnTo>
                      <a:lnTo>
                        <a:pt x="1792" y="960"/>
                      </a:lnTo>
                      <a:lnTo>
                        <a:pt x="1789" y="965"/>
                      </a:lnTo>
                      <a:lnTo>
                        <a:pt x="1787" y="973"/>
                      </a:lnTo>
                      <a:lnTo>
                        <a:pt x="1786" y="979"/>
                      </a:lnTo>
                      <a:lnTo>
                        <a:pt x="1783" y="985"/>
                      </a:lnTo>
                      <a:lnTo>
                        <a:pt x="1781" y="986"/>
                      </a:lnTo>
                      <a:lnTo>
                        <a:pt x="1778" y="985"/>
                      </a:lnTo>
                      <a:lnTo>
                        <a:pt x="1775" y="984"/>
                      </a:lnTo>
                      <a:lnTo>
                        <a:pt x="1773" y="981"/>
                      </a:lnTo>
                      <a:lnTo>
                        <a:pt x="1771" y="980"/>
                      </a:lnTo>
                      <a:lnTo>
                        <a:pt x="1770" y="978"/>
                      </a:lnTo>
                      <a:lnTo>
                        <a:pt x="1770" y="974"/>
                      </a:lnTo>
                      <a:lnTo>
                        <a:pt x="1772" y="968"/>
                      </a:lnTo>
                      <a:lnTo>
                        <a:pt x="1774" y="960"/>
                      </a:lnTo>
                      <a:lnTo>
                        <a:pt x="1775" y="954"/>
                      </a:lnTo>
                      <a:lnTo>
                        <a:pt x="1776" y="948"/>
                      </a:lnTo>
                      <a:lnTo>
                        <a:pt x="1774" y="945"/>
                      </a:lnTo>
                      <a:lnTo>
                        <a:pt x="1772" y="945"/>
                      </a:lnTo>
                      <a:lnTo>
                        <a:pt x="1771" y="946"/>
                      </a:lnTo>
                      <a:lnTo>
                        <a:pt x="1771" y="947"/>
                      </a:lnTo>
                      <a:lnTo>
                        <a:pt x="1770" y="949"/>
                      </a:lnTo>
                      <a:lnTo>
                        <a:pt x="1770" y="952"/>
                      </a:lnTo>
                      <a:lnTo>
                        <a:pt x="1770" y="954"/>
                      </a:lnTo>
                      <a:lnTo>
                        <a:pt x="1768" y="956"/>
                      </a:lnTo>
                      <a:lnTo>
                        <a:pt x="1767" y="958"/>
                      </a:lnTo>
                      <a:lnTo>
                        <a:pt x="1764" y="960"/>
                      </a:lnTo>
                      <a:lnTo>
                        <a:pt x="1762" y="962"/>
                      </a:lnTo>
                      <a:lnTo>
                        <a:pt x="1758" y="963"/>
                      </a:lnTo>
                      <a:lnTo>
                        <a:pt x="1755" y="964"/>
                      </a:lnTo>
                      <a:lnTo>
                        <a:pt x="1752" y="966"/>
                      </a:lnTo>
                      <a:lnTo>
                        <a:pt x="1749" y="968"/>
                      </a:lnTo>
                      <a:lnTo>
                        <a:pt x="1747" y="970"/>
                      </a:lnTo>
                      <a:lnTo>
                        <a:pt x="1745" y="974"/>
                      </a:lnTo>
                      <a:lnTo>
                        <a:pt x="1744" y="977"/>
                      </a:lnTo>
                      <a:lnTo>
                        <a:pt x="1742" y="979"/>
                      </a:lnTo>
                      <a:lnTo>
                        <a:pt x="1739" y="981"/>
                      </a:lnTo>
                      <a:lnTo>
                        <a:pt x="1736" y="981"/>
                      </a:lnTo>
                      <a:lnTo>
                        <a:pt x="1732" y="980"/>
                      </a:lnTo>
                      <a:lnTo>
                        <a:pt x="1731" y="980"/>
                      </a:lnTo>
                      <a:lnTo>
                        <a:pt x="1730" y="979"/>
                      </a:lnTo>
                      <a:lnTo>
                        <a:pt x="1728" y="978"/>
                      </a:lnTo>
                      <a:lnTo>
                        <a:pt x="1727" y="976"/>
                      </a:lnTo>
                      <a:lnTo>
                        <a:pt x="1727" y="975"/>
                      </a:lnTo>
                      <a:lnTo>
                        <a:pt x="1727" y="973"/>
                      </a:lnTo>
                      <a:lnTo>
                        <a:pt x="1728" y="971"/>
                      </a:lnTo>
                      <a:lnTo>
                        <a:pt x="1730" y="973"/>
                      </a:lnTo>
                      <a:lnTo>
                        <a:pt x="1732" y="973"/>
                      </a:lnTo>
                      <a:lnTo>
                        <a:pt x="1733" y="974"/>
                      </a:lnTo>
                      <a:lnTo>
                        <a:pt x="1735" y="975"/>
                      </a:lnTo>
                      <a:lnTo>
                        <a:pt x="1738" y="975"/>
                      </a:lnTo>
                      <a:lnTo>
                        <a:pt x="1739" y="974"/>
                      </a:lnTo>
                      <a:lnTo>
                        <a:pt x="1741" y="971"/>
                      </a:lnTo>
                      <a:lnTo>
                        <a:pt x="1742" y="968"/>
                      </a:lnTo>
                      <a:lnTo>
                        <a:pt x="1742" y="966"/>
                      </a:lnTo>
                      <a:lnTo>
                        <a:pt x="1741" y="963"/>
                      </a:lnTo>
                      <a:lnTo>
                        <a:pt x="1740" y="960"/>
                      </a:lnTo>
                      <a:lnTo>
                        <a:pt x="1738" y="958"/>
                      </a:lnTo>
                      <a:lnTo>
                        <a:pt x="1736" y="956"/>
                      </a:lnTo>
                      <a:lnTo>
                        <a:pt x="1734" y="953"/>
                      </a:lnTo>
                      <a:lnTo>
                        <a:pt x="1731" y="952"/>
                      </a:lnTo>
                      <a:lnTo>
                        <a:pt x="1729" y="952"/>
                      </a:lnTo>
                      <a:lnTo>
                        <a:pt x="1725" y="952"/>
                      </a:lnTo>
                      <a:lnTo>
                        <a:pt x="1721" y="952"/>
                      </a:lnTo>
                      <a:lnTo>
                        <a:pt x="1711" y="953"/>
                      </a:lnTo>
                      <a:lnTo>
                        <a:pt x="1701" y="954"/>
                      </a:lnTo>
                      <a:lnTo>
                        <a:pt x="1698" y="956"/>
                      </a:lnTo>
                      <a:lnTo>
                        <a:pt x="1695" y="957"/>
                      </a:lnTo>
                      <a:lnTo>
                        <a:pt x="1691" y="959"/>
                      </a:lnTo>
                      <a:lnTo>
                        <a:pt x="1688" y="960"/>
                      </a:lnTo>
                      <a:lnTo>
                        <a:pt x="1684" y="960"/>
                      </a:lnTo>
                      <a:lnTo>
                        <a:pt x="1680" y="960"/>
                      </a:lnTo>
                      <a:lnTo>
                        <a:pt x="1677" y="960"/>
                      </a:lnTo>
                      <a:lnTo>
                        <a:pt x="1676" y="959"/>
                      </a:lnTo>
                      <a:lnTo>
                        <a:pt x="1675" y="958"/>
                      </a:lnTo>
                      <a:lnTo>
                        <a:pt x="1675" y="956"/>
                      </a:lnTo>
                      <a:lnTo>
                        <a:pt x="1675" y="954"/>
                      </a:lnTo>
                      <a:lnTo>
                        <a:pt x="1676" y="952"/>
                      </a:lnTo>
                      <a:lnTo>
                        <a:pt x="1678" y="949"/>
                      </a:lnTo>
                      <a:lnTo>
                        <a:pt x="1679" y="947"/>
                      </a:lnTo>
                      <a:lnTo>
                        <a:pt x="1681" y="945"/>
                      </a:lnTo>
                      <a:lnTo>
                        <a:pt x="1684" y="944"/>
                      </a:lnTo>
                      <a:lnTo>
                        <a:pt x="1685" y="943"/>
                      </a:lnTo>
                      <a:lnTo>
                        <a:pt x="1687" y="941"/>
                      </a:lnTo>
                      <a:lnTo>
                        <a:pt x="1688" y="938"/>
                      </a:lnTo>
                      <a:lnTo>
                        <a:pt x="1688" y="936"/>
                      </a:lnTo>
                      <a:lnTo>
                        <a:pt x="1688" y="934"/>
                      </a:lnTo>
                      <a:lnTo>
                        <a:pt x="1687" y="933"/>
                      </a:lnTo>
                      <a:lnTo>
                        <a:pt x="1685" y="933"/>
                      </a:lnTo>
                      <a:lnTo>
                        <a:pt x="1683" y="932"/>
                      </a:lnTo>
                      <a:lnTo>
                        <a:pt x="1681" y="932"/>
                      </a:lnTo>
                      <a:lnTo>
                        <a:pt x="1679" y="932"/>
                      </a:lnTo>
                      <a:lnTo>
                        <a:pt x="1678" y="930"/>
                      </a:lnTo>
                      <a:lnTo>
                        <a:pt x="1678" y="928"/>
                      </a:lnTo>
                      <a:lnTo>
                        <a:pt x="1678" y="926"/>
                      </a:lnTo>
                      <a:lnTo>
                        <a:pt x="1680" y="925"/>
                      </a:lnTo>
                      <a:lnTo>
                        <a:pt x="1683" y="924"/>
                      </a:lnTo>
                      <a:lnTo>
                        <a:pt x="1686" y="924"/>
                      </a:lnTo>
                      <a:lnTo>
                        <a:pt x="1688" y="923"/>
                      </a:lnTo>
                      <a:lnTo>
                        <a:pt x="1690" y="923"/>
                      </a:lnTo>
                      <a:lnTo>
                        <a:pt x="1692" y="922"/>
                      </a:lnTo>
                      <a:lnTo>
                        <a:pt x="1695" y="922"/>
                      </a:lnTo>
                      <a:lnTo>
                        <a:pt x="1695" y="921"/>
                      </a:lnTo>
                      <a:lnTo>
                        <a:pt x="1698" y="916"/>
                      </a:lnTo>
                      <a:lnTo>
                        <a:pt x="1697" y="911"/>
                      </a:lnTo>
                      <a:lnTo>
                        <a:pt x="1697" y="904"/>
                      </a:lnTo>
                      <a:lnTo>
                        <a:pt x="1699" y="899"/>
                      </a:lnTo>
                      <a:lnTo>
                        <a:pt x="1692" y="892"/>
                      </a:lnTo>
                      <a:lnTo>
                        <a:pt x="1684" y="888"/>
                      </a:lnTo>
                      <a:lnTo>
                        <a:pt x="1673" y="886"/>
                      </a:lnTo>
                      <a:lnTo>
                        <a:pt x="1662" y="888"/>
                      </a:lnTo>
                      <a:lnTo>
                        <a:pt x="1658" y="891"/>
                      </a:lnTo>
                      <a:lnTo>
                        <a:pt x="1656" y="893"/>
                      </a:lnTo>
                      <a:lnTo>
                        <a:pt x="1655" y="897"/>
                      </a:lnTo>
                      <a:lnTo>
                        <a:pt x="1653" y="900"/>
                      </a:lnTo>
                      <a:lnTo>
                        <a:pt x="1651" y="903"/>
                      </a:lnTo>
                      <a:lnTo>
                        <a:pt x="1650" y="906"/>
                      </a:lnTo>
                      <a:lnTo>
                        <a:pt x="1646" y="909"/>
                      </a:lnTo>
                      <a:lnTo>
                        <a:pt x="1643" y="911"/>
                      </a:lnTo>
                      <a:lnTo>
                        <a:pt x="1640" y="912"/>
                      </a:lnTo>
                      <a:lnTo>
                        <a:pt x="1632" y="914"/>
                      </a:lnTo>
                      <a:lnTo>
                        <a:pt x="1623" y="917"/>
                      </a:lnTo>
                      <a:lnTo>
                        <a:pt x="1614" y="919"/>
                      </a:lnTo>
                      <a:lnTo>
                        <a:pt x="1607" y="919"/>
                      </a:lnTo>
                      <a:lnTo>
                        <a:pt x="1600" y="914"/>
                      </a:lnTo>
                      <a:lnTo>
                        <a:pt x="1596" y="906"/>
                      </a:lnTo>
                      <a:lnTo>
                        <a:pt x="1592" y="899"/>
                      </a:lnTo>
                      <a:lnTo>
                        <a:pt x="1590" y="890"/>
                      </a:lnTo>
                      <a:lnTo>
                        <a:pt x="1588" y="887"/>
                      </a:lnTo>
                      <a:lnTo>
                        <a:pt x="1586" y="883"/>
                      </a:lnTo>
                      <a:lnTo>
                        <a:pt x="1583" y="881"/>
                      </a:lnTo>
                      <a:lnTo>
                        <a:pt x="1580" y="881"/>
                      </a:lnTo>
                      <a:lnTo>
                        <a:pt x="1577" y="881"/>
                      </a:lnTo>
                      <a:lnTo>
                        <a:pt x="1570" y="881"/>
                      </a:lnTo>
                      <a:lnTo>
                        <a:pt x="1563" y="882"/>
                      </a:lnTo>
                      <a:lnTo>
                        <a:pt x="1557" y="883"/>
                      </a:lnTo>
                      <a:lnTo>
                        <a:pt x="1553" y="887"/>
                      </a:lnTo>
                      <a:lnTo>
                        <a:pt x="1550" y="890"/>
                      </a:lnTo>
                      <a:lnTo>
                        <a:pt x="1548" y="893"/>
                      </a:lnTo>
                      <a:lnTo>
                        <a:pt x="1546" y="897"/>
                      </a:lnTo>
                      <a:lnTo>
                        <a:pt x="1544" y="899"/>
                      </a:lnTo>
                      <a:lnTo>
                        <a:pt x="1539" y="902"/>
                      </a:lnTo>
                      <a:lnTo>
                        <a:pt x="1536" y="905"/>
                      </a:lnTo>
                      <a:lnTo>
                        <a:pt x="1532" y="908"/>
                      </a:lnTo>
                      <a:lnTo>
                        <a:pt x="1528" y="910"/>
                      </a:lnTo>
                      <a:lnTo>
                        <a:pt x="1516" y="917"/>
                      </a:lnTo>
                      <a:lnTo>
                        <a:pt x="1506" y="925"/>
                      </a:lnTo>
                      <a:lnTo>
                        <a:pt x="1498" y="936"/>
                      </a:lnTo>
                      <a:lnTo>
                        <a:pt x="1495" y="939"/>
                      </a:lnTo>
                      <a:lnTo>
                        <a:pt x="1494" y="942"/>
                      </a:lnTo>
                      <a:lnTo>
                        <a:pt x="1493" y="945"/>
                      </a:lnTo>
                      <a:lnTo>
                        <a:pt x="1492" y="948"/>
                      </a:lnTo>
                      <a:lnTo>
                        <a:pt x="1493" y="952"/>
                      </a:lnTo>
                      <a:lnTo>
                        <a:pt x="1494" y="960"/>
                      </a:lnTo>
                      <a:lnTo>
                        <a:pt x="1495" y="969"/>
                      </a:lnTo>
                      <a:lnTo>
                        <a:pt x="1498" y="965"/>
                      </a:lnTo>
                      <a:lnTo>
                        <a:pt x="1499" y="958"/>
                      </a:lnTo>
                      <a:lnTo>
                        <a:pt x="1500" y="951"/>
                      </a:lnTo>
                      <a:lnTo>
                        <a:pt x="1502" y="945"/>
                      </a:lnTo>
                      <a:lnTo>
                        <a:pt x="1506" y="941"/>
                      </a:lnTo>
                      <a:lnTo>
                        <a:pt x="1513" y="936"/>
                      </a:lnTo>
                      <a:lnTo>
                        <a:pt x="1520" y="932"/>
                      </a:lnTo>
                      <a:lnTo>
                        <a:pt x="1522" y="928"/>
                      </a:lnTo>
                      <a:lnTo>
                        <a:pt x="1524" y="926"/>
                      </a:lnTo>
                      <a:lnTo>
                        <a:pt x="1527" y="924"/>
                      </a:lnTo>
                      <a:lnTo>
                        <a:pt x="1531" y="921"/>
                      </a:lnTo>
                      <a:lnTo>
                        <a:pt x="1544" y="914"/>
                      </a:lnTo>
                      <a:lnTo>
                        <a:pt x="1559" y="910"/>
                      </a:lnTo>
                      <a:lnTo>
                        <a:pt x="1568" y="909"/>
                      </a:lnTo>
                      <a:lnTo>
                        <a:pt x="1579" y="910"/>
                      </a:lnTo>
                      <a:lnTo>
                        <a:pt x="1590" y="914"/>
                      </a:lnTo>
                      <a:lnTo>
                        <a:pt x="1597" y="920"/>
                      </a:lnTo>
                      <a:lnTo>
                        <a:pt x="1600" y="925"/>
                      </a:lnTo>
                      <a:lnTo>
                        <a:pt x="1600" y="933"/>
                      </a:lnTo>
                      <a:lnTo>
                        <a:pt x="1598" y="942"/>
                      </a:lnTo>
                      <a:lnTo>
                        <a:pt x="1594" y="949"/>
                      </a:lnTo>
                      <a:lnTo>
                        <a:pt x="1591" y="958"/>
                      </a:lnTo>
                      <a:lnTo>
                        <a:pt x="1588" y="965"/>
                      </a:lnTo>
                      <a:lnTo>
                        <a:pt x="1587" y="974"/>
                      </a:lnTo>
                      <a:lnTo>
                        <a:pt x="1587" y="981"/>
                      </a:lnTo>
                      <a:lnTo>
                        <a:pt x="1590" y="989"/>
                      </a:lnTo>
                      <a:lnTo>
                        <a:pt x="1597" y="993"/>
                      </a:lnTo>
                      <a:lnTo>
                        <a:pt x="1603" y="999"/>
                      </a:lnTo>
                      <a:lnTo>
                        <a:pt x="1611" y="1004"/>
                      </a:lnTo>
                      <a:lnTo>
                        <a:pt x="1618" y="1007"/>
                      </a:lnTo>
                      <a:lnTo>
                        <a:pt x="1624" y="1007"/>
                      </a:lnTo>
                      <a:lnTo>
                        <a:pt x="1631" y="1007"/>
                      </a:lnTo>
                      <a:lnTo>
                        <a:pt x="1635" y="1009"/>
                      </a:lnTo>
                      <a:lnTo>
                        <a:pt x="1637" y="1013"/>
                      </a:lnTo>
                      <a:lnTo>
                        <a:pt x="1639" y="1015"/>
                      </a:lnTo>
                      <a:lnTo>
                        <a:pt x="1641" y="1018"/>
                      </a:lnTo>
                      <a:lnTo>
                        <a:pt x="1643" y="1019"/>
                      </a:lnTo>
                      <a:lnTo>
                        <a:pt x="1645" y="1019"/>
                      </a:lnTo>
                      <a:lnTo>
                        <a:pt x="1647" y="1019"/>
                      </a:lnTo>
                      <a:lnTo>
                        <a:pt x="1650" y="1019"/>
                      </a:lnTo>
                      <a:lnTo>
                        <a:pt x="1652" y="1020"/>
                      </a:lnTo>
                      <a:lnTo>
                        <a:pt x="1654" y="1021"/>
                      </a:lnTo>
                      <a:lnTo>
                        <a:pt x="1655" y="1022"/>
                      </a:lnTo>
                      <a:lnTo>
                        <a:pt x="1655" y="1028"/>
                      </a:lnTo>
                      <a:lnTo>
                        <a:pt x="1648" y="1033"/>
                      </a:lnTo>
                      <a:lnTo>
                        <a:pt x="1640" y="1039"/>
                      </a:lnTo>
                      <a:lnTo>
                        <a:pt x="1632" y="1042"/>
                      </a:lnTo>
                      <a:lnTo>
                        <a:pt x="1626" y="1044"/>
                      </a:lnTo>
                      <a:lnTo>
                        <a:pt x="1620" y="1045"/>
                      </a:lnTo>
                      <a:lnTo>
                        <a:pt x="1612" y="1046"/>
                      </a:lnTo>
                      <a:lnTo>
                        <a:pt x="1605" y="1047"/>
                      </a:lnTo>
                      <a:lnTo>
                        <a:pt x="1600" y="1051"/>
                      </a:lnTo>
                      <a:lnTo>
                        <a:pt x="1597" y="1055"/>
                      </a:lnTo>
                      <a:lnTo>
                        <a:pt x="1594" y="1059"/>
                      </a:lnTo>
                      <a:lnTo>
                        <a:pt x="1592" y="1064"/>
                      </a:lnTo>
                      <a:lnTo>
                        <a:pt x="1588" y="1069"/>
                      </a:lnTo>
                      <a:lnTo>
                        <a:pt x="1582" y="1078"/>
                      </a:lnTo>
                      <a:lnTo>
                        <a:pt x="1576" y="1085"/>
                      </a:lnTo>
                      <a:lnTo>
                        <a:pt x="1570" y="1086"/>
                      </a:lnTo>
                      <a:lnTo>
                        <a:pt x="1568" y="1086"/>
                      </a:lnTo>
                      <a:lnTo>
                        <a:pt x="1567" y="1085"/>
                      </a:lnTo>
                      <a:lnTo>
                        <a:pt x="1566" y="1083"/>
                      </a:lnTo>
                      <a:lnTo>
                        <a:pt x="1565" y="1080"/>
                      </a:lnTo>
                      <a:lnTo>
                        <a:pt x="1564" y="1077"/>
                      </a:lnTo>
                      <a:lnTo>
                        <a:pt x="1564" y="1075"/>
                      </a:lnTo>
                      <a:lnTo>
                        <a:pt x="1560" y="1073"/>
                      </a:lnTo>
                      <a:lnTo>
                        <a:pt x="1559" y="1069"/>
                      </a:lnTo>
                      <a:lnTo>
                        <a:pt x="1558" y="1065"/>
                      </a:lnTo>
                      <a:lnTo>
                        <a:pt x="1559" y="1062"/>
                      </a:lnTo>
                      <a:lnTo>
                        <a:pt x="1561" y="1057"/>
                      </a:lnTo>
                      <a:lnTo>
                        <a:pt x="1563" y="1053"/>
                      </a:lnTo>
                      <a:lnTo>
                        <a:pt x="1566" y="1050"/>
                      </a:lnTo>
                      <a:lnTo>
                        <a:pt x="1569" y="1045"/>
                      </a:lnTo>
                      <a:lnTo>
                        <a:pt x="1575" y="1042"/>
                      </a:lnTo>
                      <a:lnTo>
                        <a:pt x="1578" y="1041"/>
                      </a:lnTo>
                      <a:lnTo>
                        <a:pt x="1582" y="1039"/>
                      </a:lnTo>
                      <a:lnTo>
                        <a:pt x="1586" y="1036"/>
                      </a:lnTo>
                      <a:lnTo>
                        <a:pt x="1590" y="1033"/>
                      </a:lnTo>
                      <a:lnTo>
                        <a:pt x="1589" y="1032"/>
                      </a:lnTo>
                      <a:lnTo>
                        <a:pt x="1588" y="1030"/>
                      </a:lnTo>
                      <a:lnTo>
                        <a:pt x="1587" y="1028"/>
                      </a:lnTo>
                      <a:lnTo>
                        <a:pt x="1586" y="1024"/>
                      </a:lnTo>
                      <a:lnTo>
                        <a:pt x="1583" y="1022"/>
                      </a:lnTo>
                      <a:lnTo>
                        <a:pt x="1582" y="1021"/>
                      </a:lnTo>
                      <a:lnTo>
                        <a:pt x="1581" y="1020"/>
                      </a:lnTo>
                      <a:lnTo>
                        <a:pt x="1575" y="1024"/>
                      </a:lnTo>
                      <a:lnTo>
                        <a:pt x="1569" y="1029"/>
                      </a:lnTo>
                      <a:lnTo>
                        <a:pt x="1564" y="1033"/>
                      </a:lnTo>
                      <a:lnTo>
                        <a:pt x="1560" y="1034"/>
                      </a:lnTo>
                      <a:lnTo>
                        <a:pt x="1558" y="1035"/>
                      </a:lnTo>
                      <a:lnTo>
                        <a:pt x="1555" y="1036"/>
                      </a:lnTo>
                      <a:lnTo>
                        <a:pt x="1553" y="1037"/>
                      </a:lnTo>
                      <a:lnTo>
                        <a:pt x="1549" y="1040"/>
                      </a:lnTo>
                      <a:lnTo>
                        <a:pt x="1548" y="1041"/>
                      </a:lnTo>
                      <a:lnTo>
                        <a:pt x="1546" y="1043"/>
                      </a:lnTo>
                      <a:lnTo>
                        <a:pt x="1545" y="1045"/>
                      </a:lnTo>
                      <a:lnTo>
                        <a:pt x="1546" y="1048"/>
                      </a:lnTo>
                      <a:lnTo>
                        <a:pt x="1543" y="1052"/>
                      </a:lnTo>
                      <a:lnTo>
                        <a:pt x="1536" y="1055"/>
                      </a:lnTo>
                      <a:lnTo>
                        <a:pt x="1527" y="1057"/>
                      </a:lnTo>
                      <a:lnTo>
                        <a:pt x="1519" y="1058"/>
                      </a:lnTo>
                      <a:lnTo>
                        <a:pt x="1511" y="1059"/>
                      </a:lnTo>
                      <a:lnTo>
                        <a:pt x="1506" y="1059"/>
                      </a:lnTo>
                      <a:lnTo>
                        <a:pt x="1501" y="1063"/>
                      </a:lnTo>
                      <a:lnTo>
                        <a:pt x="1496" y="1069"/>
                      </a:lnTo>
                      <a:lnTo>
                        <a:pt x="1492" y="1075"/>
                      </a:lnTo>
                      <a:lnTo>
                        <a:pt x="1488" y="1079"/>
                      </a:lnTo>
                      <a:lnTo>
                        <a:pt x="1484" y="1079"/>
                      </a:lnTo>
                      <a:lnTo>
                        <a:pt x="1482" y="1079"/>
                      </a:lnTo>
                      <a:lnTo>
                        <a:pt x="1480" y="1078"/>
                      </a:lnTo>
                      <a:lnTo>
                        <a:pt x="1479" y="1077"/>
                      </a:lnTo>
                      <a:lnTo>
                        <a:pt x="1477" y="1077"/>
                      </a:lnTo>
                      <a:lnTo>
                        <a:pt x="1476" y="1077"/>
                      </a:lnTo>
                      <a:lnTo>
                        <a:pt x="1474" y="1077"/>
                      </a:lnTo>
                      <a:lnTo>
                        <a:pt x="1473" y="1079"/>
                      </a:lnTo>
                      <a:lnTo>
                        <a:pt x="1471" y="1083"/>
                      </a:lnTo>
                      <a:lnTo>
                        <a:pt x="1469" y="1086"/>
                      </a:lnTo>
                      <a:lnTo>
                        <a:pt x="1467" y="1089"/>
                      </a:lnTo>
                      <a:lnTo>
                        <a:pt x="1467" y="1093"/>
                      </a:lnTo>
                      <a:lnTo>
                        <a:pt x="1466" y="1096"/>
                      </a:lnTo>
                      <a:lnTo>
                        <a:pt x="1466" y="1098"/>
                      </a:lnTo>
                      <a:lnTo>
                        <a:pt x="1466" y="1100"/>
                      </a:lnTo>
                      <a:lnTo>
                        <a:pt x="1466" y="1101"/>
                      </a:lnTo>
                      <a:lnTo>
                        <a:pt x="1465" y="1102"/>
                      </a:lnTo>
                      <a:lnTo>
                        <a:pt x="1463" y="1104"/>
                      </a:lnTo>
                      <a:lnTo>
                        <a:pt x="1460" y="1104"/>
                      </a:lnTo>
                      <a:lnTo>
                        <a:pt x="1457" y="1104"/>
                      </a:lnTo>
                      <a:lnTo>
                        <a:pt x="1455" y="1105"/>
                      </a:lnTo>
                      <a:lnTo>
                        <a:pt x="1452" y="1106"/>
                      </a:lnTo>
                      <a:lnTo>
                        <a:pt x="1451" y="1108"/>
                      </a:lnTo>
                      <a:lnTo>
                        <a:pt x="1450" y="1111"/>
                      </a:lnTo>
                      <a:lnTo>
                        <a:pt x="1450" y="1113"/>
                      </a:lnTo>
                      <a:lnTo>
                        <a:pt x="1449" y="1116"/>
                      </a:lnTo>
                      <a:lnTo>
                        <a:pt x="1400" y="1101"/>
                      </a:lnTo>
                      <a:lnTo>
                        <a:pt x="1348" y="1085"/>
                      </a:lnTo>
                      <a:lnTo>
                        <a:pt x="1348" y="1085"/>
                      </a:lnTo>
                      <a:lnTo>
                        <a:pt x="1348" y="1082"/>
                      </a:lnTo>
                      <a:lnTo>
                        <a:pt x="1346" y="1074"/>
                      </a:lnTo>
                      <a:lnTo>
                        <a:pt x="1341" y="1071"/>
                      </a:lnTo>
                      <a:lnTo>
                        <a:pt x="1335" y="1069"/>
                      </a:lnTo>
                      <a:lnTo>
                        <a:pt x="1328" y="1072"/>
                      </a:lnTo>
                      <a:lnTo>
                        <a:pt x="1321" y="1074"/>
                      </a:lnTo>
                      <a:lnTo>
                        <a:pt x="1315" y="1077"/>
                      </a:lnTo>
                      <a:lnTo>
                        <a:pt x="1309" y="1075"/>
                      </a:lnTo>
                      <a:lnTo>
                        <a:pt x="1313" y="1074"/>
                      </a:lnTo>
                      <a:lnTo>
                        <a:pt x="1314" y="1074"/>
                      </a:lnTo>
                      <a:lnTo>
                        <a:pt x="1314" y="1074"/>
                      </a:lnTo>
                      <a:lnTo>
                        <a:pt x="1315" y="1074"/>
                      </a:lnTo>
                      <a:lnTo>
                        <a:pt x="1291" y="1065"/>
                      </a:lnTo>
                      <a:lnTo>
                        <a:pt x="1268" y="1056"/>
                      </a:lnTo>
                      <a:lnTo>
                        <a:pt x="1269" y="1048"/>
                      </a:lnTo>
                      <a:lnTo>
                        <a:pt x="1266" y="1036"/>
                      </a:lnTo>
                      <a:lnTo>
                        <a:pt x="1260" y="1026"/>
                      </a:lnTo>
                      <a:lnTo>
                        <a:pt x="1253" y="1024"/>
                      </a:lnTo>
                      <a:lnTo>
                        <a:pt x="1244" y="1022"/>
                      </a:lnTo>
                      <a:lnTo>
                        <a:pt x="1236" y="1023"/>
                      </a:lnTo>
                      <a:lnTo>
                        <a:pt x="1229" y="1026"/>
                      </a:lnTo>
                      <a:lnTo>
                        <a:pt x="1228" y="1029"/>
                      </a:lnTo>
                      <a:lnTo>
                        <a:pt x="1228" y="1031"/>
                      </a:lnTo>
                      <a:lnTo>
                        <a:pt x="1227" y="1033"/>
                      </a:lnTo>
                      <a:lnTo>
                        <a:pt x="1226" y="1035"/>
                      </a:lnTo>
                      <a:lnTo>
                        <a:pt x="1226" y="1037"/>
                      </a:lnTo>
                      <a:lnTo>
                        <a:pt x="1225" y="1039"/>
                      </a:lnTo>
                      <a:lnTo>
                        <a:pt x="1223" y="1040"/>
                      </a:lnTo>
                      <a:lnTo>
                        <a:pt x="1221" y="1040"/>
                      </a:lnTo>
                      <a:lnTo>
                        <a:pt x="1219" y="1040"/>
                      </a:lnTo>
                      <a:lnTo>
                        <a:pt x="1216" y="1037"/>
                      </a:lnTo>
                      <a:lnTo>
                        <a:pt x="1212" y="1035"/>
                      </a:lnTo>
                      <a:lnTo>
                        <a:pt x="1208" y="1032"/>
                      </a:lnTo>
                      <a:lnTo>
                        <a:pt x="1205" y="1029"/>
                      </a:lnTo>
                      <a:lnTo>
                        <a:pt x="1201" y="1026"/>
                      </a:lnTo>
                      <a:lnTo>
                        <a:pt x="1199" y="1024"/>
                      </a:lnTo>
                      <a:lnTo>
                        <a:pt x="1192" y="1021"/>
                      </a:lnTo>
                      <a:lnTo>
                        <a:pt x="1185" y="1019"/>
                      </a:lnTo>
                      <a:lnTo>
                        <a:pt x="1179" y="1015"/>
                      </a:lnTo>
                      <a:lnTo>
                        <a:pt x="1176" y="1018"/>
                      </a:lnTo>
                      <a:lnTo>
                        <a:pt x="1174" y="1020"/>
                      </a:lnTo>
                      <a:lnTo>
                        <a:pt x="1171" y="1022"/>
                      </a:lnTo>
                      <a:lnTo>
                        <a:pt x="1163" y="1019"/>
                      </a:lnTo>
                      <a:lnTo>
                        <a:pt x="1170" y="1019"/>
                      </a:lnTo>
                      <a:lnTo>
                        <a:pt x="1149" y="1009"/>
                      </a:lnTo>
                      <a:lnTo>
                        <a:pt x="1130" y="1000"/>
                      </a:lnTo>
                      <a:lnTo>
                        <a:pt x="1132" y="999"/>
                      </a:lnTo>
                      <a:lnTo>
                        <a:pt x="1134" y="998"/>
                      </a:lnTo>
                      <a:lnTo>
                        <a:pt x="1138" y="998"/>
                      </a:lnTo>
                      <a:lnTo>
                        <a:pt x="1142" y="998"/>
                      </a:lnTo>
                      <a:lnTo>
                        <a:pt x="1148" y="999"/>
                      </a:lnTo>
                      <a:lnTo>
                        <a:pt x="1155" y="999"/>
                      </a:lnTo>
                      <a:lnTo>
                        <a:pt x="1162" y="999"/>
                      </a:lnTo>
                      <a:lnTo>
                        <a:pt x="1168" y="998"/>
                      </a:lnTo>
                      <a:lnTo>
                        <a:pt x="1173" y="996"/>
                      </a:lnTo>
                      <a:lnTo>
                        <a:pt x="1175" y="990"/>
                      </a:lnTo>
                      <a:lnTo>
                        <a:pt x="1175" y="982"/>
                      </a:lnTo>
                      <a:lnTo>
                        <a:pt x="1172" y="975"/>
                      </a:lnTo>
                      <a:lnTo>
                        <a:pt x="1168" y="969"/>
                      </a:lnTo>
                      <a:lnTo>
                        <a:pt x="1163" y="966"/>
                      </a:lnTo>
                      <a:lnTo>
                        <a:pt x="1155" y="965"/>
                      </a:lnTo>
                      <a:lnTo>
                        <a:pt x="1150" y="965"/>
                      </a:lnTo>
                      <a:lnTo>
                        <a:pt x="1146" y="965"/>
                      </a:lnTo>
                      <a:lnTo>
                        <a:pt x="1144" y="964"/>
                      </a:lnTo>
                      <a:lnTo>
                        <a:pt x="1143" y="962"/>
                      </a:lnTo>
                      <a:lnTo>
                        <a:pt x="1142" y="959"/>
                      </a:lnTo>
                      <a:lnTo>
                        <a:pt x="1141" y="956"/>
                      </a:lnTo>
                      <a:lnTo>
                        <a:pt x="1140" y="952"/>
                      </a:lnTo>
                      <a:lnTo>
                        <a:pt x="1139" y="949"/>
                      </a:lnTo>
                      <a:lnTo>
                        <a:pt x="1138" y="947"/>
                      </a:lnTo>
                      <a:lnTo>
                        <a:pt x="1135" y="944"/>
                      </a:lnTo>
                      <a:lnTo>
                        <a:pt x="1133" y="942"/>
                      </a:lnTo>
                      <a:lnTo>
                        <a:pt x="1132" y="939"/>
                      </a:lnTo>
                      <a:lnTo>
                        <a:pt x="1130" y="938"/>
                      </a:lnTo>
                      <a:lnTo>
                        <a:pt x="1128" y="938"/>
                      </a:lnTo>
                      <a:lnTo>
                        <a:pt x="1125" y="941"/>
                      </a:lnTo>
                      <a:lnTo>
                        <a:pt x="1124" y="943"/>
                      </a:lnTo>
                      <a:lnTo>
                        <a:pt x="1123" y="945"/>
                      </a:lnTo>
                      <a:lnTo>
                        <a:pt x="1123" y="945"/>
                      </a:lnTo>
                      <a:lnTo>
                        <a:pt x="1122" y="945"/>
                      </a:lnTo>
                      <a:lnTo>
                        <a:pt x="1121" y="943"/>
                      </a:lnTo>
                      <a:lnTo>
                        <a:pt x="1120" y="941"/>
                      </a:lnTo>
                      <a:lnTo>
                        <a:pt x="1118" y="938"/>
                      </a:lnTo>
                      <a:lnTo>
                        <a:pt x="1114" y="936"/>
                      </a:lnTo>
                      <a:lnTo>
                        <a:pt x="1112" y="935"/>
                      </a:lnTo>
                      <a:lnTo>
                        <a:pt x="1109" y="934"/>
                      </a:lnTo>
                      <a:lnTo>
                        <a:pt x="1102" y="935"/>
                      </a:lnTo>
                      <a:lnTo>
                        <a:pt x="1099" y="938"/>
                      </a:lnTo>
                      <a:lnTo>
                        <a:pt x="1097" y="944"/>
                      </a:lnTo>
                      <a:lnTo>
                        <a:pt x="1095" y="949"/>
                      </a:lnTo>
                      <a:lnTo>
                        <a:pt x="1091" y="954"/>
                      </a:lnTo>
                      <a:lnTo>
                        <a:pt x="1085" y="956"/>
                      </a:lnTo>
                      <a:lnTo>
                        <a:pt x="1080" y="958"/>
                      </a:lnTo>
                      <a:lnTo>
                        <a:pt x="1076" y="960"/>
                      </a:lnTo>
                      <a:lnTo>
                        <a:pt x="1073" y="963"/>
                      </a:lnTo>
                      <a:lnTo>
                        <a:pt x="1069" y="964"/>
                      </a:lnTo>
                      <a:lnTo>
                        <a:pt x="1067" y="967"/>
                      </a:lnTo>
                      <a:lnTo>
                        <a:pt x="1064" y="969"/>
                      </a:lnTo>
                      <a:lnTo>
                        <a:pt x="1061" y="971"/>
                      </a:lnTo>
                      <a:lnTo>
                        <a:pt x="1058" y="971"/>
                      </a:lnTo>
                      <a:lnTo>
                        <a:pt x="1055" y="970"/>
                      </a:lnTo>
                      <a:lnTo>
                        <a:pt x="1055" y="969"/>
                      </a:lnTo>
                      <a:lnTo>
                        <a:pt x="1057" y="968"/>
                      </a:lnTo>
                      <a:lnTo>
                        <a:pt x="982" y="932"/>
                      </a:lnTo>
                      <a:lnTo>
                        <a:pt x="908" y="893"/>
                      </a:lnTo>
                      <a:lnTo>
                        <a:pt x="827" y="848"/>
                      </a:lnTo>
                      <a:lnTo>
                        <a:pt x="750" y="802"/>
                      </a:lnTo>
                      <a:lnTo>
                        <a:pt x="676" y="756"/>
                      </a:lnTo>
                      <a:lnTo>
                        <a:pt x="606" y="711"/>
                      </a:lnTo>
                      <a:lnTo>
                        <a:pt x="539" y="666"/>
                      </a:lnTo>
                      <a:lnTo>
                        <a:pt x="475" y="625"/>
                      </a:lnTo>
                      <a:lnTo>
                        <a:pt x="414" y="586"/>
                      </a:lnTo>
                      <a:lnTo>
                        <a:pt x="358" y="551"/>
                      </a:lnTo>
                      <a:lnTo>
                        <a:pt x="305" y="520"/>
                      </a:lnTo>
                      <a:lnTo>
                        <a:pt x="255" y="495"/>
                      </a:lnTo>
                      <a:lnTo>
                        <a:pt x="205" y="473"/>
                      </a:lnTo>
                      <a:lnTo>
                        <a:pt x="159" y="456"/>
                      </a:lnTo>
                      <a:lnTo>
                        <a:pt x="113" y="445"/>
                      </a:lnTo>
                      <a:lnTo>
                        <a:pt x="69" y="439"/>
                      </a:lnTo>
                      <a:lnTo>
                        <a:pt x="57" y="439"/>
                      </a:lnTo>
                      <a:lnTo>
                        <a:pt x="57" y="439"/>
                      </a:lnTo>
                      <a:lnTo>
                        <a:pt x="57" y="437"/>
                      </a:lnTo>
                      <a:lnTo>
                        <a:pt x="55" y="437"/>
                      </a:lnTo>
                      <a:lnTo>
                        <a:pt x="55" y="439"/>
                      </a:lnTo>
                      <a:lnTo>
                        <a:pt x="54" y="439"/>
                      </a:lnTo>
                      <a:lnTo>
                        <a:pt x="53" y="439"/>
                      </a:lnTo>
                      <a:lnTo>
                        <a:pt x="53" y="441"/>
                      </a:lnTo>
                      <a:lnTo>
                        <a:pt x="53" y="441"/>
                      </a:lnTo>
                      <a:lnTo>
                        <a:pt x="30" y="442"/>
                      </a:lnTo>
                      <a:lnTo>
                        <a:pt x="9" y="445"/>
                      </a:lnTo>
                      <a:lnTo>
                        <a:pt x="9" y="443"/>
                      </a:lnTo>
                      <a:lnTo>
                        <a:pt x="10" y="441"/>
                      </a:lnTo>
                      <a:lnTo>
                        <a:pt x="11" y="439"/>
                      </a:lnTo>
                      <a:lnTo>
                        <a:pt x="11" y="436"/>
                      </a:lnTo>
                      <a:lnTo>
                        <a:pt x="11" y="435"/>
                      </a:lnTo>
                      <a:lnTo>
                        <a:pt x="11" y="434"/>
                      </a:lnTo>
                      <a:lnTo>
                        <a:pt x="10" y="434"/>
                      </a:lnTo>
                      <a:lnTo>
                        <a:pt x="9" y="434"/>
                      </a:lnTo>
                      <a:lnTo>
                        <a:pt x="5" y="432"/>
                      </a:lnTo>
                      <a:lnTo>
                        <a:pt x="3" y="429"/>
                      </a:lnTo>
                      <a:lnTo>
                        <a:pt x="0" y="423"/>
                      </a:lnTo>
                      <a:lnTo>
                        <a:pt x="3" y="417"/>
                      </a:lnTo>
                      <a:lnTo>
                        <a:pt x="5" y="414"/>
                      </a:lnTo>
                      <a:lnTo>
                        <a:pt x="8" y="412"/>
                      </a:lnTo>
                      <a:lnTo>
                        <a:pt x="11" y="410"/>
                      </a:lnTo>
                      <a:lnTo>
                        <a:pt x="14" y="408"/>
                      </a:lnTo>
                      <a:lnTo>
                        <a:pt x="17" y="406"/>
                      </a:lnTo>
                      <a:lnTo>
                        <a:pt x="19" y="402"/>
                      </a:lnTo>
                      <a:lnTo>
                        <a:pt x="22" y="399"/>
                      </a:lnTo>
                      <a:lnTo>
                        <a:pt x="22" y="397"/>
                      </a:lnTo>
                      <a:lnTo>
                        <a:pt x="25" y="395"/>
                      </a:lnTo>
                      <a:lnTo>
                        <a:pt x="27" y="392"/>
                      </a:lnTo>
                      <a:lnTo>
                        <a:pt x="29" y="390"/>
                      </a:lnTo>
                      <a:lnTo>
                        <a:pt x="31" y="388"/>
                      </a:lnTo>
                      <a:lnTo>
                        <a:pt x="33" y="386"/>
                      </a:lnTo>
                      <a:lnTo>
                        <a:pt x="36" y="385"/>
                      </a:lnTo>
                      <a:lnTo>
                        <a:pt x="37" y="384"/>
                      </a:lnTo>
                      <a:lnTo>
                        <a:pt x="39" y="385"/>
                      </a:lnTo>
                      <a:lnTo>
                        <a:pt x="40" y="386"/>
                      </a:lnTo>
                      <a:lnTo>
                        <a:pt x="40" y="387"/>
                      </a:lnTo>
                      <a:lnTo>
                        <a:pt x="40" y="389"/>
                      </a:lnTo>
                      <a:lnTo>
                        <a:pt x="39" y="391"/>
                      </a:lnTo>
                      <a:lnTo>
                        <a:pt x="38" y="392"/>
                      </a:lnTo>
                      <a:lnTo>
                        <a:pt x="38" y="395"/>
                      </a:lnTo>
                      <a:lnTo>
                        <a:pt x="38" y="396"/>
                      </a:lnTo>
                      <a:lnTo>
                        <a:pt x="40" y="396"/>
                      </a:lnTo>
                      <a:lnTo>
                        <a:pt x="41" y="397"/>
                      </a:lnTo>
                      <a:lnTo>
                        <a:pt x="43" y="397"/>
                      </a:lnTo>
                      <a:lnTo>
                        <a:pt x="44" y="397"/>
                      </a:lnTo>
                      <a:lnTo>
                        <a:pt x="46" y="397"/>
                      </a:lnTo>
                      <a:lnTo>
                        <a:pt x="49" y="397"/>
                      </a:lnTo>
                      <a:lnTo>
                        <a:pt x="51" y="397"/>
                      </a:lnTo>
                      <a:lnTo>
                        <a:pt x="53" y="397"/>
                      </a:lnTo>
                      <a:lnTo>
                        <a:pt x="57" y="396"/>
                      </a:lnTo>
                      <a:lnTo>
                        <a:pt x="58" y="393"/>
                      </a:lnTo>
                      <a:lnTo>
                        <a:pt x="59" y="390"/>
                      </a:lnTo>
                      <a:lnTo>
                        <a:pt x="59" y="388"/>
                      </a:lnTo>
                      <a:lnTo>
                        <a:pt x="59" y="387"/>
                      </a:lnTo>
                      <a:lnTo>
                        <a:pt x="58" y="387"/>
                      </a:lnTo>
                      <a:lnTo>
                        <a:pt x="57" y="387"/>
                      </a:lnTo>
                      <a:lnTo>
                        <a:pt x="55" y="386"/>
                      </a:lnTo>
                      <a:lnTo>
                        <a:pt x="54" y="386"/>
                      </a:lnTo>
                      <a:lnTo>
                        <a:pt x="53" y="385"/>
                      </a:lnTo>
                      <a:lnTo>
                        <a:pt x="54" y="384"/>
                      </a:lnTo>
                      <a:lnTo>
                        <a:pt x="55" y="381"/>
                      </a:lnTo>
                      <a:lnTo>
                        <a:pt x="55" y="378"/>
                      </a:lnTo>
                      <a:lnTo>
                        <a:pt x="55" y="376"/>
                      </a:lnTo>
                      <a:lnTo>
                        <a:pt x="54" y="374"/>
                      </a:lnTo>
                      <a:lnTo>
                        <a:pt x="52" y="371"/>
                      </a:lnTo>
                      <a:lnTo>
                        <a:pt x="50" y="370"/>
                      </a:lnTo>
                      <a:lnTo>
                        <a:pt x="48" y="369"/>
                      </a:lnTo>
                      <a:lnTo>
                        <a:pt x="47" y="370"/>
                      </a:lnTo>
                      <a:lnTo>
                        <a:pt x="42" y="370"/>
                      </a:lnTo>
                      <a:lnTo>
                        <a:pt x="41" y="367"/>
                      </a:lnTo>
                      <a:lnTo>
                        <a:pt x="41" y="363"/>
                      </a:lnTo>
                      <a:lnTo>
                        <a:pt x="42" y="358"/>
                      </a:lnTo>
                      <a:lnTo>
                        <a:pt x="44" y="353"/>
                      </a:lnTo>
                      <a:lnTo>
                        <a:pt x="43" y="349"/>
                      </a:lnTo>
                      <a:lnTo>
                        <a:pt x="43" y="346"/>
                      </a:lnTo>
                      <a:lnTo>
                        <a:pt x="42" y="344"/>
                      </a:lnTo>
                      <a:lnTo>
                        <a:pt x="41" y="343"/>
                      </a:lnTo>
                      <a:lnTo>
                        <a:pt x="40" y="342"/>
                      </a:lnTo>
                      <a:lnTo>
                        <a:pt x="38" y="338"/>
                      </a:lnTo>
                      <a:lnTo>
                        <a:pt x="37" y="335"/>
                      </a:lnTo>
                      <a:lnTo>
                        <a:pt x="35" y="333"/>
                      </a:lnTo>
                      <a:lnTo>
                        <a:pt x="33" y="333"/>
                      </a:lnTo>
                      <a:lnTo>
                        <a:pt x="31" y="331"/>
                      </a:lnTo>
                      <a:lnTo>
                        <a:pt x="29" y="330"/>
                      </a:lnTo>
                      <a:lnTo>
                        <a:pt x="27" y="328"/>
                      </a:lnTo>
                      <a:lnTo>
                        <a:pt x="25" y="328"/>
                      </a:lnTo>
                      <a:lnTo>
                        <a:pt x="24" y="327"/>
                      </a:lnTo>
                      <a:lnTo>
                        <a:pt x="24" y="327"/>
                      </a:lnTo>
                      <a:lnTo>
                        <a:pt x="24" y="326"/>
                      </a:lnTo>
                      <a:lnTo>
                        <a:pt x="25" y="326"/>
                      </a:lnTo>
                      <a:lnTo>
                        <a:pt x="27" y="325"/>
                      </a:lnTo>
                      <a:lnTo>
                        <a:pt x="28" y="323"/>
                      </a:lnTo>
                      <a:lnTo>
                        <a:pt x="29" y="321"/>
                      </a:lnTo>
                      <a:lnTo>
                        <a:pt x="30" y="319"/>
                      </a:lnTo>
                      <a:lnTo>
                        <a:pt x="31" y="315"/>
                      </a:lnTo>
                      <a:lnTo>
                        <a:pt x="31" y="313"/>
                      </a:lnTo>
                      <a:lnTo>
                        <a:pt x="32" y="311"/>
                      </a:lnTo>
                      <a:lnTo>
                        <a:pt x="33" y="308"/>
                      </a:lnTo>
                      <a:lnTo>
                        <a:pt x="36" y="304"/>
                      </a:lnTo>
                      <a:lnTo>
                        <a:pt x="38" y="302"/>
                      </a:lnTo>
                      <a:lnTo>
                        <a:pt x="40" y="302"/>
                      </a:lnTo>
                      <a:lnTo>
                        <a:pt x="42" y="302"/>
                      </a:lnTo>
                      <a:lnTo>
                        <a:pt x="44" y="301"/>
                      </a:lnTo>
                      <a:lnTo>
                        <a:pt x="47" y="300"/>
                      </a:lnTo>
                      <a:lnTo>
                        <a:pt x="49" y="298"/>
                      </a:lnTo>
                      <a:lnTo>
                        <a:pt x="58" y="288"/>
                      </a:lnTo>
                      <a:lnTo>
                        <a:pt x="63" y="276"/>
                      </a:lnTo>
                      <a:lnTo>
                        <a:pt x="64" y="272"/>
                      </a:lnTo>
                      <a:lnTo>
                        <a:pt x="64" y="269"/>
                      </a:lnTo>
                      <a:lnTo>
                        <a:pt x="65" y="266"/>
                      </a:lnTo>
                      <a:lnTo>
                        <a:pt x="65" y="262"/>
                      </a:lnTo>
                      <a:lnTo>
                        <a:pt x="68" y="260"/>
                      </a:lnTo>
                      <a:lnTo>
                        <a:pt x="70" y="257"/>
                      </a:lnTo>
                      <a:lnTo>
                        <a:pt x="72" y="254"/>
                      </a:lnTo>
                      <a:lnTo>
                        <a:pt x="74" y="251"/>
                      </a:lnTo>
                      <a:lnTo>
                        <a:pt x="75" y="248"/>
                      </a:lnTo>
                      <a:lnTo>
                        <a:pt x="76" y="244"/>
                      </a:lnTo>
                      <a:lnTo>
                        <a:pt x="77" y="240"/>
                      </a:lnTo>
                      <a:lnTo>
                        <a:pt x="79" y="238"/>
                      </a:lnTo>
                      <a:lnTo>
                        <a:pt x="81" y="238"/>
                      </a:lnTo>
                      <a:lnTo>
                        <a:pt x="83" y="237"/>
                      </a:lnTo>
                      <a:lnTo>
                        <a:pt x="85" y="236"/>
                      </a:lnTo>
                      <a:lnTo>
                        <a:pt x="92" y="229"/>
                      </a:lnTo>
                      <a:lnTo>
                        <a:pt x="93" y="227"/>
                      </a:lnTo>
                      <a:lnTo>
                        <a:pt x="95" y="225"/>
                      </a:lnTo>
                      <a:lnTo>
                        <a:pt x="96" y="222"/>
                      </a:lnTo>
                      <a:lnTo>
                        <a:pt x="97" y="218"/>
                      </a:lnTo>
                      <a:lnTo>
                        <a:pt x="99" y="216"/>
                      </a:lnTo>
                      <a:lnTo>
                        <a:pt x="101" y="215"/>
                      </a:lnTo>
                      <a:lnTo>
                        <a:pt x="102" y="214"/>
                      </a:lnTo>
                      <a:lnTo>
                        <a:pt x="103" y="214"/>
                      </a:lnTo>
                      <a:lnTo>
                        <a:pt x="104" y="215"/>
                      </a:lnTo>
                      <a:lnTo>
                        <a:pt x="105" y="216"/>
                      </a:lnTo>
                      <a:lnTo>
                        <a:pt x="106" y="216"/>
                      </a:lnTo>
                      <a:lnTo>
                        <a:pt x="107" y="216"/>
                      </a:lnTo>
                      <a:lnTo>
                        <a:pt x="109" y="216"/>
                      </a:lnTo>
                      <a:lnTo>
                        <a:pt x="112" y="214"/>
                      </a:lnTo>
                      <a:lnTo>
                        <a:pt x="115" y="212"/>
                      </a:lnTo>
                      <a:lnTo>
                        <a:pt x="118" y="210"/>
                      </a:lnTo>
                      <a:lnTo>
                        <a:pt x="123" y="204"/>
                      </a:lnTo>
                      <a:lnTo>
                        <a:pt x="126" y="197"/>
                      </a:lnTo>
                      <a:lnTo>
                        <a:pt x="130" y="192"/>
                      </a:lnTo>
                      <a:lnTo>
                        <a:pt x="134" y="190"/>
                      </a:lnTo>
                      <a:lnTo>
                        <a:pt x="137" y="192"/>
                      </a:lnTo>
                      <a:lnTo>
                        <a:pt x="137" y="195"/>
                      </a:lnTo>
                      <a:lnTo>
                        <a:pt x="136" y="200"/>
                      </a:lnTo>
                      <a:lnTo>
                        <a:pt x="134" y="205"/>
                      </a:lnTo>
                      <a:lnTo>
                        <a:pt x="134" y="210"/>
                      </a:lnTo>
                      <a:lnTo>
                        <a:pt x="136" y="212"/>
                      </a:lnTo>
                      <a:lnTo>
                        <a:pt x="137" y="214"/>
                      </a:lnTo>
                      <a:lnTo>
                        <a:pt x="138" y="216"/>
                      </a:lnTo>
                      <a:lnTo>
                        <a:pt x="139" y="216"/>
                      </a:lnTo>
                      <a:lnTo>
                        <a:pt x="140" y="216"/>
                      </a:lnTo>
                      <a:lnTo>
                        <a:pt x="141" y="215"/>
                      </a:lnTo>
                      <a:lnTo>
                        <a:pt x="142" y="215"/>
                      </a:lnTo>
                      <a:lnTo>
                        <a:pt x="142" y="214"/>
                      </a:lnTo>
                      <a:lnTo>
                        <a:pt x="142" y="212"/>
                      </a:lnTo>
                      <a:lnTo>
                        <a:pt x="142" y="210"/>
                      </a:lnTo>
                      <a:lnTo>
                        <a:pt x="141" y="210"/>
                      </a:lnTo>
                      <a:lnTo>
                        <a:pt x="140" y="208"/>
                      </a:lnTo>
                      <a:lnTo>
                        <a:pt x="140" y="207"/>
                      </a:lnTo>
                      <a:lnTo>
                        <a:pt x="140" y="205"/>
                      </a:lnTo>
                      <a:lnTo>
                        <a:pt x="141" y="203"/>
                      </a:lnTo>
                      <a:lnTo>
                        <a:pt x="141" y="201"/>
                      </a:lnTo>
                      <a:lnTo>
                        <a:pt x="142" y="199"/>
                      </a:lnTo>
                      <a:lnTo>
                        <a:pt x="144" y="195"/>
                      </a:lnTo>
                      <a:lnTo>
                        <a:pt x="145" y="193"/>
                      </a:lnTo>
                      <a:lnTo>
                        <a:pt x="146" y="192"/>
                      </a:lnTo>
                      <a:lnTo>
                        <a:pt x="147" y="192"/>
                      </a:lnTo>
                      <a:lnTo>
                        <a:pt x="148" y="193"/>
                      </a:lnTo>
                      <a:lnTo>
                        <a:pt x="149" y="195"/>
                      </a:lnTo>
                      <a:lnTo>
                        <a:pt x="149" y="196"/>
                      </a:lnTo>
                      <a:lnTo>
                        <a:pt x="149" y="199"/>
                      </a:lnTo>
                      <a:lnTo>
                        <a:pt x="149" y="202"/>
                      </a:lnTo>
                      <a:lnTo>
                        <a:pt x="150" y="204"/>
                      </a:lnTo>
                      <a:lnTo>
                        <a:pt x="151" y="204"/>
                      </a:lnTo>
                      <a:lnTo>
                        <a:pt x="152" y="204"/>
                      </a:lnTo>
                      <a:lnTo>
                        <a:pt x="153" y="204"/>
                      </a:lnTo>
                      <a:lnTo>
                        <a:pt x="155" y="203"/>
                      </a:lnTo>
                      <a:lnTo>
                        <a:pt x="156" y="202"/>
                      </a:lnTo>
                      <a:lnTo>
                        <a:pt x="158" y="201"/>
                      </a:lnTo>
                      <a:lnTo>
                        <a:pt x="159" y="200"/>
                      </a:lnTo>
                      <a:lnTo>
                        <a:pt x="160" y="199"/>
                      </a:lnTo>
                      <a:lnTo>
                        <a:pt x="162" y="199"/>
                      </a:lnTo>
                      <a:lnTo>
                        <a:pt x="163" y="199"/>
                      </a:lnTo>
                      <a:lnTo>
                        <a:pt x="166" y="199"/>
                      </a:lnTo>
                      <a:lnTo>
                        <a:pt x="167" y="200"/>
                      </a:lnTo>
                      <a:lnTo>
                        <a:pt x="167" y="201"/>
                      </a:lnTo>
                      <a:lnTo>
                        <a:pt x="167" y="205"/>
                      </a:lnTo>
                      <a:lnTo>
                        <a:pt x="168" y="206"/>
                      </a:lnTo>
                      <a:lnTo>
                        <a:pt x="169" y="207"/>
                      </a:lnTo>
                      <a:lnTo>
                        <a:pt x="170" y="207"/>
                      </a:lnTo>
                      <a:lnTo>
                        <a:pt x="170" y="207"/>
                      </a:lnTo>
                      <a:lnTo>
                        <a:pt x="171" y="207"/>
                      </a:lnTo>
                      <a:lnTo>
                        <a:pt x="173" y="207"/>
                      </a:lnTo>
                      <a:lnTo>
                        <a:pt x="174" y="208"/>
                      </a:lnTo>
                      <a:lnTo>
                        <a:pt x="175" y="211"/>
                      </a:lnTo>
                      <a:lnTo>
                        <a:pt x="175" y="212"/>
                      </a:lnTo>
                      <a:lnTo>
                        <a:pt x="175" y="214"/>
                      </a:lnTo>
                      <a:lnTo>
                        <a:pt x="178" y="214"/>
                      </a:lnTo>
                      <a:lnTo>
                        <a:pt x="179" y="214"/>
                      </a:lnTo>
                      <a:lnTo>
                        <a:pt x="181" y="212"/>
                      </a:lnTo>
                      <a:lnTo>
                        <a:pt x="183" y="210"/>
                      </a:lnTo>
                      <a:lnTo>
                        <a:pt x="184" y="207"/>
                      </a:lnTo>
                      <a:lnTo>
                        <a:pt x="188" y="203"/>
                      </a:lnTo>
                      <a:lnTo>
                        <a:pt x="190" y="201"/>
                      </a:lnTo>
                      <a:lnTo>
                        <a:pt x="193" y="200"/>
                      </a:lnTo>
                      <a:lnTo>
                        <a:pt x="195" y="201"/>
                      </a:lnTo>
                      <a:lnTo>
                        <a:pt x="197" y="202"/>
                      </a:lnTo>
                      <a:lnTo>
                        <a:pt x="200" y="203"/>
                      </a:lnTo>
                      <a:lnTo>
                        <a:pt x="202" y="205"/>
                      </a:lnTo>
                      <a:lnTo>
                        <a:pt x="206" y="206"/>
                      </a:lnTo>
                      <a:lnTo>
                        <a:pt x="211" y="208"/>
                      </a:lnTo>
                      <a:lnTo>
                        <a:pt x="216" y="208"/>
                      </a:lnTo>
                      <a:lnTo>
                        <a:pt x="222" y="207"/>
                      </a:lnTo>
                      <a:lnTo>
                        <a:pt x="224" y="206"/>
                      </a:lnTo>
                      <a:lnTo>
                        <a:pt x="226" y="205"/>
                      </a:lnTo>
                      <a:lnTo>
                        <a:pt x="228" y="206"/>
                      </a:lnTo>
                      <a:lnTo>
                        <a:pt x="230" y="207"/>
                      </a:lnTo>
                      <a:lnTo>
                        <a:pt x="233" y="208"/>
                      </a:lnTo>
                      <a:lnTo>
                        <a:pt x="235" y="208"/>
                      </a:lnTo>
                      <a:lnTo>
                        <a:pt x="237" y="210"/>
                      </a:lnTo>
                      <a:lnTo>
                        <a:pt x="245" y="207"/>
                      </a:lnTo>
                      <a:lnTo>
                        <a:pt x="251" y="204"/>
                      </a:lnTo>
                      <a:lnTo>
                        <a:pt x="259" y="203"/>
                      </a:lnTo>
                      <a:lnTo>
                        <a:pt x="261" y="202"/>
                      </a:lnTo>
                      <a:lnTo>
                        <a:pt x="265" y="203"/>
                      </a:lnTo>
                      <a:lnTo>
                        <a:pt x="267" y="204"/>
                      </a:lnTo>
                      <a:lnTo>
                        <a:pt x="269" y="205"/>
                      </a:lnTo>
                      <a:lnTo>
                        <a:pt x="270" y="207"/>
                      </a:lnTo>
                      <a:lnTo>
                        <a:pt x="272" y="208"/>
                      </a:lnTo>
                      <a:lnTo>
                        <a:pt x="275" y="210"/>
                      </a:lnTo>
                      <a:lnTo>
                        <a:pt x="277" y="211"/>
                      </a:lnTo>
                      <a:lnTo>
                        <a:pt x="279" y="212"/>
                      </a:lnTo>
                      <a:lnTo>
                        <a:pt x="282" y="213"/>
                      </a:lnTo>
                      <a:lnTo>
                        <a:pt x="286" y="213"/>
                      </a:lnTo>
                      <a:lnTo>
                        <a:pt x="289" y="213"/>
                      </a:lnTo>
                      <a:lnTo>
                        <a:pt x="292" y="214"/>
                      </a:lnTo>
                      <a:lnTo>
                        <a:pt x="293" y="214"/>
                      </a:lnTo>
                      <a:lnTo>
                        <a:pt x="294" y="215"/>
                      </a:lnTo>
                      <a:lnTo>
                        <a:pt x="295" y="216"/>
                      </a:lnTo>
                      <a:lnTo>
                        <a:pt x="298" y="216"/>
                      </a:lnTo>
                      <a:lnTo>
                        <a:pt x="299" y="216"/>
                      </a:lnTo>
                      <a:lnTo>
                        <a:pt x="302" y="216"/>
                      </a:lnTo>
                      <a:lnTo>
                        <a:pt x="306" y="218"/>
                      </a:lnTo>
                      <a:lnTo>
                        <a:pt x="310" y="221"/>
                      </a:lnTo>
                      <a:lnTo>
                        <a:pt x="313" y="224"/>
                      </a:lnTo>
                      <a:lnTo>
                        <a:pt x="316" y="227"/>
                      </a:lnTo>
                      <a:lnTo>
                        <a:pt x="316" y="229"/>
                      </a:lnTo>
                      <a:lnTo>
                        <a:pt x="317" y="232"/>
                      </a:lnTo>
                      <a:lnTo>
                        <a:pt x="320" y="233"/>
                      </a:lnTo>
                      <a:lnTo>
                        <a:pt x="323" y="234"/>
                      </a:lnTo>
                      <a:lnTo>
                        <a:pt x="326" y="234"/>
                      </a:lnTo>
                      <a:lnTo>
                        <a:pt x="330" y="234"/>
                      </a:lnTo>
                      <a:lnTo>
                        <a:pt x="332" y="234"/>
                      </a:lnTo>
                      <a:lnTo>
                        <a:pt x="335" y="235"/>
                      </a:lnTo>
                      <a:lnTo>
                        <a:pt x="338" y="236"/>
                      </a:lnTo>
                      <a:lnTo>
                        <a:pt x="341" y="227"/>
                      </a:lnTo>
                      <a:lnTo>
                        <a:pt x="339" y="225"/>
                      </a:lnTo>
                      <a:lnTo>
                        <a:pt x="338" y="223"/>
                      </a:lnTo>
                      <a:lnTo>
                        <a:pt x="337" y="223"/>
                      </a:lnTo>
                      <a:lnTo>
                        <a:pt x="335" y="222"/>
                      </a:lnTo>
                      <a:lnTo>
                        <a:pt x="334" y="221"/>
                      </a:lnTo>
                      <a:lnTo>
                        <a:pt x="335" y="217"/>
                      </a:lnTo>
                      <a:lnTo>
                        <a:pt x="339" y="213"/>
                      </a:lnTo>
                      <a:lnTo>
                        <a:pt x="345" y="208"/>
                      </a:lnTo>
                      <a:lnTo>
                        <a:pt x="350" y="205"/>
                      </a:lnTo>
                      <a:lnTo>
                        <a:pt x="354" y="203"/>
                      </a:lnTo>
                      <a:lnTo>
                        <a:pt x="355" y="201"/>
                      </a:lnTo>
                      <a:lnTo>
                        <a:pt x="357" y="197"/>
                      </a:lnTo>
                      <a:lnTo>
                        <a:pt x="358" y="195"/>
                      </a:lnTo>
                      <a:lnTo>
                        <a:pt x="360" y="193"/>
                      </a:lnTo>
                      <a:lnTo>
                        <a:pt x="361" y="192"/>
                      </a:lnTo>
                      <a:lnTo>
                        <a:pt x="364" y="192"/>
                      </a:lnTo>
                      <a:lnTo>
                        <a:pt x="365" y="192"/>
                      </a:lnTo>
                      <a:lnTo>
                        <a:pt x="366" y="193"/>
                      </a:lnTo>
                      <a:lnTo>
                        <a:pt x="367" y="196"/>
                      </a:lnTo>
                      <a:lnTo>
                        <a:pt x="367" y="196"/>
                      </a:lnTo>
                      <a:lnTo>
                        <a:pt x="367" y="197"/>
                      </a:lnTo>
                      <a:lnTo>
                        <a:pt x="367" y="199"/>
                      </a:lnTo>
                      <a:lnTo>
                        <a:pt x="368" y="200"/>
                      </a:lnTo>
                      <a:lnTo>
                        <a:pt x="369" y="201"/>
                      </a:lnTo>
                      <a:lnTo>
                        <a:pt x="370" y="200"/>
                      </a:lnTo>
                      <a:lnTo>
                        <a:pt x="372" y="199"/>
                      </a:lnTo>
                      <a:lnTo>
                        <a:pt x="375" y="197"/>
                      </a:lnTo>
                      <a:lnTo>
                        <a:pt x="376" y="195"/>
                      </a:lnTo>
                      <a:lnTo>
                        <a:pt x="378" y="194"/>
                      </a:lnTo>
                      <a:lnTo>
                        <a:pt x="378" y="192"/>
                      </a:lnTo>
                      <a:lnTo>
                        <a:pt x="379" y="191"/>
                      </a:lnTo>
                      <a:lnTo>
                        <a:pt x="379" y="190"/>
                      </a:lnTo>
                      <a:lnTo>
                        <a:pt x="380" y="188"/>
                      </a:lnTo>
                      <a:lnTo>
                        <a:pt x="382" y="185"/>
                      </a:lnTo>
                      <a:lnTo>
                        <a:pt x="383" y="184"/>
                      </a:lnTo>
                      <a:lnTo>
                        <a:pt x="387" y="183"/>
                      </a:lnTo>
                      <a:lnTo>
                        <a:pt x="389" y="182"/>
                      </a:lnTo>
                      <a:lnTo>
                        <a:pt x="391" y="181"/>
                      </a:lnTo>
                      <a:lnTo>
                        <a:pt x="395" y="180"/>
                      </a:lnTo>
                      <a:lnTo>
                        <a:pt x="397" y="179"/>
                      </a:lnTo>
                      <a:lnTo>
                        <a:pt x="399" y="178"/>
                      </a:lnTo>
                      <a:lnTo>
                        <a:pt x="400" y="175"/>
                      </a:lnTo>
                      <a:lnTo>
                        <a:pt x="402" y="172"/>
                      </a:lnTo>
                      <a:lnTo>
                        <a:pt x="403" y="169"/>
                      </a:lnTo>
                      <a:lnTo>
                        <a:pt x="407" y="166"/>
                      </a:lnTo>
                      <a:lnTo>
                        <a:pt x="410" y="162"/>
                      </a:lnTo>
                      <a:lnTo>
                        <a:pt x="412" y="161"/>
                      </a:lnTo>
                      <a:lnTo>
                        <a:pt x="415" y="162"/>
                      </a:lnTo>
                      <a:lnTo>
                        <a:pt x="418" y="163"/>
                      </a:lnTo>
                      <a:lnTo>
                        <a:pt x="419" y="163"/>
                      </a:lnTo>
                      <a:lnTo>
                        <a:pt x="420" y="164"/>
                      </a:lnTo>
                      <a:lnTo>
                        <a:pt x="420" y="166"/>
                      </a:lnTo>
                      <a:lnTo>
                        <a:pt x="420" y="168"/>
                      </a:lnTo>
                      <a:lnTo>
                        <a:pt x="420" y="169"/>
                      </a:lnTo>
                      <a:lnTo>
                        <a:pt x="420" y="171"/>
                      </a:lnTo>
                      <a:lnTo>
                        <a:pt x="420" y="172"/>
                      </a:lnTo>
                      <a:lnTo>
                        <a:pt x="420" y="174"/>
                      </a:lnTo>
                      <a:lnTo>
                        <a:pt x="421" y="174"/>
                      </a:lnTo>
                      <a:lnTo>
                        <a:pt x="422" y="174"/>
                      </a:lnTo>
                      <a:lnTo>
                        <a:pt x="424" y="173"/>
                      </a:lnTo>
                      <a:lnTo>
                        <a:pt x="426" y="172"/>
                      </a:lnTo>
                      <a:lnTo>
                        <a:pt x="429" y="170"/>
                      </a:lnTo>
                      <a:lnTo>
                        <a:pt x="430" y="168"/>
                      </a:lnTo>
                      <a:lnTo>
                        <a:pt x="432" y="164"/>
                      </a:lnTo>
                      <a:lnTo>
                        <a:pt x="434" y="162"/>
                      </a:lnTo>
                      <a:lnTo>
                        <a:pt x="435" y="160"/>
                      </a:lnTo>
                      <a:lnTo>
                        <a:pt x="436" y="158"/>
                      </a:lnTo>
                      <a:lnTo>
                        <a:pt x="436" y="157"/>
                      </a:lnTo>
                      <a:lnTo>
                        <a:pt x="439" y="152"/>
                      </a:lnTo>
                      <a:lnTo>
                        <a:pt x="440" y="146"/>
                      </a:lnTo>
                      <a:lnTo>
                        <a:pt x="440" y="140"/>
                      </a:lnTo>
                      <a:lnTo>
                        <a:pt x="441" y="136"/>
                      </a:lnTo>
                      <a:lnTo>
                        <a:pt x="444" y="134"/>
                      </a:lnTo>
                      <a:lnTo>
                        <a:pt x="447" y="135"/>
                      </a:lnTo>
                      <a:lnTo>
                        <a:pt x="452" y="139"/>
                      </a:lnTo>
                      <a:lnTo>
                        <a:pt x="454" y="146"/>
                      </a:lnTo>
                      <a:lnTo>
                        <a:pt x="455" y="153"/>
                      </a:lnTo>
                      <a:lnTo>
                        <a:pt x="456" y="161"/>
                      </a:lnTo>
                      <a:lnTo>
                        <a:pt x="457" y="164"/>
                      </a:lnTo>
                      <a:lnTo>
                        <a:pt x="459" y="171"/>
                      </a:lnTo>
                      <a:lnTo>
                        <a:pt x="462" y="177"/>
                      </a:lnTo>
                      <a:lnTo>
                        <a:pt x="465" y="181"/>
                      </a:lnTo>
                      <a:lnTo>
                        <a:pt x="467" y="181"/>
                      </a:lnTo>
                      <a:lnTo>
                        <a:pt x="472" y="178"/>
                      </a:lnTo>
                      <a:lnTo>
                        <a:pt x="475" y="172"/>
                      </a:lnTo>
                      <a:lnTo>
                        <a:pt x="477" y="168"/>
                      </a:lnTo>
                      <a:lnTo>
                        <a:pt x="476" y="163"/>
                      </a:lnTo>
                      <a:lnTo>
                        <a:pt x="477" y="162"/>
                      </a:lnTo>
                      <a:lnTo>
                        <a:pt x="478" y="161"/>
                      </a:lnTo>
                      <a:lnTo>
                        <a:pt x="479" y="160"/>
                      </a:lnTo>
                      <a:lnTo>
                        <a:pt x="480" y="158"/>
                      </a:lnTo>
                      <a:lnTo>
                        <a:pt x="481" y="155"/>
                      </a:lnTo>
                      <a:lnTo>
                        <a:pt x="483" y="152"/>
                      </a:lnTo>
                      <a:lnTo>
                        <a:pt x="484" y="151"/>
                      </a:lnTo>
                      <a:lnTo>
                        <a:pt x="485" y="149"/>
                      </a:lnTo>
                      <a:lnTo>
                        <a:pt x="487" y="149"/>
                      </a:lnTo>
                      <a:lnTo>
                        <a:pt x="489" y="149"/>
                      </a:lnTo>
                      <a:lnTo>
                        <a:pt x="491" y="150"/>
                      </a:lnTo>
                      <a:lnTo>
                        <a:pt x="495" y="155"/>
                      </a:lnTo>
                      <a:lnTo>
                        <a:pt x="494" y="161"/>
                      </a:lnTo>
                      <a:lnTo>
                        <a:pt x="489" y="170"/>
                      </a:lnTo>
                      <a:lnTo>
                        <a:pt x="489" y="173"/>
                      </a:lnTo>
                      <a:lnTo>
                        <a:pt x="488" y="175"/>
                      </a:lnTo>
                      <a:lnTo>
                        <a:pt x="489" y="178"/>
                      </a:lnTo>
                      <a:lnTo>
                        <a:pt x="489" y="178"/>
                      </a:lnTo>
                      <a:lnTo>
                        <a:pt x="491" y="179"/>
                      </a:lnTo>
                      <a:lnTo>
                        <a:pt x="492" y="178"/>
                      </a:lnTo>
                      <a:lnTo>
                        <a:pt x="495" y="178"/>
                      </a:lnTo>
                      <a:lnTo>
                        <a:pt x="497" y="177"/>
                      </a:lnTo>
                      <a:lnTo>
                        <a:pt x="498" y="175"/>
                      </a:lnTo>
                      <a:lnTo>
                        <a:pt x="500" y="174"/>
                      </a:lnTo>
                      <a:lnTo>
                        <a:pt x="502" y="171"/>
                      </a:lnTo>
                      <a:lnTo>
                        <a:pt x="505" y="169"/>
                      </a:lnTo>
                      <a:lnTo>
                        <a:pt x="508" y="166"/>
                      </a:lnTo>
                      <a:lnTo>
                        <a:pt x="509" y="163"/>
                      </a:lnTo>
                      <a:lnTo>
                        <a:pt x="511" y="159"/>
                      </a:lnTo>
                      <a:lnTo>
                        <a:pt x="515" y="157"/>
                      </a:lnTo>
                      <a:lnTo>
                        <a:pt x="518" y="155"/>
                      </a:lnTo>
                      <a:lnTo>
                        <a:pt x="522" y="153"/>
                      </a:lnTo>
                      <a:lnTo>
                        <a:pt x="526" y="152"/>
                      </a:lnTo>
                      <a:lnTo>
                        <a:pt x="530" y="151"/>
                      </a:lnTo>
                      <a:lnTo>
                        <a:pt x="533" y="151"/>
                      </a:lnTo>
                      <a:lnTo>
                        <a:pt x="535" y="152"/>
                      </a:lnTo>
                      <a:lnTo>
                        <a:pt x="539" y="153"/>
                      </a:lnTo>
                      <a:lnTo>
                        <a:pt x="542" y="156"/>
                      </a:lnTo>
                      <a:lnTo>
                        <a:pt x="545" y="158"/>
                      </a:lnTo>
                      <a:lnTo>
                        <a:pt x="549" y="159"/>
                      </a:lnTo>
                      <a:lnTo>
                        <a:pt x="551" y="161"/>
                      </a:lnTo>
                      <a:lnTo>
                        <a:pt x="552" y="162"/>
                      </a:lnTo>
                      <a:lnTo>
                        <a:pt x="555" y="162"/>
                      </a:lnTo>
                      <a:lnTo>
                        <a:pt x="557" y="163"/>
                      </a:lnTo>
                      <a:lnTo>
                        <a:pt x="560" y="163"/>
                      </a:lnTo>
                      <a:lnTo>
                        <a:pt x="563" y="163"/>
                      </a:lnTo>
                      <a:lnTo>
                        <a:pt x="566" y="164"/>
                      </a:lnTo>
                      <a:lnTo>
                        <a:pt x="568" y="164"/>
                      </a:lnTo>
                      <a:lnTo>
                        <a:pt x="571" y="167"/>
                      </a:lnTo>
                      <a:lnTo>
                        <a:pt x="573" y="168"/>
                      </a:lnTo>
                      <a:lnTo>
                        <a:pt x="581" y="174"/>
                      </a:lnTo>
                      <a:lnTo>
                        <a:pt x="589" y="180"/>
                      </a:lnTo>
                      <a:lnTo>
                        <a:pt x="601" y="183"/>
                      </a:lnTo>
                      <a:lnTo>
                        <a:pt x="605" y="181"/>
                      </a:lnTo>
                      <a:lnTo>
                        <a:pt x="609" y="179"/>
                      </a:lnTo>
                      <a:lnTo>
                        <a:pt x="615" y="177"/>
                      </a:lnTo>
                      <a:lnTo>
                        <a:pt x="619" y="177"/>
                      </a:lnTo>
                      <a:lnTo>
                        <a:pt x="621" y="175"/>
                      </a:lnTo>
                      <a:lnTo>
                        <a:pt x="623" y="177"/>
                      </a:lnTo>
                      <a:lnTo>
                        <a:pt x="626" y="178"/>
                      </a:lnTo>
                      <a:lnTo>
                        <a:pt x="628" y="179"/>
                      </a:lnTo>
                      <a:lnTo>
                        <a:pt x="630" y="181"/>
                      </a:lnTo>
                      <a:lnTo>
                        <a:pt x="632" y="183"/>
                      </a:lnTo>
                      <a:lnTo>
                        <a:pt x="636" y="186"/>
                      </a:lnTo>
                      <a:lnTo>
                        <a:pt x="639" y="191"/>
                      </a:lnTo>
                      <a:lnTo>
                        <a:pt x="641" y="195"/>
                      </a:lnTo>
                      <a:lnTo>
                        <a:pt x="641" y="200"/>
                      </a:lnTo>
                      <a:lnTo>
                        <a:pt x="637" y="203"/>
                      </a:lnTo>
                      <a:lnTo>
                        <a:pt x="631" y="204"/>
                      </a:lnTo>
                      <a:lnTo>
                        <a:pt x="626" y="204"/>
                      </a:lnTo>
                      <a:lnTo>
                        <a:pt x="621" y="206"/>
                      </a:lnTo>
                      <a:lnTo>
                        <a:pt x="617" y="212"/>
                      </a:lnTo>
                      <a:lnTo>
                        <a:pt x="617" y="215"/>
                      </a:lnTo>
                      <a:lnTo>
                        <a:pt x="617" y="218"/>
                      </a:lnTo>
                      <a:lnTo>
                        <a:pt x="618" y="221"/>
                      </a:lnTo>
                      <a:lnTo>
                        <a:pt x="620" y="222"/>
                      </a:lnTo>
                      <a:lnTo>
                        <a:pt x="622" y="223"/>
                      </a:lnTo>
                      <a:lnTo>
                        <a:pt x="625" y="223"/>
                      </a:lnTo>
                      <a:lnTo>
                        <a:pt x="628" y="223"/>
                      </a:lnTo>
                      <a:lnTo>
                        <a:pt x="630" y="223"/>
                      </a:lnTo>
                      <a:lnTo>
                        <a:pt x="637" y="223"/>
                      </a:lnTo>
                      <a:lnTo>
                        <a:pt x="643" y="225"/>
                      </a:lnTo>
                      <a:lnTo>
                        <a:pt x="649" y="227"/>
                      </a:lnTo>
                      <a:lnTo>
                        <a:pt x="655" y="228"/>
                      </a:lnTo>
                      <a:lnTo>
                        <a:pt x="663" y="227"/>
                      </a:lnTo>
                      <a:lnTo>
                        <a:pt x="674" y="220"/>
                      </a:lnTo>
                      <a:lnTo>
                        <a:pt x="686" y="214"/>
                      </a:lnTo>
                      <a:lnTo>
                        <a:pt x="701" y="212"/>
                      </a:lnTo>
                      <a:lnTo>
                        <a:pt x="710" y="215"/>
                      </a:lnTo>
                      <a:lnTo>
                        <a:pt x="720" y="221"/>
                      </a:lnTo>
                      <a:lnTo>
                        <a:pt x="729" y="227"/>
                      </a:lnTo>
                      <a:lnTo>
                        <a:pt x="731" y="228"/>
                      </a:lnTo>
                      <a:lnTo>
                        <a:pt x="734" y="228"/>
                      </a:lnTo>
                      <a:lnTo>
                        <a:pt x="735" y="227"/>
                      </a:lnTo>
                      <a:lnTo>
                        <a:pt x="735" y="226"/>
                      </a:lnTo>
                      <a:lnTo>
                        <a:pt x="736" y="224"/>
                      </a:lnTo>
                      <a:lnTo>
                        <a:pt x="736" y="222"/>
                      </a:lnTo>
                      <a:lnTo>
                        <a:pt x="736" y="220"/>
                      </a:lnTo>
                      <a:lnTo>
                        <a:pt x="735" y="217"/>
                      </a:lnTo>
                      <a:lnTo>
                        <a:pt x="735" y="215"/>
                      </a:lnTo>
                      <a:lnTo>
                        <a:pt x="735" y="213"/>
                      </a:lnTo>
                      <a:lnTo>
                        <a:pt x="736" y="212"/>
                      </a:lnTo>
                      <a:lnTo>
                        <a:pt x="737" y="210"/>
                      </a:lnTo>
                      <a:lnTo>
                        <a:pt x="740" y="207"/>
                      </a:lnTo>
                      <a:lnTo>
                        <a:pt x="742" y="205"/>
                      </a:lnTo>
                      <a:lnTo>
                        <a:pt x="746" y="203"/>
                      </a:lnTo>
                      <a:lnTo>
                        <a:pt x="749" y="201"/>
                      </a:lnTo>
                      <a:lnTo>
                        <a:pt x="750" y="199"/>
                      </a:lnTo>
                      <a:lnTo>
                        <a:pt x="753" y="196"/>
                      </a:lnTo>
                      <a:lnTo>
                        <a:pt x="756" y="195"/>
                      </a:lnTo>
                      <a:lnTo>
                        <a:pt x="758" y="194"/>
                      </a:lnTo>
                      <a:lnTo>
                        <a:pt x="760" y="192"/>
                      </a:lnTo>
                      <a:lnTo>
                        <a:pt x="763" y="188"/>
                      </a:lnTo>
                      <a:lnTo>
                        <a:pt x="769" y="183"/>
                      </a:lnTo>
                      <a:lnTo>
                        <a:pt x="775" y="180"/>
                      </a:lnTo>
                      <a:lnTo>
                        <a:pt x="782" y="179"/>
                      </a:lnTo>
                      <a:lnTo>
                        <a:pt x="786" y="179"/>
                      </a:lnTo>
                      <a:lnTo>
                        <a:pt x="789" y="179"/>
                      </a:lnTo>
                      <a:lnTo>
                        <a:pt x="791" y="181"/>
                      </a:lnTo>
                      <a:lnTo>
                        <a:pt x="793" y="182"/>
                      </a:lnTo>
                      <a:lnTo>
                        <a:pt x="795" y="185"/>
                      </a:lnTo>
                      <a:lnTo>
                        <a:pt x="796" y="188"/>
                      </a:lnTo>
                      <a:lnTo>
                        <a:pt x="799" y="190"/>
                      </a:lnTo>
                      <a:lnTo>
                        <a:pt x="801" y="191"/>
                      </a:lnTo>
                      <a:lnTo>
                        <a:pt x="804" y="192"/>
                      </a:lnTo>
                      <a:lnTo>
                        <a:pt x="805" y="192"/>
                      </a:lnTo>
                      <a:lnTo>
                        <a:pt x="807" y="191"/>
                      </a:lnTo>
                      <a:lnTo>
                        <a:pt x="810" y="190"/>
                      </a:lnTo>
                      <a:lnTo>
                        <a:pt x="811" y="189"/>
                      </a:lnTo>
                      <a:lnTo>
                        <a:pt x="813" y="186"/>
                      </a:lnTo>
                      <a:lnTo>
                        <a:pt x="815" y="185"/>
                      </a:lnTo>
                      <a:lnTo>
                        <a:pt x="816" y="184"/>
                      </a:lnTo>
                      <a:lnTo>
                        <a:pt x="818" y="184"/>
                      </a:lnTo>
                      <a:lnTo>
                        <a:pt x="819" y="185"/>
                      </a:lnTo>
                      <a:lnTo>
                        <a:pt x="821" y="186"/>
                      </a:lnTo>
                      <a:lnTo>
                        <a:pt x="823" y="190"/>
                      </a:lnTo>
                      <a:lnTo>
                        <a:pt x="824" y="192"/>
                      </a:lnTo>
                      <a:lnTo>
                        <a:pt x="824" y="194"/>
                      </a:lnTo>
                      <a:lnTo>
                        <a:pt x="825" y="196"/>
                      </a:lnTo>
                      <a:lnTo>
                        <a:pt x="827" y="199"/>
                      </a:lnTo>
                      <a:lnTo>
                        <a:pt x="829" y="201"/>
                      </a:lnTo>
                      <a:lnTo>
                        <a:pt x="833" y="202"/>
                      </a:lnTo>
                      <a:lnTo>
                        <a:pt x="836" y="202"/>
                      </a:lnTo>
                      <a:lnTo>
                        <a:pt x="838" y="203"/>
                      </a:lnTo>
                      <a:lnTo>
                        <a:pt x="850" y="200"/>
                      </a:lnTo>
                      <a:lnTo>
                        <a:pt x="861" y="196"/>
                      </a:lnTo>
                      <a:lnTo>
                        <a:pt x="873" y="195"/>
                      </a:lnTo>
                      <a:lnTo>
                        <a:pt x="884" y="196"/>
                      </a:lnTo>
                      <a:lnTo>
                        <a:pt x="888" y="196"/>
                      </a:lnTo>
                      <a:lnTo>
                        <a:pt x="891" y="196"/>
                      </a:lnTo>
                      <a:lnTo>
                        <a:pt x="893" y="197"/>
                      </a:lnTo>
                      <a:lnTo>
                        <a:pt x="897" y="196"/>
                      </a:lnTo>
                      <a:lnTo>
                        <a:pt x="898" y="196"/>
                      </a:lnTo>
                      <a:lnTo>
                        <a:pt x="901" y="195"/>
                      </a:lnTo>
                      <a:lnTo>
                        <a:pt x="903" y="193"/>
                      </a:lnTo>
                      <a:lnTo>
                        <a:pt x="904" y="191"/>
                      </a:lnTo>
                      <a:lnTo>
                        <a:pt x="905" y="189"/>
                      </a:lnTo>
                      <a:lnTo>
                        <a:pt x="905" y="186"/>
                      </a:lnTo>
                      <a:lnTo>
                        <a:pt x="906" y="185"/>
                      </a:lnTo>
                      <a:lnTo>
                        <a:pt x="906" y="183"/>
                      </a:lnTo>
                      <a:lnTo>
                        <a:pt x="911" y="178"/>
                      </a:lnTo>
                      <a:lnTo>
                        <a:pt x="917" y="175"/>
                      </a:lnTo>
                      <a:lnTo>
                        <a:pt x="924" y="175"/>
                      </a:lnTo>
                      <a:lnTo>
                        <a:pt x="931" y="174"/>
                      </a:lnTo>
                      <a:lnTo>
                        <a:pt x="933" y="174"/>
                      </a:lnTo>
                      <a:lnTo>
                        <a:pt x="935" y="173"/>
                      </a:lnTo>
                      <a:lnTo>
                        <a:pt x="937" y="173"/>
                      </a:lnTo>
                      <a:lnTo>
                        <a:pt x="938" y="173"/>
                      </a:lnTo>
                      <a:lnTo>
                        <a:pt x="939" y="172"/>
                      </a:lnTo>
                      <a:lnTo>
                        <a:pt x="942" y="173"/>
                      </a:lnTo>
                      <a:lnTo>
                        <a:pt x="943" y="174"/>
                      </a:lnTo>
                      <a:lnTo>
                        <a:pt x="944" y="177"/>
                      </a:lnTo>
                      <a:lnTo>
                        <a:pt x="945" y="179"/>
                      </a:lnTo>
                      <a:lnTo>
                        <a:pt x="946" y="181"/>
                      </a:lnTo>
                      <a:lnTo>
                        <a:pt x="947" y="183"/>
                      </a:lnTo>
                      <a:lnTo>
                        <a:pt x="948" y="185"/>
                      </a:lnTo>
                      <a:lnTo>
                        <a:pt x="950" y="188"/>
                      </a:lnTo>
                      <a:lnTo>
                        <a:pt x="952" y="191"/>
                      </a:lnTo>
                      <a:lnTo>
                        <a:pt x="952" y="194"/>
                      </a:lnTo>
                      <a:lnTo>
                        <a:pt x="950" y="197"/>
                      </a:lnTo>
                      <a:lnTo>
                        <a:pt x="948" y="201"/>
                      </a:lnTo>
                      <a:lnTo>
                        <a:pt x="947" y="204"/>
                      </a:lnTo>
                      <a:lnTo>
                        <a:pt x="947" y="207"/>
                      </a:lnTo>
                      <a:lnTo>
                        <a:pt x="947" y="211"/>
                      </a:lnTo>
                      <a:lnTo>
                        <a:pt x="949" y="214"/>
                      </a:lnTo>
                      <a:lnTo>
                        <a:pt x="952" y="216"/>
                      </a:lnTo>
                      <a:lnTo>
                        <a:pt x="954" y="218"/>
                      </a:lnTo>
                      <a:lnTo>
                        <a:pt x="957" y="220"/>
                      </a:lnTo>
                      <a:lnTo>
                        <a:pt x="960" y="220"/>
                      </a:lnTo>
                      <a:lnTo>
                        <a:pt x="964" y="218"/>
                      </a:lnTo>
                      <a:lnTo>
                        <a:pt x="966" y="216"/>
                      </a:lnTo>
                      <a:lnTo>
                        <a:pt x="968" y="208"/>
                      </a:lnTo>
                      <a:lnTo>
                        <a:pt x="966" y="203"/>
                      </a:lnTo>
                      <a:lnTo>
                        <a:pt x="964" y="196"/>
                      </a:lnTo>
                      <a:lnTo>
                        <a:pt x="963" y="191"/>
                      </a:lnTo>
                      <a:lnTo>
                        <a:pt x="964" y="185"/>
                      </a:lnTo>
                      <a:lnTo>
                        <a:pt x="967" y="182"/>
                      </a:lnTo>
                      <a:lnTo>
                        <a:pt x="972" y="177"/>
                      </a:lnTo>
                      <a:lnTo>
                        <a:pt x="979" y="171"/>
                      </a:lnTo>
                      <a:lnTo>
                        <a:pt x="986" y="166"/>
                      </a:lnTo>
                      <a:lnTo>
                        <a:pt x="992" y="160"/>
                      </a:lnTo>
                      <a:lnTo>
                        <a:pt x="996" y="155"/>
                      </a:lnTo>
                      <a:lnTo>
                        <a:pt x="996" y="150"/>
                      </a:lnTo>
                      <a:lnTo>
                        <a:pt x="990" y="148"/>
                      </a:lnTo>
                      <a:lnTo>
                        <a:pt x="987" y="147"/>
                      </a:lnTo>
                      <a:lnTo>
                        <a:pt x="983" y="147"/>
                      </a:lnTo>
                      <a:lnTo>
                        <a:pt x="981" y="145"/>
                      </a:lnTo>
                      <a:lnTo>
                        <a:pt x="980" y="142"/>
                      </a:lnTo>
                      <a:lnTo>
                        <a:pt x="979" y="139"/>
                      </a:lnTo>
                      <a:lnTo>
                        <a:pt x="979" y="136"/>
                      </a:lnTo>
                      <a:lnTo>
                        <a:pt x="980" y="134"/>
                      </a:lnTo>
                      <a:lnTo>
                        <a:pt x="982" y="131"/>
                      </a:lnTo>
                      <a:lnTo>
                        <a:pt x="985" y="129"/>
                      </a:lnTo>
                      <a:lnTo>
                        <a:pt x="988" y="128"/>
                      </a:lnTo>
                      <a:lnTo>
                        <a:pt x="990" y="126"/>
                      </a:lnTo>
                      <a:lnTo>
                        <a:pt x="992" y="125"/>
                      </a:lnTo>
                      <a:lnTo>
                        <a:pt x="994" y="124"/>
                      </a:lnTo>
                      <a:lnTo>
                        <a:pt x="997" y="122"/>
                      </a:lnTo>
                      <a:lnTo>
                        <a:pt x="999" y="119"/>
                      </a:lnTo>
                      <a:lnTo>
                        <a:pt x="999" y="118"/>
                      </a:lnTo>
                      <a:lnTo>
                        <a:pt x="999" y="116"/>
                      </a:lnTo>
                      <a:lnTo>
                        <a:pt x="998" y="115"/>
                      </a:lnTo>
                      <a:lnTo>
                        <a:pt x="996" y="113"/>
                      </a:lnTo>
                      <a:lnTo>
                        <a:pt x="993" y="112"/>
                      </a:lnTo>
                      <a:lnTo>
                        <a:pt x="992" y="111"/>
                      </a:lnTo>
                      <a:lnTo>
                        <a:pt x="982" y="108"/>
                      </a:lnTo>
                      <a:lnTo>
                        <a:pt x="974" y="106"/>
                      </a:lnTo>
                      <a:lnTo>
                        <a:pt x="966" y="102"/>
                      </a:lnTo>
                      <a:lnTo>
                        <a:pt x="959" y="95"/>
                      </a:lnTo>
                      <a:lnTo>
                        <a:pt x="955" y="90"/>
                      </a:lnTo>
                      <a:lnTo>
                        <a:pt x="949" y="84"/>
                      </a:lnTo>
                      <a:lnTo>
                        <a:pt x="946" y="77"/>
                      </a:lnTo>
                      <a:lnTo>
                        <a:pt x="946" y="71"/>
                      </a:lnTo>
                      <a:lnTo>
                        <a:pt x="948" y="69"/>
                      </a:lnTo>
                      <a:lnTo>
                        <a:pt x="950" y="66"/>
                      </a:lnTo>
                      <a:lnTo>
                        <a:pt x="953" y="65"/>
                      </a:lnTo>
                      <a:lnTo>
                        <a:pt x="956" y="64"/>
                      </a:lnTo>
                      <a:lnTo>
                        <a:pt x="957" y="62"/>
                      </a:lnTo>
                      <a:lnTo>
                        <a:pt x="959" y="59"/>
                      </a:lnTo>
                      <a:lnTo>
                        <a:pt x="959" y="57"/>
                      </a:lnTo>
                      <a:lnTo>
                        <a:pt x="958" y="54"/>
                      </a:lnTo>
                      <a:lnTo>
                        <a:pt x="957" y="52"/>
                      </a:lnTo>
                      <a:lnTo>
                        <a:pt x="955" y="51"/>
                      </a:lnTo>
                      <a:lnTo>
                        <a:pt x="954" y="46"/>
                      </a:lnTo>
                      <a:lnTo>
                        <a:pt x="954" y="42"/>
                      </a:lnTo>
                      <a:lnTo>
                        <a:pt x="954" y="38"/>
                      </a:lnTo>
                      <a:lnTo>
                        <a:pt x="955" y="33"/>
                      </a:lnTo>
                      <a:lnTo>
                        <a:pt x="957" y="31"/>
                      </a:lnTo>
                      <a:lnTo>
                        <a:pt x="958" y="29"/>
                      </a:lnTo>
                      <a:lnTo>
                        <a:pt x="960" y="28"/>
                      </a:lnTo>
                      <a:lnTo>
                        <a:pt x="964" y="28"/>
                      </a:lnTo>
                      <a:lnTo>
                        <a:pt x="966" y="27"/>
                      </a:lnTo>
                      <a:lnTo>
                        <a:pt x="969" y="24"/>
                      </a:lnTo>
                      <a:lnTo>
                        <a:pt x="971" y="17"/>
                      </a:lnTo>
                      <a:lnTo>
                        <a:pt x="972" y="11"/>
                      </a:lnTo>
                      <a:lnTo>
                        <a:pt x="975" y="7"/>
                      </a:lnTo>
                      <a:lnTo>
                        <a:pt x="976" y="5"/>
                      </a:lnTo>
                      <a:lnTo>
                        <a:pt x="978" y="4"/>
                      </a:lnTo>
                      <a:lnTo>
                        <a:pt x="980" y="2"/>
                      </a:lnTo>
                      <a:lnTo>
                        <a:pt x="983" y="0"/>
                      </a:lnTo>
                      <a:lnTo>
                        <a:pt x="986"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39" name="Freeform 36"/>
                <p:cNvSpPr>
                  <a:spLocks noEditPoints="1"/>
                </p:cNvSpPr>
                <p:nvPr/>
              </p:nvSpPr>
              <p:spPr bwMode="auto">
                <a:xfrm>
                  <a:off x="5643" y="727"/>
                  <a:ext cx="333" cy="80"/>
                </a:xfrm>
                <a:custGeom>
                  <a:avLst/>
                  <a:gdLst>
                    <a:gd name="T0" fmla="*/ 2220 w 2332"/>
                    <a:gd name="T1" fmla="*/ 79 h 560"/>
                    <a:gd name="T2" fmla="*/ 1684 w 2332"/>
                    <a:gd name="T3" fmla="*/ 73 h 560"/>
                    <a:gd name="T4" fmla="*/ 343 w 2332"/>
                    <a:gd name="T5" fmla="*/ 71 h 560"/>
                    <a:gd name="T6" fmla="*/ 333 w 2332"/>
                    <a:gd name="T7" fmla="*/ 149 h 560"/>
                    <a:gd name="T8" fmla="*/ 379 w 2332"/>
                    <a:gd name="T9" fmla="*/ 230 h 560"/>
                    <a:gd name="T10" fmla="*/ 349 w 2332"/>
                    <a:gd name="T11" fmla="*/ 271 h 560"/>
                    <a:gd name="T12" fmla="*/ 270 w 2332"/>
                    <a:gd name="T13" fmla="*/ 273 h 560"/>
                    <a:gd name="T14" fmla="*/ 121 w 2332"/>
                    <a:gd name="T15" fmla="*/ 269 h 560"/>
                    <a:gd name="T16" fmla="*/ 128 w 2332"/>
                    <a:gd name="T17" fmla="*/ 228 h 560"/>
                    <a:gd name="T18" fmla="*/ 110 w 2332"/>
                    <a:gd name="T19" fmla="*/ 161 h 560"/>
                    <a:gd name="T20" fmla="*/ 189 w 2332"/>
                    <a:gd name="T21" fmla="*/ 90 h 560"/>
                    <a:gd name="T22" fmla="*/ 224 w 2332"/>
                    <a:gd name="T23" fmla="*/ 122 h 560"/>
                    <a:gd name="T24" fmla="*/ 256 w 2332"/>
                    <a:gd name="T25" fmla="*/ 97 h 560"/>
                    <a:gd name="T26" fmla="*/ 289 w 2332"/>
                    <a:gd name="T27" fmla="*/ 82 h 560"/>
                    <a:gd name="T28" fmla="*/ 306 w 2332"/>
                    <a:gd name="T29" fmla="*/ 69 h 560"/>
                    <a:gd name="T30" fmla="*/ 113 w 2332"/>
                    <a:gd name="T31" fmla="*/ 64 h 560"/>
                    <a:gd name="T32" fmla="*/ 118 w 2332"/>
                    <a:gd name="T33" fmla="*/ 126 h 560"/>
                    <a:gd name="T34" fmla="*/ 14 w 2332"/>
                    <a:gd name="T35" fmla="*/ 197 h 560"/>
                    <a:gd name="T36" fmla="*/ 38 w 2332"/>
                    <a:gd name="T37" fmla="*/ 90 h 560"/>
                    <a:gd name="T38" fmla="*/ 2002 w 2332"/>
                    <a:gd name="T39" fmla="*/ 66 h 560"/>
                    <a:gd name="T40" fmla="*/ 2022 w 2332"/>
                    <a:gd name="T41" fmla="*/ 118 h 560"/>
                    <a:gd name="T42" fmla="*/ 1994 w 2332"/>
                    <a:gd name="T43" fmla="*/ 57 h 560"/>
                    <a:gd name="T44" fmla="*/ 2166 w 2332"/>
                    <a:gd name="T45" fmla="*/ 45 h 560"/>
                    <a:gd name="T46" fmla="*/ 2158 w 2332"/>
                    <a:gd name="T47" fmla="*/ 45 h 560"/>
                    <a:gd name="T48" fmla="*/ 454 w 2332"/>
                    <a:gd name="T49" fmla="*/ 137 h 560"/>
                    <a:gd name="T50" fmla="*/ 380 w 2332"/>
                    <a:gd name="T51" fmla="*/ 105 h 560"/>
                    <a:gd name="T52" fmla="*/ 408 w 2332"/>
                    <a:gd name="T53" fmla="*/ 56 h 560"/>
                    <a:gd name="T54" fmla="*/ 2211 w 2332"/>
                    <a:gd name="T55" fmla="*/ 29 h 560"/>
                    <a:gd name="T56" fmla="*/ 2222 w 2332"/>
                    <a:gd name="T57" fmla="*/ 57 h 560"/>
                    <a:gd name="T58" fmla="*/ 679 w 2332"/>
                    <a:gd name="T59" fmla="*/ 17 h 560"/>
                    <a:gd name="T60" fmla="*/ 665 w 2332"/>
                    <a:gd name="T61" fmla="*/ 110 h 560"/>
                    <a:gd name="T62" fmla="*/ 684 w 2332"/>
                    <a:gd name="T63" fmla="*/ 82 h 560"/>
                    <a:gd name="T64" fmla="*/ 717 w 2332"/>
                    <a:gd name="T65" fmla="*/ 24 h 560"/>
                    <a:gd name="T66" fmla="*/ 781 w 2332"/>
                    <a:gd name="T67" fmla="*/ 95 h 560"/>
                    <a:gd name="T68" fmla="*/ 808 w 2332"/>
                    <a:gd name="T69" fmla="*/ 71 h 560"/>
                    <a:gd name="T70" fmla="*/ 830 w 2332"/>
                    <a:gd name="T71" fmla="*/ 36 h 560"/>
                    <a:gd name="T72" fmla="*/ 864 w 2332"/>
                    <a:gd name="T73" fmla="*/ 94 h 560"/>
                    <a:gd name="T74" fmla="*/ 898 w 2332"/>
                    <a:gd name="T75" fmla="*/ 131 h 560"/>
                    <a:gd name="T76" fmla="*/ 938 w 2332"/>
                    <a:gd name="T77" fmla="*/ 155 h 560"/>
                    <a:gd name="T78" fmla="*/ 1006 w 2332"/>
                    <a:gd name="T79" fmla="*/ 191 h 560"/>
                    <a:gd name="T80" fmla="*/ 1000 w 2332"/>
                    <a:gd name="T81" fmla="*/ 243 h 560"/>
                    <a:gd name="T82" fmla="*/ 1128 w 2332"/>
                    <a:gd name="T83" fmla="*/ 341 h 560"/>
                    <a:gd name="T84" fmla="*/ 1099 w 2332"/>
                    <a:gd name="T85" fmla="*/ 431 h 560"/>
                    <a:gd name="T86" fmla="*/ 1009 w 2332"/>
                    <a:gd name="T87" fmla="*/ 378 h 560"/>
                    <a:gd name="T88" fmla="*/ 1082 w 2332"/>
                    <a:gd name="T89" fmla="*/ 531 h 560"/>
                    <a:gd name="T90" fmla="*/ 991 w 2332"/>
                    <a:gd name="T91" fmla="*/ 525 h 560"/>
                    <a:gd name="T92" fmla="*/ 909 w 2332"/>
                    <a:gd name="T93" fmla="*/ 450 h 560"/>
                    <a:gd name="T94" fmla="*/ 820 w 2332"/>
                    <a:gd name="T95" fmla="*/ 436 h 560"/>
                    <a:gd name="T96" fmla="*/ 929 w 2332"/>
                    <a:gd name="T97" fmla="*/ 356 h 560"/>
                    <a:gd name="T98" fmla="*/ 951 w 2332"/>
                    <a:gd name="T99" fmla="*/ 343 h 560"/>
                    <a:gd name="T100" fmla="*/ 869 w 2332"/>
                    <a:gd name="T101" fmla="*/ 256 h 560"/>
                    <a:gd name="T102" fmla="*/ 838 w 2332"/>
                    <a:gd name="T103" fmla="*/ 231 h 560"/>
                    <a:gd name="T104" fmla="*/ 804 w 2332"/>
                    <a:gd name="T105" fmla="*/ 172 h 560"/>
                    <a:gd name="T106" fmla="*/ 681 w 2332"/>
                    <a:gd name="T107" fmla="*/ 199 h 560"/>
                    <a:gd name="T108" fmla="*/ 627 w 2332"/>
                    <a:gd name="T109" fmla="*/ 147 h 560"/>
                    <a:gd name="T110" fmla="*/ 2237 w 2332"/>
                    <a:gd name="T111" fmla="*/ 42 h 560"/>
                    <a:gd name="T112" fmla="*/ 2221 w 2332"/>
                    <a:gd name="T113" fmla="*/ 27 h 560"/>
                    <a:gd name="T114" fmla="*/ 1656 w 2332"/>
                    <a:gd name="T115" fmla="*/ 12 h 560"/>
                    <a:gd name="T116" fmla="*/ 561 w 2332"/>
                    <a:gd name="T117" fmla="*/ 61 h 560"/>
                    <a:gd name="T118" fmla="*/ 491 w 2332"/>
                    <a:gd name="T119" fmla="*/ 93 h 560"/>
                    <a:gd name="T120" fmla="*/ 2198 w 2332"/>
                    <a:gd name="T121" fmla="*/ 17 h 560"/>
                    <a:gd name="T122" fmla="*/ 1897 w 2332"/>
                    <a:gd name="T123" fmla="*/ 0 h 560"/>
                    <a:gd name="T124" fmla="*/ 1897 w 2332"/>
                    <a:gd name="T125" fmla="*/ 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32" h="560">
                      <a:moveTo>
                        <a:pt x="2326" y="76"/>
                      </a:moveTo>
                      <a:lnTo>
                        <a:pt x="2327" y="77"/>
                      </a:lnTo>
                      <a:lnTo>
                        <a:pt x="2328" y="78"/>
                      </a:lnTo>
                      <a:lnTo>
                        <a:pt x="2329" y="79"/>
                      </a:lnTo>
                      <a:lnTo>
                        <a:pt x="2329" y="82"/>
                      </a:lnTo>
                      <a:lnTo>
                        <a:pt x="2330" y="83"/>
                      </a:lnTo>
                      <a:lnTo>
                        <a:pt x="2330" y="84"/>
                      </a:lnTo>
                      <a:lnTo>
                        <a:pt x="2331" y="86"/>
                      </a:lnTo>
                      <a:lnTo>
                        <a:pt x="2331" y="87"/>
                      </a:lnTo>
                      <a:lnTo>
                        <a:pt x="2332" y="88"/>
                      </a:lnTo>
                      <a:lnTo>
                        <a:pt x="2331" y="89"/>
                      </a:lnTo>
                      <a:lnTo>
                        <a:pt x="2331" y="89"/>
                      </a:lnTo>
                      <a:lnTo>
                        <a:pt x="2330" y="89"/>
                      </a:lnTo>
                      <a:lnTo>
                        <a:pt x="2328" y="87"/>
                      </a:lnTo>
                      <a:lnTo>
                        <a:pt x="2326" y="86"/>
                      </a:lnTo>
                      <a:lnTo>
                        <a:pt x="2324" y="84"/>
                      </a:lnTo>
                      <a:lnTo>
                        <a:pt x="2324" y="82"/>
                      </a:lnTo>
                      <a:lnTo>
                        <a:pt x="2324" y="79"/>
                      </a:lnTo>
                      <a:lnTo>
                        <a:pt x="2325" y="78"/>
                      </a:lnTo>
                      <a:lnTo>
                        <a:pt x="2326" y="77"/>
                      </a:lnTo>
                      <a:lnTo>
                        <a:pt x="2326" y="76"/>
                      </a:lnTo>
                      <a:lnTo>
                        <a:pt x="2326" y="76"/>
                      </a:lnTo>
                      <a:close/>
                      <a:moveTo>
                        <a:pt x="2213" y="65"/>
                      </a:moveTo>
                      <a:lnTo>
                        <a:pt x="2215" y="66"/>
                      </a:lnTo>
                      <a:lnTo>
                        <a:pt x="2215" y="67"/>
                      </a:lnTo>
                      <a:lnTo>
                        <a:pt x="2216" y="68"/>
                      </a:lnTo>
                      <a:lnTo>
                        <a:pt x="2217" y="71"/>
                      </a:lnTo>
                      <a:lnTo>
                        <a:pt x="2219" y="73"/>
                      </a:lnTo>
                      <a:lnTo>
                        <a:pt x="2220" y="75"/>
                      </a:lnTo>
                      <a:lnTo>
                        <a:pt x="2221" y="78"/>
                      </a:lnTo>
                      <a:lnTo>
                        <a:pt x="2221" y="82"/>
                      </a:lnTo>
                      <a:lnTo>
                        <a:pt x="2220" y="79"/>
                      </a:lnTo>
                      <a:lnTo>
                        <a:pt x="2218" y="78"/>
                      </a:lnTo>
                      <a:lnTo>
                        <a:pt x="2217" y="77"/>
                      </a:lnTo>
                      <a:lnTo>
                        <a:pt x="2217" y="77"/>
                      </a:lnTo>
                      <a:lnTo>
                        <a:pt x="2216" y="77"/>
                      </a:lnTo>
                      <a:lnTo>
                        <a:pt x="2215" y="76"/>
                      </a:lnTo>
                      <a:lnTo>
                        <a:pt x="2213" y="75"/>
                      </a:lnTo>
                      <a:lnTo>
                        <a:pt x="2212" y="73"/>
                      </a:lnTo>
                      <a:lnTo>
                        <a:pt x="2212" y="69"/>
                      </a:lnTo>
                      <a:lnTo>
                        <a:pt x="2212" y="67"/>
                      </a:lnTo>
                      <a:lnTo>
                        <a:pt x="2212" y="66"/>
                      </a:lnTo>
                      <a:lnTo>
                        <a:pt x="2213" y="66"/>
                      </a:lnTo>
                      <a:lnTo>
                        <a:pt x="2213" y="65"/>
                      </a:lnTo>
                      <a:close/>
                      <a:moveTo>
                        <a:pt x="1691" y="63"/>
                      </a:moveTo>
                      <a:lnTo>
                        <a:pt x="1693" y="71"/>
                      </a:lnTo>
                      <a:lnTo>
                        <a:pt x="1699" y="76"/>
                      </a:lnTo>
                      <a:lnTo>
                        <a:pt x="1705" y="82"/>
                      </a:lnTo>
                      <a:lnTo>
                        <a:pt x="1706" y="84"/>
                      </a:lnTo>
                      <a:lnTo>
                        <a:pt x="1707" y="86"/>
                      </a:lnTo>
                      <a:lnTo>
                        <a:pt x="1708" y="88"/>
                      </a:lnTo>
                      <a:lnTo>
                        <a:pt x="1709" y="92"/>
                      </a:lnTo>
                      <a:lnTo>
                        <a:pt x="1709" y="94"/>
                      </a:lnTo>
                      <a:lnTo>
                        <a:pt x="1709" y="96"/>
                      </a:lnTo>
                      <a:lnTo>
                        <a:pt x="1709" y="98"/>
                      </a:lnTo>
                      <a:lnTo>
                        <a:pt x="1706" y="98"/>
                      </a:lnTo>
                      <a:lnTo>
                        <a:pt x="1702" y="96"/>
                      </a:lnTo>
                      <a:lnTo>
                        <a:pt x="1696" y="92"/>
                      </a:lnTo>
                      <a:lnTo>
                        <a:pt x="1692" y="87"/>
                      </a:lnTo>
                      <a:lnTo>
                        <a:pt x="1688" y="82"/>
                      </a:lnTo>
                      <a:lnTo>
                        <a:pt x="1686" y="80"/>
                      </a:lnTo>
                      <a:lnTo>
                        <a:pt x="1685" y="78"/>
                      </a:lnTo>
                      <a:lnTo>
                        <a:pt x="1684" y="75"/>
                      </a:lnTo>
                      <a:lnTo>
                        <a:pt x="1684" y="73"/>
                      </a:lnTo>
                      <a:lnTo>
                        <a:pt x="1684" y="71"/>
                      </a:lnTo>
                      <a:lnTo>
                        <a:pt x="1684" y="68"/>
                      </a:lnTo>
                      <a:lnTo>
                        <a:pt x="1684" y="67"/>
                      </a:lnTo>
                      <a:lnTo>
                        <a:pt x="1685" y="66"/>
                      </a:lnTo>
                      <a:lnTo>
                        <a:pt x="1687" y="66"/>
                      </a:lnTo>
                      <a:lnTo>
                        <a:pt x="1689" y="65"/>
                      </a:lnTo>
                      <a:lnTo>
                        <a:pt x="1691" y="63"/>
                      </a:lnTo>
                      <a:close/>
                      <a:moveTo>
                        <a:pt x="291" y="57"/>
                      </a:moveTo>
                      <a:lnTo>
                        <a:pt x="294" y="57"/>
                      </a:lnTo>
                      <a:lnTo>
                        <a:pt x="295" y="58"/>
                      </a:lnTo>
                      <a:lnTo>
                        <a:pt x="297" y="60"/>
                      </a:lnTo>
                      <a:lnTo>
                        <a:pt x="297" y="61"/>
                      </a:lnTo>
                      <a:lnTo>
                        <a:pt x="297" y="62"/>
                      </a:lnTo>
                      <a:lnTo>
                        <a:pt x="296" y="63"/>
                      </a:lnTo>
                      <a:lnTo>
                        <a:pt x="294" y="65"/>
                      </a:lnTo>
                      <a:lnTo>
                        <a:pt x="291" y="67"/>
                      </a:lnTo>
                      <a:lnTo>
                        <a:pt x="289" y="68"/>
                      </a:lnTo>
                      <a:lnTo>
                        <a:pt x="287" y="68"/>
                      </a:lnTo>
                      <a:lnTo>
                        <a:pt x="285" y="68"/>
                      </a:lnTo>
                      <a:lnTo>
                        <a:pt x="283" y="68"/>
                      </a:lnTo>
                      <a:lnTo>
                        <a:pt x="280" y="66"/>
                      </a:lnTo>
                      <a:lnTo>
                        <a:pt x="280" y="64"/>
                      </a:lnTo>
                      <a:lnTo>
                        <a:pt x="281" y="62"/>
                      </a:lnTo>
                      <a:lnTo>
                        <a:pt x="284" y="60"/>
                      </a:lnTo>
                      <a:lnTo>
                        <a:pt x="286" y="58"/>
                      </a:lnTo>
                      <a:lnTo>
                        <a:pt x="289" y="57"/>
                      </a:lnTo>
                      <a:lnTo>
                        <a:pt x="291" y="57"/>
                      </a:lnTo>
                      <a:close/>
                      <a:moveTo>
                        <a:pt x="333" y="55"/>
                      </a:moveTo>
                      <a:lnTo>
                        <a:pt x="341" y="56"/>
                      </a:lnTo>
                      <a:lnTo>
                        <a:pt x="343" y="60"/>
                      </a:lnTo>
                      <a:lnTo>
                        <a:pt x="344" y="64"/>
                      </a:lnTo>
                      <a:lnTo>
                        <a:pt x="343" y="71"/>
                      </a:lnTo>
                      <a:lnTo>
                        <a:pt x="342" y="76"/>
                      </a:lnTo>
                      <a:lnTo>
                        <a:pt x="341" y="77"/>
                      </a:lnTo>
                      <a:lnTo>
                        <a:pt x="340" y="79"/>
                      </a:lnTo>
                      <a:lnTo>
                        <a:pt x="338" y="80"/>
                      </a:lnTo>
                      <a:lnTo>
                        <a:pt x="335" y="82"/>
                      </a:lnTo>
                      <a:lnTo>
                        <a:pt x="334" y="83"/>
                      </a:lnTo>
                      <a:lnTo>
                        <a:pt x="334" y="85"/>
                      </a:lnTo>
                      <a:lnTo>
                        <a:pt x="334" y="86"/>
                      </a:lnTo>
                      <a:lnTo>
                        <a:pt x="333" y="87"/>
                      </a:lnTo>
                      <a:lnTo>
                        <a:pt x="333" y="87"/>
                      </a:lnTo>
                      <a:lnTo>
                        <a:pt x="332" y="89"/>
                      </a:lnTo>
                      <a:lnTo>
                        <a:pt x="331" y="90"/>
                      </a:lnTo>
                      <a:lnTo>
                        <a:pt x="330" y="92"/>
                      </a:lnTo>
                      <a:lnTo>
                        <a:pt x="328" y="94"/>
                      </a:lnTo>
                      <a:lnTo>
                        <a:pt x="328" y="95"/>
                      </a:lnTo>
                      <a:lnTo>
                        <a:pt x="327" y="98"/>
                      </a:lnTo>
                      <a:lnTo>
                        <a:pt x="328" y="99"/>
                      </a:lnTo>
                      <a:lnTo>
                        <a:pt x="328" y="101"/>
                      </a:lnTo>
                      <a:lnTo>
                        <a:pt x="329" y="104"/>
                      </a:lnTo>
                      <a:lnTo>
                        <a:pt x="330" y="106"/>
                      </a:lnTo>
                      <a:lnTo>
                        <a:pt x="329" y="109"/>
                      </a:lnTo>
                      <a:lnTo>
                        <a:pt x="329" y="112"/>
                      </a:lnTo>
                      <a:lnTo>
                        <a:pt x="328" y="117"/>
                      </a:lnTo>
                      <a:lnTo>
                        <a:pt x="328" y="121"/>
                      </a:lnTo>
                      <a:lnTo>
                        <a:pt x="328" y="125"/>
                      </a:lnTo>
                      <a:lnTo>
                        <a:pt x="329" y="127"/>
                      </a:lnTo>
                      <a:lnTo>
                        <a:pt x="329" y="129"/>
                      </a:lnTo>
                      <a:lnTo>
                        <a:pt x="330" y="132"/>
                      </a:lnTo>
                      <a:lnTo>
                        <a:pt x="330" y="141"/>
                      </a:lnTo>
                      <a:lnTo>
                        <a:pt x="330" y="144"/>
                      </a:lnTo>
                      <a:lnTo>
                        <a:pt x="331" y="147"/>
                      </a:lnTo>
                      <a:lnTo>
                        <a:pt x="333" y="149"/>
                      </a:lnTo>
                      <a:lnTo>
                        <a:pt x="334" y="151"/>
                      </a:lnTo>
                      <a:lnTo>
                        <a:pt x="336" y="153"/>
                      </a:lnTo>
                      <a:lnTo>
                        <a:pt x="335" y="158"/>
                      </a:lnTo>
                      <a:lnTo>
                        <a:pt x="334" y="161"/>
                      </a:lnTo>
                      <a:lnTo>
                        <a:pt x="333" y="165"/>
                      </a:lnTo>
                      <a:lnTo>
                        <a:pt x="333" y="169"/>
                      </a:lnTo>
                      <a:lnTo>
                        <a:pt x="334" y="171"/>
                      </a:lnTo>
                      <a:lnTo>
                        <a:pt x="336" y="177"/>
                      </a:lnTo>
                      <a:lnTo>
                        <a:pt x="339" y="182"/>
                      </a:lnTo>
                      <a:lnTo>
                        <a:pt x="341" y="188"/>
                      </a:lnTo>
                      <a:lnTo>
                        <a:pt x="343" y="192"/>
                      </a:lnTo>
                      <a:lnTo>
                        <a:pt x="349" y="193"/>
                      </a:lnTo>
                      <a:lnTo>
                        <a:pt x="355" y="193"/>
                      </a:lnTo>
                      <a:lnTo>
                        <a:pt x="362" y="193"/>
                      </a:lnTo>
                      <a:lnTo>
                        <a:pt x="366" y="193"/>
                      </a:lnTo>
                      <a:lnTo>
                        <a:pt x="368" y="194"/>
                      </a:lnTo>
                      <a:lnTo>
                        <a:pt x="371" y="195"/>
                      </a:lnTo>
                      <a:lnTo>
                        <a:pt x="373" y="197"/>
                      </a:lnTo>
                      <a:lnTo>
                        <a:pt x="374" y="199"/>
                      </a:lnTo>
                      <a:lnTo>
                        <a:pt x="374" y="202"/>
                      </a:lnTo>
                      <a:lnTo>
                        <a:pt x="375" y="204"/>
                      </a:lnTo>
                      <a:lnTo>
                        <a:pt x="376" y="207"/>
                      </a:lnTo>
                      <a:lnTo>
                        <a:pt x="377" y="210"/>
                      </a:lnTo>
                      <a:lnTo>
                        <a:pt x="379" y="212"/>
                      </a:lnTo>
                      <a:lnTo>
                        <a:pt x="382" y="214"/>
                      </a:lnTo>
                      <a:lnTo>
                        <a:pt x="383" y="216"/>
                      </a:lnTo>
                      <a:lnTo>
                        <a:pt x="384" y="217"/>
                      </a:lnTo>
                      <a:lnTo>
                        <a:pt x="383" y="220"/>
                      </a:lnTo>
                      <a:lnTo>
                        <a:pt x="382" y="223"/>
                      </a:lnTo>
                      <a:lnTo>
                        <a:pt x="382" y="226"/>
                      </a:lnTo>
                      <a:lnTo>
                        <a:pt x="380" y="228"/>
                      </a:lnTo>
                      <a:lnTo>
                        <a:pt x="379" y="230"/>
                      </a:lnTo>
                      <a:lnTo>
                        <a:pt x="377" y="231"/>
                      </a:lnTo>
                      <a:lnTo>
                        <a:pt x="375" y="231"/>
                      </a:lnTo>
                      <a:lnTo>
                        <a:pt x="373" y="231"/>
                      </a:lnTo>
                      <a:lnTo>
                        <a:pt x="372" y="231"/>
                      </a:lnTo>
                      <a:lnTo>
                        <a:pt x="369" y="229"/>
                      </a:lnTo>
                      <a:lnTo>
                        <a:pt x="368" y="228"/>
                      </a:lnTo>
                      <a:lnTo>
                        <a:pt x="367" y="227"/>
                      </a:lnTo>
                      <a:lnTo>
                        <a:pt x="366" y="227"/>
                      </a:lnTo>
                      <a:lnTo>
                        <a:pt x="363" y="229"/>
                      </a:lnTo>
                      <a:lnTo>
                        <a:pt x="361" y="230"/>
                      </a:lnTo>
                      <a:lnTo>
                        <a:pt x="358" y="232"/>
                      </a:lnTo>
                      <a:lnTo>
                        <a:pt x="356" y="235"/>
                      </a:lnTo>
                      <a:lnTo>
                        <a:pt x="353" y="236"/>
                      </a:lnTo>
                      <a:lnTo>
                        <a:pt x="351" y="237"/>
                      </a:lnTo>
                      <a:lnTo>
                        <a:pt x="349" y="239"/>
                      </a:lnTo>
                      <a:lnTo>
                        <a:pt x="347" y="241"/>
                      </a:lnTo>
                      <a:lnTo>
                        <a:pt x="349" y="243"/>
                      </a:lnTo>
                      <a:lnTo>
                        <a:pt x="349" y="245"/>
                      </a:lnTo>
                      <a:lnTo>
                        <a:pt x="352" y="246"/>
                      </a:lnTo>
                      <a:lnTo>
                        <a:pt x="353" y="246"/>
                      </a:lnTo>
                      <a:lnTo>
                        <a:pt x="355" y="246"/>
                      </a:lnTo>
                      <a:lnTo>
                        <a:pt x="357" y="245"/>
                      </a:lnTo>
                      <a:lnTo>
                        <a:pt x="360" y="245"/>
                      </a:lnTo>
                      <a:lnTo>
                        <a:pt x="362" y="246"/>
                      </a:lnTo>
                      <a:lnTo>
                        <a:pt x="364" y="248"/>
                      </a:lnTo>
                      <a:lnTo>
                        <a:pt x="365" y="251"/>
                      </a:lnTo>
                      <a:lnTo>
                        <a:pt x="366" y="253"/>
                      </a:lnTo>
                      <a:lnTo>
                        <a:pt x="366" y="257"/>
                      </a:lnTo>
                      <a:lnTo>
                        <a:pt x="366" y="260"/>
                      </a:lnTo>
                      <a:lnTo>
                        <a:pt x="364" y="262"/>
                      </a:lnTo>
                      <a:lnTo>
                        <a:pt x="356" y="268"/>
                      </a:lnTo>
                      <a:lnTo>
                        <a:pt x="349" y="271"/>
                      </a:lnTo>
                      <a:lnTo>
                        <a:pt x="339" y="272"/>
                      </a:lnTo>
                      <a:lnTo>
                        <a:pt x="332" y="273"/>
                      </a:lnTo>
                      <a:lnTo>
                        <a:pt x="324" y="274"/>
                      </a:lnTo>
                      <a:lnTo>
                        <a:pt x="317" y="274"/>
                      </a:lnTo>
                      <a:lnTo>
                        <a:pt x="312" y="272"/>
                      </a:lnTo>
                      <a:lnTo>
                        <a:pt x="311" y="270"/>
                      </a:lnTo>
                      <a:lnTo>
                        <a:pt x="310" y="269"/>
                      </a:lnTo>
                      <a:lnTo>
                        <a:pt x="309" y="268"/>
                      </a:lnTo>
                      <a:lnTo>
                        <a:pt x="308" y="267"/>
                      </a:lnTo>
                      <a:lnTo>
                        <a:pt x="306" y="267"/>
                      </a:lnTo>
                      <a:lnTo>
                        <a:pt x="302" y="265"/>
                      </a:lnTo>
                      <a:lnTo>
                        <a:pt x="299" y="265"/>
                      </a:lnTo>
                      <a:lnTo>
                        <a:pt x="296" y="265"/>
                      </a:lnTo>
                      <a:lnTo>
                        <a:pt x="292" y="267"/>
                      </a:lnTo>
                      <a:lnTo>
                        <a:pt x="290" y="265"/>
                      </a:lnTo>
                      <a:lnTo>
                        <a:pt x="288" y="264"/>
                      </a:lnTo>
                      <a:lnTo>
                        <a:pt x="287" y="262"/>
                      </a:lnTo>
                      <a:lnTo>
                        <a:pt x="286" y="260"/>
                      </a:lnTo>
                      <a:lnTo>
                        <a:pt x="285" y="258"/>
                      </a:lnTo>
                      <a:lnTo>
                        <a:pt x="284" y="256"/>
                      </a:lnTo>
                      <a:lnTo>
                        <a:pt x="283" y="252"/>
                      </a:lnTo>
                      <a:lnTo>
                        <a:pt x="281" y="251"/>
                      </a:lnTo>
                      <a:lnTo>
                        <a:pt x="280" y="251"/>
                      </a:lnTo>
                      <a:lnTo>
                        <a:pt x="279" y="252"/>
                      </a:lnTo>
                      <a:lnTo>
                        <a:pt x="278" y="253"/>
                      </a:lnTo>
                      <a:lnTo>
                        <a:pt x="277" y="256"/>
                      </a:lnTo>
                      <a:lnTo>
                        <a:pt x="276" y="258"/>
                      </a:lnTo>
                      <a:lnTo>
                        <a:pt x="275" y="260"/>
                      </a:lnTo>
                      <a:lnTo>
                        <a:pt x="275" y="262"/>
                      </a:lnTo>
                      <a:lnTo>
                        <a:pt x="274" y="267"/>
                      </a:lnTo>
                      <a:lnTo>
                        <a:pt x="273" y="271"/>
                      </a:lnTo>
                      <a:lnTo>
                        <a:pt x="270" y="273"/>
                      </a:lnTo>
                      <a:lnTo>
                        <a:pt x="267" y="276"/>
                      </a:lnTo>
                      <a:lnTo>
                        <a:pt x="264" y="278"/>
                      </a:lnTo>
                      <a:lnTo>
                        <a:pt x="257" y="279"/>
                      </a:lnTo>
                      <a:lnTo>
                        <a:pt x="254" y="280"/>
                      </a:lnTo>
                      <a:lnTo>
                        <a:pt x="252" y="281"/>
                      </a:lnTo>
                      <a:lnTo>
                        <a:pt x="248" y="283"/>
                      </a:lnTo>
                      <a:lnTo>
                        <a:pt x="246" y="285"/>
                      </a:lnTo>
                      <a:lnTo>
                        <a:pt x="243" y="287"/>
                      </a:lnTo>
                      <a:lnTo>
                        <a:pt x="237" y="290"/>
                      </a:lnTo>
                      <a:lnTo>
                        <a:pt x="232" y="292"/>
                      </a:lnTo>
                      <a:lnTo>
                        <a:pt x="227" y="294"/>
                      </a:lnTo>
                      <a:lnTo>
                        <a:pt x="213" y="298"/>
                      </a:lnTo>
                      <a:lnTo>
                        <a:pt x="199" y="303"/>
                      </a:lnTo>
                      <a:lnTo>
                        <a:pt x="183" y="307"/>
                      </a:lnTo>
                      <a:lnTo>
                        <a:pt x="177" y="309"/>
                      </a:lnTo>
                      <a:lnTo>
                        <a:pt x="171" y="307"/>
                      </a:lnTo>
                      <a:lnTo>
                        <a:pt x="167" y="304"/>
                      </a:lnTo>
                      <a:lnTo>
                        <a:pt x="165" y="298"/>
                      </a:lnTo>
                      <a:lnTo>
                        <a:pt x="164" y="292"/>
                      </a:lnTo>
                      <a:lnTo>
                        <a:pt x="164" y="287"/>
                      </a:lnTo>
                      <a:lnTo>
                        <a:pt x="164" y="284"/>
                      </a:lnTo>
                      <a:lnTo>
                        <a:pt x="164" y="281"/>
                      </a:lnTo>
                      <a:lnTo>
                        <a:pt x="163" y="279"/>
                      </a:lnTo>
                      <a:lnTo>
                        <a:pt x="160" y="278"/>
                      </a:lnTo>
                      <a:lnTo>
                        <a:pt x="158" y="276"/>
                      </a:lnTo>
                      <a:lnTo>
                        <a:pt x="155" y="276"/>
                      </a:lnTo>
                      <a:lnTo>
                        <a:pt x="151" y="276"/>
                      </a:lnTo>
                      <a:lnTo>
                        <a:pt x="143" y="280"/>
                      </a:lnTo>
                      <a:lnTo>
                        <a:pt x="135" y="280"/>
                      </a:lnTo>
                      <a:lnTo>
                        <a:pt x="129" y="278"/>
                      </a:lnTo>
                      <a:lnTo>
                        <a:pt x="125" y="272"/>
                      </a:lnTo>
                      <a:lnTo>
                        <a:pt x="121" y="269"/>
                      </a:lnTo>
                      <a:lnTo>
                        <a:pt x="116" y="265"/>
                      </a:lnTo>
                      <a:lnTo>
                        <a:pt x="112" y="262"/>
                      </a:lnTo>
                      <a:lnTo>
                        <a:pt x="110" y="256"/>
                      </a:lnTo>
                      <a:lnTo>
                        <a:pt x="113" y="250"/>
                      </a:lnTo>
                      <a:lnTo>
                        <a:pt x="120" y="245"/>
                      </a:lnTo>
                      <a:lnTo>
                        <a:pt x="129" y="241"/>
                      </a:lnTo>
                      <a:lnTo>
                        <a:pt x="139" y="238"/>
                      </a:lnTo>
                      <a:lnTo>
                        <a:pt x="147" y="235"/>
                      </a:lnTo>
                      <a:lnTo>
                        <a:pt x="153" y="234"/>
                      </a:lnTo>
                      <a:lnTo>
                        <a:pt x="166" y="232"/>
                      </a:lnTo>
                      <a:lnTo>
                        <a:pt x="179" y="229"/>
                      </a:lnTo>
                      <a:lnTo>
                        <a:pt x="182" y="229"/>
                      </a:lnTo>
                      <a:lnTo>
                        <a:pt x="186" y="229"/>
                      </a:lnTo>
                      <a:lnTo>
                        <a:pt x="189" y="229"/>
                      </a:lnTo>
                      <a:lnTo>
                        <a:pt x="192" y="228"/>
                      </a:lnTo>
                      <a:lnTo>
                        <a:pt x="194" y="227"/>
                      </a:lnTo>
                      <a:lnTo>
                        <a:pt x="198" y="226"/>
                      </a:lnTo>
                      <a:lnTo>
                        <a:pt x="199" y="224"/>
                      </a:lnTo>
                      <a:lnTo>
                        <a:pt x="199" y="223"/>
                      </a:lnTo>
                      <a:lnTo>
                        <a:pt x="198" y="221"/>
                      </a:lnTo>
                      <a:lnTo>
                        <a:pt x="196" y="220"/>
                      </a:lnTo>
                      <a:lnTo>
                        <a:pt x="193" y="220"/>
                      </a:lnTo>
                      <a:lnTo>
                        <a:pt x="191" y="219"/>
                      </a:lnTo>
                      <a:lnTo>
                        <a:pt x="189" y="219"/>
                      </a:lnTo>
                      <a:lnTo>
                        <a:pt x="187" y="219"/>
                      </a:lnTo>
                      <a:lnTo>
                        <a:pt x="185" y="218"/>
                      </a:lnTo>
                      <a:lnTo>
                        <a:pt x="183" y="218"/>
                      </a:lnTo>
                      <a:lnTo>
                        <a:pt x="169" y="218"/>
                      </a:lnTo>
                      <a:lnTo>
                        <a:pt x="157" y="218"/>
                      </a:lnTo>
                      <a:lnTo>
                        <a:pt x="145" y="220"/>
                      </a:lnTo>
                      <a:lnTo>
                        <a:pt x="136" y="225"/>
                      </a:lnTo>
                      <a:lnTo>
                        <a:pt x="128" y="228"/>
                      </a:lnTo>
                      <a:lnTo>
                        <a:pt x="122" y="229"/>
                      </a:lnTo>
                      <a:lnTo>
                        <a:pt x="116" y="227"/>
                      </a:lnTo>
                      <a:lnTo>
                        <a:pt x="112" y="221"/>
                      </a:lnTo>
                      <a:lnTo>
                        <a:pt x="109" y="215"/>
                      </a:lnTo>
                      <a:lnTo>
                        <a:pt x="107" y="208"/>
                      </a:lnTo>
                      <a:lnTo>
                        <a:pt x="112" y="202"/>
                      </a:lnTo>
                      <a:lnTo>
                        <a:pt x="120" y="197"/>
                      </a:lnTo>
                      <a:lnTo>
                        <a:pt x="128" y="194"/>
                      </a:lnTo>
                      <a:lnTo>
                        <a:pt x="136" y="191"/>
                      </a:lnTo>
                      <a:lnTo>
                        <a:pt x="137" y="191"/>
                      </a:lnTo>
                      <a:lnTo>
                        <a:pt x="138" y="189"/>
                      </a:lnTo>
                      <a:lnTo>
                        <a:pt x="139" y="188"/>
                      </a:lnTo>
                      <a:lnTo>
                        <a:pt x="142" y="187"/>
                      </a:lnTo>
                      <a:lnTo>
                        <a:pt x="143" y="186"/>
                      </a:lnTo>
                      <a:lnTo>
                        <a:pt x="144" y="185"/>
                      </a:lnTo>
                      <a:lnTo>
                        <a:pt x="145" y="184"/>
                      </a:lnTo>
                      <a:lnTo>
                        <a:pt x="145" y="184"/>
                      </a:lnTo>
                      <a:lnTo>
                        <a:pt x="144" y="184"/>
                      </a:lnTo>
                      <a:lnTo>
                        <a:pt x="143" y="184"/>
                      </a:lnTo>
                      <a:lnTo>
                        <a:pt x="138" y="184"/>
                      </a:lnTo>
                      <a:lnTo>
                        <a:pt x="135" y="185"/>
                      </a:lnTo>
                      <a:lnTo>
                        <a:pt x="133" y="186"/>
                      </a:lnTo>
                      <a:lnTo>
                        <a:pt x="129" y="187"/>
                      </a:lnTo>
                      <a:lnTo>
                        <a:pt x="127" y="188"/>
                      </a:lnTo>
                      <a:lnTo>
                        <a:pt x="120" y="189"/>
                      </a:lnTo>
                      <a:lnTo>
                        <a:pt x="112" y="188"/>
                      </a:lnTo>
                      <a:lnTo>
                        <a:pt x="105" y="186"/>
                      </a:lnTo>
                      <a:lnTo>
                        <a:pt x="102" y="180"/>
                      </a:lnTo>
                      <a:lnTo>
                        <a:pt x="103" y="171"/>
                      </a:lnTo>
                      <a:lnTo>
                        <a:pt x="107" y="162"/>
                      </a:lnTo>
                      <a:lnTo>
                        <a:pt x="109" y="162"/>
                      </a:lnTo>
                      <a:lnTo>
                        <a:pt x="110" y="161"/>
                      </a:lnTo>
                      <a:lnTo>
                        <a:pt x="112" y="160"/>
                      </a:lnTo>
                      <a:lnTo>
                        <a:pt x="114" y="159"/>
                      </a:lnTo>
                      <a:lnTo>
                        <a:pt x="116" y="156"/>
                      </a:lnTo>
                      <a:lnTo>
                        <a:pt x="117" y="155"/>
                      </a:lnTo>
                      <a:lnTo>
                        <a:pt x="118" y="154"/>
                      </a:lnTo>
                      <a:lnTo>
                        <a:pt x="120" y="152"/>
                      </a:lnTo>
                      <a:lnTo>
                        <a:pt x="120" y="152"/>
                      </a:lnTo>
                      <a:lnTo>
                        <a:pt x="118" y="151"/>
                      </a:lnTo>
                      <a:lnTo>
                        <a:pt x="116" y="151"/>
                      </a:lnTo>
                      <a:lnTo>
                        <a:pt x="115" y="152"/>
                      </a:lnTo>
                      <a:lnTo>
                        <a:pt x="114" y="152"/>
                      </a:lnTo>
                      <a:lnTo>
                        <a:pt x="113" y="152"/>
                      </a:lnTo>
                      <a:lnTo>
                        <a:pt x="112" y="152"/>
                      </a:lnTo>
                      <a:lnTo>
                        <a:pt x="111" y="151"/>
                      </a:lnTo>
                      <a:lnTo>
                        <a:pt x="111" y="151"/>
                      </a:lnTo>
                      <a:lnTo>
                        <a:pt x="111" y="149"/>
                      </a:lnTo>
                      <a:lnTo>
                        <a:pt x="112" y="148"/>
                      </a:lnTo>
                      <a:lnTo>
                        <a:pt x="114" y="144"/>
                      </a:lnTo>
                      <a:lnTo>
                        <a:pt x="117" y="141"/>
                      </a:lnTo>
                      <a:lnTo>
                        <a:pt x="122" y="138"/>
                      </a:lnTo>
                      <a:lnTo>
                        <a:pt x="127" y="134"/>
                      </a:lnTo>
                      <a:lnTo>
                        <a:pt x="135" y="127"/>
                      </a:lnTo>
                      <a:lnTo>
                        <a:pt x="145" y="119"/>
                      </a:lnTo>
                      <a:lnTo>
                        <a:pt x="155" y="112"/>
                      </a:lnTo>
                      <a:lnTo>
                        <a:pt x="165" y="107"/>
                      </a:lnTo>
                      <a:lnTo>
                        <a:pt x="175" y="99"/>
                      </a:lnTo>
                      <a:lnTo>
                        <a:pt x="177" y="98"/>
                      </a:lnTo>
                      <a:lnTo>
                        <a:pt x="179" y="95"/>
                      </a:lnTo>
                      <a:lnTo>
                        <a:pt x="181" y="93"/>
                      </a:lnTo>
                      <a:lnTo>
                        <a:pt x="183" y="90"/>
                      </a:lnTo>
                      <a:lnTo>
                        <a:pt x="187" y="90"/>
                      </a:lnTo>
                      <a:lnTo>
                        <a:pt x="189" y="90"/>
                      </a:lnTo>
                      <a:lnTo>
                        <a:pt x="190" y="92"/>
                      </a:lnTo>
                      <a:lnTo>
                        <a:pt x="191" y="94"/>
                      </a:lnTo>
                      <a:lnTo>
                        <a:pt x="192" y="95"/>
                      </a:lnTo>
                      <a:lnTo>
                        <a:pt x="192" y="97"/>
                      </a:lnTo>
                      <a:lnTo>
                        <a:pt x="193" y="100"/>
                      </a:lnTo>
                      <a:lnTo>
                        <a:pt x="192" y="101"/>
                      </a:lnTo>
                      <a:lnTo>
                        <a:pt x="191" y="104"/>
                      </a:lnTo>
                      <a:lnTo>
                        <a:pt x="190" y="106"/>
                      </a:lnTo>
                      <a:lnTo>
                        <a:pt x="190" y="108"/>
                      </a:lnTo>
                      <a:lnTo>
                        <a:pt x="188" y="111"/>
                      </a:lnTo>
                      <a:lnTo>
                        <a:pt x="185" y="115"/>
                      </a:lnTo>
                      <a:lnTo>
                        <a:pt x="181" y="118"/>
                      </a:lnTo>
                      <a:lnTo>
                        <a:pt x="177" y="122"/>
                      </a:lnTo>
                      <a:lnTo>
                        <a:pt x="176" y="126"/>
                      </a:lnTo>
                      <a:lnTo>
                        <a:pt x="176" y="128"/>
                      </a:lnTo>
                      <a:lnTo>
                        <a:pt x="179" y="128"/>
                      </a:lnTo>
                      <a:lnTo>
                        <a:pt x="192" y="121"/>
                      </a:lnTo>
                      <a:lnTo>
                        <a:pt x="193" y="118"/>
                      </a:lnTo>
                      <a:lnTo>
                        <a:pt x="194" y="115"/>
                      </a:lnTo>
                      <a:lnTo>
                        <a:pt x="196" y="112"/>
                      </a:lnTo>
                      <a:lnTo>
                        <a:pt x="197" y="110"/>
                      </a:lnTo>
                      <a:lnTo>
                        <a:pt x="201" y="106"/>
                      </a:lnTo>
                      <a:lnTo>
                        <a:pt x="208" y="105"/>
                      </a:lnTo>
                      <a:lnTo>
                        <a:pt x="214" y="105"/>
                      </a:lnTo>
                      <a:lnTo>
                        <a:pt x="219" y="106"/>
                      </a:lnTo>
                      <a:lnTo>
                        <a:pt x="222" y="107"/>
                      </a:lnTo>
                      <a:lnTo>
                        <a:pt x="224" y="109"/>
                      </a:lnTo>
                      <a:lnTo>
                        <a:pt x="225" y="111"/>
                      </a:lnTo>
                      <a:lnTo>
                        <a:pt x="226" y="114"/>
                      </a:lnTo>
                      <a:lnTo>
                        <a:pt x="226" y="117"/>
                      </a:lnTo>
                      <a:lnTo>
                        <a:pt x="225" y="121"/>
                      </a:lnTo>
                      <a:lnTo>
                        <a:pt x="224" y="122"/>
                      </a:lnTo>
                      <a:lnTo>
                        <a:pt x="223" y="125"/>
                      </a:lnTo>
                      <a:lnTo>
                        <a:pt x="223" y="126"/>
                      </a:lnTo>
                      <a:lnTo>
                        <a:pt x="222" y="127"/>
                      </a:lnTo>
                      <a:lnTo>
                        <a:pt x="222" y="128"/>
                      </a:lnTo>
                      <a:lnTo>
                        <a:pt x="222" y="129"/>
                      </a:lnTo>
                      <a:lnTo>
                        <a:pt x="222" y="129"/>
                      </a:lnTo>
                      <a:lnTo>
                        <a:pt x="223" y="129"/>
                      </a:lnTo>
                      <a:lnTo>
                        <a:pt x="225" y="128"/>
                      </a:lnTo>
                      <a:lnTo>
                        <a:pt x="227" y="126"/>
                      </a:lnTo>
                      <a:lnTo>
                        <a:pt x="230" y="122"/>
                      </a:lnTo>
                      <a:lnTo>
                        <a:pt x="233" y="120"/>
                      </a:lnTo>
                      <a:lnTo>
                        <a:pt x="235" y="119"/>
                      </a:lnTo>
                      <a:lnTo>
                        <a:pt x="238" y="119"/>
                      </a:lnTo>
                      <a:lnTo>
                        <a:pt x="240" y="119"/>
                      </a:lnTo>
                      <a:lnTo>
                        <a:pt x="242" y="118"/>
                      </a:lnTo>
                      <a:lnTo>
                        <a:pt x="244" y="117"/>
                      </a:lnTo>
                      <a:lnTo>
                        <a:pt x="246" y="116"/>
                      </a:lnTo>
                      <a:lnTo>
                        <a:pt x="247" y="115"/>
                      </a:lnTo>
                      <a:lnTo>
                        <a:pt x="247" y="111"/>
                      </a:lnTo>
                      <a:lnTo>
                        <a:pt x="246" y="109"/>
                      </a:lnTo>
                      <a:lnTo>
                        <a:pt x="245" y="106"/>
                      </a:lnTo>
                      <a:lnTo>
                        <a:pt x="244" y="104"/>
                      </a:lnTo>
                      <a:lnTo>
                        <a:pt x="243" y="100"/>
                      </a:lnTo>
                      <a:lnTo>
                        <a:pt x="243" y="97"/>
                      </a:lnTo>
                      <a:lnTo>
                        <a:pt x="242" y="96"/>
                      </a:lnTo>
                      <a:lnTo>
                        <a:pt x="243" y="96"/>
                      </a:lnTo>
                      <a:lnTo>
                        <a:pt x="245" y="96"/>
                      </a:lnTo>
                      <a:lnTo>
                        <a:pt x="247" y="96"/>
                      </a:lnTo>
                      <a:lnTo>
                        <a:pt x="249" y="96"/>
                      </a:lnTo>
                      <a:lnTo>
                        <a:pt x="252" y="96"/>
                      </a:lnTo>
                      <a:lnTo>
                        <a:pt x="255" y="97"/>
                      </a:lnTo>
                      <a:lnTo>
                        <a:pt x="256" y="97"/>
                      </a:lnTo>
                      <a:lnTo>
                        <a:pt x="257" y="97"/>
                      </a:lnTo>
                      <a:lnTo>
                        <a:pt x="264" y="104"/>
                      </a:lnTo>
                      <a:lnTo>
                        <a:pt x="267" y="112"/>
                      </a:lnTo>
                      <a:lnTo>
                        <a:pt x="268" y="121"/>
                      </a:lnTo>
                      <a:lnTo>
                        <a:pt x="269" y="131"/>
                      </a:lnTo>
                      <a:lnTo>
                        <a:pt x="270" y="141"/>
                      </a:lnTo>
                      <a:lnTo>
                        <a:pt x="270" y="149"/>
                      </a:lnTo>
                      <a:lnTo>
                        <a:pt x="271" y="150"/>
                      </a:lnTo>
                      <a:lnTo>
                        <a:pt x="271" y="151"/>
                      </a:lnTo>
                      <a:lnTo>
                        <a:pt x="273" y="152"/>
                      </a:lnTo>
                      <a:lnTo>
                        <a:pt x="273" y="153"/>
                      </a:lnTo>
                      <a:lnTo>
                        <a:pt x="275" y="153"/>
                      </a:lnTo>
                      <a:lnTo>
                        <a:pt x="277" y="152"/>
                      </a:lnTo>
                      <a:lnTo>
                        <a:pt x="279" y="151"/>
                      </a:lnTo>
                      <a:lnTo>
                        <a:pt x="281" y="149"/>
                      </a:lnTo>
                      <a:lnTo>
                        <a:pt x="284" y="145"/>
                      </a:lnTo>
                      <a:lnTo>
                        <a:pt x="285" y="142"/>
                      </a:lnTo>
                      <a:lnTo>
                        <a:pt x="285" y="140"/>
                      </a:lnTo>
                      <a:lnTo>
                        <a:pt x="284" y="137"/>
                      </a:lnTo>
                      <a:lnTo>
                        <a:pt x="284" y="134"/>
                      </a:lnTo>
                      <a:lnTo>
                        <a:pt x="283" y="130"/>
                      </a:lnTo>
                      <a:lnTo>
                        <a:pt x="283" y="127"/>
                      </a:lnTo>
                      <a:lnTo>
                        <a:pt x="283" y="123"/>
                      </a:lnTo>
                      <a:lnTo>
                        <a:pt x="283" y="120"/>
                      </a:lnTo>
                      <a:lnTo>
                        <a:pt x="281" y="117"/>
                      </a:lnTo>
                      <a:lnTo>
                        <a:pt x="281" y="93"/>
                      </a:lnTo>
                      <a:lnTo>
                        <a:pt x="281" y="92"/>
                      </a:lnTo>
                      <a:lnTo>
                        <a:pt x="281" y="89"/>
                      </a:lnTo>
                      <a:lnTo>
                        <a:pt x="283" y="86"/>
                      </a:lnTo>
                      <a:lnTo>
                        <a:pt x="284" y="84"/>
                      </a:lnTo>
                      <a:lnTo>
                        <a:pt x="286" y="83"/>
                      </a:lnTo>
                      <a:lnTo>
                        <a:pt x="289" y="82"/>
                      </a:lnTo>
                      <a:lnTo>
                        <a:pt x="292" y="82"/>
                      </a:lnTo>
                      <a:lnTo>
                        <a:pt x="294" y="82"/>
                      </a:lnTo>
                      <a:lnTo>
                        <a:pt x="296" y="83"/>
                      </a:lnTo>
                      <a:lnTo>
                        <a:pt x="297" y="85"/>
                      </a:lnTo>
                      <a:lnTo>
                        <a:pt x="300" y="85"/>
                      </a:lnTo>
                      <a:lnTo>
                        <a:pt x="302" y="86"/>
                      </a:lnTo>
                      <a:lnTo>
                        <a:pt x="306" y="86"/>
                      </a:lnTo>
                      <a:lnTo>
                        <a:pt x="309" y="86"/>
                      </a:lnTo>
                      <a:lnTo>
                        <a:pt x="312" y="87"/>
                      </a:lnTo>
                      <a:lnTo>
                        <a:pt x="314" y="88"/>
                      </a:lnTo>
                      <a:lnTo>
                        <a:pt x="316" y="89"/>
                      </a:lnTo>
                      <a:lnTo>
                        <a:pt x="317" y="92"/>
                      </a:lnTo>
                      <a:lnTo>
                        <a:pt x="318" y="94"/>
                      </a:lnTo>
                      <a:lnTo>
                        <a:pt x="319" y="95"/>
                      </a:lnTo>
                      <a:lnTo>
                        <a:pt x="321" y="95"/>
                      </a:lnTo>
                      <a:lnTo>
                        <a:pt x="323" y="95"/>
                      </a:lnTo>
                      <a:lnTo>
                        <a:pt x="324" y="94"/>
                      </a:lnTo>
                      <a:lnTo>
                        <a:pt x="324" y="92"/>
                      </a:lnTo>
                      <a:lnTo>
                        <a:pt x="324" y="89"/>
                      </a:lnTo>
                      <a:lnTo>
                        <a:pt x="324" y="87"/>
                      </a:lnTo>
                      <a:lnTo>
                        <a:pt x="323" y="85"/>
                      </a:lnTo>
                      <a:lnTo>
                        <a:pt x="323" y="84"/>
                      </a:lnTo>
                      <a:lnTo>
                        <a:pt x="323" y="83"/>
                      </a:lnTo>
                      <a:lnTo>
                        <a:pt x="321" y="79"/>
                      </a:lnTo>
                      <a:lnTo>
                        <a:pt x="319" y="77"/>
                      </a:lnTo>
                      <a:lnTo>
                        <a:pt x="316" y="75"/>
                      </a:lnTo>
                      <a:lnTo>
                        <a:pt x="312" y="74"/>
                      </a:lnTo>
                      <a:lnTo>
                        <a:pt x="311" y="73"/>
                      </a:lnTo>
                      <a:lnTo>
                        <a:pt x="309" y="72"/>
                      </a:lnTo>
                      <a:lnTo>
                        <a:pt x="307" y="72"/>
                      </a:lnTo>
                      <a:lnTo>
                        <a:pt x="306" y="71"/>
                      </a:lnTo>
                      <a:lnTo>
                        <a:pt x="306" y="69"/>
                      </a:lnTo>
                      <a:lnTo>
                        <a:pt x="306" y="67"/>
                      </a:lnTo>
                      <a:lnTo>
                        <a:pt x="307" y="65"/>
                      </a:lnTo>
                      <a:lnTo>
                        <a:pt x="309" y="62"/>
                      </a:lnTo>
                      <a:lnTo>
                        <a:pt x="310" y="61"/>
                      </a:lnTo>
                      <a:lnTo>
                        <a:pt x="313" y="58"/>
                      </a:lnTo>
                      <a:lnTo>
                        <a:pt x="317" y="58"/>
                      </a:lnTo>
                      <a:lnTo>
                        <a:pt x="324" y="56"/>
                      </a:lnTo>
                      <a:lnTo>
                        <a:pt x="333" y="55"/>
                      </a:lnTo>
                      <a:close/>
                      <a:moveTo>
                        <a:pt x="2026" y="54"/>
                      </a:moveTo>
                      <a:lnTo>
                        <a:pt x="2034" y="58"/>
                      </a:lnTo>
                      <a:lnTo>
                        <a:pt x="2034" y="60"/>
                      </a:lnTo>
                      <a:lnTo>
                        <a:pt x="2034" y="61"/>
                      </a:lnTo>
                      <a:lnTo>
                        <a:pt x="2034" y="62"/>
                      </a:lnTo>
                      <a:lnTo>
                        <a:pt x="2034" y="62"/>
                      </a:lnTo>
                      <a:lnTo>
                        <a:pt x="2034" y="62"/>
                      </a:lnTo>
                      <a:lnTo>
                        <a:pt x="2034" y="61"/>
                      </a:lnTo>
                      <a:lnTo>
                        <a:pt x="2031" y="58"/>
                      </a:lnTo>
                      <a:lnTo>
                        <a:pt x="2029" y="57"/>
                      </a:lnTo>
                      <a:lnTo>
                        <a:pt x="2027" y="56"/>
                      </a:lnTo>
                      <a:lnTo>
                        <a:pt x="2026" y="54"/>
                      </a:lnTo>
                      <a:close/>
                      <a:moveTo>
                        <a:pt x="92" y="50"/>
                      </a:moveTo>
                      <a:lnTo>
                        <a:pt x="93" y="50"/>
                      </a:lnTo>
                      <a:lnTo>
                        <a:pt x="95" y="51"/>
                      </a:lnTo>
                      <a:lnTo>
                        <a:pt x="95" y="53"/>
                      </a:lnTo>
                      <a:lnTo>
                        <a:pt x="96" y="55"/>
                      </a:lnTo>
                      <a:lnTo>
                        <a:pt x="98" y="57"/>
                      </a:lnTo>
                      <a:lnTo>
                        <a:pt x="99" y="58"/>
                      </a:lnTo>
                      <a:lnTo>
                        <a:pt x="101" y="60"/>
                      </a:lnTo>
                      <a:lnTo>
                        <a:pt x="104" y="61"/>
                      </a:lnTo>
                      <a:lnTo>
                        <a:pt x="106" y="62"/>
                      </a:lnTo>
                      <a:lnTo>
                        <a:pt x="110" y="63"/>
                      </a:lnTo>
                      <a:lnTo>
                        <a:pt x="113" y="64"/>
                      </a:lnTo>
                      <a:lnTo>
                        <a:pt x="115" y="66"/>
                      </a:lnTo>
                      <a:lnTo>
                        <a:pt x="117" y="67"/>
                      </a:lnTo>
                      <a:lnTo>
                        <a:pt x="121" y="67"/>
                      </a:lnTo>
                      <a:lnTo>
                        <a:pt x="123" y="67"/>
                      </a:lnTo>
                      <a:lnTo>
                        <a:pt x="125" y="65"/>
                      </a:lnTo>
                      <a:lnTo>
                        <a:pt x="127" y="64"/>
                      </a:lnTo>
                      <a:lnTo>
                        <a:pt x="128" y="62"/>
                      </a:lnTo>
                      <a:lnTo>
                        <a:pt x="129" y="61"/>
                      </a:lnTo>
                      <a:lnTo>
                        <a:pt x="137" y="55"/>
                      </a:lnTo>
                      <a:lnTo>
                        <a:pt x="145" y="55"/>
                      </a:lnTo>
                      <a:lnTo>
                        <a:pt x="151" y="58"/>
                      </a:lnTo>
                      <a:lnTo>
                        <a:pt x="157" y="63"/>
                      </a:lnTo>
                      <a:lnTo>
                        <a:pt x="161" y="68"/>
                      </a:lnTo>
                      <a:lnTo>
                        <a:pt x="164" y="72"/>
                      </a:lnTo>
                      <a:lnTo>
                        <a:pt x="166" y="74"/>
                      </a:lnTo>
                      <a:lnTo>
                        <a:pt x="168" y="77"/>
                      </a:lnTo>
                      <a:lnTo>
                        <a:pt x="170" y="79"/>
                      </a:lnTo>
                      <a:lnTo>
                        <a:pt x="171" y="83"/>
                      </a:lnTo>
                      <a:lnTo>
                        <a:pt x="170" y="85"/>
                      </a:lnTo>
                      <a:lnTo>
                        <a:pt x="169" y="88"/>
                      </a:lnTo>
                      <a:lnTo>
                        <a:pt x="166" y="92"/>
                      </a:lnTo>
                      <a:lnTo>
                        <a:pt x="164" y="94"/>
                      </a:lnTo>
                      <a:lnTo>
                        <a:pt x="160" y="96"/>
                      </a:lnTo>
                      <a:lnTo>
                        <a:pt x="157" y="98"/>
                      </a:lnTo>
                      <a:lnTo>
                        <a:pt x="146" y="104"/>
                      </a:lnTo>
                      <a:lnTo>
                        <a:pt x="137" y="109"/>
                      </a:lnTo>
                      <a:lnTo>
                        <a:pt x="134" y="111"/>
                      </a:lnTo>
                      <a:lnTo>
                        <a:pt x="132" y="115"/>
                      </a:lnTo>
                      <a:lnTo>
                        <a:pt x="129" y="118"/>
                      </a:lnTo>
                      <a:lnTo>
                        <a:pt x="127" y="121"/>
                      </a:lnTo>
                      <a:lnTo>
                        <a:pt x="123" y="123"/>
                      </a:lnTo>
                      <a:lnTo>
                        <a:pt x="118" y="126"/>
                      </a:lnTo>
                      <a:lnTo>
                        <a:pt x="115" y="129"/>
                      </a:lnTo>
                      <a:lnTo>
                        <a:pt x="112" y="132"/>
                      </a:lnTo>
                      <a:lnTo>
                        <a:pt x="109" y="136"/>
                      </a:lnTo>
                      <a:lnTo>
                        <a:pt x="106" y="140"/>
                      </a:lnTo>
                      <a:lnTo>
                        <a:pt x="104" y="144"/>
                      </a:lnTo>
                      <a:lnTo>
                        <a:pt x="101" y="148"/>
                      </a:lnTo>
                      <a:lnTo>
                        <a:pt x="99" y="151"/>
                      </a:lnTo>
                      <a:lnTo>
                        <a:pt x="95" y="153"/>
                      </a:lnTo>
                      <a:lnTo>
                        <a:pt x="93" y="155"/>
                      </a:lnTo>
                      <a:lnTo>
                        <a:pt x="90" y="156"/>
                      </a:lnTo>
                      <a:lnTo>
                        <a:pt x="83" y="163"/>
                      </a:lnTo>
                      <a:lnTo>
                        <a:pt x="80" y="172"/>
                      </a:lnTo>
                      <a:lnTo>
                        <a:pt x="78" y="181"/>
                      </a:lnTo>
                      <a:lnTo>
                        <a:pt x="76" y="191"/>
                      </a:lnTo>
                      <a:lnTo>
                        <a:pt x="70" y="198"/>
                      </a:lnTo>
                      <a:lnTo>
                        <a:pt x="63" y="203"/>
                      </a:lnTo>
                      <a:lnTo>
                        <a:pt x="57" y="206"/>
                      </a:lnTo>
                      <a:lnTo>
                        <a:pt x="49" y="210"/>
                      </a:lnTo>
                      <a:lnTo>
                        <a:pt x="40" y="218"/>
                      </a:lnTo>
                      <a:lnTo>
                        <a:pt x="33" y="228"/>
                      </a:lnTo>
                      <a:lnTo>
                        <a:pt x="30" y="228"/>
                      </a:lnTo>
                      <a:lnTo>
                        <a:pt x="28" y="228"/>
                      </a:lnTo>
                      <a:lnTo>
                        <a:pt x="27" y="227"/>
                      </a:lnTo>
                      <a:lnTo>
                        <a:pt x="27" y="226"/>
                      </a:lnTo>
                      <a:lnTo>
                        <a:pt x="26" y="224"/>
                      </a:lnTo>
                      <a:lnTo>
                        <a:pt x="26" y="223"/>
                      </a:lnTo>
                      <a:lnTo>
                        <a:pt x="26" y="221"/>
                      </a:lnTo>
                      <a:lnTo>
                        <a:pt x="25" y="217"/>
                      </a:lnTo>
                      <a:lnTo>
                        <a:pt x="24" y="213"/>
                      </a:lnTo>
                      <a:lnTo>
                        <a:pt x="22" y="208"/>
                      </a:lnTo>
                      <a:lnTo>
                        <a:pt x="17" y="203"/>
                      </a:lnTo>
                      <a:lnTo>
                        <a:pt x="14" y="197"/>
                      </a:lnTo>
                      <a:lnTo>
                        <a:pt x="11" y="193"/>
                      </a:lnTo>
                      <a:lnTo>
                        <a:pt x="4" y="191"/>
                      </a:lnTo>
                      <a:lnTo>
                        <a:pt x="2" y="189"/>
                      </a:lnTo>
                      <a:lnTo>
                        <a:pt x="1" y="188"/>
                      </a:lnTo>
                      <a:lnTo>
                        <a:pt x="0" y="187"/>
                      </a:lnTo>
                      <a:lnTo>
                        <a:pt x="1" y="185"/>
                      </a:lnTo>
                      <a:lnTo>
                        <a:pt x="2" y="183"/>
                      </a:lnTo>
                      <a:lnTo>
                        <a:pt x="3" y="181"/>
                      </a:lnTo>
                      <a:lnTo>
                        <a:pt x="4" y="178"/>
                      </a:lnTo>
                      <a:lnTo>
                        <a:pt x="6" y="176"/>
                      </a:lnTo>
                      <a:lnTo>
                        <a:pt x="13" y="166"/>
                      </a:lnTo>
                      <a:lnTo>
                        <a:pt x="17" y="154"/>
                      </a:lnTo>
                      <a:lnTo>
                        <a:pt x="24" y="141"/>
                      </a:lnTo>
                      <a:lnTo>
                        <a:pt x="26" y="128"/>
                      </a:lnTo>
                      <a:lnTo>
                        <a:pt x="26" y="121"/>
                      </a:lnTo>
                      <a:lnTo>
                        <a:pt x="26" y="114"/>
                      </a:lnTo>
                      <a:lnTo>
                        <a:pt x="28" y="105"/>
                      </a:lnTo>
                      <a:lnTo>
                        <a:pt x="29" y="106"/>
                      </a:lnTo>
                      <a:lnTo>
                        <a:pt x="32" y="107"/>
                      </a:lnTo>
                      <a:lnTo>
                        <a:pt x="33" y="108"/>
                      </a:lnTo>
                      <a:lnTo>
                        <a:pt x="35" y="109"/>
                      </a:lnTo>
                      <a:lnTo>
                        <a:pt x="36" y="110"/>
                      </a:lnTo>
                      <a:lnTo>
                        <a:pt x="37" y="109"/>
                      </a:lnTo>
                      <a:lnTo>
                        <a:pt x="40" y="107"/>
                      </a:lnTo>
                      <a:lnTo>
                        <a:pt x="41" y="104"/>
                      </a:lnTo>
                      <a:lnTo>
                        <a:pt x="44" y="100"/>
                      </a:lnTo>
                      <a:lnTo>
                        <a:pt x="44" y="98"/>
                      </a:lnTo>
                      <a:lnTo>
                        <a:pt x="45" y="96"/>
                      </a:lnTo>
                      <a:lnTo>
                        <a:pt x="43" y="95"/>
                      </a:lnTo>
                      <a:lnTo>
                        <a:pt x="41" y="94"/>
                      </a:lnTo>
                      <a:lnTo>
                        <a:pt x="40" y="93"/>
                      </a:lnTo>
                      <a:lnTo>
                        <a:pt x="38" y="90"/>
                      </a:lnTo>
                      <a:lnTo>
                        <a:pt x="37" y="89"/>
                      </a:lnTo>
                      <a:lnTo>
                        <a:pt x="37" y="87"/>
                      </a:lnTo>
                      <a:lnTo>
                        <a:pt x="37" y="85"/>
                      </a:lnTo>
                      <a:lnTo>
                        <a:pt x="38" y="83"/>
                      </a:lnTo>
                      <a:lnTo>
                        <a:pt x="39" y="80"/>
                      </a:lnTo>
                      <a:lnTo>
                        <a:pt x="39" y="78"/>
                      </a:lnTo>
                      <a:lnTo>
                        <a:pt x="40" y="76"/>
                      </a:lnTo>
                      <a:lnTo>
                        <a:pt x="41" y="74"/>
                      </a:lnTo>
                      <a:lnTo>
                        <a:pt x="46" y="72"/>
                      </a:lnTo>
                      <a:lnTo>
                        <a:pt x="49" y="69"/>
                      </a:lnTo>
                      <a:lnTo>
                        <a:pt x="54" y="67"/>
                      </a:lnTo>
                      <a:lnTo>
                        <a:pt x="67" y="61"/>
                      </a:lnTo>
                      <a:lnTo>
                        <a:pt x="69" y="61"/>
                      </a:lnTo>
                      <a:lnTo>
                        <a:pt x="71" y="61"/>
                      </a:lnTo>
                      <a:lnTo>
                        <a:pt x="74" y="60"/>
                      </a:lnTo>
                      <a:lnTo>
                        <a:pt x="78" y="58"/>
                      </a:lnTo>
                      <a:lnTo>
                        <a:pt x="80" y="56"/>
                      </a:lnTo>
                      <a:lnTo>
                        <a:pt x="82" y="53"/>
                      </a:lnTo>
                      <a:lnTo>
                        <a:pt x="85" y="51"/>
                      </a:lnTo>
                      <a:lnTo>
                        <a:pt x="89" y="50"/>
                      </a:lnTo>
                      <a:lnTo>
                        <a:pt x="92" y="50"/>
                      </a:lnTo>
                      <a:close/>
                      <a:moveTo>
                        <a:pt x="1994" y="46"/>
                      </a:moveTo>
                      <a:lnTo>
                        <a:pt x="1997" y="46"/>
                      </a:lnTo>
                      <a:lnTo>
                        <a:pt x="1998" y="49"/>
                      </a:lnTo>
                      <a:lnTo>
                        <a:pt x="1999" y="51"/>
                      </a:lnTo>
                      <a:lnTo>
                        <a:pt x="2000" y="54"/>
                      </a:lnTo>
                      <a:lnTo>
                        <a:pt x="2001" y="57"/>
                      </a:lnTo>
                      <a:lnTo>
                        <a:pt x="2002" y="60"/>
                      </a:lnTo>
                      <a:lnTo>
                        <a:pt x="2002" y="62"/>
                      </a:lnTo>
                      <a:lnTo>
                        <a:pt x="2001" y="63"/>
                      </a:lnTo>
                      <a:lnTo>
                        <a:pt x="2001" y="64"/>
                      </a:lnTo>
                      <a:lnTo>
                        <a:pt x="2002" y="66"/>
                      </a:lnTo>
                      <a:lnTo>
                        <a:pt x="2004" y="67"/>
                      </a:lnTo>
                      <a:lnTo>
                        <a:pt x="2004" y="67"/>
                      </a:lnTo>
                      <a:lnTo>
                        <a:pt x="2005" y="67"/>
                      </a:lnTo>
                      <a:lnTo>
                        <a:pt x="2008" y="68"/>
                      </a:lnTo>
                      <a:lnTo>
                        <a:pt x="2009" y="69"/>
                      </a:lnTo>
                      <a:lnTo>
                        <a:pt x="2010" y="72"/>
                      </a:lnTo>
                      <a:lnTo>
                        <a:pt x="2011" y="74"/>
                      </a:lnTo>
                      <a:lnTo>
                        <a:pt x="2012" y="76"/>
                      </a:lnTo>
                      <a:lnTo>
                        <a:pt x="2012" y="77"/>
                      </a:lnTo>
                      <a:lnTo>
                        <a:pt x="2011" y="78"/>
                      </a:lnTo>
                      <a:lnTo>
                        <a:pt x="2011" y="79"/>
                      </a:lnTo>
                      <a:lnTo>
                        <a:pt x="2011" y="82"/>
                      </a:lnTo>
                      <a:lnTo>
                        <a:pt x="2012" y="84"/>
                      </a:lnTo>
                      <a:lnTo>
                        <a:pt x="2013" y="86"/>
                      </a:lnTo>
                      <a:lnTo>
                        <a:pt x="2015" y="87"/>
                      </a:lnTo>
                      <a:lnTo>
                        <a:pt x="2019" y="89"/>
                      </a:lnTo>
                      <a:lnTo>
                        <a:pt x="2021" y="92"/>
                      </a:lnTo>
                      <a:lnTo>
                        <a:pt x="2023" y="94"/>
                      </a:lnTo>
                      <a:lnTo>
                        <a:pt x="2025" y="96"/>
                      </a:lnTo>
                      <a:lnTo>
                        <a:pt x="2025" y="98"/>
                      </a:lnTo>
                      <a:lnTo>
                        <a:pt x="2024" y="100"/>
                      </a:lnTo>
                      <a:lnTo>
                        <a:pt x="2024" y="101"/>
                      </a:lnTo>
                      <a:lnTo>
                        <a:pt x="2023" y="103"/>
                      </a:lnTo>
                      <a:lnTo>
                        <a:pt x="2023" y="104"/>
                      </a:lnTo>
                      <a:lnTo>
                        <a:pt x="2023" y="105"/>
                      </a:lnTo>
                      <a:lnTo>
                        <a:pt x="2022" y="106"/>
                      </a:lnTo>
                      <a:lnTo>
                        <a:pt x="2022" y="108"/>
                      </a:lnTo>
                      <a:lnTo>
                        <a:pt x="2023" y="109"/>
                      </a:lnTo>
                      <a:lnTo>
                        <a:pt x="2023" y="111"/>
                      </a:lnTo>
                      <a:lnTo>
                        <a:pt x="2023" y="117"/>
                      </a:lnTo>
                      <a:lnTo>
                        <a:pt x="2022" y="118"/>
                      </a:lnTo>
                      <a:lnTo>
                        <a:pt x="2022" y="118"/>
                      </a:lnTo>
                      <a:lnTo>
                        <a:pt x="2021" y="118"/>
                      </a:lnTo>
                      <a:lnTo>
                        <a:pt x="2020" y="117"/>
                      </a:lnTo>
                      <a:lnTo>
                        <a:pt x="2019" y="115"/>
                      </a:lnTo>
                      <a:lnTo>
                        <a:pt x="2017" y="112"/>
                      </a:lnTo>
                      <a:lnTo>
                        <a:pt x="2016" y="110"/>
                      </a:lnTo>
                      <a:lnTo>
                        <a:pt x="2015" y="108"/>
                      </a:lnTo>
                      <a:lnTo>
                        <a:pt x="2014" y="105"/>
                      </a:lnTo>
                      <a:lnTo>
                        <a:pt x="2012" y="103"/>
                      </a:lnTo>
                      <a:lnTo>
                        <a:pt x="2010" y="103"/>
                      </a:lnTo>
                      <a:lnTo>
                        <a:pt x="2009" y="103"/>
                      </a:lnTo>
                      <a:lnTo>
                        <a:pt x="2008" y="100"/>
                      </a:lnTo>
                      <a:lnTo>
                        <a:pt x="2006" y="98"/>
                      </a:lnTo>
                      <a:lnTo>
                        <a:pt x="2004" y="97"/>
                      </a:lnTo>
                      <a:lnTo>
                        <a:pt x="2003" y="95"/>
                      </a:lnTo>
                      <a:lnTo>
                        <a:pt x="2003" y="92"/>
                      </a:lnTo>
                      <a:lnTo>
                        <a:pt x="2002" y="89"/>
                      </a:lnTo>
                      <a:lnTo>
                        <a:pt x="2002" y="88"/>
                      </a:lnTo>
                      <a:lnTo>
                        <a:pt x="2002" y="85"/>
                      </a:lnTo>
                      <a:lnTo>
                        <a:pt x="2002" y="83"/>
                      </a:lnTo>
                      <a:lnTo>
                        <a:pt x="2002" y="79"/>
                      </a:lnTo>
                      <a:lnTo>
                        <a:pt x="2001" y="77"/>
                      </a:lnTo>
                      <a:lnTo>
                        <a:pt x="1999" y="74"/>
                      </a:lnTo>
                      <a:lnTo>
                        <a:pt x="1998" y="71"/>
                      </a:lnTo>
                      <a:lnTo>
                        <a:pt x="1998" y="68"/>
                      </a:lnTo>
                      <a:lnTo>
                        <a:pt x="1997" y="67"/>
                      </a:lnTo>
                      <a:lnTo>
                        <a:pt x="1997" y="65"/>
                      </a:lnTo>
                      <a:lnTo>
                        <a:pt x="1998" y="65"/>
                      </a:lnTo>
                      <a:lnTo>
                        <a:pt x="1998" y="64"/>
                      </a:lnTo>
                      <a:lnTo>
                        <a:pt x="1998" y="63"/>
                      </a:lnTo>
                      <a:lnTo>
                        <a:pt x="1997" y="62"/>
                      </a:lnTo>
                      <a:lnTo>
                        <a:pt x="1995" y="60"/>
                      </a:lnTo>
                      <a:lnTo>
                        <a:pt x="1994" y="57"/>
                      </a:lnTo>
                      <a:lnTo>
                        <a:pt x="1992" y="56"/>
                      </a:lnTo>
                      <a:lnTo>
                        <a:pt x="1991" y="55"/>
                      </a:lnTo>
                      <a:lnTo>
                        <a:pt x="1990" y="53"/>
                      </a:lnTo>
                      <a:lnTo>
                        <a:pt x="1990" y="51"/>
                      </a:lnTo>
                      <a:lnTo>
                        <a:pt x="1991" y="50"/>
                      </a:lnTo>
                      <a:lnTo>
                        <a:pt x="1992" y="49"/>
                      </a:lnTo>
                      <a:lnTo>
                        <a:pt x="1993" y="47"/>
                      </a:lnTo>
                      <a:lnTo>
                        <a:pt x="1993" y="47"/>
                      </a:lnTo>
                      <a:lnTo>
                        <a:pt x="1994" y="46"/>
                      </a:lnTo>
                      <a:close/>
                      <a:moveTo>
                        <a:pt x="2166" y="45"/>
                      </a:moveTo>
                      <a:lnTo>
                        <a:pt x="2167" y="45"/>
                      </a:lnTo>
                      <a:lnTo>
                        <a:pt x="2168" y="46"/>
                      </a:lnTo>
                      <a:lnTo>
                        <a:pt x="2171" y="46"/>
                      </a:lnTo>
                      <a:lnTo>
                        <a:pt x="2173" y="47"/>
                      </a:lnTo>
                      <a:lnTo>
                        <a:pt x="2176" y="49"/>
                      </a:lnTo>
                      <a:lnTo>
                        <a:pt x="2178" y="49"/>
                      </a:lnTo>
                      <a:lnTo>
                        <a:pt x="2182" y="50"/>
                      </a:lnTo>
                      <a:lnTo>
                        <a:pt x="2184" y="51"/>
                      </a:lnTo>
                      <a:lnTo>
                        <a:pt x="2184" y="52"/>
                      </a:lnTo>
                      <a:lnTo>
                        <a:pt x="2184" y="52"/>
                      </a:lnTo>
                      <a:lnTo>
                        <a:pt x="2182" y="53"/>
                      </a:lnTo>
                      <a:lnTo>
                        <a:pt x="2179" y="53"/>
                      </a:lnTo>
                      <a:lnTo>
                        <a:pt x="2177" y="52"/>
                      </a:lnTo>
                      <a:lnTo>
                        <a:pt x="2175" y="52"/>
                      </a:lnTo>
                      <a:lnTo>
                        <a:pt x="2174" y="52"/>
                      </a:lnTo>
                      <a:lnTo>
                        <a:pt x="2173" y="52"/>
                      </a:lnTo>
                      <a:lnTo>
                        <a:pt x="2169" y="51"/>
                      </a:lnTo>
                      <a:lnTo>
                        <a:pt x="2167" y="50"/>
                      </a:lnTo>
                      <a:lnTo>
                        <a:pt x="2166" y="49"/>
                      </a:lnTo>
                      <a:lnTo>
                        <a:pt x="2166" y="47"/>
                      </a:lnTo>
                      <a:lnTo>
                        <a:pt x="2166" y="46"/>
                      </a:lnTo>
                      <a:lnTo>
                        <a:pt x="2166" y="45"/>
                      </a:lnTo>
                      <a:close/>
                      <a:moveTo>
                        <a:pt x="2158" y="45"/>
                      </a:moveTo>
                      <a:lnTo>
                        <a:pt x="2160" y="45"/>
                      </a:lnTo>
                      <a:lnTo>
                        <a:pt x="2162" y="46"/>
                      </a:lnTo>
                      <a:lnTo>
                        <a:pt x="2162" y="49"/>
                      </a:lnTo>
                      <a:lnTo>
                        <a:pt x="2162" y="50"/>
                      </a:lnTo>
                      <a:lnTo>
                        <a:pt x="2163" y="51"/>
                      </a:lnTo>
                      <a:lnTo>
                        <a:pt x="2164" y="53"/>
                      </a:lnTo>
                      <a:lnTo>
                        <a:pt x="2167" y="54"/>
                      </a:lnTo>
                      <a:lnTo>
                        <a:pt x="2167" y="54"/>
                      </a:lnTo>
                      <a:lnTo>
                        <a:pt x="2167" y="54"/>
                      </a:lnTo>
                      <a:lnTo>
                        <a:pt x="2167" y="53"/>
                      </a:lnTo>
                      <a:lnTo>
                        <a:pt x="2168" y="53"/>
                      </a:lnTo>
                      <a:lnTo>
                        <a:pt x="2169" y="54"/>
                      </a:lnTo>
                      <a:lnTo>
                        <a:pt x="2169" y="56"/>
                      </a:lnTo>
                      <a:lnTo>
                        <a:pt x="2172" y="57"/>
                      </a:lnTo>
                      <a:lnTo>
                        <a:pt x="2173" y="60"/>
                      </a:lnTo>
                      <a:lnTo>
                        <a:pt x="2175" y="62"/>
                      </a:lnTo>
                      <a:lnTo>
                        <a:pt x="2175" y="63"/>
                      </a:lnTo>
                      <a:lnTo>
                        <a:pt x="2173" y="63"/>
                      </a:lnTo>
                      <a:lnTo>
                        <a:pt x="2169" y="62"/>
                      </a:lnTo>
                      <a:lnTo>
                        <a:pt x="2167" y="60"/>
                      </a:lnTo>
                      <a:lnTo>
                        <a:pt x="2165" y="58"/>
                      </a:lnTo>
                      <a:lnTo>
                        <a:pt x="2163" y="56"/>
                      </a:lnTo>
                      <a:lnTo>
                        <a:pt x="2161" y="55"/>
                      </a:lnTo>
                      <a:lnTo>
                        <a:pt x="2160" y="54"/>
                      </a:lnTo>
                      <a:lnTo>
                        <a:pt x="2158" y="54"/>
                      </a:lnTo>
                      <a:lnTo>
                        <a:pt x="2157" y="54"/>
                      </a:lnTo>
                      <a:lnTo>
                        <a:pt x="2157" y="53"/>
                      </a:lnTo>
                      <a:lnTo>
                        <a:pt x="2156" y="52"/>
                      </a:lnTo>
                      <a:lnTo>
                        <a:pt x="2156" y="46"/>
                      </a:lnTo>
                      <a:lnTo>
                        <a:pt x="2157" y="45"/>
                      </a:lnTo>
                      <a:lnTo>
                        <a:pt x="2158" y="45"/>
                      </a:lnTo>
                      <a:close/>
                      <a:moveTo>
                        <a:pt x="465" y="29"/>
                      </a:moveTo>
                      <a:lnTo>
                        <a:pt x="472" y="29"/>
                      </a:lnTo>
                      <a:lnTo>
                        <a:pt x="475" y="31"/>
                      </a:lnTo>
                      <a:lnTo>
                        <a:pt x="477" y="33"/>
                      </a:lnTo>
                      <a:lnTo>
                        <a:pt x="477" y="36"/>
                      </a:lnTo>
                      <a:lnTo>
                        <a:pt x="476" y="40"/>
                      </a:lnTo>
                      <a:lnTo>
                        <a:pt x="474" y="43"/>
                      </a:lnTo>
                      <a:lnTo>
                        <a:pt x="469" y="49"/>
                      </a:lnTo>
                      <a:lnTo>
                        <a:pt x="462" y="54"/>
                      </a:lnTo>
                      <a:lnTo>
                        <a:pt x="456" y="60"/>
                      </a:lnTo>
                      <a:lnTo>
                        <a:pt x="454" y="65"/>
                      </a:lnTo>
                      <a:lnTo>
                        <a:pt x="458" y="71"/>
                      </a:lnTo>
                      <a:lnTo>
                        <a:pt x="461" y="71"/>
                      </a:lnTo>
                      <a:lnTo>
                        <a:pt x="466" y="69"/>
                      </a:lnTo>
                      <a:lnTo>
                        <a:pt x="471" y="67"/>
                      </a:lnTo>
                      <a:lnTo>
                        <a:pt x="474" y="66"/>
                      </a:lnTo>
                      <a:lnTo>
                        <a:pt x="476" y="71"/>
                      </a:lnTo>
                      <a:lnTo>
                        <a:pt x="476" y="75"/>
                      </a:lnTo>
                      <a:lnTo>
                        <a:pt x="475" y="79"/>
                      </a:lnTo>
                      <a:lnTo>
                        <a:pt x="474" y="84"/>
                      </a:lnTo>
                      <a:lnTo>
                        <a:pt x="474" y="86"/>
                      </a:lnTo>
                      <a:lnTo>
                        <a:pt x="474" y="88"/>
                      </a:lnTo>
                      <a:lnTo>
                        <a:pt x="474" y="90"/>
                      </a:lnTo>
                      <a:lnTo>
                        <a:pt x="475" y="93"/>
                      </a:lnTo>
                      <a:lnTo>
                        <a:pt x="476" y="95"/>
                      </a:lnTo>
                      <a:lnTo>
                        <a:pt x="478" y="100"/>
                      </a:lnTo>
                      <a:lnTo>
                        <a:pt x="478" y="108"/>
                      </a:lnTo>
                      <a:lnTo>
                        <a:pt x="476" y="115"/>
                      </a:lnTo>
                      <a:lnTo>
                        <a:pt x="473" y="122"/>
                      </a:lnTo>
                      <a:lnTo>
                        <a:pt x="465" y="130"/>
                      </a:lnTo>
                      <a:lnTo>
                        <a:pt x="458" y="137"/>
                      </a:lnTo>
                      <a:lnTo>
                        <a:pt x="454" y="137"/>
                      </a:lnTo>
                      <a:lnTo>
                        <a:pt x="452" y="137"/>
                      </a:lnTo>
                      <a:lnTo>
                        <a:pt x="450" y="138"/>
                      </a:lnTo>
                      <a:lnTo>
                        <a:pt x="448" y="139"/>
                      </a:lnTo>
                      <a:lnTo>
                        <a:pt x="447" y="141"/>
                      </a:lnTo>
                      <a:lnTo>
                        <a:pt x="445" y="143"/>
                      </a:lnTo>
                      <a:lnTo>
                        <a:pt x="444" y="145"/>
                      </a:lnTo>
                      <a:lnTo>
                        <a:pt x="444" y="148"/>
                      </a:lnTo>
                      <a:lnTo>
                        <a:pt x="441" y="151"/>
                      </a:lnTo>
                      <a:lnTo>
                        <a:pt x="438" y="153"/>
                      </a:lnTo>
                      <a:lnTo>
                        <a:pt x="434" y="154"/>
                      </a:lnTo>
                      <a:lnTo>
                        <a:pt x="430" y="153"/>
                      </a:lnTo>
                      <a:lnTo>
                        <a:pt x="427" y="152"/>
                      </a:lnTo>
                      <a:lnTo>
                        <a:pt x="423" y="149"/>
                      </a:lnTo>
                      <a:lnTo>
                        <a:pt x="421" y="147"/>
                      </a:lnTo>
                      <a:lnTo>
                        <a:pt x="420" y="143"/>
                      </a:lnTo>
                      <a:lnTo>
                        <a:pt x="418" y="140"/>
                      </a:lnTo>
                      <a:lnTo>
                        <a:pt x="416" y="137"/>
                      </a:lnTo>
                      <a:lnTo>
                        <a:pt x="414" y="133"/>
                      </a:lnTo>
                      <a:lnTo>
                        <a:pt x="411" y="130"/>
                      </a:lnTo>
                      <a:lnTo>
                        <a:pt x="408" y="128"/>
                      </a:lnTo>
                      <a:lnTo>
                        <a:pt x="404" y="127"/>
                      </a:lnTo>
                      <a:lnTo>
                        <a:pt x="398" y="126"/>
                      </a:lnTo>
                      <a:lnTo>
                        <a:pt x="396" y="123"/>
                      </a:lnTo>
                      <a:lnTo>
                        <a:pt x="394" y="121"/>
                      </a:lnTo>
                      <a:lnTo>
                        <a:pt x="393" y="119"/>
                      </a:lnTo>
                      <a:lnTo>
                        <a:pt x="391" y="117"/>
                      </a:lnTo>
                      <a:lnTo>
                        <a:pt x="390" y="115"/>
                      </a:lnTo>
                      <a:lnTo>
                        <a:pt x="388" y="112"/>
                      </a:lnTo>
                      <a:lnTo>
                        <a:pt x="387" y="111"/>
                      </a:lnTo>
                      <a:lnTo>
                        <a:pt x="385" y="110"/>
                      </a:lnTo>
                      <a:lnTo>
                        <a:pt x="384" y="108"/>
                      </a:lnTo>
                      <a:lnTo>
                        <a:pt x="380" y="105"/>
                      </a:lnTo>
                      <a:lnTo>
                        <a:pt x="379" y="101"/>
                      </a:lnTo>
                      <a:lnTo>
                        <a:pt x="378" y="98"/>
                      </a:lnTo>
                      <a:lnTo>
                        <a:pt x="379" y="94"/>
                      </a:lnTo>
                      <a:lnTo>
                        <a:pt x="382" y="90"/>
                      </a:lnTo>
                      <a:lnTo>
                        <a:pt x="382" y="88"/>
                      </a:lnTo>
                      <a:lnTo>
                        <a:pt x="383" y="86"/>
                      </a:lnTo>
                      <a:lnTo>
                        <a:pt x="384" y="85"/>
                      </a:lnTo>
                      <a:lnTo>
                        <a:pt x="385" y="83"/>
                      </a:lnTo>
                      <a:lnTo>
                        <a:pt x="386" y="82"/>
                      </a:lnTo>
                      <a:lnTo>
                        <a:pt x="387" y="82"/>
                      </a:lnTo>
                      <a:lnTo>
                        <a:pt x="389" y="82"/>
                      </a:lnTo>
                      <a:lnTo>
                        <a:pt x="389" y="84"/>
                      </a:lnTo>
                      <a:lnTo>
                        <a:pt x="391" y="86"/>
                      </a:lnTo>
                      <a:lnTo>
                        <a:pt x="394" y="88"/>
                      </a:lnTo>
                      <a:lnTo>
                        <a:pt x="396" y="90"/>
                      </a:lnTo>
                      <a:lnTo>
                        <a:pt x="398" y="92"/>
                      </a:lnTo>
                      <a:lnTo>
                        <a:pt x="401" y="92"/>
                      </a:lnTo>
                      <a:lnTo>
                        <a:pt x="405" y="90"/>
                      </a:lnTo>
                      <a:lnTo>
                        <a:pt x="408" y="87"/>
                      </a:lnTo>
                      <a:lnTo>
                        <a:pt x="410" y="84"/>
                      </a:lnTo>
                      <a:lnTo>
                        <a:pt x="412" y="79"/>
                      </a:lnTo>
                      <a:lnTo>
                        <a:pt x="412" y="76"/>
                      </a:lnTo>
                      <a:lnTo>
                        <a:pt x="411" y="73"/>
                      </a:lnTo>
                      <a:lnTo>
                        <a:pt x="411" y="71"/>
                      </a:lnTo>
                      <a:lnTo>
                        <a:pt x="409" y="68"/>
                      </a:lnTo>
                      <a:lnTo>
                        <a:pt x="408" y="67"/>
                      </a:lnTo>
                      <a:lnTo>
                        <a:pt x="406" y="65"/>
                      </a:lnTo>
                      <a:lnTo>
                        <a:pt x="405" y="63"/>
                      </a:lnTo>
                      <a:lnTo>
                        <a:pt x="404" y="61"/>
                      </a:lnTo>
                      <a:lnTo>
                        <a:pt x="404" y="58"/>
                      </a:lnTo>
                      <a:lnTo>
                        <a:pt x="405" y="57"/>
                      </a:lnTo>
                      <a:lnTo>
                        <a:pt x="408" y="56"/>
                      </a:lnTo>
                      <a:lnTo>
                        <a:pt x="410" y="55"/>
                      </a:lnTo>
                      <a:lnTo>
                        <a:pt x="410" y="54"/>
                      </a:lnTo>
                      <a:lnTo>
                        <a:pt x="409" y="54"/>
                      </a:lnTo>
                      <a:lnTo>
                        <a:pt x="407" y="53"/>
                      </a:lnTo>
                      <a:lnTo>
                        <a:pt x="405" y="51"/>
                      </a:lnTo>
                      <a:lnTo>
                        <a:pt x="405" y="49"/>
                      </a:lnTo>
                      <a:lnTo>
                        <a:pt x="405" y="45"/>
                      </a:lnTo>
                      <a:lnTo>
                        <a:pt x="406" y="42"/>
                      </a:lnTo>
                      <a:lnTo>
                        <a:pt x="409" y="40"/>
                      </a:lnTo>
                      <a:lnTo>
                        <a:pt x="414" y="38"/>
                      </a:lnTo>
                      <a:lnTo>
                        <a:pt x="417" y="36"/>
                      </a:lnTo>
                      <a:lnTo>
                        <a:pt x="420" y="35"/>
                      </a:lnTo>
                      <a:lnTo>
                        <a:pt x="423" y="35"/>
                      </a:lnTo>
                      <a:lnTo>
                        <a:pt x="427" y="35"/>
                      </a:lnTo>
                      <a:lnTo>
                        <a:pt x="429" y="35"/>
                      </a:lnTo>
                      <a:lnTo>
                        <a:pt x="431" y="36"/>
                      </a:lnTo>
                      <a:lnTo>
                        <a:pt x="432" y="38"/>
                      </a:lnTo>
                      <a:lnTo>
                        <a:pt x="433" y="39"/>
                      </a:lnTo>
                      <a:lnTo>
                        <a:pt x="434" y="41"/>
                      </a:lnTo>
                      <a:lnTo>
                        <a:pt x="436" y="42"/>
                      </a:lnTo>
                      <a:lnTo>
                        <a:pt x="438" y="42"/>
                      </a:lnTo>
                      <a:lnTo>
                        <a:pt x="441" y="42"/>
                      </a:lnTo>
                      <a:lnTo>
                        <a:pt x="443" y="41"/>
                      </a:lnTo>
                      <a:lnTo>
                        <a:pt x="447" y="40"/>
                      </a:lnTo>
                      <a:lnTo>
                        <a:pt x="449" y="39"/>
                      </a:lnTo>
                      <a:lnTo>
                        <a:pt x="451" y="38"/>
                      </a:lnTo>
                      <a:lnTo>
                        <a:pt x="456" y="34"/>
                      </a:lnTo>
                      <a:lnTo>
                        <a:pt x="461" y="31"/>
                      </a:lnTo>
                      <a:lnTo>
                        <a:pt x="465" y="29"/>
                      </a:lnTo>
                      <a:close/>
                      <a:moveTo>
                        <a:pt x="2209" y="28"/>
                      </a:moveTo>
                      <a:lnTo>
                        <a:pt x="2210" y="28"/>
                      </a:lnTo>
                      <a:lnTo>
                        <a:pt x="2211" y="29"/>
                      </a:lnTo>
                      <a:lnTo>
                        <a:pt x="2212" y="31"/>
                      </a:lnTo>
                      <a:lnTo>
                        <a:pt x="2213" y="32"/>
                      </a:lnTo>
                      <a:lnTo>
                        <a:pt x="2215" y="33"/>
                      </a:lnTo>
                      <a:lnTo>
                        <a:pt x="2215" y="34"/>
                      </a:lnTo>
                      <a:lnTo>
                        <a:pt x="2215" y="35"/>
                      </a:lnTo>
                      <a:lnTo>
                        <a:pt x="2215" y="36"/>
                      </a:lnTo>
                      <a:lnTo>
                        <a:pt x="2216" y="38"/>
                      </a:lnTo>
                      <a:lnTo>
                        <a:pt x="2218" y="39"/>
                      </a:lnTo>
                      <a:lnTo>
                        <a:pt x="2221" y="40"/>
                      </a:lnTo>
                      <a:lnTo>
                        <a:pt x="2221" y="40"/>
                      </a:lnTo>
                      <a:lnTo>
                        <a:pt x="2222" y="41"/>
                      </a:lnTo>
                      <a:lnTo>
                        <a:pt x="2223" y="42"/>
                      </a:lnTo>
                      <a:lnTo>
                        <a:pt x="2226" y="44"/>
                      </a:lnTo>
                      <a:lnTo>
                        <a:pt x="2226" y="45"/>
                      </a:lnTo>
                      <a:lnTo>
                        <a:pt x="2227" y="46"/>
                      </a:lnTo>
                      <a:lnTo>
                        <a:pt x="2226" y="47"/>
                      </a:lnTo>
                      <a:lnTo>
                        <a:pt x="2224" y="47"/>
                      </a:lnTo>
                      <a:lnTo>
                        <a:pt x="2221" y="45"/>
                      </a:lnTo>
                      <a:lnTo>
                        <a:pt x="2220" y="46"/>
                      </a:lnTo>
                      <a:lnTo>
                        <a:pt x="2220" y="47"/>
                      </a:lnTo>
                      <a:lnTo>
                        <a:pt x="2221" y="49"/>
                      </a:lnTo>
                      <a:lnTo>
                        <a:pt x="2222" y="50"/>
                      </a:lnTo>
                      <a:lnTo>
                        <a:pt x="2224" y="51"/>
                      </a:lnTo>
                      <a:lnTo>
                        <a:pt x="2224" y="53"/>
                      </a:lnTo>
                      <a:lnTo>
                        <a:pt x="2226" y="54"/>
                      </a:lnTo>
                      <a:lnTo>
                        <a:pt x="2227" y="56"/>
                      </a:lnTo>
                      <a:lnTo>
                        <a:pt x="2228" y="57"/>
                      </a:lnTo>
                      <a:lnTo>
                        <a:pt x="2228" y="58"/>
                      </a:lnTo>
                      <a:lnTo>
                        <a:pt x="2228" y="58"/>
                      </a:lnTo>
                      <a:lnTo>
                        <a:pt x="2227" y="58"/>
                      </a:lnTo>
                      <a:lnTo>
                        <a:pt x="2224" y="58"/>
                      </a:lnTo>
                      <a:lnTo>
                        <a:pt x="2222" y="57"/>
                      </a:lnTo>
                      <a:lnTo>
                        <a:pt x="2221" y="57"/>
                      </a:lnTo>
                      <a:lnTo>
                        <a:pt x="2219" y="56"/>
                      </a:lnTo>
                      <a:lnTo>
                        <a:pt x="2218" y="56"/>
                      </a:lnTo>
                      <a:lnTo>
                        <a:pt x="2218" y="57"/>
                      </a:lnTo>
                      <a:lnTo>
                        <a:pt x="2218" y="58"/>
                      </a:lnTo>
                      <a:lnTo>
                        <a:pt x="2216" y="57"/>
                      </a:lnTo>
                      <a:lnTo>
                        <a:pt x="2213" y="56"/>
                      </a:lnTo>
                      <a:lnTo>
                        <a:pt x="2211" y="53"/>
                      </a:lnTo>
                      <a:lnTo>
                        <a:pt x="2210" y="52"/>
                      </a:lnTo>
                      <a:lnTo>
                        <a:pt x="2210" y="51"/>
                      </a:lnTo>
                      <a:lnTo>
                        <a:pt x="2207" y="49"/>
                      </a:lnTo>
                      <a:lnTo>
                        <a:pt x="2206" y="47"/>
                      </a:lnTo>
                      <a:lnTo>
                        <a:pt x="2206" y="46"/>
                      </a:lnTo>
                      <a:lnTo>
                        <a:pt x="2206" y="44"/>
                      </a:lnTo>
                      <a:lnTo>
                        <a:pt x="2206" y="42"/>
                      </a:lnTo>
                      <a:lnTo>
                        <a:pt x="2205" y="41"/>
                      </a:lnTo>
                      <a:lnTo>
                        <a:pt x="2205" y="40"/>
                      </a:lnTo>
                      <a:lnTo>
                        <a:pt x="2205" y="39"/>
                      </a:lnTo>
                      <a:lnTo>
                        <a:pt x="2206" y="38"/>
                      </a:lnTo>
                      <a:lnTo>
                        <a:pt x="2208" y="38"/>
                      </a:lnTo>
                      <a:lnTo>
                        <a:pt x="2208" y="38"/>
                      </a:lnTo>
                      <a:lnTo>
                        <a:pt x="2208" y="36"/>
                      </a:lnTo>
                      <a:lnTo>
                        <a:pt x="2207" y="36"/>
                      </a:lnTo>
                      <a:lnTo>
                        <a:pt x="2206" y="35"/>
                      </a:lnTo>
                      <a:lnTo>
                        <a:pt x="2205" y="35"/>
                      </a:lnTo>
                      <a:lnTo>
                        <a:pt x="2202" y="34"/>
                      </a:lnTo>
                      <a:lnTo>
                        <a:pt x="2204" y="32"/>
                      </a:lnTo>
                      <a:lnTo>
                        <a:pt x="2205" y="31"/>
                      </a:lnTo>
                      <a:lnTo>
                        <a:pt x="2207" y="29"/>
                      </a:lnTo>
                      <a:lnTo>
                        <a:pt x="2209" y="28"/>
                      </a:lnTo>
                      <a:lnTo>
                        <a:pt x="2209" y="28"/>
                      </a:lnTo>
                      <a:close/>
                      <a:moveTo>
                        <a:pt x="679" y="17"/>
                      </a:moveTo>
                      <a:lnTo>
                        <a:pt x="683" y="18"/>
                      </a:lnTo>
                      <a:lnTo>
                        <a:pt x="688" y="18"/>
                      </a:lnTo>
                      <a:lnTo>
                        <a:pt x="690" y="20"/>
                      </a:lnTo>
                      <a:lnTo>
                        <a:pt x="692" y="21"/>
                      </a:lnTo>
                      <a:lnTo>
                        <a:pt x="693" y="23"/>
                      </a:lnTo>
                      <a:lnTo>
                        <a:pt x="692" y="27"/>
                      </a:lnTo>
                      <a:lnTo>
                        <a:pt x="690" y="29"/>
                      </a:lnTo>
                      <a:lnTo>
                        <a:pt x="685" y="32"/>
                      </a:lnTo>
                      <a:lnTo>
                        <a:pt x="683" y="34"/>
                      </a:lnTo>
                      <a:lnTo>
                        <a:pt x="682" y="36"/>
                      </a:lnTo>
                      <a:lnTo>
                        <a:pt x="681" y="40"/>
                      </a:lnTo>
                      <a:lnTo>
                        <a:pt x="679" y="43"/>
                      </a:lnTo>
                      <a:lnTo>
                        <a:pt x="677" y="45"/>
                      </a:lnTo>
                      <a:lnTo>
                        <a:pt x="673" y="47"/>
                      </a:lnTo>
                      <a:lnTo>
                        <a:pt x="671" y="49"/>
                      </a:lnTo>
                      <a:lnTo>
                        <a:pt x="669" y="51"/>
                      </a:lnTo>
                      <a:lnTo>
                        <a:pt x="667" y="53"/>
                      </a:lnTo>
                      <a:lnTo>
                        <a:pt x="663" y="54"/>
                      </a:lnTo>
                      <a:lnTo>
                        <a:pt x="661" y="57"/>
                      </a:lnTo>
                      <a:lnTo>
                        <a:pt x="659" y="60"/>
                      </a:lnTo>
                      <a:lnTo>
                        <a:pt x="657" y="63"/>
                      </a:lnTo>
                      <a:lnTo>
                        <a:pt x="656" y="66"/>
                      </a:lnTo>
                      <a:lnTo>
                        <a:pt x="655" y="69"/>
                      </a:lnTo>
                      <a:lnTo>
                        <a:pt x="657" y="74"/>
                      </a:lnTo>
                      <a:lnTo>
                        <a:pt x="659" y="77"/>
                      </a:lnTo>
                      <a:lnTo>
                        <a:pt x="661" y="80"/>
                      </a:lnTo>
                      <a:lnTo>
                        <a:pt x="662" y="87"/>
                      </a:lnTo>
                      <a:lnTo>
                        <a:pt x="660" y="94"/>
                      </a:lnTo>
                      <a:lnTo>
                        <a:pt x="659" y="100"/>
                      </a:lnTo>
                      <a:lnTo>
                        <a:pt x="660" y="104"/>
                      </a:lnTo>
                      <a:lnTo>
                        <a:pt x="662" y="107"/>
                      </a:lnTo>
                      <a:lnTo>
                        <a:pt x="665" y="110"/>
                      </a:lnTo>
                      <a:lnTo>
                        <a:pt x="666" y="114"/>
                      </a:lnTo>
                      <a:lnTo>
                        <a:pt x="668" y="116"/>
                      </a:lnTo>
                      <a:lnTo>
                        <a:pt x="669" y="118"/>
                      </a:lnTo>
                      <a:lnTo>
                        <a:pt x="669" y="120"/>
                      </a:lnTo>
                      <a:lnTo>
                        <a:pt x="670" y="122"/>
                      </a:lnTo>
                      <a:lnTo>
                        <a:pt x="672" y="125"/>
                      </a:lnTo>
                      <a:lnTo>
                        <a:pt x="674" y="127"/>
                      </a:lnTo>
                      <a:lnTo>
                        <a:pt x="677" y="128"/>
                      </a:lnTo>
                      <a:lnTo>
                        <a:pt x="681" y="129"/>
                      </a:lnTo>
                      <a:lnTo>
                        <a:pt x="684" y="129"/>
                      </a:lnTo>
                      <a:lnTo>
                        <a:pt x="687" y="129"/>
                      </a:lnTo>
                      <a:lnTo>
                        <a:pt x="688" y="129"/>
                      </a:lnTo>
                      <a:lnTo>
                        <a:pt x="688" y="128"/>
                      </a:lnTo>
                      <a:lnTo>
                        <a:pt x="688" y="127"/>
                      </a:lnTo>
                      <a:lnTo>
                        <a:pt x="688" y="125"/>
                      </a:lnTo>
                      <a:lnTo>
                        <a:pt x="687" y="122"/>
                      </a:lnTo>
                      <a:lnTo>
                        <a:pt x="685" y="120"/>
                      </a:lnTo>
                      <a:lnTo>
                        <a:pt x="684" y="119"/>
                      </a:lnTo>
                      <a:lnTo>
                        <a:pt x="682" y="117"/>
                      </a:lnTo>
                      <a:lnTo>
                        <a:pt x="681" y="116"/>
                      </a:lnTo>
                      <a:lnTo>
                        <a:pt x="678" y="112"/>
                      </a:lnTo>
                      <a:lnTo>
                        <a:pt x="674" y="107"/>
                      </a:lnTo>
                      <a:lnTo>
                        <a:pt x="672" y="101"/>
                      </a:lnTo>
                      <a:lnTo>
                        <a:pt x="672" y="97"/>
                      </a:lnTo>
                      <a:lnTo>
                        <a:pt x="677" y="94"/>
                      </a:lnTo>
                      <a:lnTo>
                        <a:pt x="681" y="92"/>
                      </a:lnTo>
                      <a:lnTo>
                        <a:pt x="683" y="89"/>
                      </a:lnTo>
                      <a:lnTo>
                        <a:pt x="685" y="88"/>
                      </a:lnTo>
                      <a:lnTo>
                        <a:pt x="687" y="87"/>
                      </a:lnTo>
                      <a:lnTo>
                        <a:pt x="687" y="85"/>
                      </a:lnTo>
                      <a:lnTo>
                        <a:pt x="685" y="84"/>
                      </a:lnTo>
                      <a:lnTo>
                        <a:pt x="684" y="82"/>
                      </a:lnTo>
                      <a:lnTo>
                        <a:pt x="681" y="78"/>
                      </a:lnTo>
                      <a:lnTo>
                        <a:pt x="680" y="77"/>
                      </a:lnTo>
                      <a:lnTo>
                        <a:pt x="678" y="75"/>
                      </a:lnTo>
                      <a:lnTo>
                        <a:pt x="677" y="73"/>
                      </a:lnTo>
                      <a:lnTo>
                        <a:pt x="674" y="71"/>
                      </a:lnTo>
                      <a:lnTo>
                        <a:pt x="674" y="67"/>
                      </a:lnTo>
                      <a:lnTo>
                        <a:pt x="674" y="65"/>
                      </a:lnTo>
                      <a:lnTo>
                        <a:pt x="676" y="63"/>
                      </a:lnTo>
                      <a:lnTo>
                        <a:pt x="677" y="61"/>
                      </a:lnTo>
                      <a:lnTo>
                        <a:pt x="679" y="60"/>
                      </a:lnTo>
                      <a:lnTo>
                        <a:pt x="681" y="58"/>
                      </a:lnTo>
                      <a:lnTo>
                        <a:pt x="683" y="57"/>
                      </a:lnTo>
                      <a:lnTo>
                        <a:pt x="685" y="56"/>
                      </a:lnTo>
                      <a:lnTo>
                        <a:pt x="688" y="55"/>
                      </a:lnTo>
                      <a:lnTo>
                        <a:pt x="688" y="54"/>
                      </a:lnTo>
                      <a:lnTo>
                        <a:pt x="688" y="52"/>
                      </a:lnTo>
                      <a:lnTo>
                        <a:pt x="687" y="50"/>
                      </a:lnTo>
                      <a:lnTo>
                        <a:pt x="688" y="47"/>
                      </a:lnTo>
                      <a:lnTo>
                        <a:pt x="688" y="47"/>
                      </a:lnTo>
                      <a:lnTo>
                        <a:pt x="689" y="45"/>
                      </a:lnTo>
                      <a:lnTo>
                        <a:pt x="689" y="43"/>
                      </a:lnTo>
                      <a:lnTo>
                        <a:pt x="690" y="41"/>
                      </a:lnTo>
                      <a:lnTo>
                        <a:pt x="690" y="39"/>
                      </a:lnTo>
                      <a:lnTo>
                        <a:pt x="690" y="36"/>
                      </a:lnTo>
                      <a:lnTo>
                        <a:pt x="701" y="36"/>
                      </a:lnTo>
                      <a:lnTo>
                        <a:pt x="704" y="35"/>
                      </a:lnTo>
                      <a:lnTo>
                        <a:pt x="706" y="33"/>
                      </a:lnTo>
                      <a:lnTo>
                        <a:pt x="707" y="31"/>
                      </a:lnTo>
                      <a:lnTo>
                        <a:pt x="710" y="29"/>
                      </a:lnTo>
                      <a:lnTo>
                        <a:pt x="712" y="25"/>
                      </a:lnTo>
                      <a:lnTo>
                        <a:pt x="714" y="25"/>
                      </a:lnTo>
                      <a:lnTo>
                        <a:pt x="717" y="24"/>
                      </a:lnTo>
                      <a:lnTo>
                        <a:pt x="720" y="24"/>
                      </a:lnTo>
                      <a:lnTo>
                        <a:pt x="723" y="24"/>
                      </a:lnTo>
                      <a:lnTo>
                        <a:pt x="727" y="23"/>
                      </a:lnTo>
                      <a:lnTo>
                        <a:pt x="735" y="23"/>
                      </a:lnTo>
                      <a:lnTo>
                        <a:pt x="743" y="24"/>
                      </a:lnTo>
                      <a:lnTo>
                        <a:pt x="748" y="28"/>
                      </a:lnTo>
                      <a:lnTo>
                        <a:pt x="756" y="39"/>
                      </a:lnTo>
                      <a:lnTo>
                        <a:pt x="760" y="51"/>
                      </a:lnTo>
                      <a:lnTo>
                        <a:pt x="762" y="63"/>
                      </a:lnTo>
                      <a:lnTo>
                        <a:pt x="760" y="75"/>
                      </a:lnTo>
                      <a:lnTo>
                        <a:pt x="755" y="85"/>
                      </a:lnTo>
                      <a:lnTo>
                        <a:pt x="754" y="87"/>
                      </a:lnTo>
                      <a:lnTo>
                        <a:pt x="753" y="89"/>
                      </a:lnTo>
                      <a:lnTo>
                        <a:pt x="751" y="92"/>
                      </a:lnTo>
                      <a:lnTo>
                        <a:pt x="751" y="95"/>
                      </a:lnTo>
                      <a:lnTo>
                        <a:pt x="751" y="97"/>
                      </a:lnTo>
                      <a:lnTo>
                        <a:pt x="753" y="100"/>
                      </a:lnTo>
                      <a:lnTo>
                        <a:pt x="754" y="101"/>
                      </a:lnTo>
                      <a:lnTo>
                        <a:pt x="754" y="103"/>
                      </a:lnTo>
                      <a:lnTo>
                        <a:pt x="755" y="104"/>
                      </a:lnTo>
                      <a:lnTo>
                        <a:pt x="757" y="105"/>
                      </a:lnTo>
                      <a:lnTo>
                        <a:pt x="758" y="104"/>
                      </a:lnTo>
                      <a:lnTo>
                        <a:pt x="759" y="103"/>
                      </a:lnTo>
                      <a:lnTo>
                        <a:pt x="764" y="98"/>
                      </a:lnTo>
                      <a:lnTo>
                        <a:pt x="767" y="94"/>
                      </a:lnTo>
                      <a:lnTo>
                        <a:pt x="770" y="89"/>
                      </a:lnTo>
                      <a:lnTo>
                        <a:pt x="772" y="88"/>
                      </a:lnTo>
                      <a:lnTo>
                        <a:pt x="775" y="88"/>
                      </a:lnTo>
                      <a:lnTo>
                        <a:pt x="777" y="89"/>
                      </a:lnTo>
                      <a:lnTo>
                        <a:pt x="778" y="90"/>
                      </a:lnTo>
                      <a:lnTo>
                        <a:pt x="780" y="93"/>
                      </a:lnTo>
                      <a:lnTo>
                        <a:pt x="781" y="95"/>
                      </a:lnTo>
                      <a:lnTo>
                        <a:pt x="783" y="96"/>
                      </a:lnTo>
                      <a:lnTo>
                        <a:pt x="783" y="97"/>
                      </a:lnTo>
                      <a:lnTo>
                        <a:pt x="785" y="99"/>
                      </a:lnTo>
                      <a:lnTo>
                        <a:pt x="787" y="100"/>
                      </a:lnTo>
                      <a:lnTo>
                        <a:pt x="788" y="101"/>
                      </a:lnTo>
                      <a:lnTo>
                        <a:pt x="790" y="103"/>
                      </a:lnTo>
                      <a:lnTo>
                        <a:pt x="791" y="103"/>
                      </a:lnTo>
                      <a:lnTo>
                        <a:pt x="792" y="101"/>
                      </a:lnTo>
                      <a:lnTo>
                        <a:pt x="793" y="100"/>
                      </a:lnTo>
                      <a:lnTo>
                        <a:pt x="793" y="98"/>
                      </a:lnTo>
                      <a:lnTo>
                        <a:pt x="793" y="97"/>
                      </a:lnTo>
                      <a:lnTo>
                        <a:pt x="794" y="96"/>
                      </a:lnTo>
                      <a:lnTo>
                        <a:pt x="794" y="95"/>
                      </a:lnTo>
                      <a:lnTo>
                        <a:pt x="797" y="94"/>
                      </a:lnTo>
                      <a:lnTo>
                        <a:pt x="799" y="94"/>
                      </a:lnTo>
                      <a:lnTo>
                        <a:pt x="801" y="93"/>
                      </a:lnTo>
                      <a:lnTo>
                        <a:pt x="803" y="93"/>
                      </a:lnTo>
                      <a:lnTo>
                        <a:pt x="805" y="92"/>
                      </a:lnTo>
                      <a:lnTo>
                        <a:pt x="807" y="90"/>
                      </a:lnTo>
                      <a:lnTo>
                        <a:pt x="808" y="89"/>
                      </a:lnTo>
                      <a:lnTo>
                        <a:pt x="808" y="88"/>
                      </a:lnTo>
                      <a:lnTo>
                        <a:pt x="808" y="86"/>
                      </a:lnTo>
                      <a:lnTo>
                        <a:pt x="808" y="84"/>
                      </a:lnTo>
                      <a:lnTo>
                        <a:pt x="808" y="83"/>
                      </a:lnTo>
                      <a:lnTo>
                        <a:pt x="805" y="82"/>
                      </a:lnTo>
                      <a:lnTo>
                        <a:pt x="804" y="79"/>
                      </a:lnTo>
                      <a:lnTo>
                        <a:pt x="802" y="77"/>
                      </a:lnTo>
                      <a:lnTo>
                        <a:pt x="801" y="75"/>
                      </a:lnTo>
                      <a:lnTo>
                        <a:pt x="800" y="73"/>
                      </a:lnTo>
                      <a:lnTo>
                        <a:pt x="801" y="72"/>
                      </a:lnTo>
                      <a:lnTo>
                        <a:pt x="804" y="71"/>
                      </a:lnTo>
                      <a:lnTo>
                        <a:pt x="808" y="71"/>
                      </a:lnTo>
                      <a:lnTo>
                        <a:pt x="811" y="71"/>
                      </a:lnTo>
                      <a:lnTo>
                        <a:pt x="814" y="69"/>
                      </a:lnTo>
                      <a:lnTo>
                        <a:pt x="815" y="68"/>
                      </a:lnTo>
                      <a:lnTo>
                        <a:pt x="815" y="67"/>
                      </a:lnTo>
                      <a:lnTo>
                        <a:pt x="814" y="65"/>
                      </a:lnTo>
                      <a:lnTo>
                        <a:pt x="812" y="64"/>
                      </a:lnTo>
                      <a:lnTo>
                        <a:pt x="810" y="63"/>
                      </a:lnTo>
                      <a:lnTo>
                        <a:pt x="808" y="63"/>
                      </a:lnTo>
                      <a:lnTo>
                        <a:pt x="802" y="63"/>
                      </a:lnTo>
                      <a:lnTo>
                        <a:pt x="799" y="64"/>
                      </a:lnTo>
                      <a:lnTo>
                        <a:pt x="794" y="65"/>
                      </a:lnTo>
                      <a:lnTo>
                        <a:pt x="790" y="65"/>
                      </a:lnTo>
                      <a:lnTo>
                        <a:pt x="783" y="63"/>
                      </a:lnTo>
                      <a:lnTo>
                        <a:pt x="777" y="56"/>
                      </a:lnTo>
                      <a:lnTo>
                        <a:pt x="772" y="50"/>
                      </a:lnTo>
                      <a:lnTo>
                        <a:pt x="768" y="43"/>
                      </a:lnTo>
                      <a:lnTo>
                        <a:pt x="767" y="42"/>
                      </a:lnTo>
                      <a:lnTo>
                        <a:pt x="766" y="40"/>
                      </a:lnTo>
                      <a:lnTo>
                        <a:pt x="765" y="38"/>
                      </a:lnTo>
                      <a:lnTo>
                        <a:pt x="764" y="35"/>
                      </a:lnTo>
                      <a:lnTo>
                        <a:pt x="762" y="32"/>
                      </a:lnTo>
                      <a:lnTo>
                        <a:pt x="762" y="30"/>
                      </a:lnTo>
                      <a:lnTo>
                        <a:pt x="762" y="28"/>
                      </a:lnTo>
                      <a:lnTo>
                        <a:pt x="764" y="27"/>
                      </a:lnTo>
                      <a:lnTo>
                        <a:pt x="765" y="25"/>
                      </a:lnTo>
                      <a:lnTo>
                        <a:pt x="767" y="25"/>
                      </a:lnTo>
                      <a:lnTo>
                        <a:pt x="770" y="25"/>
                      </a:lnTo>
                      <a:lnTo>
                        <a:pt x="781" y="27"/>
                      </a:lnTo>
                      <a:lnTo>
                        <a:pt x="792" y="28"/>
                      </a:lnTo>
                      <a:lnTo>
                        <a:pt x="814" y="28"/>
                      </a:lnTo>
                      <a:lnTo>
                        <a:pt x="822" y="31"/>
                      </a:lnTo>
                      <a:lnTo>
                        <a:pt x="830" y="36"/>
                      </a:lnTo>
                      <a:lnTo>
                        <a:pt x="835" y="42"/>
                      </a:lnTo>
                      <a:lnTo>
                        <a:pt x="840" y="47"/>
                      </a:lnTo>
                      <a:lnTo>
                        <a:pt x="842" y="51"/>
                      </a:lnTo>
                      <a:lnTo>
                        <a:pt x="844" y="53"/>
                      </a:lnTo>
                      <a:lnTo>
                        <a:pt x="845" y="55"/>
                      </a:lnTo>
                      <a:lnTo>
                        <a:pt x="846" y="58"/>
                      </a:lnTo>
                      <a:lnTo>
                        <a:pt x="845" y="61"/>
                      </a:lnTo>
                      <a:lnTo>
                        <a:pt x="845" y="62"/>
                      </a:lnTo>
                      <a:lnTo>
                        <a:pt x="843" y="63"/>
                      </a:lnTo>
                      <a:lnTo>
                        <a:pt x="841" y="64"/>
                      </a:lnTo>
                      <a:lnTo>
                        <a:pt x="837" y="64"/>
                      </a:lnTo>
                      <a:lnTo>
                        <a:pt x="833" y="63"/>
                      </a:lnTo>
                      <a:lnTo>
                        <a:pt x="835" y="65"/>
                      </a:lnTo>
                      <a:lnTo>
                        <a:pt x="837" y="68"/>
                      </a:lnTo>
                      <a:lnTo>
                        <a:pt x="841" y="72"/>
                      </a:lnTo>
                      <a:lnTo>
                        <a:pt x="844" y="74"/>
                      </a:lnTo>
                      <a:lnTo>
                        <a:pt x="847" y="75"/>
                      </a:lnTo>
                      <a:lnTo>
                        <a:pt x="851" y="76"/>
                      </a:lnTo>
                      <a:lnTo>
                        <a:pt x="853" y="76"/>
                      </a:lnTo>
                      <a:lnTo>
                        <a:pt x="855" y="75"/>
                      </a:lnTo>
                      <a:lnTo>
                        <a:pt x="858" y="74"/>
                      </a:lnTo>
                      <a:lnTo>
                        <a:pt x="862" y="74"/>
                      </a:lnTo>
                      <a:lnTo>
                        <a:pt x="864" y="75"/>
                      </a:lnTo>
                      <a:lnTo>
                        <a:pt x="865" y="77"/>
                      </a:lnTo>
                      <a:lnTo>
                        <a:pt x="866" y="79"/>
                      </a:lnTo>
                      <a:lnTo>
                        <a:pt x="866" y="82"/>
                      </a:lnTo>
                      <a:lnTo>
                        <a:pt x="866" y="83"/>
                      </a:lnTo>
                      <a:lnTo>
                        <a:pt x="866" y="85"/>
                      </a:lnTo>
                      <a:lnTo>
                        <a:pt x="866" y="87"/>
                      </a:lnTo>
                      <a:lnTo>
                        <a:pt x="865" y="89"/>
                      </a:lnTo>
                      <a:lnTo>
                        <a:pt x="864" y="92"/>
                      </a:lnTo>
                      <a:lnTo>
                        <a:pt x="864" y="94"/>
                      </a:lnTo>
                      <a:lnTo>
                        <a:pt x="864" y="95"/>
                      </a:lnTo>
                      <a:lnTo>
                        <a:pt x="865" y="97"/>
                      </a:lnTo>
                      <a:lnTo>
                        <a:pt x="867" y="98"/>
                      </a:lnTo>
                      <a:lnTo>
                        <a:pt x="870" y="100"/>
                      </a:lnTo>
                      <a:lnTo>
                        <a:pt x="874" y="101"/>
                      </a:lnTo>
                      <a:lnTo>
                        <a:pt x="877" y="103"/>
                      </a:lnTo>
                      <a:lnTo>
                        <a:pt x="878" y="105"/>
                      </a:lnTo>
                      <a:lnTo>
                        <a:pt x="878" y="107"/>
                      </a:lnTo>
                      <a:lnTo>
                        <a:pt x="877" y="109"/>
                      </a:lnTo>
                      <a:lnTo>
                        <a:pt x="875" y="111"/>
                      </a:lnTo>
                      <a:lnTo>
                        <a:pt x="873" y="114"/>
                      </a:lnTo>
                      <a:lnTo>
                        <a:pt x="871" y="115"/>
                      </a:lnTo>
                      <a:lnTo>
                        <a:pt x="870" y="117"/>
                      </a:lnTo>
                      <a:lnTo>
                        <a:pt x="870" y="119"/>
                      </a:lnTo>
                      <a:lnTo>
                        <a:pt x="870" y="121"/>
                      </a:lnTo>
                      <a:lnTo>
                        <a:pt x="870" y="123"/>
                      </a:lnTo>
                      <a:lnTo>
                        <a:pt x="871" y="125"/>
                      </a:lnTo>
                      <a:lnTo>
                        <a:pt x="873" y="126"/>
                      </a:lnTo>
                      <a:lnTo>
                        <a:pt x="875" y="126"/>
                      </a:lnTo>
                      <a:lnTo>
                        <a:pt x="877" y="125"/>
                      </a:lnTo>
                      <a:lnTo>
                        <a:pt x="881" y="120"/>
                      </a:lnTo>
                      <a:lnTo>
                        <a:pt x="886" y="118"/>
                      </a:lnTo>
                      <a:lnTo>
                        <a:pt x="892" y="116"/>
                      </a:lnTo>
                      <a:lnTo>
                        <a:pt x="897" y="117"/>
                      </a:lnTo>
                      <a:lnTo>
                        <a:pt x="898" y="120"/>
                      </a:lnTo>
                      <a:lnTo>
                        <a:pt x="897" y="125"/>
                      </a:lnTo>
                      <a:lnTo>
                        <a:pt x="895" y="129"/>
                      </a:lnTo>
                      <a:lnTo>
                        <a:pt x="893" y="133"/>
                      </a:lnTo>
                      <a:lnTo>
                        <a:pt x="893" y="137"/>
                      </a:lnTo>
                      <a:lnTo>
                        <a:pt x="896" y="138"/>
                      </a:lnTo>
                      <a:lnTo>
                        <a:pt x="897" y="134"/>
                      </a:lnTo>
                      <a:lnTo>
                        <a:pt x="898" y="131"/>
                      </a:lnTo>
                      <a:lnTo>
                        <a:pt x="899" y="129"/>
                      </a:lnTo>
                      <a:lnTo>
                        <a:pt x="901" y="127"/>
                      </a:lnTo>
                      <a:lnTo>
                        <a:pt x="903" y="126"/>
                      </a:lnTo>
                      <a:lnTo>
                        <a:pt x="907" y="125"/>
                      </a:lnTo>
                      <a:lnTo>
                        <a:pt x="914" y="123"/>
                      </a:lnTo>
                      <a:lnTo>
                        <a:pt x="923" y="123"/>
                      </a:lnTo>
                      <a:lnTo>
                        <a:pt x="931" y="127"/>
                      </a:lnTo>
                      <a:lnTo>
                        <a:pt x="934" y="128"/>
                      </a:lnTo>
                      <a:lnTo>
                        <a:pt x="938" y="130"/>
                      </a:lnTo>
                      <a:lnTo>
                        <a:pt x="940" y="133"/>
                      </a:lnTo>
                      <a:lnTo>
                        <a:pt x="942" y="137"/>
                      </a:lnTo>
                      <a:lnTo>
                        <a:pt x="942" y="141"/>
                      </a:lnTo>
                      <a:lnTo>
                        <a:pt x="942" y="144"/>
                      </a:lnTo>
                      <a:lnTo>
                        <a:pt x="939" y="147"/>
                      </a:lnTo>
                      <a:lnTo>
                        <a:pt x="935" y="148"/>
                      </a:lnTo>
                      <a:lnTo>
                        <a:pt x="931" y="149"/>
                      </a:lnTo>
                      <a:lnTo>
                        <a:pt x="928" y="149"/>
                      </a:lnTo>
                      <a:lnTo>
                        <a:pt x="925" y="150"/>
                      </a:lnTo>
                      <a:lnTo>
                        <a:pt x="924" y="151"/>
                      </a:lnTo>
                      <a:lnTo>
                        <a:pt x="922" y="153"/>
                      </a:lnTo>
                      <a:lnTo>
                        <a:pt x="921" y="153"/>
                      </a:lnTo>
                      <a:lnTo>
                        <a:pt x="921" y="154"/>
                      </a:lnTo>
                      <a:lnTo>
                        <a:pt x="920" y="156"/>
                      </a:lnTo>
                      <a:lnTo>
                        <a:pt x="920" y="158"/>
                      </a:lnTo>
                      <a:lnTo>
                        <a:pt x="920" y="160"/>
                      </a:lnTo>
                      <a:lnTo>
                        <a:pt x="922" y="160"/>
                      </a:lnTo>
                      <a:lnTo>
                        <a:pt x="924" y="160"/>
                      </a:lnTo>
                      <a:lnTo>
                        <a:pt x="927" y="160"/>
                      </a:lnTo>
                      <a:lnTo>
                        <a:pt x="928" y="160"/>
                      </a:lnTo>
                      <a:lnTo>
                        <a:pt x="929" y="160"/>
                      </a:lnTo>
                      <a:lnTo>
                        <a:pt x="932" y="158"/>
                      </a:lnTo>
                      <a:lnTo>
                        <a:pt x="938" y="155"/>
                      </a:lnTo>
                      <a:lnTo>
                        <a:pt x="943" y="155"/>
                      </a:lnTo>
                      <a:lnTo>
                        <a:pt x="947" y="155"/>
                      </a:lnTo>
                      <a:lnTo>
                        <a:pt x="951" y="160"/>
                      </a:lnTo>
                      <a:lnTo>
                        <a:pt x="951" y="161"/>
                      </a:lnTo>
                      <a:lnTo>
                        <a:pt x="951" y="163"/>
                      </a:lnTo>
                      <a:lnTo>
                        <a:pt x="952" y="165"/>
                      </a:lnTo>
                      <a:lnTo>
                        <a:pt x="954" y="166"/>
                      </a:lnTo>
                      <a:lnTo>
                        <a:pt x="955" y="167"/>
                      </a:lnTo>
                      <a:lnTo>
                        <a:pt x="958" y="167"/>
                      </a:lnTo>
                      <a:lnTo>
                        <a:pt x="962" y="165"/>
                      </a:lnTo>
                      <a:lnTo>
                        <a:pt x="975" y="165"/>
                      </a:lnTo>
                      <a:lnTo>
                        <a:pt x="989" y="167"/>
                      </a:lnTo>
                      <a:lnTo>
                        <a:pt x="990" y="178"/>
                      </a:lnTo>
                      <a:lnTo>
                        <a:pt x="986" y="186"/>
                      </a:lnTo>
                      <a:lnTo>
                        <a:pt x="977" y="192"/>
                      </a:lnTo>
                      <a:lnTo>
                        <a:pt x="973" y="194"/>
                      </a:lnTo>
                      <a:lnTo>
                        <a:pt x="969" y="195"/>
                      </a:lnTo>
                      <a:lnTo>
                        <a:pt x="967" y="196"/>
                      </a:lnTo>
                      <a:lnTo>
                        <a:pt x="966" y="198"/>
                      </a:lnTo>
                      <a:lnTo>
                        <a:pt x="966" y="200"/>
                      </a:lnTo>
                      <a:lnTo>
                        <a:pt x="966" y="204"/>
                      </a:lnTo>
                      <a:lnTo>
                        <a:pt x="966" y="206"/>
                      </a:lnTo>
                      <a:lnTo>
                        <a:pt x="966" y="208"/>
                      </a:lnTo>
                      <a:lnTo>
                        <a:pt x="968" y="209"/>
                      </a:lnTo>
                      <a:lnTo>
                        <a:pt x="971" y="209"/>
                      </a:lnTo>
                      <a:lnTo>
                        <a:pt x="976" y="209"/>
                      </a:lnTo>
                      <a:lnTo>
                        <a:pt x="979" y="206"/>
                      </a:lnTo>
                      <a:lnTo>
                        <a:pt x="983" y="200"/>
                      </a:lnTo>
                      <a:lnTo>
                        <a:pt x="986" y="196"/>
                      </a:lnTo>
                      <a:lnTo>
                        <a:pt x="989" y="192"/>
                      </a:lnTo>
                      <a:lnTo>
                        <a:pt x="997" y="189"/>
                      </a:lnTo>
                      <a:lnTo>
                        <a:pt x="1006" y="191"/>
                      </a:lnTo>
                      <a:lnTo>
                        <a:pt x="1012" y="195"/>
                      </a:lnTo>
                      <a:lnTo>
                        <a:pt x="1018" y="200"/>
                      </a:lnTo>
                      <a:lnTo>
                        <a:pt x="1018" y="204"/>
                      </a:lnTo>
                      <a:lnTo>
                        <a:pt x="1018" y="206"/>
                      </a:lnTo>
                      <a:lnTo>
                        <a:pt x="1017" y="208"/>
                      </a:lnTo>
                      <a:lnTo>
                        <a:pt x="1016" y="209"/>
                      </a:lnTo>
                      <a:lnTo>
                        <a:pt x="1013" y="209"/>
                      </a:lnTo>
                      <a:lnTo>
                        <a:pt x="1010" y="212"/>
                      </a:lnTo>
                      <a:lnTo>
                        <a:pt x="1009" y="213"/>
                      </a:lnTo>
                      <a:lnTo>
                        <a:pt x="1008" y="216"/>
                      </a:lnTo>
                      <a:lnTo>
                        <a:pt x="1009" y="218"/>
                      </a:lnTo>
                      <a:lnTo>
                        <a:pt x="1011" y="220"/>
                      </a:lnTo>
                      <a:lnTo>
                        <a:pt x="1016" y="223"/>
                      </a:lnTo>
                      <a:lnTo>
                        <a:pt x="1021" y="225"/>
                      </a:lnTo>
                      <a:lnTo>
                        <a:pt x="1027" y="227"/>
                      </a:lnTo>
                      <a:lnTo>
                        <a:pt x="1031" y="229"/>
                      </a:lnTo>
                      <a:lnTo>
                        <a:pt x="1031" y="234"/>
                      </a:lnTo>
                      <a:lnTo>
                        <a:pt x="1029" y="235"/>
                      </a:lnTo>
                      <a:lnTo>
                        <a:pt x="1024" y="234"/>
                      </a:lnTo>
                      <a:lnTo>
                        <a:pt x="1019" y="232"/>
                      </a:lnTo>
                      <a:lnTo>
                        <a:pt x="1013" y="231"/>
                      </a:lnTo>
                      <a:lnTo>
                        <a:pt x="1009" y="231"/>
                      </a:lnTo>
                      <a:lnTo>
                        <a:pt x="1007" y="231"/>
                      </a:lnTo>
                      <a:lnTo>
                        <a:pt x="1005" y="231"/>
                      </a:lnTo>
                      <a:lnTo>
                        <a:pt x="1002" y="231"/>
                      </a:lnTo>
                      <a:lnTo>
                        <a:pt x="1000" y="232"/>
                      </a:lnTo>
                      <a:lnTo>
                        <a:pt x="998" y="234"/>
                      </a:lnTo>
                      <a:lnTo>
                        <a:pt x="997" y="235"/>
                      </a:lnTo>
                      <a:lnTo>
                        <a:pt x="996" y="236"/>
                      </a:lnTo>
                      <a:lnTo>
                        <a:pt x="996" y="238"/>
                      </a:lnTo>
                      <a:lnTo>
                        <a:pt x="998" y="241"/>
                      </a:lnTo>
                      <a:lnTo>
                        <a:pt x="1000" y="243"/>
                      </a:lnTo>
                      <a:lnTo>
                        <a:pt x="1002" y="246"/>
                      </a:lnTo>
                      <a:lnTo>
                        <a:pt x="1004" y="249"/>
                      </a:lnTo>
                      <a:lnTo>
                        <a:pt x="1005" y="251"/>
                      </a:lnTo>
                      <a:lnTo>
                        <a:pt x="1005" y="256"/>
                      </a:lnTo>
                      <a:lnTo>
                        <a:pt x="1005" y="259"/>
                      </a:lnTo>
                      <a:lnTo>
                        <a:pt x="1006" y="261"/>
                      </a:lnTo>
                      <a:lnTo>
                        <a:pt x="1006" y="264"/>
                      </a:lnTo>
                      <a:lnTo>
                        <a:pt x="1008" y="268"/>
                      </a:lnTo>
                      <a:lnTo>
                        <a:pt x="1011" y="271"/>
                      </a:lnTo>
                      <a:lnTo>
                        <a:pt x="1024" y="278"/>
                      </a:lnTo>
                      <a:lnTo>
                        <a:pt x="1029" y="281"/>
                      </a:lnTo>
                      <a:lnTo>
                        <a:pt x="1033" y="285"/>
                      </a:lnTo>
                      <a:lnTo>
                        <a:pt x="1037" y="289"/>
                      </a:lnTo>
                      <a:lnTo>
                        <a:pt x="1040" y="293"/>
                      </a:lnTo>
                      <a:lnTo>
                        <a:pt x="1049" y="298"/>
                      </a:lnTo>
                      <a:lnTo>
                        <a:pt x="1060" y="302"/>
                      </a:lnTo>
                      <a:lnTo>
                        <a:pt x="1071" y="305"/>
                      </a:lnTo>
                      <a:lnTo>
                        <a:pt x="1081" y="311"/>
                      </a:lnTo>
                      <a:lnTo>
                        <a:pt x="1084" y="316"/>
                      </a:lnTo>
                      <a:lnTo>
                        <a:pt x="1085" y="322"/>
                      </a:lnTo>
                      <a:lnTo>
                        <a:pt x="1087" y="327"/>
                      </a:lnTo>
                      <a:lnTo>
                        <a:pt x="1092" y="330"/>
                      </a:lnTo>
                      <a:lnTo>
                        <a:pt x="1095" y="332"/>
                      </a:lnTo>
                      <a:lnTo>
                        <a:pt x="1098" y="334"/>
                      </a:lnTo>
                      <a:lnTo>
                        <a:pt x="1100" y="337"/>
                      </a:lnTo>
                      <a:lnTo>
                        <a:pt x="1103" y="340"/>
                      </a:lnTo>
                      <a:lnTo>
                        <a:pt x="1105" y="343"/>
                      </a:lnTo>
                      <a:lnTo>
                        <a:pt x="1107" y="345"/>
                      </a:lnTo>
                      <a:lnTo>
                        <a:pt x="1109" y="345"/>
                      </a:lnTo>
                      <a:lnTo>
                        <a:pt x="1116" y="345"/>
                      </a:lnTo>
                      <a:lnTo>
                        <a:pt x="1122" y="343"/>
                      </a:lnTo>
                      <a:lnTo>
                        <a:pt x="1128" y="341"/>
                      </a:lnTo>
                      <a:lnTo>
                        <a:pt x="1135" y="344"/>
                      </a:lnTo>
                      <a:lnTo>
                        <a:pt x="1140" y="349"/>
                      </a:lnTo>
                      <a:lnTo>
                        <a:pt x="1141" y="359"/>
                      </a:lnTo>
                      <a:lnTo>
                        <a:pt x="1138" y="368"/>
                      </a:lnTo>
                      <a:lnTo>
                        <a:pt x="1132" y="376"/>
                      </a:lnTo>
                      <a:lnTo>
                        <a:pt x="1127" y="382"/>
                      </a:lnTo>
                      <a:lnTo>
                        <a:pt x="1125" y="389"/>
                      </a:lnTo>
                      <a:lnTo>
                        <a:pt x="1122" y="394"/>
                      </a:lnTo>
                      <a:lnTo>
                        <a:pt x="1120" y="400"/>
                      </a:lnTo>
                      <a:lnTo>
                        <a:pt x="1120" y="401"/>
                      </a:lnTo>
                      <a:lnTo>
                        <a:pt x="1120" y="403"/>
                      </a:lnTo>
                      <a:lnTo>
                        <a:pt x="1119" y="405"/>
                      </a:lnTo>
                      <a:lnTo>
                        <a:pt x="1119" y="406"/>
                      </a:lnTo>
                      <a:lnTo>
                        <a:pt x="1118" y="409"/>
                      </a:lnTo>
                      <a:lnTo>
                        <a:pt x="1117" y="409"/>
                      </a:lnTo>
                      <a:lnTo>
                        <a:pt x="1116" y="409"/>
                      </a:lnTo>
                      <a:lnTo>
                        <a:pt x="1111" y="407"/>
                      </a:lnTo>
                      <a:lnTo>
                        <a:pt x="1109" y="406"/>
                      </a:lnTo>
                      <a:lnTo>
                        <a:pt x="1106" y="405"/>
                      </a:lnTo>
                      <a:lnTo>
                        <a:pt x="1104" y="405"/>
                      </a:lnTo>
                      <a:lnTo>
                        <a:pt x="1103" y="406"/>
                      </a:lnTo>
                      <a:lnTo>
                        <a:pt x="1103" y="407"/>
                      </a:lnTo>
                      <a:lnTo>
                        <a:pt x="1103" y="411"/>
                      </a:lnTo>
                      <a:lnTo>
                        <a:pt x="1103" y="415"/>
                      </a:lnTo>
                      <a:lnTo>
                        <a:pt x="1103" y="417"/>
                      </a:lnTo>
                      <a:lnTo>
                        <a:pt x="1104" y="421"/>
                      </a:lnTo>
                      <a:lnTo>
                        <a:pt x="1104" y="423"/>
                      </a:lnTo>
                      <a:lnTo>
                        <a:pt x="1104" y="425"/>
                      </a:lnTo>
                      <a:lnTo>
                        <a:pt x="1104" y="427"/>
                      </a:lnTo>
                      <a:lnTo>
                        <a:pt x="1103" y="428"/>
                      </a:lnTo>
                      <a:lnTo>
                        <a:pt x="1102" y="429"/>
                      </a:lnTo>
                      <a:lnTo>
                        <a:pt x="1099" y="431"/>
                      </a:lnTo>
                      <a:lnTo>
                        <a:pt x="1097" y="429"/>
                      </a:lnTo>
                      <a:lnTo>
                        <a:pt x="1095" y="428"/>
                      </a:lnTo>
                      <a:lnTo>
                        <a:pt x="1092" y="426"/>
                      </a:lnTo>
                      <a:lnTo>
                        <a:pt x="1085" y="423"/>
                      </a:lnTo>
                      <a:lnTo>
                        <a:pt x="1078" y="417"/>
                      </a:lnTo>
                      <a:lnTo>
                        <a:pt x="1072" y="413"/>
                      </a:lnTo>
                      <a:lnTo>
                        <a:pt x="1067" y="406"/>
                      </a:lnTo>
                      <a:lnTo>
                        <a:pt x="1067" y="400"/>
                      </a:lnTo>
                      <a:lnTo>
                        <a:pt x="1071" y="394"/>
                      </a:lnTo>
                      <a:lnTo>
                        <a:pt x="1075" y="391"/>
                      </a:lnTo>
                      <a:lnTo>
                        <a:pt x="1078" y="387"/>
                      </a:lnTo>
                      <a:lnTo>
                        <a:pt x="1078" y="382"/>
                      </a:lnTo>
                      <a:lnTo>
                        <a:pt x="1076" y="380"/>
                      </a:lnTo>
                      <a:lnTo>
                        <a:pt x="1071" y="381"/>
                      </a:lnTo>
                      <a:lnTo>
                        <a:pt x="1064" y="382"/>
                      </a:lnTo>
                      <a:lnTo>
                        <a:pt x="1058" y="383"/>
                      </a:lnTo>
                      <a:lnTo>
                        <a:pt x="1053" y="382"/>
                      </a:lnTo>
                      <a:lnTo>
                        <a:pt x="1050" y="379"/>
                      </a:lnTo>
                      <a:lnTo>
                        <a:pt x="1047" y="374"/>
                      </a:lnTo>
                      <a:lnTo>
                        <a:pt x="1043" y="371"/>
                      </a:lnTo>
                      <a:lnTo>
                        <a:pt x="1039" y="367"/>
                      </a:lnTo>
                      <a:lnTo>
                        <a:pt x="1036" y="365"/>
                      </a:lnTo>
                      <a:lnTo>
                        <a:pt x="1032" y="366"/>
                      </a:lnTo>
                      <a:lnTo>
                        <a:pt x="1031" y="370"/>
                      </a:lnTo>
                      <a:lnTo>
                        <a:pt x="1031" y="377"/>
                      </a:lnTo>
                      <a:lnTo>
                        <a:pt x="1031" y="382"/>
                      </a:lnTo>
                      <a:lnTo>
                        <a:pt x="1031" y="387"/>
                      </a:lnTo>
                      <a:lnTo>
                        <a:pt x="1029" y="388"/>
                      </a:lnTo>
                      <a:lnTo>
                        <a:pt x="1024" y="385"/>
                      </a:lnTo>
                      <a:lnTo>
                        <a:pt x="1019" y="382"/>
                      </a:lnTo>
                      <a:lnTo>
                        <a:pt x="1013" y="379"/>
                      </a:lnTo>
                      <a:lnTo>
                        <a:pt x="1009" y="378"/>
                      </a:lnTo>
                      <a:lnTo>
                        <a:pt x="1012" y="387"/>
                      </a:lnTo>
                      <a:lnTo>
                        <a:pt x="1017" y="395"/>
                      </a:lnTo>
                      <a:lnTo>
                        <a:pt x="1022" y="403"/>
                      </a:lnTo>
                      <a:lnTo>
                        <a:pt x="1031" y="409"/>
                      </a:lnTo>
                      <a:lnTo>
                        <a:pt x="1037" y="415"/>
                      </a:lnTo>
                      <a:lnTo>
                        <a:pt x="1041" y="423"/>
                      </a:lnTo>
                      <a:lnTo>
                        <a:pt x="1045" y="431"/>
                      </a:lnTo>
                      <a:lnTo>
                        <a:pt x="1051" y="437"/>
                      </a:lnTo>
                      <a:lnTo>
                        <a:pt x="1054" y="438"/>
                      </a:lnTo>
                      <a:lnTo>
                        <a:pt x="1058" y="440"/>
                      </a:lnTo>
                      <a:lnTo>
                        <a:pt x="1062" y="443"/>
                      </a:lnTo>
                      <a:lnTo>
                        <a:pt x="1065" y="446"/>
                      </a:lnTo>
                      <a:lnTo>
                        <a:pt x="1069" y="449"/>
                      </a:lnTo>
                      <a:lnTo>
                        <a:pt x="1070" y="453"/>
                      </a:lnTo>
                      <a:lnTo>
                        <a:pt x="1071" y="457"/>
                      </a:lnTo>
                      <a:lnTo>
                        <a:pt x="1072" y="461"/>
                      </a:lnTo>
                      <a:lnTo>
                        <a:pt x="1078" y="469"/>
                      </a:lnTo>
                      <a:lnTo>
                        <a:pt x="1085" y="476"/>
                      </a:lnTo>
                      <a:lnTo>
                        <a:pt x="1091" y="483"/>
                      </a:lnTo>
                      <a:lnTo>
                        <a:pt x="1094" y="494"/>
                      </a:lnTo>
                      <a:lnTo>
                        <a:pt x="1094" y="497"/>
                      </a:lnTo>
                      <a:lnTo>
                        <a:pt x="1093" y="500"/>
                      </a:lnTo>
                      <a:lnTo>
                        <a:pt x="1092" y="502"/>
                      </a:lnTo>
                      <a:lnTo>
                        <a:pt x="1091" y="505"/>
                      </a:lnTo>
                      <a:lnTo>
                        <a:pt x="1091" y="509"/>
                      </a:lnTo>
                      <a:lnTo>
                        <a:pt x="1092" y="511"/>
                      </a:lnTo>
                      <a:lnTo>
                        <a:pt x="1093" y="514"/>
                      </a:lnTo>
                      <a:lnTo>
                        <a:pt x="1093" y="519"/>
                      </a:lnTo>
                      <a:lnTo>
                        <a:pt x="1093" y="522"/>
                      </a:lnTo>
                      <a:lnTo>
                        <a:pt x="1092" y="526"/>
                      </a:lnTo>
                      <a:lnTo>
                        <a:pt x="1089" y="529"/>
                      </a:lnTo>
                      <a:lnTo>
                        <a:pt x="1082" y="531"/>
                      </a:lnTo>
                      <a:lnTo>
                        <a:pt x="1074" y="531"/>
                      </a:lnTo>
                      <a:lnTo>
                        <a:pt x="1065" y="527"/>
                      </a:lnTo>
                      <a:lnTo>
                        <a:pt x="1058" y="522"/>
                      </a:lnTo>
                      <a:lnTo>
                        <a:pt x="1053" y="515"/>
                      </a:lnTo>
                      <a:lnTo>
                        <a:pt x="1050" y="512"/>
                      </a:lnTo>
                      <a:lnTo>
                        <a:pt x="1044" y="507"/>
                      </a:lnTo>
                      <a:lnTo>
                        <a:pt x="1037" y="500"/>
                      </a:lnTo>
                      <a:lnTo>
                        <a:pt x="1028" y="493"/>
                      </a:lnTo>
                      <a:lnTo>
                        <a:pt x="1019" y="488"/>
                      </a:lnTo>
                      <a:lnTo>
                        <a:pt x="1012" y="486"/>
                      </a:lnTo>
                      <a:lnTo>
                        <a:pt x="1007" y="486"/>
                      </a:lnTo>
                      <a:lnTo>
                        <a:pt x="1009" y="496"/>
                      </a:lnTo>
                      <a:lnTo>
                        <a:pt x="1013" y="503"/>
                      </a:lnTo>
                      <a:lnTo>
                        <a:pt x="1020" y="510"/>
                      </a:lnTo>
                      <a:lnTo>
                        <a:pt x="1029" y="515"/>
                      </a:lnTo>
                      <a:lnTo>
                        <a:pt x="1040" y="524"/>
                      </a:lnTo>
                      <a:lnTo>
                        <a:pt x="1049" y="533"/>
                      </a:lnTo>
                      <a:lnTo>
                        <a:pt x="1056" y="544"/>
                      </a:lnTo>
                      <a:lnTo>
                        <a:pt x="1058" y="548"/>
                      </a:lnTo>
                      <a:lnTo>
                        <a:pt x="1059" y="552"/>
                      </a:lnTo>
                      <a:lnTo>
                        <a:pt x="1059" y="555"/>
                      </a:lnTo>
                      <a:lnTo>
                        <a:pt x="1056" y="558"/>
                      </a:lnTo>
                      <a:lnTo>
                        <a:pt x="1055" y="559"/>
                      </a:lnTo>
                      <a:lnTo>
                        <a:pt x="1050" y="560"/>
                      </a:lnTo>
                      <a:lnTo>
                        <a:pt x="1044" y="558"/>
                      </a:lnTo>
                      <a:lnTo>
                        <a:pt x="1039" y="556"/>
                      </a:lnTo>
                      <a:lnTo>
                        <a:pt x="1033" y="553"/>
                      </a:lnTo>
                      <a:lnTo>
                        <a:pt x="1026" y="551"/>
                      </a:lnTo>
                      <a:lnTo>
                        <a:pt x="1019" y="547"/>
                      </a:lnTo>
                      <a:lnTo>
                        <a:pt x="1011" y="542"/>
                      </a:lnTo>
                      <a:lnTo>
                        <a:pt x="998" y="529"/>
                      </a:lnTo>
                      <a:lnTo>
                        <a:pt x="991" y="525"/>
                      </a:lnTo>
                      <a:lnTo>
                        <a:pt x="985" y="523"/>
                      </a:lnTo>
                      <a:lnTo>
                        <a:pt x="978" y="522"/>
                      </a:lnTo>
                      <a:lnTo>
                        <a:pt x="976" y="521"/>
                      </a:lnTo>
                      <a:lnTo>
                        <a:pt x="975" y="519"/>
                      </a:lnTo>
                      <a:lnTo>
                        <a:pt x="973" y="516"/>
                      </a:lnTo>
                      <a:lnTo>
                        <a:pt x="972" y="514"/>
                      </a:lnTo>
                      <a:lnTo>
                        <a:pt x="969" y="513"/>
                      </a:lnTo>
                      <a:lnTo>
                        <a:pt x="967" y="512"/>
                      </a:lnTo>
                      <a:lnTo>
                        <a:pt x="964" y="511"/>
                      </a:lnTo>
                      <a:lnTo>
                        <a:pt x="957" y="510"/>
                      </a:lnTo>
                      <a:lnTo>
                        <a:pt x="953" y="505"/>
                      </a:lnTo>
                      <a:lnTo>
                        <a:pt x="950" y="500"/>
                      </a:lnTo>
                      <a:lnTo>
                        <a:pt x="949" y="493"/>
                      </a:lnTo>
                      <a:lnTo>
                        <a:pt x="949" y="488"/>
                      </a:lnTo>
                      <a:lnTo>
                        <a:pt x="949" y="485"/>
                      </a:lnTo>
                      <a:lnTo>
                        <a:pt x="947" y="483"/>
                      </a:lnTo>
                      <a:lnTo>
                        <a:pt x="945" y="482"/>
                      </a:lnTo>
                      <a:lnTo>
                        <a:pt x="944" y="482"/>
                      </a:lnTo>
                      <a:lnTo>
                        <a:pt x="942" y="482"/>
                      </a:lnTo>
                      <a:lnTo>
                        <a:pt x="940" y="481"/>
                      </a:lnTo>
                      <a:lnTo>
                        <a:pt x="938" y="481"/>
                      </a:lnTo>
                      <a:lnTo>
                        <a:pt x="934" y="479"/>
                      </a:lnTo>
                      <a:lnTo>
                        <a:pt x="932" y="476"/>
                      </a:lnTo>
                      <a:lnTo>
                        <a:pt x="930" y="472"/>
                      </a:lnTo>
                      <a:lnTo>
                        <a:pt x="929" y="469"/>
                      </a:lnTo>
                      <a:lnTo>
                        <a:pt x="927" y="466"/>
                      </a:lnTo>
                      <a:lnTo>
                        <a:pt x="924" y="464"/>
                      </a:lnTo>
                      <a:lnTo>
                        <a:pt x="923" y="459"/>
                      </a:lnTo>
                      <a:lnTo>
                        <a:pt x="920" y="457"/>
                      </a:lnTo>
                      <a:lnTo>
                        <a:pt x="917" y="454"/>
                      </a:lnTo>
                      <a:lnTo>
                        <a:pt x="913" y="452"/>
                      </a:lnTo>
                      <a:lnTo>
                        <a:pt x="909" y="450"/>
                      </a:lnTo>
                      <a:lnTo>
                        <a:pt x="907" y="448"/>
                      </a:lnTo>
                      <a:lnTo>
                        <a:pt x="905" y="447"/>
                      </a:lnTo>
                      <a:lnTo>
                        <a:pt x="902" y="447"/>
                      </a:lnTo>
                      <a:lnTo>
                        <a:pt x="901" y="447"/>
                      </a:lnTo>
                      <a:lnTo>
                        <a:pt x="899" y="448"/>
                      </a:lnTo>
                      <a:lnTo>
                        <a:pt x="896" y="450"/>
                      </a:lnTo>
                      <a:lnTo>
                        <a:pt x="892" y="450"/>
                      </a:lnTo>
                      <a:lnTo>
                        <a:pt x="887" y="448"/>
                      </a:lnTo>
                      <a:lnTo>
                        <a:pt x="881" y="446"/>
                      </a:lnTo>
                      <a:lnTo>
                        <a:pt x="877" y="443"/>
                      </a:lnTo>
                      <a:lnTo>
                        <a:pt x="873" y="443"/>
                      </a:lnTo>
                      <a:lnTo>
                        <a:pt x="870" y="446"/>
                      </a:lnTo>
                      <a:lnTo>
                        <a:pt x="869" y="448"/>
                      </a:lnTo>
                      <a:lnTo>
                        <a:pt x="869" y="450"/>
                      </a:lnTo>
                      <a:lnTo>
                        <a:pt x="869" y="452"/>
                      </a:lnTo>
                      <a:lnTo>
                        <a:pt x="868" y="454"/>
                      </a:lnTo>
                      <a:lnTo>
                        <a:pt x="867" y="454"/>
                      </a:lnTo>
                      <a:lnTo>
                        <a:pt x="866" y="455"/>
                      </a:lnTo>
                      <a:lnTo>
                        <a:pt x="864" y="455"/>
                      </a:lnTo>
                      <a:lnTo>
                        <a:pt x="862" y="455"/>
                      </a:lnTo>
                      <a:lnTo>
                        <a:pt x="859" y="455"/>
                      </a:lnTo>
                      <a:lnTo>
                        <a:pt x="857" y="455"/>
                      </a:lnTo>
                      <a:lnTo>
                        <a:pt x="855" y="456"/>
                      </a:lnTo>
                      <a:lnTo>
                        <a:pt x="853" y="457"/>
                      </a:lnTo>
                      <a:lnTo>
                        <a:pt x="851" y="459"/>
                      </a:lnTo>
                      <a:lnTo>
                        <a:pt x="845" y="460"/>
                      </a:lnTo>
                      <a:lnTo>
                        <a:pt x="837" y="459"/>
                      </a:lnTo>
                      <a:lnTo>
                        <a:pt x="831" y="455"/>
                      </a:lnTo>
                      <a:lnTo>
                        <a:pt x="824" y="450"/>
                      </a:lnTo>
                      <a:lnTo>
                        <a:pt x="820" y="446"/>
                      </a:lnTo>
                      <a:lnTo>
                        <a:pt x="820" y="440"/>
                      </a:lnTo>
                      <a:lnTo>
                        <a:pt x="820" y="436"/>
                      </a:lnTo>
                      <a:lnTo>
                        <a:pt x="821" y="432"/>
                      </a:lnTo>
                      <a:lnTo>
                        <a:pt x="822" y="428"/>
                      </a:lnTo>
                      <a:lnTo>
                        <a:pt x="824" y="422"/>
                      </a:lnTo>
                      <a:lnTo>
                        <a:pt x="826" y="416"/>
                      </a:lnTo>
                      <a:lnTo>
                        <a:pt x="829" y="411"/>
                      </a:lnTo>
                      <a:lnTo>
                        <a:pt x="833" y="405"/>
                      </a:lnTo>
                      <a:lnTo>
                        <a:pt x="837" y="404"/>
                      </a:lnTo>
                      <a:lnTo>
                        <a:pt x="844" y="404"/>
                      </a:lnTo>
                      <a:lnTo>
                        <a:pt x="851" y="406"/>
                      </a:lnTo>
                      <a:lnTo>
                        <a:pt x="857" y="409"/>
                      </a:lnTo>
                      <a:lnTo>
                        <a:pt x="867" y="410"/>
                      </a:lnTo>
                      <a:lnTo>
                        <a:pt x="879" y="410"/>
                      </a:lnTo>
                      <a:lnTo>
                        <a:pt x="891" y="407"/>
                      </a:lnTo>
                      <a:lnTo>
                        <a:pt x="900" y="404"/>
                      </a:lnTo>
                      <a:lnTo>
                        <a:pt x="902" y="403"/>
                      </a:lnTo>
                      <a:lnTo>
                        <a:pt x="905" y="401"/>
                      </a:lnTo>
                      <a:lnTo>
                        <a:pt x="905" y="399"/>
                      </a:lnTo>
                      <a:lnTo>
                        <a:pt x="905" y="395"/>
                      </a:lnTo>
                      <a:lnTo>
                        <a:pt x="905" y="393"/>
                      </a:lnTo>
                      <a:lnTo>
                        <a:pt x="905" y="390"/>
                      </a:lnTo>
                      <a:lnTo>
                        <a:pt x="903" y="388"/>
                      </a:lnTo>
                      <a:lnTo>
                        <a:pt x="901" y="384"/>
                      </a:lnTo>
                      <a:lnTo>
                        <a:pt x="899" y="382"/>
                      </a:lnTo>
                      <a:lnTo>
                        <a:pt x="896" y="380"/>
                      </a:lnTo>
                      <a:lnTo>
                        <a:pt x="893" y="376"/>
                      </a:lnTo>
                      <a:lnTo>
                        <a:pt x="895" y="371"/>
                      </a:lnTo>
                      <a:lnTo>
                        <a:pt x="899" y="366"/>
                      </a:lnTo>
                      <a:lnTo>
                        <a:pt x="903" y="361"/>
                      </a:lnTo>
                      <a:lnTo>
                        <a:pt x="907" y="358"/>
                      </a:lnTo>
                      <a:lnTo>
                        <a:pt x="914" y="355"/>
                      </a:lnTo>
                      <a:lnTo>
                        <a:pt x="922" y="356"/>
                      </a:lnTo>
                      <a:lnTo>
                        <a:pt x="929" y="356"/>
                      </a:lnTo>
                      <a:lnTo>
                        <a:pt x="933" y="356"/>
                      </a:lnTo>
                      <a:lnTo>
                        <a:pt x="936" y="357"/>
                      </a:lnTo>
                      <a:lnTo>
                        <a:pt x="940" y="357"/>
                      </a:lnTo>
                      <a:lnTo>
                        <a:pt x="943" y="358"/>
                      </a:lnTo>
                      <a:lnTo>
                        <a:pt x="946" y="360"/>
                      </a:lnTo>
                      <a:lnTo>
                        <a:pt x="949" y="365"/>
                      </a:lnTo>
                      <a:lnTo>
                        <a:pt x="951" y="371"/>
                      </a:lnTo>
                      <a:lnTo>
                        <a:pt x="954" y="378"/>
                      </a:lnTo>
                      <a:lnTo>
                        <a:pt x="957" y="383"/>
                      </a:lnTo>
                      <a:lnTo>
                        <a:pt x="962" y="384"/>
                      </a:lnTo>
                      <a:lnTo>
                        <a:pt x="967" y="382"/>
                      </a:lnTo>
                      <a:lnTo>
                        <a:pt x="974" y="379"/>
                      </a:lnTo>
                      <a:lnTo>
                        <a:pt x="982" y="373"/>
                      </a:lnTo>
                      <a:lnTo>
                        <a:pt x="986" y="368"/>
                      </a:lnTo>
                      <a:lnTo>
                        <a:pt x="987" y="362"/>
                      </a:lnTo>
                      <a:lnTo>
                        <a:pt x="986" y="360"/>
                      </a:lnTo>
                      <a:lnTo>
                        <a:pt x="984" y="358"/>
                      </a:lnTo>
                      <a:lnTo>
                        <a:pt x="980" y="356"/>
                      </a:lnTo>
                      <a:lnTo>
                        <a:pt x="978" y="354"/>
                      </a:lnTo>
                      <a:lnTo>
                        <a:pt x="977" y="349"/>
                      </a:lnTo>
                      <a:lnTo>
                        <a:pt x="976" y="348"/>
                      </a:lnTo>
                      <a:lnTo>
                        <a:pt x="974" y="346"/>
                      </a:lnTo>
                      <a:lnTo>
                        <a:pt x="973" y="345"/>
                      </a:lnTo>
                      <a:lnTo>
                        <a:pt x="971" y="343"/>
                      </a:lnTo>
                      <a:lnTo>
                        <a:pt x="968" y="341"/>
                      </a:lnTo>
                      <a:lnTo>
                        <a:pt x="966" y="340"/>
                      </a:lnTo>
                      <a:lnTo>
                        <a:pt x="963" y="340"/>
                      </a:lnTo>
                      <a:lnTo>
                        <a:pt x="961" y="339"/>
                      </a:lnTo>
                      <a:lnTo>
                        <a:pt x="957" y="339"/>
                      </a:lnTo>
                      <a:lnTo>
                        <a:pt x="954" y="340"/>
                      </a:lnTo>
                      <a:lnTo>
                        <a:pt x="952" y="341"/>
                      </a:lnTo>
                      <a:lnTo>
                        <a:pt x="951" y="343"/>
                      </a:lnTo>
                      <a:lnTo>
                        <a:pt x="949" y="346"/>
                      </a:lnTo>
                      <a:lnTo>
                        <a:pt x="947" y="347"/>
                      </a:lnTo>
                      <a:lnTo>
                        <a:pt x="946" y="349"/>
                      </a:lnTo>
                      <a:lnTo>
                        <a:pt x="945" y="350"/>
                      </a:lnTo>
                      <a:lnTo>
                        <a:pt x="942" y="351"/>
                      </a:lnTo>
                      <a:lnTo>
                        <a:pt x="938" y="352"/>
                      </a:lnTo>
                      <a:lnTo>
                        <a:pt x="932" y="352"/>
                      </a:lnTo>
                      <a:lnTo>
                        <a:pt x="927" y="354"/>
                      </a:lnTo>
                      <a:lnTo>
                        <a:pt x="921" y="352"/>
                      </a:lnTo>
                      <a:lnTo>
                        <a:pt x="918" y="349"/>
                      </a:lnTo>
                      <a:lnTo>
                        <a:pt x="918" y="343"/>
                      </a:lnTo>
                      <a:lnTo>
                        <a:pt x="921" y="335"/>
                      </a:lnTo>
                      <a:lnTo>
                        <a:pt x="924" y="328"/>
                      </a:lnTo>
                      <a:lnTo>
                        <a:pt x="925" y="318"/>
                      </a:lnTo>
                      <a:lnTo>
                        <a:pt x="924" y="308"/>
                      </a:lnTo>
                      <a:lnTo>
                        <a:pt x="922" y="300"/>
                      </a:lnTo>
                      <a:lnTo>
                        <a:pt x="921" y="295"/>
                      </a:lnTo>
                      <a:lnTo>
                        <a:pt x="918" y="292"/>
                      </a:lnTo>
                      <a:lnTo>
                        <a:pt x="916" y="290"/>
                      </a:lnTo>
                      <a:lnTo>
                        <a:pt x="912" y="286"/>
                      </a:lnTo>
                      <a:lnTo>
                        <a:pt x="909" y="284"/>
                      </a:lnTo>
                      <a:lnTo>
                        <a:pt x="907" y="281"/>
                      </a:lnTo>
                      <a:lnTo>
                        <a:pt x="903" y="278"/>
                      </a:lnTo>
                      <a:lnTo>
                        <a:pt x="900" y="275"/>
                      </a:lnTo>
                      <a:lnTo>
                        <a:pt x="897" y="272"/>
                      </a:lnTo>
                      <a:lnTo>
                        <a:pt x="895" y="269"/>
                      </a:lnTo>
                      <a:lnTo>
                        <a:pt x="891" y="263"/>
                      </a:lnTo>
                      <a:lnTo>
                        <a:pt x="887" y="258"/>
                      </a:lnTo>
                      <a:lnTo>
                        <a:pt x="881" y="253"/>
                      </a:lnTo>
                      <a:lnTo>
                        <a:pt x="875" y="253"/>
                      </a:lnTo>
                      <a:lnTo>
                        <a:pt x="871" y="254"/>
                      </a:lnTo>
                      <a:lnTo>
                        <a:pt x="869" y="256"/>
                      </a:lnTo>
                      <a:lnTo>
                        <a:pt x="867" y="257"/>
                      </a:lnTo>
                      <a:lnTo>
                        <a:pt x="865" y="258"/>
                      </a:lnTo>
                      <a:lnTo>
                        <a:pt x="863" y="258"/>
                      </a:lnTo>
                      <a:lnTo>
                        <a:pt x="859" y="258"/>
                      </a:lnTo>
                      <a:lnTo>
                        <a:pt x="857" y="258"/>
                      </a:lnTo>
                      <a:lnTo>
                        <a:pt x="854" y="257"/>
                      </a:lnTo>
                      <a:lnTo>
                        <a:pt x="852" y="256"/>
                      </a:lnTo>
                      <a:lnTo>
                        <a:pt x="849" y="253"/>
                      </a:lnTo>
                      <a:lnTo>
                        <a:pt x="848" y="252"/>
                      </a:lnTo>
                      <a:lnTo>
                        <a:pt x="847" y="250"/>
                      </a:lnTo>
                      <a:lnTo>
                        <a:pt x="848" y="249"/>
                      </a:lnTo>
                      <a:lnTo>
                        <a:pt x="851" y="247"/>
                      </a:lnTo>
                      <a:lnTo>
                        <a:pt x="852" y="246"/>
                      </a:lnTo>
                      <a:lnTo>
                        <a:pt x="854" y="246"/>
                      </a:lnTo>
                      <a:lnTo>
                        <a:pt x="856" y="246"/>
                      </a:lnTo>
                      <a:lnTo>
                        <a:pt x="858" y="245"/>
                      </a:lnTo>
                      <a:lnTo>
                        <a:pt x="860" y="245"/>
                      </a:lnTo>
                      <a:lnTo>
                        <a:pt x="862" y="242"/>
                      </a:lnTo>
                      <a:lnTo>
                        <a:pt x="863" y="240"/>
                      </a:lnTo>
                      <a:lnTo>
                        <a:pt x="863" y="238"/>
                      </a:lnTo>
                      <a:lnTo>
                        <a:pt x="862" y="236"/>
                      </a:lnTo>
                      <a:lnTo>
                        <a:pt x="859" y="234"/>
                      </a:lnTo>
                      <a:lnTo>
                        <a:pt x="857" y="231"/>
                      </a:lnTo>
                      <a:lnTo>
                        <a:pt x="854" y="230"/>
                      </a:lnTo>
                      <a:lnTo>
                        <a:pt x="852" y="229"/>
                      </a:lnTo>
                      <a:lnTo>
                        <a:pt x="849" y="230"/>
                      </a:lnTo>
                      <a:lnTo>
                        <a:pt x="848" y="231"/>
                      </a:lnTo>
                      <a:lnTo>
                        <a:pt x="846" y="232"/>
                      </a:lnTo>
                      <a:lnTo>
                        <a:pt x="844" y="234"/>
                      </a:lnTo>
                      <a:lnTo>
                        <a:pt x="843" y="234"/>
                      </a:lnTo>
                      <a:lnTo>
                        <a:pt x="841" y="232"/>
                      </a:lnTo>
                      <a:lnTo>
                        <a:pt x="838" y="231"/>
                      </a:lnTo>
                      <a:lnTo>
                        <a:pt x="836" y="229"/>
                      </a:lnTo>
                      <a:lnTo>
                        <a:pt x="835" y="227"/>
                      </a:lnTo>
                      <a:lnTo>
                        <a:pt x="835" y="225"/>
                      </a:lnTo>
                      <a:lnTo>
                        <a:pt x="836" y="224"/>
                      </a:lnTo>
                      <a:lnTo>
                        <a:pt x="837" y="223"/>
                      </a:lnTo>
                      <a:lnTo>
                        <a:pt x="838" y="220"/>
                      </a:lnTo>
                      <a:lnTo>
                        <a:pt x="841" y="218"/>
                      </a:lnTo>
                      <a:lnTo>
                        <a:pt x="842" y="217"/>
                      </a:lnTo>
                      <a:lnTo>
                        <a:pt x="842" y="215"/>
                      </a:lnTo>
                      <a:lnTo>
                        <a:pt x="842" y="214"/>
                      </a:lnTo>
                      <a:lnTo>
                        <a:pt x="841" y="213"/>
                      </a:lnTo>
                      <a:lnTo>
                        <a:pt x="838" y="213"/>
                      </a:lnTo>
                      <a:lnTo>
                        <a:pt x="836" y="213"/>
                      </a:lnTo>
                      <a:lnTo>
                        <a:pt x="835" y="213"/>
                      </a:lnTo>
                      <a:lnTo>
                        <a:pt x="833" y="212"/>
                      </a:lnTo>
                      <a:lnTo>
                        <a:pt x="831" y="212"/>
                      </a:lnTo>
                      <a:lnTo>
                        <a:pt x="829" y="210"/>
                      </a:lnTo>
                      <a:lnTo>
                        <a:pt x="826" y="210"/>
                      </a:lnTo>
                      <a:lnTo>
                        <a:pt x="824" y="209"/>
                      </a:lnTo>
                      <a:lnTo>
                        <a:pt x="822" y="207"/>
                      </a:lnTo>
                      <a:lnTo>
                        <a:pt x="821" y="205"/>
                      </a:lnTo>
                      <a:lnTo>
                        <a:pt x="821" y="203"/>
                      </a:lnTo>
                      <a:lnTo>
                        <a:pt x="822" y="200"/>
                      </a:lnTo>
                      <a:lnTo>
                        <a:pt x="822" y="197"/>
                      </a:lnTo>
                      <a:lnTo>
                        <a:pt x="822" y="194"/>
                      </a:lnTo>
                      <a:lnTo>
                        <a:pt x="822" y="192"/>
                      </a:lnTo>
                      <a:lnTo>
                        <a:pt x="821" y="187"/>
                      </a:lnTo>
                      <a:lnTo>
                        <a:pt x="819" y="184"/>
                      </a:lnTo>
                      <a:lnTo>
                        <a:pt x="818" y="181"/>
                      </a:lnTo>
                      <a:lnTo>
                        <a:pt x="815" y="178"/>
                      </a:lnTo>
                      <a:lnTo>
                        <a:pt x="811" y="174"/>
                      </a:lnTo>
                      <a:lnTo>
                        <a:pt x="804" y="172"/>
                      </a:lnTo>
                      <a:lnTo>
                        <a:pt x="797" y="172"/>
                      </a:lnTo>
                      <a:lnTo>
                        <a:pt x="790" y="174"/>
                      </a:lnTo>
                      <a:lnTo>
                        <a:pt x="790" y="175"/>
                      </a:lnTo>
                      <a:lnTo>
                        <a:pt x="791" y="177"/>
                      </a:lnTo>
                      <a:lnTo>
                        <a:pt x="793" y="180"/>
                      </a:lnTo>
                      <a:lnTo>
                        <a:pt x="796" y="182"/>
                      </a:lnTo>
                      <a:lnTo>
                        <a:pt x="798" y="184"/>
                      </a:lnTo>
                      <a:lnTo>
                        <a:pt x="800" y="186"/>
                      </a:lnTo>
                      <a:lnTo>
                        <a:pt x="802" y="188"/>
                      </a:lnTo>
                      <a:lnTo>
                        <a:pt x="804" y="189"/>
                      </a:lnTo>
                      <a:lnTo>
                        <a:pt x="805" y="189"/>
                      </a:lnTo>
                      <a:lnTo>
                        <a:pt x="807" y="193"/>
                      </a:lnTo>
                      <a:lnTo>
                        <a:pt x="807" y="196"/>
                      </a:lnTo>
                      <a:lnTo>
                        <a:pt x="805" y="198"/>
                      </a:lnTo>
                      <a:lnTo>
                        <a:pt x="804" y="199"/>
                      </a:lnTo>
                      <a:lnTo>
                        <a:pt x="802" y="202"/>
                      </a:lnTo>
                      <a:lnTo>
                        <a:pt x="799" y="202"/>
                      </a:lnTo>
                      <a:lnTo>
                        <a:pt x="796" y="203"/>
                      </a:lnTo>
                      <a:lnTo>
                        <a:pt x="793" y="203"/>
                      </a:lnTo>
                      <a:lnTo>
                        <a:pt x="790" y="203"/>
                      </a:lnTo>
                      <a:lnTo>
                        <a:pt x="777" y="199"/>
                      </a:lnTo>
                      <a:lnTo>
                        <a:pt x="764" y="196"/>
                      </a:lnTo>
                      <a:lnTo>
                        <a:pt x="760" y="197"/>
                      </a:lnTo>
                      <a:lnTo>
                        <a:pt x="758" y="199"/>
                      </a:lnTo>
                      <a:lnTo>
                        <a:pt x="756" y="200"/>
                      </a:lnTo>
                      <a:lnTo>
                        <a:pt x="754" y="202"/>
                      </a:lnTo>
                      <a:lnTo>
                        <a:pt x="750" y="203"/>
                      </a:lnTo>
                      <a:lnTo>
                        <a:pt x="746" y="203"/>
                      </a:lnTo>
                      <a:lnTo>
                        <a:pt x="732" y="202"/>
                      </a:lnTo>
                      <a:lnTo>
                        <a:pt x="716" y="200"/>
                      </a:lnTo>
                      <a:lnTo>
                        <a:pt x="694" y="200"/>
                      </a:lnTo>
                      <a:lnTo>
                        <a:pt x="681" y="199"/>
                      </a:lnTo>
                      <a:lnTo>
                        <a:pt x="669" y="195"/>
                      </a:lnTo>
                      <a:lnTo>
                        <a:pt x="657" y="192"/>
                      </a:lnTo>
                      <a:lnTo>
                        <a:pt x="649" y="192"/>
                      </a:lnTo>
                      <a:lnTo>
                        <a:pt x="640" y="191"/>
                      </a:lnTo>
                      <a:lnTo>
                        <a:pt x="634" y="187"/>
                      </a:lnTo>
                      <a:lnTo>
                        <a:pt x="629" y="184"/>
                      </a:lnTo>
                      <a:lnTo>
                        <a:pt x="625" y="180"/>
                      </a:lnTo>
                      <a:lnTo>
                        <a:pt x="620" y="176"/>
                      </a:lnTo>
                      <a:lnTo>
                        <a:pt x="616" y="172"/>
                      </a:lnTo>
                      <a:lnTo>
                        <a:pt x="614" y="171"/>
                      </a:lnTo>
                      <a:lnTo>
                        <a:pt x="611" y="169"/>
                      </a:lnTo>
                      <a:lnTo>
                        <a:pt x="608" y="166"/>
                      </a:lnTo>
                      <a:lnTo>
                        <a:pt x="605" y="164"/>
                      </a:lnTo>
                      <a:lnTo>
                        <a:pt x="604" y="162"/>
                      </a:lnTo>
                      <a:lnTo>
                        <a:pt x="603" y="160"/>
                      </a:lnTo>
                      <a:lnTo>
                        <a:pt x="603" y="156"/>
                      </a:lnTo>
                      <a:lnTo>
                        <a:pt x="604" y="153"/>
                      </a:lnTo>
                      <a:lnTo>
                        <a:pt x="605" y="152"/>
                      </a:lnTo>
                      <a:lnTo>
                        <a:pt x="606" y="150"/>
                      </a:lnTo>
                      <a:lnTo>
                        <a:pt x="608" y="150"/>
                      </a:lnTo>
                      <a:lnTo>
                        <a:pt x="612" y="151"/>
                      </a:lnTo>
                      <a:lnTo>
                        <a:pt x="618" y="152"/>
                      </a:lnTo>
                      <a:lnTo>
                        <a:pt x="626" y="154"/>
                      </a:lnTo>
                      <a:lnTo>
                        <a:pt x="634" y="155"/>
                      </a:lnTo>
                      <a:lnTo>
                        <a:pt x="635" y="154"/>
                      </a:lnTo>
                      <a:lnTo>
                        <a:pt x="635" y="154"/>
                      </a:lnTo>
                      <a:lnTo>
                        <a:pt x="634" y="153"/>
                      </a:lnTo>
                      <a:lnTo>
                        <a:pt x="633" y="151"/>
                      </a:lnTo>
                      <a:lnTo>
                        <a:pt x="631" y="150"/>
                      </a:lnTo>
                      <a:lnTo>
                        <a:pt x="629" y="149"/>
                      </a:lnTo>
                      <a:lnTo>
                        <a:pt x="628" y="148"/>
                      </a:lnTo>
                      <a:lnTo>
                        <a:pt x="627" y="147"/>
                      </a:lnTo>
                      <a:lnTo>
                        <a:pt x="618" y="143"/>
                      </a:lnTo>
                      <a:lnTo>
                        <a:pt x="608" y="141"/>
                      </a:lnTo>
                      <a:lnTo>
                        <a:pt x="598" y="138"/>
                      </a:lnTo>
                      <a:lnTo>
                        <a:pt x="592" y="133"/>
                      </a:lnTo>
                      <a:lnTo>
                        <a:pt x="591" y="128"/>
                      </a:lnTo>
                      <a:lnTo>
                        <a:pt x="592" y="120"/>
                      </a:lnTo>
                      <a:lnTo>
                        <a:pt x="592" y="114"/>
                      </a:lnTo>
                      <a:lnTo>
                        <a:pt x="592" y="96"/>
                      </a:lnTo>
                      <a:lnTo>
                        <a:pt x="596" y="82"/>
                      </a:lnTo>
                      <a:lnTo>
                        <a:pt x="603" y="67"/>
                      </a:lnTo>
                      <a:lnTo>
                        <a:pt x="609" y="54"/>
                      </a:lnTo>
                      <a:lnTo>
                        <a:pt x="613" y="51"/>
                      </a:lnTo>
                      <a:lnTo>
                        <a:pt x="615" y="46"/>
                      </a:lnTo>
                      <a:lnTo>
                        <a:pt x="617" y="43"/>
                      </a:lnTo>
                      <a:lnTo>
                        <a:pt x="620" y="39"/>
                      </a:lnTo>
                      <a:lnTo>
                        <a:pt x="625" y="36"/>
                      </a:lnTo>
                      <a:lnTo>
                        <a:pt x="630" y="34"/>
                      </a:lnTo>
                      <a:lnTo>
                        <a:pt x="634" y="32"/>
                      </a:lnTo>
                      <a:lnTo>
                        <a:pt x="638" y="30"/>
                      </a:lnTo>
                      <a:lnTo>
                        <a:pt x="650" y="23"/>
                      </a:lnTo>
                      <a:lnTo>
                        <a:pt x="665" y="19"/>
                      </a:lnTo>
                      <a:lnTo>
                        <a:pt x="679" y="17"/>
                      </a:lnTo>
                      <a:close/>
                      <a:moveTo>
                        <a:pt x="2227" y="17"/>
                      </a:moveTo>
                      <a:lnTo>
                        <a:pt x="2228" y="18"/>
                      </a:lnTo>
                      <a:lnTo>
                        <a:pt x="2230" y="20"/>
                      </a:lnTo>
                      <a:lnTo>
                        <a:pt x="2231" y="24"/>
                      </a:lnTo>
                      <a:lnTo>
                        <a:pt x="2232" y="28"/>
                      </a:lnTo>
                      <a:lnTo>
                        <a:pt x="2232" y="31"/>
                      </a:lnTo>
                      <a:lnTo>
                        <a:pt x="2233" y="33"/>
                      </a:lnTo>
                      <a:lnTo>
                        <a:pt x="2233" y="35"/>
                      </a:lnTo>
                      <a:lnTo>
                        <a:pt x="2235" y="39"/>
                      </a:lnTo>
                      <a:lnTo>
                        <a:pt x="2237" y="42"/>
                      </a:lnTo>
                      <a:lnTo>
                        <a:pt x="2238" y="45"/>
                      </a:lnTo>
                      <a:lnTo>
                        <a:pt x="2238" y="47"/>
                      </a:lnTo>
                      <a:lnTo>
                        <a:pt x="2238" y="49"/>
                      </a:lnTo>
                      <a:lnTo>
                        <a:pt x="2238" y="49"/>
                      </a:lnTo>
                      <a:lnTo>
                        <a:pt x="2237" y="49"/>
                      </a:lnTo>
                      <a:lnTo>
                        <a:pt x="2237" y="47"/>
                      </a:lnTo>
                      <a:lnTo>
                        <a:pt x="2235" y="46"/>
                      </a:lnTo>
                      <a:lnTo>
                        <a:pt x="2234" y="46"/>
                      </a:lnTo>
                      <a:lnTo>
                        <a:pt x="2233" y="46"/>
                      </a:lnTo>
                      <a:lnTo>
                        <a:pt x="2233" y="46"/>
                      </a:lnTo>
                      <a:lnTo>
                        <a:pt x="2233" y="47"/>
                      </a:lnTo>
                      <a:lnTo>
                        <a:pt x="2233" y="54"/>
                      </a:lnTo>
                      <a:lnTo>
                        <a:pt x="2232" y="54"/>
                      </a:lnTo>
                      <a:lnTo>
                        <a:pt x="2231" y="53"/>
                      </a:lnTo>
                      <a:lnTo>
                        <a:pt x="2231" y="52"/>
                      </a:lnTo>
                      <a:lnTo>
                        <a:pt x="2230" y="52"/>
                      </a:lnTo>
                      <a:lnTo>
                        <a:pt x="2229" y="50"/>
                      </a:lnTo>
                      <a:lnTo>
                        <a:pt x="2228" y="47"/>
                      </a:lnTo>
                      <a:lnTo>
                        <a:pt x="2227" y="46"/>
                      </a:lnTo>
                      <a:lnTo>
                        <a:pt x="2227" y="45"/>
                      </a:lnTo>
                      <a:lnTo>
                        <a:pt x="2226" y="43"/>
                      </a:lnTo>
                      <a:lnTo>
                        <a:pt x="2224" y="42"/>
                      </a:lnTo>
                      <a:lnTo>
                        <a:pt x="2223" y="41"/>
                      </a:lnTo>
                      <a:lnTo>
                        <a:pt x="2223" y="40"/>
                      </a:lnTo>
                      <a:lnTo>
                        <a:pt x="2223" y="39"/>
                      </a:lnTo>
                      <a:lnTo>
                        <a:pt x="2223" y="38"/>
                      </a:lnTo>
                      <a:lnTo>
                        <a:pt x="2223" y="36"/>
                      </a:lnTo>
                      <a:lnTo>
                        <a:pt x="2223" y="34"/>
                      </a:lnTo>
                      <a:lnTo>
                        <a:pt x="2223" y="32"/>
                      </a:lnTo>
                      <a:lnTo>
                        <a:pt x="2222" y="30"/>
                      </a:lnTo>
                      <a:lnTo>
                        <a:pt x="2221" y="28"/>
                      </a:lnTo>
                      <a:lnTo>
                        <a:pt x="2221" y="27"/>
                      </a:lnTo>
                      <a:lnTo>
                        <a:pt x="2222" y="25"/>
                      </a:lnTo>
                      <a:lnTo>
                        <a:pt x="2222" y="23"/>
                      </a:lnTo>
                      <a:lnTo>
                        <a:pt x="2223" y="22"/>
                      </a:lnTo>
                      <a:lnTo>
                        <a:pt x="2224" y="20"/>
                      </a:lnTo>
                      <a:lnTo>
                        <a:pt x="2224" y="18"/>
                      </a:lnTo>
                      <a:lnTo>
                        <a:pt x="2226" y="17"/>
                      </a:lnTo>
                      <a:lnTo>
                        <a:pt x="2227" y="17"/>
                      </a:lnTo>
                      <a:close/>
                      <a:moveTo>
                        <a:pt x="1659" y="12"/>
                      </a:moveTo>
                      <a:lnTo>
                        <a:pt x="1661" y="12"/>
                      </a:lnTo>
                      <a:lnTo>
                        <a:pt x="1663" y="14"/>
                      </a:lnTo>
                      <a:lnTo>
                        <a:pt x="1665" y="18"/>
                      </a:lnTo>
                      <a:lnTo>
                        <a:pt x="1666" y="21"/>
                      </a:lnTo>
                      <a:lnTo>
                        <a:pt x="1667" y="24"/>
                      </a:lnTo>
                      <a:lnTo>
                        <a:pt x="1669" y="27"/>
                      </a:lnTo>
                      <a:lnTo>
                        <a:pt x="1670" y="30"/>
                      </a:lnTo>
                      <a:lnTo>
                        <a:pt x="1672" y="34"/>
                      </a:lnTo>
                      <a:lnTo>
                        <a:pt x="1674" y="39"/>
                      </a:lnTo>
                      <a:lnTo>
                        <a:pt x="1674" y="43"/>
                      </a:lnTo>
                      <a:lnTo>
                        <a:pt x="1674" y="44"/>
                      </a:lnTo>
                      <a:lnTo>
                        <a:pt x="1674" y="46"/>
                      </a:lnTo>
                      <a:lnTo>
                        <a:pt x="1673" y="47"/>
                      </a:lnTo>
                      <a:lnTo>
                        <a:pt x="1673" y="49"/>
                      </a:lnTo>
                      <a:lnTo>
                        <a:pt x="1672" y="49"/>
                      </a:lnTo>
                      <a:lnTo>
                        <a:pt x="1671" y="49"/>
                      </a:lnTo>
                      <a:lnTo>
                        <a:pt x="1670" y="45"/>
                      </a:lnTo>
                      <a:lnTo>
                        <a:pt x="1665" y="36"/>
                      </a:lnTo>
                      <a:lnTo>
                        <a:pt x="1660" y="28"/>
                      </a:lnTo>
                      <a:lnTo>
                        <a:pt x="1655" y="19"/>
                      </a:lnTo>
                      <a:lnTo>
                        <a:pt x="1655" y="17"/>
                      </a:lnTo>
                      <a:lnTo>
                        <a:pt x="1656" y="16"/>
                      </a:lnTo>
                      <a:lnTo>
                        <a:pt x="1656" y="13"/>
                      </a:lnTo>
                      <a:lnTo>
                        <a:pt x="1656" y="12"/>
                      </a:lnTo>
                      <a:lnTo>
                        <a:pt x="1658" y="12"/>
                      </a:lnTo>
                      <a:lnTo>
                        <a:pt x="1659" y="12"/>
                      </a:lnTo>
                      <a:close/>
                      <a:moveTo>
                        <a:pt x="537" y="10"/>
                      </a:moveTo>
                      <a:lnTo>
                        <a:pt x="548" y="12"/>
                      </a:lnTo>
                      <a:lnTo>
                        <a:pt x="551" y="12"/>
                      </a:lnTo>
                      <a:lnTo>
                        <a:pt x="554" y="13"/>
                      </a:lnTo>
                      <a:lnTo>
                        <a:pt x="557" y="13"/>
                      </a:lnTo>
                      <a:lnTo>
                        <a:pt x="560" y="14"/>
                      </a:lnTo>
                      <a:lnTo>
                        <a:pt x="563" y="14"/>
                      </a:lnTo>
                      <a:lnTo>
                        <a:pt x="580" y="14"/>
                      </a:lnTo>
                      <a:lnTo>
                        <a:pt x="585" y="13"/>
                      </a:lnTo>
                      <a:lnTo>
                        <a:pt x="592" y="14"/>
                      </a:lnTo>
                      <a:lnTo>
                        <a:pt x="597" y="17"/>
                      </a:lnTo>
                      <a:lnTo>
                        <a:pt x="600" y="21"/>
                      </a:lnTo>
                      <a:lnTo>
                        <a:pt x="596" y="27"/>
                      </a:lnTo>
                      <a:lnTo>
                        <a:pt x="590" y="31"/>
                      </a:lnTo>
                      <a:lnTo>
                        <a:pt x="582" y="33"/>
                      </a:lnTo>
                      <a:lnTo>
                        <a:pt x="579" y="34"/>
                      </a:lnTo>
                      <a:lnTo>
                        <a:pt x="578" y="35"/>
                      </a:lnTo>
                      <a:lnTo>
                        <a:pt x="576" y="35"/>
                      </a:lnTo>
                      <a:lnTo>
                        <a:pt x="576" y="36"/>
                      </a:lnTo>
                      <a:lnTo>
                        <a:pt x="576" y="38"/>
                      </a:lnTo>
                      <a:lnTo>
                        <a:pt x="576" y="40"/>
                      </a:lnTo>
                      <a:lnTo>
                        <a:pt x="576" y="42"/>
                      </a:lnTo>
                      <a:lnTo>
                        <a:pt x="575" y="44"/>
                      </a:lnTo>
                      <a:lnTo>
                        <a:pt x="574" y="46"/>
                      </a:lnTo>
                      <a:lnTo>
                        <a:pt x="573" y="47"/>
                      </a:lnTo>
                      <a:lnTo>
                        <a:pt x="572" y="51"/>
                      </a:lnTo>
                      <a:lnTo>
                        <a:pt x="569" y="53"/>
                      </a:lnTo>
                      <a:lnTo>
                        <a:pt x="567" y="55"/>
                      </a:lnTo>
                      <a:lnTo>
                        <a:pt x="563" y="58"/>
                      </a:lnTo>
                      <a:lnTo>
                        <a:pt x="561" y="61"/>
                      </a:lnTo>
                      <a:lnTo>
                        <a:pt x="560" y="64"/>
                      </a:lnTo>
                      <a:lnTo>
                        <a:pt x="559" y="67"/>
                      </a:lnTo>
                      <a:lnTo>
                        <a:pt x="558" y="69"/>
                      </a:lnTo>
                      <a:lnTo>
                        <a:pt x="557" y="72"/>
                      </a:lnTo>
                      <a:lnTo>
                        <a:pt x="552" y="75"/>
                      </a:lnTo>
                      <a:lnTo>
                        <a:pt x="547" y="75"/>
                      </a:lnTo>
                      <a:lnTo>
                        <a:pt x="540" y="73"/>
                      </a:lnTo>
                      <a:lnTo>
                        <a:pt x="534" y="71"/>
                      </a:lnTo>
                      <a:lnTo>
                        <a:pt x="528" y="69"/>
                      </a:lnTo>
                      <a:lnTo>
                        <a:pt x="526" y="69"/>
                      </a:lnTo>
                      <a:lnTo>
                        <a:pt x="525" y="71"/>
                      </a:lnTo>
                      <a:lnTo>
                        <a:pt x="525" y="72"/>
                      </a:lnTo>
                      <a:lnTo>
                        <a:pt x="525" y="73"/>
                      </a:lnTo>
                      <a:lnTo>
                        <a:pt x="526" y="74"/>
                      </a:lnTo>
                      <a:lnTo>
                        <a:pt x="527" y="75"/>
                      </a:lnTo>
                      <a:lnTo>
                        <a:pt x="528" y="76"/>
                      </a:lnTo>
                      <a:lnTo>
                        <a:pt x="529" y="77"/>
                      </a:lnTo>
                      <a:lnTo>
                        <a:pt x="530" y="78"/>
                      </a:lnTo>
                      <a:lnTo>
                        <a:pt x="532" y="84"/>
                      </a:lnTo>
                      <a:lnTo>
                        <a:pt x="531" y="92"/>
                      </a:lnTo>
                      <a:lnTo>
                        <a:pt x="526" y="97"/>
                      </a:lnTo>
                      <a:lnTo>
                        <a:pt x="519" y="103"/>
                      </a:lnTo>
                      <a:lnTo>
                        <a:pt x="511" y="107"/>
                      </a:lnTo>
                      <a:lnTo>
                        <a:pt x="504" y="110"/>
                      </a:lnTo>
                      <a:lnTo>
                        <a:pt x="500" y="109"/>
                      </a:lnTo>
                      <a:lnTo>
                        <a:pt x="498" y="108"/>
                      </a:lnTo>
                      <a:lnTo>
                        <a:pt x="496" y="106"/>
                      </a:lnTo>
                      <a:lnTo>
                        <a:pt x="494" y="103"/>
                      </a:lnTo>
                      <a:lnTo>
                        <a:pt x="493" y="100"/>
                      </a:lnTo>
                      <a:lnTo>
                        <a:pt x="492" y="97"/>
                      </a:lnTo>
                      <a:lnTo>
                        <a:pt x="491" y="95"/>
                      </a:lnTo>
                      <a:lnTo>
                        <a:pt x="491" y="93"/>
                      </a:lnTo>
                      <a:lnTo>
                        <a:pt x="489" y="83"/>
                      </a:lnTo>
                      <a:lnTo>
                        <a:pt x="492" y="72"/>
                      </a:lnTo>
                      <a:lnTo>
                        <a:pt x="493" y="61"/>
                      </a:lnTo>
                      <a:lnTo>
                        <a:pt x="494" y="54"/>
                      </a:lnTo>
                      <a:lnTo>
                        <a:pt x="496" y="49"/>
                      </a:lnTo>
                      <a:lnTo>
                        <a:pt x="499" y="43"/>
                      </a:lnTo>
                      <a:lnTo>
                        <a:pt x="506" y="40"/>
                      </a:lnTo>
                      <a:lnTo>
                        <a:pt x="508" y="39"/>
                      </a:lnTo>
                      <a:lnTo>
                        <a:pt x="509" y="38"/>
                      </a:lnTo>
                      <a:lnTo>
                        <a:pt x="509" y="35"/>
                      </a:lnTo>
                      <a:lnTo>
                        <a:pt x="509" y="34"/>
                      </a:lnTo>
                      <a:lnTo>
                        <a:pt x="507" y="32"/>
                      </a:lnTo>
                      <a:lnTo>
                        <a:pt x="506" y="31"/>
                      </a:lnTo>
                      <a:lnTo>
                        <a:pt x="505" y="29"/>
                      </a:lnTo>
                      <a:lnTo>
                        <a:pt x="504" y="27"/>
                      </a:lnTo>
                      <a:lnTo>
                        <a:pt x="503" y="25"/>
                      </a:lnTo>
                      <a:lnTo>
                        <a:pt x="503" y="23"/>
                      </a:lnTo>
                      <a:lnTo>
                        <a:pt x="504" y="22"/>
                      </a:lnTo>
                      <a:lnTo>
                        <a:pt x="506" y="20"/>
                      </a:lnTo>
                      <a:lnTo>
                        <a:pt x="509" y="19"/>
                      </a:lnTo>
                      <a:lnTo>
                        <a:pt x="511" y="18"/>
                      </a:lnTo>
                      <a:lnTo>
                        <a:pt x="515" y="17"/>
                      </a:lnTo>
                      <a:lnTo>
                        <a:pt x="526" y="12"/>
                      </a:lnTo>
                      <a:lnTo>
                        <a:pt x="537" y="10"/>
                      </a:lnTo>
                      <a:close/>
                      <a:moveTo>
                        <a:pt x="2196" y="10"/>
                      </a:moveTo>
                      <a:lnTo>
                        <a:pt x="2197" y="10"/>
                      </a:lnTo>
                      <a:lnTo>
                        <a:pt x="2198" y="11"/>
                      </a:lnTo>
                      <a:lnTo>
                        <a:pt x="2199" y="12"/>
                      </a:lnTo>
                      <a:lnTo>
                        <a:pt x="2199" y="14"/>
                      </a:lnTo>
                      <a:lnTo>
                        <a:pt x="2199" y="16"/>
                      </a:lnTo>
                      <a:lnTo>
                        <a:pt x="2198" y="17"/>
                      </a:lnTo>
                      <a:lnTo>
                        <a:pt x="2198" y="17"/>
                      </a:lnTo>
                      <a:lnTo>
                        <a:pt x="2197" y="16"/>
                      </a:lnTo>
                      <a:lnTo>
                        <a:pt x="2196" y="14"/>
                      </a:lnTo>
                      <a:lnTo>
                        <a:pt x="2196" y="13"/>
                      </a:lnTo>
                      <a:lnTo>
                        <a:pt x="2195" y="11"/>
                      </a:lnTo>
                      <a:lnTo>
                        <a:pt x="2196" y="10"/>
                      </a:lnTo>
                      <a:lnTo>
                        <a:pt x="2196" y="10"/>
                      </a:lnTo>
                      <a:close/>
                      <a:moveTo>
                        <a:pt x="2074" y="9"/>
                      </a:moveTo>
                      <a:lnTo>
                        <a:pt x="2075" y="10"/>
                      </a:lnTo>
                      <a:lnTo>
                        <a:pt x="2078" y="11"/>
                      </a:lnTo>
                      <a:lnTo>
                        <a:pt x="2080" y="12"/>
                      </a:lnTo>
                      <a:lnTo>
                        <a:pt x="2082" y="12"/>
                      </a:lnTo>
                      <a:lnTo>
                        <a:pt x="2082" y="17"/>
                      </a:lnTo>
                      <a:lnTo>
                        <a:pt x="2080" y="17"/>
                      </a:lnTo>
                      <a:lnTo>
                        <a:pt x="2078" y="14"/>
                      </a:lnTo>
                      <a:lnTo>
                        <a:pt x="2075" y="12"/>
                      </a:lnTo>
                      <a:lnTo>
                        <a:pt x="2074" y="11"/>
                      </a:lnTo>
                      <a:lnTo>
                        <a:pt x="2074" y="10"/>
                      </a:lnTo>
                      <a:lnTo>
                        <a:pt x="2074" y="9"/>
                      </a:lnTo>
                      <a:lnTo>
                        <a:pt x="2074" y="9"/>
                      </a:lnTo>
                      <a:close/>
                      <a:moveTo>
                        <a:pt x="2147" y="1"/>
                      </a:moveTo>
                      <a:lnTo>
                        <a:pt x="2150" y="1"/>
                      </a:lnTo>
                      <a:lnTo>
                        <a:pt x="2151" y="1"/>
                      </a:lnTo>
                      <a:lnTo>
                        <a:pt x="2153" y="1"/>
                      </a:lnTo>
                      <a:lnTo>
                        <a:pt x="2154" y="2"/>
                      </a:lnTo>
                      <a:lnTo>
                        <a:pt x="2156" y="3"/>
                      </a:lnTo>
                      <a:lnTo>
                        <a:pt x="2156" y="8"/>
                      </a:lnTo>
                      <a:lnTo>
                        <a:pt x="2152" y="6"/>
                      </a:lnTo>
                      <a:lnTo>
                        <a:pt x="2150" y="3"/>
                      </a:lnTo>
                      <a:lnTo>
                        <a:pt x="2148" y="2"/>
                      </a:lnTo>
                      <a:lnTo>
                        <a:pt x="2147" y="1"/>
                      </a:lnTo>
                      <a:close/>
                      <a:moveTo>
                        <a:pt x="1897" y="0"/>
                      </a:moveTo>
                      <a:lnTo>
                        <a:pt x="1897" y="0"/>
                      </a:lnTo>
                      <a:lnTo>
                        <a:pt x="1899" y="1"/>
                      </a:lnTo>
                      <a:lnTo>
                        <a:pt x="1900" y="3"/>
                      </a:lnTo>
                      <a:lnTo>
                        <a:pt x="1903" y="5"/>
                      </a:lnTo>
                      <a:lnTo>
                        <a:pt x="1905" y="7"/>
                      </a:lnTo>
                      <a:lnTo>
                        <a:pt x="1906" y="9"/>
                      </a:lnTo>
                      <a:lnTo>
                        <a:pt x="1909" y="12"/>
                      </a:lnTo>
                      <a:lnTo>
                        <a:pt x="1910" y="14"/>
                      </a:lnTo>
                      <a:lnTo>
                        <a:pt x="1912" y="17"/>
                      </a:lnTo>
                      <a:lnTo>
                        <a:pt x="1913" y="19"/>
                      </a:lnTo>
                      <a:lnTo>
                        <a:pt x="1914" y="22"/>
                      </a:lnTo>
                      <a:lnTo>
                        <a:pt x="1914" y="22"/>
                      </a:lnTo>
                      <a:lnTo>
                        <a:pt x="1915" y="24"/>
                      </a:lnTo>
                      <a:lnTo>
                        <a:pt x="1917" y="25"/>
                      </a:lnTo>
                      <a:lnTo>
                        <a:pt x="1918" y="28"/>
                      </a:lnTo>
                      <a:lnTo>
                        <a:pt x="1920" y="29"/>
                      </a:lnTo>
                      <a:lnTo>
                        <a:pt x="1920" y="30"/>
                      </a:lnTo>
                      <a:lnTo>
                        <a:pt x="1920" y="31"/>
                      </a:lnTo>
                      <a:lnTo>
                        <a:pt x="1920" y="31"/>
                      </a:lnTo>
                      <a:lnTo>
                        <a:pt x="1918" y="30"/>
                      </a:lnTo>
                      <a:lnTo>
                        <a:pt x="1916" y="29"/>
                      </a:lnTo>
                      <a:lnTo>
                        <a:pt x="1914" y="24"/>
                      </a:lnTo>
                      <a:lnTo>
                        <a:pt x="1912" y="21"/>
                      </a:lnTo>
                      <a:lnTo>
                        <a:pt x="1909" y="17"/>
                      </a:lnTo>
                      <a:lnTo>
                        <a:pt x="1905" y="12"/>
                      </a:lnTo>
                      <a:lnTo>
                        <a:pt x="1903" y="11"/>
                      </a:lnTo>
                      <a:lnTo>
                        <a:pt x="1901" y="9"/>
                      </a:lnTo>
                      <a:lnTo>
                        <a:pt x="1899" y="7"/>
                      </a:lnTo>
                      <a:lnTo>
                        <a:pt x="1897" y="5"/>
                      </a:lnTo>
                      <a:lnTo>
                        <a:pt x="1896" y="3"/>
                      </a:lnTo>
                      <a:lnTo>
                        <a:pt x="1896" y="2"/>
                      </a:lnTo>
                      <a:lnTo>
                        <a:pt x="1896" y="1"/>
                      </a:lnTo>
                      <a:lnTo>
                        <a:pt x="1897"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40" name="Freeform 37"/>
                <p:cNvSpPr>
                  <a:spLocks noEditPoints="1"/>
                </p:cNvSpPr>
                <p:nvPr/>
              </p:nvSpPr>
              <p:spPr bwMode="auto">
                <a:xfrm>
                  <a:off x="5656" y="667"/>
                  <a:ext cx="304" cy="155"/>
                </a:xfrm>
                <a:custGeom>
                  <a:avLst/>
                  <a:gdLst>
                    <a:gd name="T0" fmla="*/ 2064 w 2128"/>
                    <a:gd name="T1" fmla="*/ 478 h 1086"/>
                    <a:gd name="T2" fmla="*/ 1956 w 2128"/>
                    <a:gd name="T3" fmla="*/ 421 h 1086"/>
                    <a:gd name="T4" fmla="*/ 2104 w 2128"/>
                    <a:gd name="T5" fmla="*/ 456 h 1086"/>
                    <a:gd name="T6" fmla="*/ 2084 w 2128"/>
                    <a:gd name="T7" fmla="*/ 446 h 1086"/>
                    <a:gd name="T8" fmla="*/ 2115 w 2128"/>
                    <a:gd name="T9" fmla="*/ 411 h 1086"/>
                    <a:gd name="T10" fmla="*/ 269 w 2128"/>
                    <a:gd name="T11" fmla="*/ 403 h 1086"/>
                    <a:gd name="T12" fmla="*/ 1838 w 2128"/>
                    <a:gd name="T13" fmla="*/ 404 h 1086"/>
                    <a:gd name="T14" fmla="*/ 1887 w 2128"/>
                    <a:gd name="T15" fmla="*/ 472 h 1086"/>
                    <a:gd name="T16" fmla="*/ 1853 w 2128"/>
                    <a:gd name="T17" fmla="*/ 480 h 1086"/>
                    <a:gd name="T18" fmla="*/ 1824 w 2128"/>
                    <a:gd name="T19" fmla="*/ 418 h 1086"/>
                    <a:gd name="T20" fmla="*/ 1876 w 2128"/>
                    <a:gd name="T21" fmla="*/ 383 h 1086"/>
                    <a:gd name="T22" fmla="*/ 1899 w 2128"/>
                    <a:gd name="T23" fmla="*/ 439 h 1086"/>
                    <a:gd name="T24" fmla="*/ 1855 w 2128"/>
                    <a:gd name="T25" fmla="*/ 385 h 1086"/>
                    <a:gd name="T26" fmla="*/ 699 w 2128"/>
                    <a:gd name="T27" fmla="*/ 339 h 1086"/>
                    <a:gd name="T28" fmla="*/ 221 w 2128"/>
                    <a:gd name="T29" fmla="*/ 369 h 1086"/>
                    <a:gd name="T30" fmla="*/ 143 w 2128"/>
                    <a:gd name="T31" fmla="*/ 427 h 1086"/>
                    <a:gd name="T32" fmla="*/ 94 w 2128"/>
                    <a:gd name="T33" fmla="*/ 401 h 1086"/>
                    <a:gd name="T34" fmla="*/ 197 w 2128"/>
                    <a:gd name="T35" fmla="*/ 386 h 1086"/>
                    <a:gd name="T36" fmla="*/ 365 w 2128"/>
                    <a:gd name="T37" fmla="*/ 395 h 1086"/>
                    <a:gd name="T38" fmla="*/ 123 w 2128"/>
                    <a:gd name="T39" fmla="*/ 314 h 1086"/>
                    <a:gd name="T40" fmla="*/ 36 w 2128"/>
                    <a:gd name="T41" fmla="*/ 414 h 1086"/>
                    <a:gd name="T42" fmla="*/ 1551 w 2128"/>
                    <a:gd name="T43" fmla="*/ 320 h 1086"/>
                    <a:gd name="T44" fmla="*/ 261 w 2128"/>
                    <a:gd name="T45" fmla="*/ 298 h 1086"/>
                    <a:gd name="T46" fmla="*/ 502 w 2128"/>
                    <a:gd name="T47" fmla="*/ 284 h 1086"/>
                    <a:gd name="T48" fmla="*/ 434 w 2128"/>
                    <a:gd name="T49" fmla="*/ 260 h 1086"/>
                    <a:gd name="T50" fmla="*/ 441 w 2128"/>
                    <a:gd name="T51" fmla="*/ 222 h 1086"/>
                    <a:gd name="T52" fmla="*/ 393 w 2128"/>
                    <a:gd name="T53" fmla="*/ 217 h 1086"/>
                    <a:gd name="T54" fmla="*/ 347 w 2128"/>
                    <a:gd name="T55" fmla="*/ 254 h 1086"/>
                    <a:gd name="T56" fmla="*/ 401 w 2128"/>
                    <a:gd name="T57" fmla="*/ 163 h 1086"/>
                    <a:gd name="T58" fmla="*/ 1311 w 2128"/>
                    <a:gd name="T59" fmla="*/ 28 h 1086"/>
                    <a:gd name="T60" fmla="*/ 1367 w 2128"/>
                    <a:gd name="T61" fmla="*/ 73 h 1086"/>
                    <a:gd name="T62" fmla="*/ 1304 w 2128"/>
                    <a:gd name="T63" fmla="*/ 123 h 1086"/>
                    <a:gd name="T64" fmla="*/ 1431 w 2128"/>
                    <a:gd name="T65" fmla="*/ 149 h 1086"/>
                    <a:gd name="T66" fmla="*/ 1481 w 2128"/>
                    <a:gd name="T67" fmla="*/ 173 h 1086"/>
                    <a:gd name="T68" fmla="*/ 1538 w 2128"/>
                    <a:gd name="T69" fmla="*/ 216 h 1086"/>
                    <a:gd name="T70" fmla="*/ 1511 w 2128"/>
                    <a:gd name="T71" fmla="*/ 253 h 1086"/>
                    <a:gd name="T72" fmla="*/ 1527 w 2128"/>
                    <a:gd name="T73" fmla="*/ 306 h 1086"/>
                    <a:gd name="T74" fmla="*/ 1552 w 2128"/>
                    <a:gd name="T75" fmla="*/ 401 h 1086"/>
                    <a:gd name="T76" fmla="*/ 1564 w 2128"/>
                    <a:gd name="T77" fmla="*/ 456 h 1086"/>
                    <a:gd name="T78" fmla="*/ 1591 w 2128"/>
                    <a:gd name="T79" fmla="*/ 533 h 1086"/>
                    <a:gd name="T80" fmla="*/ 1549 w 2128"/>
                    <a:gd name="T81" fmla="*/ 591 h 1086"/>
                    <a:gd name="T82" fmla="*/ 1546 w 2128"/>
                    <a:gd name="T83" fmla="*/ 653 h 1086"/>
                    <a:gd name="T84" fmla="*/ 1559 w 2128"/>
                    <a:gd name="T85" fmla="*/ 702 h 1086"/>
                    <a:gd name="T86" fmla="*/ 1503 w 2128"/>
                    <a:gd name="T87" fmla="*/ 789 h 1086"/>
                    <a:gd name="T88" fmla="*/ 1416 w 2128"/>
                    <a:gd name="T89" fmla="*/ 866 h 1086"/>
                    <a:gd name="T90" fmla="*/ 1388 w 2128"/>
                    <a:gd name="T91" fmla="*/ 979 h 1086"/>
                    <a:gd name="T92" fmla="*/ 1313 w 2128"/>
                    <a:gd name="T93" fmla="*/ 1046 h 1086"/>
                    <a:gd name="T94" fmla="*/ 1191 w 2128"/>
                    <a:gd name="T95" fmla="*/ 800 h 1086"/>
                    <a:gd name="T96" fmla="*/ 1192 w 2128"/>
                    <a:gd name="T97" fmla="*/ 731 h 1086"/>
                    <a:gd name="T98" fmla="*/ 1150 w 2128"/>
                    <a:gd name="T99" fmla="*/ 667 h 1086"/>
                    <a:gd name="T100" fmla="*/ 1161 w 2128"/>
                    <a:gd name="T101" fmla="*/ 570 h 1086"/>
                    <a:gd name="T102" fmla="*/ 1109 w 2128"/>
                    <a:gd name="T103" fmla="*/ 483 h 1086"/>
                    <a:gd name="T104" fmla="*/ 937 w 2128"/>
                    <a:gd name="T105" fmla="*/ 340 h 1086"/>
                    <a:gd name="T106" fmla="*/ 826 w 2128"/>
                    <a:gd name="T107" fmla="*/ 291 h 1086"/>
                    <a:gd name="T108" fmla="*/ 844 w 2128"/>
                    <a:gd name="T109" fmla="*/ 263 h 1086"/>
                    <a:gd name="T110" fmla="*/ 904 w 2128"/>
                    <a:gd name="T111" fmla="*/ 158 h 1086"/>
                    <a:gd name="T112" fmla="*/ 896 w 2128"/>
                    <a:gd name="T113" fmla="*/ 100 h 1086"/>
                    <a:gd name="T114" fmla="*/ 960 w 2128"/>
                    <a:gd name="T115" fmla="*/ 44 h 1086"/>
                    <a:gd name="T116" fmla="*/ 1049 w 2128"/>
                    <a:gd name="T117" fmla="*/ 47 h 1086"/>
                    <a:gd name="T118" fmla="*/ 1137 w 2128"/>
                    <a:gd name="T119" fmla="*/ 71 h 1086"/>
                    <a:gd name="T120" fmla="*/ 1194 w 2128"/>
                    <a:gd name="T121" fmla="*/ 45 h 1086"/>
                    <a:gd name="T122" fmla="*/ 1142 w 2128"/>
                    <a:gd name="T123" fmla="*/ 9 h 1086"/>
                    <a:gd name="T124" fmla="*/ 1210 w 2128"/>
                    <a:gd name="T125" fmla="*/ 23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8" h="1086">
                      <a:moveTo>
                        <a:pt x="2056" y="426"/>
                      </a:moveTo>
                      <a:lnTo>
                        <a:pt x="2056" y="427"/>
                      </a:lnTo>
                      <a:lnTo>
                        <a:pt x="2056" y="427"/>
                      </a:lnTo>
                      <a:lnTo>
                        <a:pt x="2056" y="427"/>
                      </a:lnTo>
                      <a:lnTo>
                        <a:pt x="2056" y="426"/>
                      </a:lnTo>
                      <a:close/>
                      <a:moveTo>
                        <a:pt x="2034" y="426"/>
                      </a:moveTo>
                      <a:lnTo>
                        <a:pt x="2037" y="427"/>
                      </a:lnTo>
                      <a:lnTo>
                        <a:pt x="2039" y="427"/>
                      </a:lnTo>
                      <a:lnTo>
                        <a:pt x="2041" y="428"/>
                      </a:lnTo>
                      <a:lnTo>
                        <a:pt x="2043" y="429"/>
                      </a:lnTo>
                      <a:lnTo>
                        <a:pt x="2045" y="432"/>
                      </a:lnTo>
                      <a:lnTo>
                        <a:pt x="2048" y="434"/>
                      </a:lnTo>
                      <a:lnTo>
                        <a:pt x="2050" y="436"/>
                      </a:lnTo>
                      <a:lnTo>
                        <a:pt x="2053" y="438"/>
                      </a:lnTo>
                      <a:lnTo>
                        <a:pt x="2054" y="438"/>
                      </a:lnTo>
                      <a:lnTo>
                        <a:pt x="2055" y="438"/>
                      </a:lnTo>
                      <a:lnTo>
                        <a:pt x="2056" y="439"/>
                      </a:lnTo>
                      <a:lnTo>
                        <a:pt x="2057" y="438"/>
                      </a:lnTo>
                      <a:lnTo>
                        <a:pt x="2057" y="438"/>
                      </a:lnTo>
                      <a:lnTo>
                        <a:pt x="2057" y="436"/>
                      </a:lnTo>
                      <a:lnTo>
                        <a:pt x="2057" y="435"/>
                      </a:lnTo>
                      <a:lnTo>
                        <a:pt x="2056" y="434"/>
                      </a:lnTo>
                      <a:lnTo>
                        <a:pt x="2056" y="434"/>
                      </a:lnTo>
                      <a:lnTo>
                        <a:pt x="2057" y="434"/>
                      </a:lnTo>
                      <a:lnTo>
                        <a:pt x="2057" y="433"/>
                      </a:lnTo>
                      <a:lnTo>
                        <a:pt x="2059" y="433"/>
                      </a:lnTo>
                      <a:lnTo>
                        <a:pt x="2060" y="434"/>
                      </a:lnTo>
                      <a:lnTo>
                        <a:pt x="2062" y="435"/>
                      </a:lnTo>
                      <a:lnTo>
                        <a:pt x="2063" y="437"/>
                      </a:lnTo>
                      <a:lnTo>
                        <a:pt x="2064" y="438"/>
                      </a:lnTo>
                      <a:lnTo>
                        <a:pt x="2064" y="440"/>
                      </a:lnTo>
                      <a:lnTo>
                        <a:pt x="2065" y="443"/>
                      </a:lnTo>
                      <a:lnTo>
                        <a:pt x="2066" y="445"/>
                      </a:lnTo>
                      <a:lnTo>
                        <a:pt x="2066" y="447"/>
                      </a:lnTo>
                      <a:lnTo>
                        <a:pt x="2067" y="448"/>
                      </a:lnTo>
                      <a:lnTo>
                        <a:pt x="2069" y="449"/>
                      </a:lnTo>
                      <a:lnTo>
                        <a:pt x="2070" y="451"/>
                      </a:lnTo>
                      <a:lnTo>
                        <a:pt x="2071" y="454"/>
                      </a:lnTo>
                      <a:lnTo>
                        <a:pt x="2072" y="456"/>
                      </a:lnTo>
                      <a:lnTo>
                        <a:pt x="2072" y="457"/>
                      </a:lnTo>
                      <a:lnTo>
                        <a:pt x="2072" y="458"/>
                      </a:lnTo>
                      <a:lnTo>
                        <a:pt x="2071" y="459"/>
                      </a:lnTo>
                      <a:lnTo>
                        <a:pt x="2070" y="460"/>
                      </a:lnTo>
                      <a:lnTo>
                        <a:pt x="2069" y="460"/>
                      </a:lnTo>
                      <a:lnTo>
                        <a:pt x="2067" y="459"/>
                      </a:lnTo>
                      <a:lnTo>
                        <a:pt x="2066" y="459"/>
                      </a:lnTo>
                      <a:lnTo>
                        <a:pt x="2066" y="460"/>
                      </a:lnTo>
                      <a:lnTo>
                        <a:pt x="2067" y="462"/>
                      </a:lnTo>
                      <a:lnTo>
                        <a:pt x="2069" y="465"/>
                      </a:lnTo>
                      <a:lnTo>
                        <a:pt x="2069" y="467"/>
                      </a:lnTo>
                      <a:lnTo>
                        <a:pt x="2070" y="468"/>
                      </a:lnTo>
                      <a:lnTo>
                        <a:pt x="2069" y="468"/>
                      </a:lnTo>
                      <a:lnTo>
                        <a:pt x="2069" y="468"/>
                      </a:lnTo>
                      <a:lnTo>
                        <a:pt x="2067" y="467"/>
                      </a:lnTo>
                      <a:lnTo>
                        <a:pt x="2065" y="466"/>
                      </a:lnTo>
                      <a:lnTo>
                        <a:pt x="2064" y="465"/>
                      </a:lnTo>
                      <a:lnTo>
                        <a:pt x="2063" y="464"/>
                      </a:lnTo>
                      <a:lnTo>
                        <a:pt x="2062" y="464"/>
                      </a:lnTo>
                      <a:lnTo>
                        <a:pt x="2061" y="464"/>
                      </a:lnTo>
                      <a:lnTo>
                        <a:pt x="2061" y="465"/>
                      </a:lnTo>
                      <a:lnTo>
                        <a:pt x="2062" y="467"/>
                      </a:lnTo>
                      <a:lnTo>
                        <a:pt x="2063" y="468"/>
                      </a:lnTo>
                      <a:lnTo>
                        <a:pt x="2064" y="470"/>
                      </a:lnTo>
                      <a:lnTo>
                        <a:pt x="2065" y="472"/>
                      </a:lnTo>
                      <a:lnTo>
                        <a:pt x="2065" y="475"/>
                      </a:lnTo>
                      <a:lnTo>
                        <a:pt x="2064" y="476"/>
                      </a:lnTo>
                      <a:lnTo>
                        <a:pt x="2064" y="478"/>
                      </a:lnTo>
                      <a:lnTo>
                        <a:pt x="2064" y="479"/>
                      </a:lnTo>
                      <a:lnTo>
                        <a:pt x="2063" y="479"/>
                      </a:lnTo>
                      <a:lnTo>
                        <a:pt x="2062" y="478"/>
                      </a:lnTo>
                      <a:lnTo>
                        <a:pt x="2061" y="477"/>
                      </a:lnTo>
                      <a:lnTo>
                        <a:pt x="2060" y="476"/>
                      </a:lnTo>
                      <a:lnTo>
                        <a:pt x="2057" y="472"/>
                      </a:lnTo>
                      <a:lnTo>
                        <a:pt x="2055" y="469"/>
                      </a:lnTo>
                      <a:lnTo>
                        <a:pt x="2053" y="467"/>
                      </a:lnTo>
                      <a:lnTo>
                        <a:pt x="2052" y="465"/>
                      </a:lnTo>
                      <a:lnTo>
                        <a:pt x="2050" y="462"/>
                      </a:lnTo>
                      <a:lnTo>
                        <a:pt x="2050" y="460"/>
                      </a:lnTo>
                      <a:lnTo>
                        <a:pt x="2050" y="458"/>
                      </a:lnTo>
                      <a:lnTo>
                        <a:pt x="2050" y="456"/>
                      </a:lnTo>
                      <a:lnTo>
                        <a:pt x="2049" y="454"/>
                      </a:lnTo>
                      <a:lnTo>
                        <a:pt x="2048" y="451"/>
                      </a:lnTo>
                      <a:lnTo>
                        <a:pt x="2045" y="449"/>
                      </a:lnTo>
                      <a:lnTo>
                        <a:pt x="2045" y="447"/>
                      </a:lnTo>
                      <a:lnTo>
                        <a:pt x="2044" y="445"/>
                      </a:lnTo>
                      <a:lnTo>
                        <a:pt x="2043" y="443"/>
                      </a:lnTo>
                      <a:lnTo>
                        <a:pt x="2043" y="442"/>
                      </a:lnTo>
                      <a:lnTo>
                        <a:pt x="2042" y="440"/>
                      </a:lnTo>
                      <a:lnTo>
                        <a:pt x="2042" y="439"/>
                      </a:lnTo>
                      <a:lnTo>
                        <a:pt x="2041" y="440"/>
                      </a:lnTo>
                      <a:lnTo>
                        <a:pt x="2041" y="443"/>
                      </a:lnTo>
                      <a:lnTo>
                        <a:pt x="2041" y="444"/>
                      </a:lnTo>
                      <a:lnTo>
                        <a:pt x="2042" y="446"/>
                      </a:lnTo>
                      <a:lnTo>
                        <a:pt x="2042" y="447"/>
                      </a:lnTo>
                      <a:lnTo>
                        <a:pt x="2041" y="449"/>
                      </a:lnTo>
                      <a:lnTo>
                        <a:pt x="2041" y="450"/>
                      </a:lnTo>
                      <a:lnTo>
                        <a:pt x="2039" y="449"/>
                      </a:lnTo>
                      <a:lnTo>
                        <a:pt x="2038" y="449"/>
                      </a:lnTo>
                      <a:lnTo>
                        <a:pt x="2035" y="447"/>
                      </a:lnTo>
                      <a:lnTo>
                        <a:pt x="2034" y="445"/>
                      </a:lnTo>
                      <a:lnTo>
                        <a:pt x="2031" y="440"/>
                      </a:lnTo>
                      <a:lnTo>
                        <a:pt x="2030" y="437"/>
                      </a:lnTo>
                      <a:lnTo>
                        <a:pt x="2029" y="435"/>
                      </a:lnTo>
                      <a:lnTo>
                        <a:pt x="2029" y="432"/>
                      </a:lnTo>
                      <a:lnTo>
                        <a:pt x="2030" y="429"/>
                      </a:lnTo>
                      <a:lnTo>
                        <a:pt x="2031" y="427"/>
                      </a:lnTo>
                      <a:lnTo>
                        <a:pt x="2032" y="426"/>
                      </a:lnTo>
                      <a:lnTo>
                        <a:pt x="2033" y="426"/>
                      </a:lnTo>
                      <a:lnTo>
                        <a:pt x="2034" y="426"/>
                      </a:lnTo>
                      <a:close/>
                      <a:moveTo>
                        <a:pt x="1956" y="420"/>
                      </a:moveTo>
                      <a:lnTo>
                        <a:pt x="1957" y="420"/>
                      </a:lnTo>
                      <a:lnTo>
                        <a:pt x="1960" y="421"/>
                      </a:lnTo>
                      <a:lnTo>
                        <a:pt x="1961" y="423"/>
                      </a:lnTo>
                      <a:lnTo>
                        <a:pt x="1962" y="425"/>
                      </a:lnTo>
                      <a:lnTo>
                        <a:pt x="1962" y="428"/>
                      </a:lnTo>
                      <a:lnTo>
                        <a:pt x="1960" y="429"/>
                      </a:lnTo>
                      <a:lnTo>
                        <a:pt x="1958" y="431"/>
                      </a:lnTo>
                      <a:lnTo>
                        <a:pt x="1957" y="431"/>
                      </a:lnTo>
                      <a:lnTo>
                        <a:pt x="1956" y="431"/>
                      </a:lnTo>
                      <a:lnTo>
                        <a:pt x="1955" y="432"/>
                      </a:lnTo>
                      <a:lnTo>
                        <a:pt x="1954" y="432"/>
                      </a:lnTo>
                      <a:lnTo>
                        <a:pt x="1953" y="432"/>
                      </a:lnTo>
                      <a:lnTo>
                        <a:pt x="1951" y="431"/>
                      </a:lnTo>
                      <a:lnTo>
                        <a:pt x="1945" y="423"/>
                      </a:lnTo>
                      <a:lnTo>
                        <a:pt x="1945" y="422"/>
                      </a:lnTo>
                      <a:lnTo>
                        <a:pt x="1946" y="421"/>
                      </a:lnTo>
                      <a:lnTo>
                        <a:pt x="1949" y="421"/>
                      </a:lnTo>
                      <a:lnTo>
                        <a:pt x="1951" y="422"/>
                      </a:lnTo>
                      <a:lnTo>
                        <a:pt x="1952" y="422"/>
                      </a:lnTo>
                      <a:lnTo>
                        <a:pt x="1954" y="423"/>
                      </a:lnTo>
                      <a:lnTo>
                        <a:pt x="1955" y="423"/>
                      </a:lnTo>
                      <a:lnTo>
                        <a:pt x="1955" y="423"/>
                      </a:lnTo>
                      <a:lnTo>
                        <a:pt x="1955" y="422"/>
                      </a:lnTo>
                      <a:lnTo>
                        <a:pt x="1956" y="421"/>
                      </a:lnTo>
                      <a:lnTo>
                        <a:pt x="1956" y="420"/>
                      </a:lnTo>
                      <a:lnTo>
                        <a:pt x="1956" y="420"/>
                      </a:lnTo>
                      <a:close/>
                      <a:moveTo>
                        <a:pt x="2114" y="417"/>
                      </a:moveTo>
                      <a:lnTo>
                        <a:pt x="2115" y="417"/>
                      </a:lnTo>
                      <a:lnTo>
                        <a:pt x="2115" y="418"/>
                      </a:lnTo>
                      <a:lnTo>
                        <a:pt x="2117" y="418"/>
                      </a:lnTo>
                      <a:lnTo>
                        <a:pt x="2119" y="420"/>
                      </a:lnTo>
                      <a:lnTo>
                        <a:pt x="2121" y="420"/>
                      </a:lnTo>
                      <a:lnTo>
                        <a:pt x="2121" y="422"/>
                      </a:lnTo>
                      <a:lnTo>
                        <a:pt x="2120" y="423"/>
                      </a:lnTo>
                      <a:lnTo>
                        <a:pt x="2120" y="423"/>
                      </a:lnTo>
                      <a:lnTo>
                        <a:pt x="2119" y="423"/>
                      </a:lnTo>
                      <a:lnTo>
                        <a:pt x="2118" y="422"/>
                      </a:lnTo>
                      <a:lnTo>
                        <a:pt x="2118" y="422"/>
                      </a:lnTo>
                      <a:lnTo>
                        <a:pt x="2117" y="421"/>
                      </a:lnTo>
                      <a:lnTo>
                        <a:pt x="2116" y="421"/>
                      </a:lnTo>
                      <a:lnTo>
                        <a:pt x="2115" y="420"/>
                      </a:lnTo>
                      <a:lnTo>
                        <a:pt x="2115" y="418"/>
                      </a:lnTo>
                      <a:lnTo>
                        <a:pt x="2114" y="417"/>
                      </a:lnTo>
                      <a:lnTo>
                        <a:pt x="2114" y="417"/>
                      </a:lnTo>
                      <a:close/>
                      <a:moveTo>
                        <a:pt x="2087" y="416"/>
                      </a:moveTo>
                      <a:lnTo>
                        <a:pt x="2087" y="416"/>
                      </a:lnTo>
                      <a:lnTo>
                        <a:pt x="2088" y="417"/>
                      </a:lnTo>
                      <a:lnTo>
                        <a:pt x="2091" y="420"/>
                      </a:lnTo>
                      <a:lnTo>
                        <a:pt x="2092" y="422"/>
                      </a:lnTo>
                      <a:lnTo>
                        <a:pt x="2094" y="423"/>
                      </a:lnTo>
                      <a:lnTo>
                        <a:pt x="2095" y="424"/>
                      </a:lnTo>
                      <a:lnTo>
                        <a:pt x="2097" y="423"/>
                      </a:lnTo>
                      <a:lnTo>
                        <a:pt x="2097" y="422"/>
                      </a:lnTo>
                      <a:lnTo>
                        <a:pt x="2098" y="422"/>
                      </a:lnTo>
                      <a:lnTo>
                        <a:pt x="2099" y="421"/>
                      </a:lnTo>
                      <a:lnTo>
                        <a:pt x="2100" y="422"/>
                      </a:lnTo>
                      <a:lnTo>
                        <a:pt x="2102" y="422"/>
                      </a:lnTo>
                      <a:lnTo>
                        <a:pt x="2104" y="424"/>
                      </a:lnTo>
                      <a:lnTo>
                        <a:pt x="2105" y="426"/>
                      </a:lnTo>
                      <a:lnTo>
                        <a:pt x="2105" y="427"/>
                      </a:lnTo>
                      <a:lnTo>
                        <a:pt x="2106" y="429"/>
                      </a:lnTo>
                      <a:lnTo>
                        <a:pt x="2106" y="431"/>
                      </a:lnTo>
                      <a:lnTo>
                        <a:pt x="2105" y="431"/>
                      </a:lnTo>
                      <a:lnTo>
                        <a:pt x="2105" y="431"/>
                      </a:lnTo>
                      <a:lnTo>
                        <a:pt x="2104" y="429"/>
                      </a:lnTo>
                      <a:lnTo>
                        <a:pt x="2103" y="429"/>
                      </a:lnTo>
                      <a:lnTo>
                        <a:pt x="2100" y="429"/>
                      </a:lnTo>
                      <a:lnTo>
                        <a:pt x="2099" y="429"/>
                      </a:lnTo>
                      <a:lnTo>
                        <a:pt x="2097" y="428"/>
                      </a:lnTo>
                      <a:lnTo>
                        <a:pt x="2096" y="429"/>
                      </a:lnTo>
                      <a:lnTo>
                        <a:pt x="2095" y="429"/>
                      </a:lnTo>
                      <a:lnTo>
                        <a:pt x="2097" y="432"/>
                      </a:lnTo>
                      <a:lnTo>
                        <a:pt x="2099" y="435"/>
                      </a:lnTo>
                      <a:lnTo>
                        <a:pt x="2103" y="437"/>
                      </a:lnTo>
                      <a:lnTo>
                        <a:pt x="2104" y="439"/>
                      </a:lnTo>
                      <a:lnTo>
                        <a:pt x="2105" y="442"/>
                      </a:lnTo>
                      <a:lnTo>
                        <a:pt x="2105" y="443"/>
                      </a:lnTo>
                      <a:lnTo>
                        <a:pt x="2105" y="444"/>
                      </a:lnTo>
                      <a:lnTo>
                        <a:pt x="2105" y="445"/>
                      </a:lnTo>
                      <a:lnTo>
                        <a:pt x="2106" y="446"/>
                      </a:lnTo>
                      <a:lnTo>
                        <a:pt x="2107" y="448"/>
                      </a:lnTo>
                      <a:lnTo>
                        <a:pt x="2109" y="450"/>
                      </a:lnTo>
                      <a:lnTo>
                        <a:pt x="2109" y="453"/>
                      </a:lnTo>
                      <a:lnTo>
                        <a:pt x="2109" y="455"/>
                      </a:lnTo>
                      <a:lnTo>
                        <a:pt x="2110" y="456"/>
                      </a:lnTo>
                      <a:lnTo>
                        <a:pt x="2109" y="457"/>
                      </a:lnTo>
                      <a:lnTo>
                        <a:pt x="2109" y="457"/>
                      </a:lnTo>
                      <a:lnTo>
                        <a:pt x="2107" y="457"/>
                      </a:lnTo>
                      <a:lnTo>
                        <a:pt x="2106" y="457"/>
                      </a:lnTo>
                      <a:lnTo>
                        <a:pt x="2105" y="457"/>
                      </a:lnTo>
                      <a:lnTo>
                        <a:pt x="2104" y="456"/>
                      </a:lnTo>
                      <a:lnTo>
                        <a:pt x="2104" y="457"/>
                      </a:lnTo>
                      <a:lnTo>
                        <a:pt x="2104" y="458"/>
                      </a:lnTo>
                      <a:lnTo>
                        <a:pt x="2104" y="459"/>
                      </a:lnTo>
                      <a:lnTo>
                        <a:pt x="2105" y="461"/>
                      </a:lnTo>
                      <a:lnTo>
                        <a:pt x="2105" y="462"/>
                      </a:lnTo>
                      <a:lnTo>
                        <a:pt x="2106" y="464"/>
                      </a:lnTo>
                      <a:lnTo>
                        <a:pt x="2108" y="465"/>
                      </a:lnTo>
                      <a:lnTo>
                        <a:pt x="2109" y="466"/>
                      </a:lnTo>
                      <a:lnTo>
                        <a:pt x="2109" y="467"/>
                      </a:lnTo>
                      <a:lnTo>
                        <a:pt x="2111" y="467"/>
                      </a:lnTo>
                      <a:lnTo>
                        <a:pt x="2114" y="469"/>
                      </a:lnTo>
                      <a:lnTo>
                        <a:pt x="2114" y="471"/>
                      </a:lnTo>
                      <a:lnTo>
                        <a:pt x="2115" y="473"/>
                      </a:lnTo>
                      <a:lnTo>
                        <a:pt x="2115" y="473"/>
                      </a:lnTo>
                      <a:lnTo>
                        <a:pt x="2116" y="475"/>
                      </a:lnTo>
                      <a:lnTo>
                        <a:pt x="2118" y="477"/>
                      </a:lnTo>
                      <a:lnTo>
                        <a:pt x="2119" y="478"/>
                      </a:lnTo>
                      <a:lnTo>
                        <a:pt x="2119" y="479"/>
                      </a:lnTo>
                      <a:lnTo>
                        <a:pt x="2119" y="481"/>
                      </a:lnTo>
                      <a:lnTo>
                        <a:pt x="2118" y="481"/>
                      </a:lnTo>
                      <a:lnTo>
                        <a:pt x="2117" y="482"/>
                      </a:lnTo>
                      <a:lnTo>
                        <a:pt x="2116" y="483"/>
                      </a:lnTo>
                      <a:lnTo>
                        <a:pt x="2116" y="483"/>
                      </a:lnTo>
                      <a:lnTo>
                        <a:pt x="2116" y="486"/>
                      </a:lnTo>
                      <a:lnTo>
                        <a:pt x="2116" y="487"/>
                      </a:lnTo>
                      <a:lnTo>
                        <a:pt x="2116" y="488"/>
                      </a:lnTo>
                      <a:lnTo>
                        <a:pt x="2116" y="489"/>
                      </a:lnTo>
                      <a:lnTo>
                        <a:pt x="2114" y="489"/>
                      </a:lnTo>
                      <a:lnTo>
                        <a:pt x="2114" y="489"/>
                      </a:lnTo>
                      <a:lnTo>
                        <a:pt x="2113" y="488"/>
                      </a:lnTo>
                      <a:lnTo>
                        <a:pt x="2111" y="487"/>
                      </a:lnTo>
                      <a:lnTo>
                        <a:pt x="2109" y="486"/>
                      </a:lnTo>
                      <a:lnTo>
                        <a:pt x="2108" y="484"/>
                      </a:lnTo>
                      <a:lnTo>
                        <a:pt x="2107" y="484"/>
                      </a:lnTo>
                      <a:lnTo>
                        <a:pt x="2107" y="486"/>
                      </a:lnTo>
                      <a:lnTo>
                        <a:pt x="2106" y="486"/>
                      </a:lnTo>
                      <a:lnTo>
                        <a:pt x="2105" y="486"/>
                      </a:lnTo>
                      <a:lnTo>
                        <a:pt x="2104" y="484"/>
                      </a:lnTo>
                      <a:lnTo>
                        <a:pt x="2103" y="483"/>
                      </a:lnTo>
                      <a:lnTo>
                        <a:pt x="2102" y="482"/>
                      </a:lnTo>
                      <a:lnTo>
                        <a:pt x="2102" y="480"/>
                      </a:lnTo>
                      <a:lnTo>
                        <a:pt x="2100" y="479"/>
                      </a:lnTo>
                      <a:lnTo>
                        <a:pt x="2098" y="478"/>
                      </a:lnTo>
                      <a:lnTo>
                        <a:pt x="2098" y="477"/>
                      </a:lnTo>
                      <a:lnTo>
                        <a:pt x="2097" y="477"/>
                      </a:lnTo>
                      <a:lnTo>
                        <a:pt x="2095" y="475"/>
                      </a:lnTo>
                      <a:lnTo>
                        <a:pt x="2094" y="475"/>
                      </a:lnTo>
                      <a:lnTo>
                        <a:pt x="2094" y="473"/>
                      </a:lnTo>
                      <a:lnTo>
                        <a:pt x="2094" y="472"/>
                      </a:lnTo>
                      <a:lnTo>
                        <a:pt x="2093" y="470"/>
                      </a:lnTo>
                      <a:lnTo>
                        <a:pt x="2093" y="469"/>
                      </a:lnTo>
                      <a:lnTo>
                        <a:pt x="2091" y="466"/>
                      </a:lnTo>
                      <a:lnTo>
                        <a:pt x="2088" y="464"/>
                      </a:lnTo>
                      <a:lnTo>
                        <a:pt x="2085" y="462"/>
                      </a:lnTo>
                      <a:lnTo>
                        <a:pt x="2082" y="460"/>
                      </a:lnTo>
                      <a:lnTo>
                        <a:pt x="2080" y="457"/>
                      </a:lnTo>
                      <a:lnTo>
                        <a:pt x="2080" y="453"/>
                      </a:lnTo>
                      <a:lnTo>
                        <a:pt x="2080" y="448"/>
                      </a:lnTo>
                      <a:lnTo>
                        <a:pt x="2080" y="447"/>
                      </a:lnTo>
                      <a:lnTo>
                        <a:pt x="2078" y="445"/>
                      </a:lnTo>
                      <a:lnTo>
                        <a:pt x="2078" y="444"/>
                      </a:lnTo>
                      <a:lnTo>
                        <a:pt x="2078" y="443"/>
                      </a:lnTo>
                      <a:lnTo>
                        <a:pt x="2078" y="442"/>
                      </a:lnTo>
                      <a:lnTo>
                        <a:pt x="2080" y="442"/>
                      </a:lnTo>
                      <a:lnTo>
                        <a:pt x="2081" y="443"/>
                      </a:lnTo>
                      <a:lnTo>
                        <a:pt x="2082" y="445"/>
                      </a:lnTo>
                      <a:lnTo>
                        <a:pt x="2084" y="446"/>
                      </a:lnTo>
                      <a:lnTo>
                        <a:pt x="2085" y="448"/>
                      </a:lnTo>
                      <a:lnTo>
                        <a:pt x="2086" y="450"/>
                      </a:lnTo>
                      <a:lnTo>
                        <a:pt x="2086" y="450"/>
                      </a:lnTo>
                      <a:lnTo>
                        <a:pt x="2087" y="451"/>
                      </a:lnTo>
                      <a:lnTo>
                        <a:pt x="2089" y="453"/>
                      </a:lnTo>
                      <a:lnTo>
                        <a:pt x="2091" y="453"/>
                      </a:lnTo>
                      <a:lnTo>
                        <a:pt x="2091" y="451"/>
                      </a:lnTo>
                      <a:lnTo>
                        <a:pt x="2091" y="450"/>
                      </a:lnTo>
                      <a:lnTo>
                        <a:pt x="2089" y="449"/>
                      </a:lnTo>
                      <a:lnTo>
                        <a:pt x="2088" y="448"/>
                      </a:lnTo>
                      <a:lnTo>
                        <a:pt x="2088" y="446"/>
                      </a:lnTo>
                      <a:lnTo>
                        <a:pt x="2086" y="445"/>
                      </a:lnTo>
                      <a:lnTo>
                        <a:pt x="2084" y="444"/>
                      </a:lnTo>
                      <a:lnTo>
                        <a:pt x="2082" y="442"/>
                      </a:lnTo>
                      <a:lnTo>
                        <a:pt x="2082" y="440"/>
                      </a:lnTo>
                      <a:lnTo>
                        <a:pt x="2081" y="438"/>
                      </a:lnTo>
                      <a:lnTo>
                        <a:pt x="2080" y="436"/>
                      </a:lnTo>
                      <a:lnTo>
                        <a:pt x="2080" y="434"/>
                      </a:lnTo>
                      <a:lnTo>
                        <a:pt x="2078" y="432"/>
                      </a:lnTo>
                      <a:lnTo>
                        <a:pt x="2077" y="431"/>
                      </a:lnTo>
                      <a:lnTo>
                        <a:pt x="2077" y="431"/>
                      </a:lnTo>
                      <a:lnTo>
                        <a:pt x="2078" y="431"/>
                      </a:lnTo>
                      <a:lnTo>
                        <a:pt x="2080" y="432"/>
                      </a:lnTo>
                      <a:lnTo>
                        <a:pt x="2081" y="432"/>
                      </a:lnTo>
                      <a:lnTo>
                        <a:pt x="2082" y="433"/>
                      </a:lnTo>
                      <a:lnTo>
                        <a:pt x="2084" y="434"/>
                      </a:lnTo>
                      <a:lnTo>
                        <a:pt x="2086" y="436"/>
                      </a:lnTo>
                      <a:lnTo>
                        <a:pt x="2088" y="437"/>
                      </a:lnTo>
                      <a:lnTo>
                        <a:pt x="2091" y="438"/>
                      </a:lnTo>
                      <a:lnTo>
                        <a:pt x="2091" y="432"/>
                      </a:lnTo>
                      <a:lnTo>
                        <a:pt x="2089" y="431"/>
                      </a:lnTo>
                      <a:lnTo>
                        <a:pt x="2087" y="429"/>
                      </a:lnTo>
                      <a:lnTo>
                        <a:pt x="2086" y="428"/>
                      </a:lnTo>
                      <a:lnTo>
                        <a:pt x="2086" y="427"/>
                      </a:lnTo>
                      <a:lnTo>
                        <a:pt x="2083" y="426"/>
                      </a:lnTo>
                      <a:lnTo>
                        <a:pt x="2082" y="425"/>
                      </a:lnTo>
                      <a:lnTo>
                        <a:pt x="2081" y="423"/>
                      </a:lnTo>
                      <a:lnTo>
                        <a:pt x="2081" y="422"/>
                      </a:lnTo>
                      <a:lnTo>
                        <a:pt x="2082" y="421"/>
                      </a:lnTo>
                      <a:lnTo>
                        <a:pt x="2084" y="422"/>
                      </a:lnTo>
                      <a:lnTo>
                        <a:pt x="2085" y="422"/>
                      </a:lnTo>
                      <a:lnTo>
                        <a:pt x="2086" y="422"/>
                      </a:lnTo>
                      <a:lnTo>
                        <a:pt x="2086" y="421"/>
                      </a:lnTo>
                      <a:lnTo>
                        <a:pt x="2086" y="420"/>
                      </a:lnTo>
                      <a:lnTo>
                        <a:pt x="2086" y="417"/>
                      </a:lnTo>
                      <a:lnTo>
                        <a:pt x="2086" y="417"/>
                      </a:lnTo>
                      <a:lnTo>
                        <a:pt x="2086" y="416"/>
                      </a:lnTo>
                      <a:lnTo>
                        <a:pt x="2087" y="416"/>
                      </a:lnTo>
                      <a:close/>
                      <a:moveTo>
                        <a:pt x="2115" y="410"/>
                      </a:moveTo>
                      <a:lnTo>
                        <a:pt x="2116" y="410"/>
                      </a:lnTo>
                      <a:lnTo>
                        <a:pt x="2118" y="411"/>
                      </a:lnTo>
                      <a:lnTo>
                        <a:pt x="2120" y="412"/>
                      </a:lnTo>
                      <a:lnTo>
                        <a:pt x="2121" y="414"/>
                      </a:lnTo>
                      <a:lnTo>
                        <a:pt x="2124" y="416"/>
                      </a:lnTo>
                      <a:lnTo>
                        <a:pt x="2126" y="418"/>
                      </a:lnTo>
                      <a:lnTo>
                        <a:pt x="2127" y="420"/>
                      </a:lnTo>
                      <a:lnTo>
                        <a:pt x="2127" y="422"/>
                      </a:lnTo>
                      <a:lnTo>
                        <a:pt x="2128" y="423"/>
                      </a:lnTo>
                      <a:lnTo>
                        <a:pt x="2127" y="423"/>
                      </a:lnTo>
                      <a:lnTo>
                        <a:pt x="2126" y="422"/>
                      </a:lnTo>
                      <a:lnTo>
                        <a:pt x="2124" y="421"/>
                      </a:lnTo>
                      <a:lnTo>
                        <a:pt x="2122" y="420"/>
                      </a:lnTo>
                      <a:lnTo>
                        <a:pt x="2120" y="417"/>
                      </a:lnTo>
                      <a:lnTo>
                        <a:pt x="2118" y="415"/>
                      </a:lnTo>
                      <a:lnTo>
                        <a:pt x="2116" y="414"/>
                      </a:lnTo>
                      <a:lnTo>
                        <a:pt x="2115" y="412"/>
                      </a:lnTo>
                      <a:lnTo>
                        <a:pt x="2115" y="411"/>
                      </a:lnTo>
                      <a:lnTo>
                        <a:pt x="2115" y="410"/>
                      </a:lnTo>
                      <a:lnTo>
                        <a:pt x="2115" y="410"/>
                      </a:lnTo>
                      <a:close/>
                      <a:moveTo>
                        <a:pt x="2086" y="399"/>
                      </a:moveTo>
                      <a:lnTo>
                        <a:pt x="2087" y="399"/>
                      </a:lnTo>
                      <a:lnTo>
                        <a:pt x="2093" y="401"/>
                      </a:lnTo>
                      <a:lnTo>
                        <a:pt x="2096" y="404"/>
                      </a:lnTo>
                      <a:lnTo>
                        <a:pt x="2097" y="406"/>
                      </a:lnTo>
                      <a:lnTo>
                        <a:pt x="2098" y="409"/>
                      </a:lnTo>
                      <a:lnTo>
                        <a:pt x="2098" y="411"/>
                      </a:lnTo>
                      <a:lnTo>
                        <a:pt x="2097" y="413"/>
                      </a:lnTo>
                      <a:lnTo>
                        <a:pt x="2096" y="414"/>
                      </a:lnTo>
                      <a:lnTo>
                        <a:pt x="2095" y="415"/>
                      </a:lnTo>
                      <a:lnTo>
                        <a:pt x="2092" y="411"/>
                      </a:lnTo>
                      <a:lnTo>
                        <a:pt x="2089" y="410"/>
                      </a:lnTo>
                      <a:lnTo>
                        <a:pt x="2087" y="409"/>
                      </a:lnTo>
                      <a:lnTo>
                        <a:pt x="2086" y="406"/>
                      </a:lnTo>
                      <a:lnTo>
                        <a:pt x="2084" y="405"/>
                      </a:lnTo>
                      <a:lnTo>
                        <a:pt x="2084" y="404"/>
                      </a:lnTo>
                      <a:lnTo>
                        <a:pt x="2084" y="402"/>
                      </a:lnTo>
                      <a:lnTo>
                        <a:pt x="2084" y="401"/>
                      </a:lnTo>
                      <a:lnTo>
                        <a:pt x="2085" y="399"/>
                      </a:lnTo>
                      <a:lnTo>
                        <a:pt x="2086" y="399"/>
                      </a:lnTo>
                      <a:close/>
                      <a:moveTo>
                        <a:pt x="77" y="399"/>
                      </a:moveTo>
                      <a:lnTo>
                        <a:pt x="79" y="399"/>
                      </a:lnTo>
                      <a:lnTo>
                        <a:pt x="80" y="400"/>
                      </a:lnTo>
                      <a:lnTo>
                        <a:pt x="79" y="402"/>
                      </a:lnTo>
                      <a:lnTo>
                        <a:pt x="77" y="403"/>
                      </a:lnTo>
                      <a:lnTo>
                        <a:pt x="75" y="405"/>
                      </a:lnTo>
                      <a:lnTo>
                        <a:pt x="74" y="406"/>
                      </a:lnTo>
                      <a:lnTo>
                        <a:pt x="72" y="407"/>
                      </a:lnTo>
                      <a:lnTo>
                        <a:pt x="69" y="411"/>
                      </a:lnTo>
                      <a:lnTo>
                        <a:pt x="66" y="414"/>
                      </a:lnTo>
                      <a:lnTo>
                        <a:pt x="64" y="418"/>
                      </a:lnTo>
                      <a:lnTo>
                        <a:pt x="58" y="425"/>
                      </a:lnTo>
                      <a:lnTo>
                        <a:pt x="51" y="431"/>
                      </a:lnTo>
                      <a:lnTo>
                        <a:pt x="43" y="432"/>
                      </a:lnTo>
                      <a:lnTo>
                        <a:pt x="41" y="428"/>
                      </a:lnTo>
                      <a:lnTo>
                        <a:pt x="43" y="423"/>
                      </a:lnTo>
                      <a:lnTo>
                        <a:pt x="46" y="416"/>
                      </a:lnTo>
                      <a:lnTo>
                        <a:pt x="53" y="412"/>
                      </a:lnTo>
                      <a:lnTo>
                        <a:pt x="58" y="407"/>
                      </a:lnTo>
                      <a:lnTo>
                        <a:pt x="62" y="406"/>
                      </a:lnTo>
                      <a:lnTo>
                        <a:pt x="64" y="405"/>
                      </a:lnTo>
                      <a:lnTo>
                        <a:pt x="66" y="403"/>
                      </a:lnTo>
                      <a:lnTo>
                        <a:pt x="66" y="403"/>
                      </a:lnTo>
                      <a:lnTo>
                        <a:pt x="67" y="402"/>
                      </a:lnTo>
                      <a:lnTo>
                        <a:pt x="67" y="402"/>
                      </a:lnTo>
                      <a:lnTo>
                        <a:pt x="69" y="401"/>
                      </a:lnTo>
                      <a:lnTo>
                        <a:pt x="70" y="400"/>
                      </a:lnTo>
                      <a:lnTo>
                        <a:pt x="73" y="399"/>
                      </a:lnTo>
                      <a:lnTo>
                        <a:pt x="75" y="399"/>
                      </a:lnTo>
                      <a:lnTo>
                        <a:pt x="77" y="399"/>
                      </a:lnTo>
                      <a:close/>
                      <a:moveTo>
                        <a:pt x="278" y="381"/>
                      </a:moveTo>
                      <a:lnTo>
                        <a:pt x="281" y="382"/>
                      </a:lnTo>
                      <a:lnTo>
                        <a:pt x="283" y="382"/>
                      </a:lnTo>
                      <a:lnTo>
                        <a:pt x="286" y="383"/>
                      </a:lnTo>
                      <a:lnTo>
                        <a:pt x="286" y="385"/>
                      </a:lnTo>
                      <a:lnTo>
                        <a:pt x="285" y="389"/>
                      </a:lnTo>
                      <a:lnTo>
                        <a:pt x="285" y="392"/>
                      </a:lnTo>
                      <a:lnTo>
                        <a:pt x="284" y="395"/>
                      </a:lnTo>
                      <a:lnTo>
                        <a:pt x="283" y="398"/>
                      </a:lnTo>
                      <a:lnTo>
                        <a:pt x="281" y="399"/>
                      </a:lnTo>
                      <a:lnTo>
                        <a:pt x="278" y="401"/>
                      </a:lnTo>
                      <a:lnTo>
                        <a:pt x="275" y="403"/>
                      </a:lnTo>
                      <a:lnTo>
                        <a:pt x="273" y="404"/>
                      </a:lnTo>
                      <a:lnTo>
                        <a:pt x="271" y="404"/>
                      </a:lnTo>
                      <a:lnTo>
                        <a:pt x="269" y="403"/>
                      </a:lnTo>
                      <a:lnTo>
                        <a:pt x="267" y="401"/>
                      </a:lnTo>
                      <a:lnTo>
                        <a:pt x="267" y="398"/>
                      </a:lnTo>
                      <a:lnTo>
                        <a:pt x="269" y="393"/>
                      </a:lnTo>
                      <a:lnTo>
                        <a:pt x="271" y="389"/>
                      </a:lnTo>
                      <a:lnTo>
                        <a:pt x="273" y="385"/>
                      </a:lnTo>
                      <a:lnTo>
                        <a:pt x="275" y="382"/>
                      </a:lnTo>
                      <a:lnTo>
                        <a:pt x="276" y="381"/>
                      </a:lnTo>
                      <a:lnTo>
                        <a:pt x="278" y="381"/>
                      </a:lnTo>
                      <a:close/>
                      <a:moveTo>
                        <a:pt x="1567" y="380"/>
                      </a:moveTo>
                      <a:lnTo>
                        <a:pt x="1568" y="381"/>
                      </a:lnTo>
                      <a:lnTo>
                        <a:pt x="1570" y="381"/>
                      </a:lnTo>
                      <a:lnTo>
                        <a:pt x="1571" y="382"/>
                      </a:lnTo>
                      <a:lnTo>
                        <a:pt x="1572" y="384"/>
                      </a:lnTo>
                      <a:lnTo>
                        <a:pt x="1572" y="388"/>
                      </a:lnTo>
                      <a:lnTo>
                        <a:pt x="1573" y="389"/>
                      </a:lnTo>
                      <a:lnTo>
                        <a:pt x="1573" y="391"/>
                      </a:lnTo>
                      <a:lnTo>
                        <a:pt x="1573" y="393"/>
                      </a:lnTo>
                      <a:lnTo>
                        <a:pt x="1573" y="394"/>
                      </a:lnTo>
                      <a:lnTo>
                        <a:pt x="1572" y="394"/>
                      </a:lnTo>
                      <a:lnTo>
                        <a:pt x="1571" y="395"/>
                      </a:lnTo>
                      <a:lnTo>
                        <a:pt x="1570" y="395"/>
                      </a:lnTo>
                      <a:lnTo>
                        <a:pt x="1569" y="394"/>
                      </a:lnTo>
                      <a:lnTo>
                        <a:pt x="1568" y="392"/>
                      </a:lnTo>
                      <a:lnTo>
                        <a:pt x="1568" y="391"/>
                      </a:lnTo>
                      <a:lnTo>
                        <a:pt x="1568" y="389"/>
                      </a:lnTo>
                      <a:lnTo>
                        <a:pt x="1568" y="386"/>
                      </a:lnTo>
                      <a:lnTo>
                        <a:pt x="1567" y="384"/>
                      </a:lnTo>
                      <a:lnTo>
                        <a:pt x="1567" y="382"/>
                      </a:lnTo>
                      <a:lnTo>
                        <a:pt x="1567" y="381"/>
                      </a:lnTo>
                      <a:lnTo>
                        <a:pt x="1567" y="380"/>
                      </a:lnTo>
                      <a:close/>
                      <a:moveTo>
                        <a:pt x="1811" y="380"/>
                      </a:moveTo>
                      <a:lnTo>
                        <a:pt x="1812" y="380"/>
                      </a:lnTo>
                      <a:lnTo>
                        <a:pt x="1812" y="381"/>
                      </a:lnTo>
                      <a:lnTo>
                        <a:pt x="1813" y="382"/>
                      </a:lnTo>
                      <a:lnTo>
                        <a:pt x="1814" y="384"/>
                      </a:lnTo>
                      <a:lnTo>
                        <a:pt x="1816" y="386"/>
                      </a:lnTo>
                      <a:lnTo>
                        <a:pt x="1818" y="386"/>
                      </a:lnTo>
                      <a:lnTo>
                        <a:pt x="1819" y="386"/>
                      </a:lnTo>
                      <a:lnTo>
                        <a:pt x="1820" y="385"/>
                      </a:lnTo>
                      <a:lnTo>
                        <a:pt x="1820" y="384"/>
                      </a:lnTo>
                      <a:lnTo>
                        <a:pt x="1821" y="384"/>
                      </a:lnTo>
                      <a:lnTo>
                        <a:pt x="1822" y="384"/>
                      </a:lnTo>
                      <a:lnTo>
                        <a:pt x="1823" y="386"/>
                      </a:lnTo>
                      <a:lnTo>
                        <a:pt x="1825" y="389"/>
                      </a:lnTo>
                      <a:lnTo>
                        <a:pt x="1826" y="391"/>
                      </a:lnTo>
                      <a:lnTo>
                        <a:pt x="1826" y="392"/>
                      </a:lnTo>
                      <a:lnTo>
                        <a:pt x="1826" y="393"/>
                      </a:lnTo>
                      <a:lnTo>
                        <a:pt x="1826" y="393"/>
                      </a:lnTo>
                      <a:lnTo>
                        <a:pt x="1825" y="394"/>
                      </a:lnTo>
                      <a:lnTo>
                        <a:pt x="1825" y="395"/>
                      </a:lnTo>
                      <a:lnTo>
                        <a:pt x="1826" y="398"/>
                      </a:lnTo>
                      <a:lnTo>
                        <a:pt x="1826" y="399"/>
                      </a:lnTo>
                      <a:lnTo>
                        <a:pt x="1827" y="401"/>
                      </a:lnTo>
                      <a:lnTo>
                        <a:pt x="1829" y="403"/>
                      </a:lnTo>
                      <a:lnTo>
                        <a:pt x="1831" y="404"/>
                      </a:lnTo>
                      <a:lnTo>
                        <a:pt x="1832" y="405"/>
                      </a:lnTo>
                      <a:lnTo>
                        <a:pt x="1833" y="405"/>
                      </a:lnTo>
                      <a:lnTo>
                        <a:pt x="1833" y="404"/>
                      </a:lnTo>
                      <a:lnTo>
                        <a:pt x="1832" y="402"/>
                      </a:lnTo>
                      <a:lnTo>
                        <a:pt x="1832" y="400"/>
                      </a:lnTo>
                      <a:lnTo>
                        <a:pt x="1832" y="398"/>
                      </a:lnTo>
                      <a:lnTo>
                        <a:pt x="1832" y="395"/>
                      </a:lnTo>
                      <a:lnTo>
                        <a:pt x="1832" y="395"/>
                      </a:lnTo>
                      <a:lnTo>
                        <a:pt x="1834" y="396"/>
                      </a:lnTo>
                      <a:lnTo>
                        <a:pt x="1835" y="399"/>
                      </a:lnTo>
                      <a:lnTo>
                        <a:pt x="1837" y="401"/>
                      </a:lnTo>
                      <a:lnTo>
                        <a:pt x="1838" y="404"/>
                      </a:lnTo>
                      <a:lnTo>
                        <a:pt x="1841" y="406"/>
                      </a:lnTo>
                      <a:lnTo>
                        <a:pt x="1843" y="409"/>
                      </a:lnTo>
                      <a:lnTo>
                        <a:pt x="1844" y="410"/>
                      </a:lnTo>
                      <a:lnTo>
                        <a:pt x="1845" y="411"/>
                      </a:lnTo>
                      <a:lnTo>
                        <a:pt x="1846" y="410"/>
                      </a:lnTo>
                      <a:lnTo>
                        <a:pt x="1846" y="404"/>
                      </a:lnTo>
                      <a:lnTo>
                        <a:pt x="1844" y="398"/>
                      </a:lnTo>
                      <a:lnTo>
                        <a:pt x="1842" y="391"/>
                      </a:lnTo>
                      <a:lnTo>
                        <a:pt x="1841" y="390"/>
                      </a:lnTo>
                      <a:lnTo>
                        <a:pt x="1841" y="388"/>
                      </a:lnTo>
                      <a:lnTo>
                        <a:pt x="1841" y="386"/>
                      </a:lnTo>
                      <a:lnTo>
                        <a:pt x="1841" y="385"/>
                      </a:lnTo>
                      <a:lnTo>
                        <a:pt x="1842" y="384"/>
                      </a:lnTo>
                      <a:lnTo>
                        <a:pt x="1844" y="385"/>
                      </a:lnTo>
                      <a:lnTo>
                        <a:pt x="1846" y="388"/>
                      </a:lnTo>
                      <a:lnTo>
                        <a:pt x="1847" y="390"/>
                      </a:lnTo>
                      <a:lnTo>
                        <a:pt x="1849" y="392"/>
                      </a:lnTo>
                      <a:lnTo>
                        <a:pt x="1851" y="395"/>
                      </a:lnTo>
                      <a:lnTo>
                        <a:pt x="1855" y="400"/>
                      </a:lnTo>
                      <a:lnTo>
                        <a:pt x="1855" y="402"/>
                      </a:lnTo>
                      <a:lnTo>
                        <a:pt x="1857" y="404"/>
                      </a:lnTo>
                      <a:lnTo>
                        <a:pt x="1858" y="405"/>
                      </a:lnTo>
                      <a:lnTo>
                        <a:pt x="1858" y="406"/>
                      </a:lnTo>
                      <a:lnTo>
                        <a:pt x="1858" y="407"/>
                      </a:lnTo>
                      <a:lnTo>
                        <a:pt x="1859" y="410"/>
                      </a:lnTo>
                      <a:lnTo>
                        <a:pt x="1860" y="412"/>
                      </a:lnTo>
                      <a:lnTo>
                        <a:pt x="1863" y="414"/>
                      </a:lnTo>
                      <a:lnTo>
                        <a:pt x="1863" y="412"/>
                      </a:lnTo>
                      <a:lnTo>
                        <a:pt x="1865" y="414"/>
                      </a:lnTo>
                      <a:lnTo>
                        <a:pt x="1866" y="417"/>
                      </a:lnTo>
                      <a:lnTo>
                        <a:pt x="1867" y="421"/>
                      </a:lnTo>
                      <a:lnTo>
                        <a:pt x="1868" y="424"/>
                      </a:lnTo>
                      <a:lnTo>
                        <a:pt x="1868" y="427"/>
                      </a:lnTo>
                      <a:lnTo>
                        <a:pt x="1875" y="434"/>
                      </a:lnTo>
                      <a:lnTo>
                        <a:pt x="1876" y="436"/>
                      </a:lnTo>
                      <a:lnTo>
                        <a:pt x="1877" y="437"/>
                      </a:lnTo>
                      <a:lnTo>
                        <a:pt x="1879" y="438"/>
                      </a:lnTo>
                      <a:lnTo>
                        <a:pt x="1880" y="439"/>
                      </a:lnTo>
                      <a:lnTo>
                        <a:pt x="1882" y="440"/>
                      </a:lnTo>
                      <a:lnTo>
                        <a:pt x="1884" y="442"/>
                      </a:lnTo>
                      <a:lnTo>
                        <a:pt x="1885" y="444"/>
                      </a:lnTo>
                      <a:lnTo>
                        <a:pt x="1886" y="445"/>
                      </a:lnTo>
                      <a:lnTo>
                        <a:pt x="1887" y="446"/>
                      </a:lnTo>
                      <a:lnTo>
                        <a:pt x="1887" y="447"/>
                      </a:lnTo>
                      <a:lnTo>
                        <a:pt x="1888" y="448"/>
                      </a:lnTo>
                      <a:lnTo>
                        <a:pt x="1890" y="450"/>
                      </a:lnTo>
                      <a:lnTo>
                        <a:pt x="1891" y="451"/>
                      </a:lnTo>
                      <a:lnTo>
                        <a:pt x="1892" y="451"/>
                      </a:lnTo>
                      <a:lnTo>
                        <a:pt x="1893" y="453"/>
                      </a:lnTo>
                      <a:lnTo>
                        <a:pt x="1895" y="455"/>
                      </a:lnTo>
                      <a:lnTo>
                        <a:pt x="1895" y="457"/>
                      </a:lnTo>
                      <a:lnTo>
                        <a:pt x="1896" y="459"/>
                      </a:lnTo>
                      <a:lnTo>
                        <a:pt x="1897" y="460"/>
                      </a:lnTo>
                      <a:lnTo>
                        <a:pt x="1898" y="461"/>
                      </a:lnTo>
                      <a:lnTo>
                        <a:pt x="1899" y="464"/>
                      </a:lnTo>
                      <a:lnTo>
                        <a:pt x="1898" y="464"/>
                      </a:lnTo>
                      <a:lnTo>
                        <a:pt x="1897" y="465"/>
                      </a:lnTo>
                      <a:lnTo>
                        <a:pt x="1896" y="465"/>
                      </a:lnTo>
                      <a:lnTo>
                        <a:pt x="1893" y="465"/>
                      </a:lnTo>
                      <a:lnTo>
                        <a:pt x="1892" y="465"/>
                      </a:lnTo>
                      <a:lnTo>
                        <a:pt x="1891" y="465"/>
                      </a:lnTo>
                      <a:lnTo>
                        <a:pt x="1890" y="465"/>
                      </a:lnTo>
                      <a:lnTo>
                        <a:pt x="1889" y="466"/>
                      </a:lnTo>
                      <a:lnTo>
                        <a:pt x="1889" y="467"/>
                      </a:lnTo>
                      <a:lnTo>
                        <a:pt x="1888" y="468"/>
                      </a:lnTo>
                      <a:lnTo>
                        <a:pt x="1888" y="469"/>
                      </a:lnTo>
                      <a:lnTo>
                        <a:pt x="1887" y="472"/>
                      </a:lnTo>
                      <a:lnTo>
                        <a:pt x="1887" y="475"/>
                      </a:lnTo>
                      <a:lnTo>
                        <a:pt x="1887" y="477"/>
                      </a:lnTo>
                      <a:lnTo>
                        <a:pt x="1888" y="480"/>
                      </a:lnTo>
                      <a:lnTo>
                        <a:pt x="1889" y="483"/>
                      </a:lnTo>
                      <a:lnTo>
                        <a:pt x="1889" y="487"/>
                      </a:lnTo>
                      <a:lnTo>
                        <a:pt x="1890" y="489"/>
                      </a:lnTo>
                      <a:lnTo>
                        <a:pt x="1890" y="491"/>
                      </a:lnTo>
                      <a:lnTo>
                        <a:pt x="1889" y="491"/>
                      </a:lnTo>
                      <a:lnTo>
                        <a:pt x="1889" y="492"/>
                      </a:lnTo>
                      <a:lnTo>
                        <a:pt x="1889" y="494"/>
                      </a:lnTo>
                      <a:lnTo>
                        <a:pt x="1888" y="497"/>
                      </a:lnTo>
                      <a:lnTo>
                        <a:pt x="1888" y="499"/>
                      </a:lnTo>
                      <a:lnTo>
                        <a:pt x="1890" y="503"/>
                      </a:lnTo>
                      <a:lnTo>
                        <a:pt x="1890" y="508"/>
                      </a:lnTo>
                      <a:lnTo>
                        <a:pt x="1890" y="512"/>
                      </a:lnTo>
                      <a:lnTo>
                        <a:pt x="1891" y="514"/>
                      </a:lnTo>
                      <a:lnTo>
                        <a:pt x="1891" y="515"/>
                      </a:lnTo>
                      <a:lnTo>
                        <a:pt x="1891" y="518"/>
                      </a:lnTo>
                      <a:lnTo>
                        <a:pt x="1890" y="520"/>
                      </a:lnTo>
                      <a:lnTo>
                        <a:pt x="1890" y="523"/>
                      </a:lnTo>
                      <a:lnTo>
                        <a:pt x="1893" y="538"/>
                      </a:lnTo>
                      <a:lnTo>
                        <a:pt x="1895" y="554"/>
                      </a:lnTo>
                      <a:lnTo>
                        <a:pt x="1892" y="552"/>
                      </a:lnTo>
                      <a:lnTo>
                        <a:pt x="1890" y="549"/>
                      </a:lnTo>
                      <a:lnTo>
                        <a:pt x="1888" y="546"/>
                      </a:lnTo>
                      <a:lnTo>
                        <a:pt x="1886" y="543"/>
                      </a:lnTo>
                      <a:lnTo>
                        <a:pt x="1885" y="540"/>
                      </a:lnTo>
                      <a:lnTo>
                        <a:pt x="1885" y="537"/>
                      </a:lnTo>
                      <a:lnTo>
                        <a:pt x="1885" y="535"/>
                      </a:lnTo>
                      <a:lnTo>
                        <a:pt x="1886" y="533"/>
                      </a:lnTo>
                      <a:lnTo>
                        <a:pt x="1887" y="531"/>
                      </a:lnTo>
                      <a:lnTo>
                        <a:pt x="1885" y="531"/>
                      </a:lnTo>
                      <a:lnTo>
                        <a:pt x="1884" y="532"/>
                      </a:lnTo>
                      <a:lnTo>
                        <a:pt x="1882" y="532"/>
                      </a:lnTo>
                      <a:lnTo>
                        <a:pt x="1881" y="531"/>
                      </a:lnTo>
                      <a:lnTo>
                        <a:pt x="1880" y="529"/>
                      </a:lnTo>
                      <a:lnTo>
                        <a:pt x="1878" y="526"/>
                      </a:lnTo>
                      <a:lnTo>
                        <a:pt x="1877" y="524"/>
                      </a:lnTo>
                      <a:lnTo>
                        <a:pt x="1876" y="523"/>
                      </a:lnTo>
                      <a:lnTo>
                        <a:pt x="1874" y="520"/>
                      </a:lnTo>
                      <a:lnTo>
                        <a:pt x="1871" y="518"/>
                      </a:lnTo>
                      <a:lnTo>
                        <a:pt x="1870" y="515"/>
                      </a:lnTo>
                      <a:lnTo>
                        <a:pt x="1868" y="514"/>
                      </a:lnTo>
                      <a:lnTo>
                        <a:pt x="1866" y="511"/>
                      </a:lnTo>
                      <a:lnTo>
                        <a:pt x="1864" y="509"/>
                      </a:lnTo>
                      <a:lnTo>
                        <a:pt x="1863" y="505"/>
                      </a:lnTo>
                      <a:lnTo>
                        <a:pt x="1863" y="504"/>
                      </a:lnTo>
                      <a:lnTo>
                        <a:pt x="1864" y="503"/>
                      </a:lnTo>
                      <a:lnTo>
                        <a:pt x="1864" y="503"/>
                      </a:lnTo>
                      <a:lnTo>
                        <a:pt x="1865" y="503"/>
                      </a:lnTo>
                      <a:lnTo>
                        <a:pt x="1866" y="503"/>
                      </a:lnTo>
                      <a:lnTo>
                        <a:pt x="1866" y="503"/>
                      </a:lnTo>
                      <a:lnTo>
                        <a:pt x="1867" y="503"/>
                      </a:lnTo>
                      <a:lnTo>
                        <a:pt x="1868" y="504"/>
                      </a:lnTo>
                      <a:lnTo>
                        <a:pt x="1869" y="504"/>
                      </a:lnTo>
                      <a:lnTo>
                        <a:pt x="1870" y="503"/>
                      </a:lnTo>
                      <a:lnTo>
                        <a:pt x="1870" y="501"/>
                      </a:lnTo>
                      <a:lnTo>
                        <a:pt x="1868" y="499"/>
                      </a:lnTo>
                      <a:lnTo>
                        <a:pt x="1866" y="495"/>
                      </a:lnTo>
                      <a:lnTo>
                        <a:pt x="1864" y="493"/>
                      </a:lnTo>
                      <a:lnTo>
                        <a:pt x="1863" y="492"/>
                      </a:lnTo>
                      <a:lnTo>
                        <a:pt x="1862" y="492"/>
                      </a:lnTo>
                      <a:lnTo>
                        <a:pt x="1859" y="491"/>
                      </a:lnTo>
                      <a:lnTo>
                        <a:pt x="1858" y="489"/>
                      </a:lnTo>
                      <a:lnTo>
                        <a:pt x="1856" y="486"/>
                      </a:lnTo>
                      <a:lnTo>
                        <a:pt x="1854" y="482"/>
                      </a:lnTo>
                      <a:lnTo>
                        <a:pt x="1853" y="480"/>
                      </a:lnTo>
                      <a:lnTo>
                        <a:pt x="1851" y="477"/>
                      </a:lnTo>
                      <a:lnTo>
                        <a:pt x="1851" y="476"/>
                      </a:lnTo>
                      <a:lnTo>
                        <a:pt x="1851" y="475"/>
                      </a:lnTo>
                      <a:lnTo>
                        <a:pt x="1852" y="473"/>
                      </a:lnTo>
                      <a:lnTo>
                        <a:pt x="1852" y="473"/>
                      </a:lnTo>
                      <a:lnTo>
                        <a:pt x="1854" y="473"/>
                      </a:lnTo>
                      <a:lnTo>
                        <a:pt x="1855" y="473"/>
                      </a:lnTo>
                      <a:lnTo>
                        <a:pt x="1856" y="473"/>
                      </a:lnTo>
                      <a:lnTo>
                        <a:pt x="1857" y="473"/>
                      </a:lnTo>
                      <a:lnTo>
                        <a:pt x="1858" y="472"/>
                      </a:lnTo>
                      <a:lnTo>
                        <a:pt x="1858" y="470"/>
                      </a:lnTo>
                      <a:lnTo>
                        <a:pt x="1858" y="469"/>
                      </a:lnTo>
                      <a:lnTo>
                        <a:pt x="1858" y="467"/>
                      </a:lnTo>
                      <a:lnTo>
                        <a:pt x="1859" y="467"/>
                      </a:lnTo>
                      <a:lnTo>
                        <a:pt x="1862" y="467"/>
                      </a:lnTo>
                      <a:lnTo>
                        <a:pt x="1863" y="467"/>
                      </a:lnTo>
                      <a:lnTo>
                        <a:pt x="1864" y="467"/>
                      </a:lnTo>
                      <a:lnTo>
                        <a:pt x="1866" y="468"/>
                      </a:lnTo>
                      <a:lnTo>
                        <a:pt x="1868" y="467"/>
                      </a:lnTo>
                      <a:lnTo>
                        <a:pt x="1868" y="466"/>
                      </a:lnTo>
                      <a:lnTo>
                        <a:pt x="1868" y="464"/>
                      </a:lnTo>
                      <a:lnTo>
                        <a:pt x="1868" y="461"/>
                      </a:lnTo>
                      <a:lnTo>
                        <a:pt x="1867" y="458"/>
                      </a:lnTo>
                      <a:lnTo>
                        <a:pt x="1866" y="455"/>
                      </a:lnTo>
                      <a:lnTo>
                        <a:pt x="1865" y="453"/>
                      </a:lnTo>
                      <a:lnTo>
                        <a:pt x="1864" y="453"/>
                      </a:lnTo>
                      <a:lnTo>
                        <a:pt x="1863" y="453"/>
                      </a:lnTo>
                      <a:lnTo>
                        <a:pt x="1863" y="454"/>
                      </a:lnTo>
                      <a:lnTo>
                        <a:pt x="1863" y="455"/>
                      </a:lnTo>
                      <a:lnTo>
                        <a:pt x="1863" y="455"/>
                      </a:lnTo>
                      <a:lnTo>
                        <a:pt x="1863" y="457"/>
                      </a:lnTo>
                      <a:lnTo>
                        <a:pt x="1862" y="458"/>
                      </a:lnTo>
                      <a:lnTo>
                        <a:pt x="1862" y="460"/>
                      </a:lnTo>
                      <a:lnTo>
                        <a:pt x="1862" y="461"/>
                      </a:lnTo>
                      <a:lnTo>
                        <a:pt x="1860" y="461"/>
                      </a:lnTo>
                      <a:lnTo>
                        <a:pt x="1859" y="458"/>
                      </a:lnTo>
                      <a:lnTo>
                        <a:pt x="1858" y="456"/>
                      </a:lnTo>
                      <a:lnTo>
                        <a:pt x="1857" y="454"/>
                      </a:lnTo>
                      <a:lnTo>
                        <a:pt x="1856" y="453"/>
                      </a:lnTo>
                      <a:lnTo>
                        <a:pt x="1855" y="451"/>
                      </a:lnTo>
                      <a:lnTo>
                        <a:pt x="1854" y="451"/>
                      </a:lnTo>
                      <a:lnTo>
                        <a:pt x="1853" y="453"/>
                      </a:lnTo>
                      <a:lnTo>
                        <a:pt x="1853" y="453"/>
                      </a:lnTo>
                      <a:lnTo>
                        <a:pt x="1853" y="456"/>
                      </a:lnTo>
                      <a:lnTo>
                        <a:pt x="1853" y="458"/>
                      </a:lnTo>
                      <a:lnTo>
                        <a:pt x="1854" y="460"/>
                      </a:lnTo>
                      <a:lnTo>
                        <a:pt x="1854" y="464"/>
                      </a:lnTo>
                      <a:lnTo>
                        <a:pt x="1854" y="465"/>
                      </a:lnTo>
                      <a:lnTo>
                        <a:pt x="1853" y="465"/>
                      </a:lnTo>
                      <a:lnTo>
                        <a:pt x="1852" y="465"/>
                      </a:lnTo>
                      <a:lnTo>
                        <a:pt x="1851" y="465"/>
                      </a:lnTo>
                      <a:lnTo>
                        <a:pt x="1848" y="467"/>
                      </a:lnTo>
                      <a:lnTo>
                        <a:pt x="1847" y="467"/>
                      </a:lnTo>
                      <a:lnTo>
                        <a:pt x="1846" y="466"/>
                      </a:lnTo>
                      <a:lnTo>
                        <a:pt x="1844" y="464"/>
                      </a:lnTo>
                      <a:lnTo>
                        <a:pt x="1843" y="461"/>
                      </a:lnTo>
                      <a:lnTo>
                        <a:pt x="1842" y="458"/>
                      </a:lnTo>
                      <a:lnTo>
                        <a:pt x="1841" y="456"/>
                      </a:lnTo>
                      <a:lnTo>
                        <a:pt x="1838" y="453"/>
                      </a:lnTo>
                      <a:lnTo>
                        <a:pt x="1832" y="444"/>
                      </a:lnTo>
                      <a:lnTo>
                        <a:pt x="1826" y="434"/>
                      </a:lnTo>
                      <a:lnTo>
                        <a:pt x="1825" y="432"/>
                      </a:lnTo>
                      <a:lnTo>
                        <a:pt x="1824" y="429"/>
                      </a:lnTo>
                      <a:lnTo>
                        <a:pt x="1825" y="427"/>
                      </a:lnTo>
                      <a:lnTo>
                        <a:pt x="1825" y="424"/>
                      </a:lnTo>
                      <a:lnTo>
                        <a:pt x="1825" y="422"/>
                      </a:lnTo>
                      <a:lnTo>
                        <a:pt x="1824" y="418"/>
                      </a:lnTo>
                      <a:lnTo>
                        <a:pt x="1818" y="412"/>
                      </a:lnTo>
                      <a:lnTo>
                        <a:pt x="1816" y="410"/>
                      </a:lnTo>
                      <a:lnTo>
                        <a:pt x="1814" y="407"/>
                      </a:lnTo>
                      <a:lnTo>
                        <a:pt x="1814" y="406"/>
                      </a:lnTo>
                      <a:lnTo>
                        <a:pt x="1813" y="404"/>
                      </a:lnTo>
                      <a:lnTo>
                        <a:pt x="1812" y="402"/>
                      </a:lnTo>
                      <a:lnTo>
                        <a:pt x="1811" y="399"/>
                      </a:lnTo>
                      <a:lnTo>
                        <a:pt x="1810" y="396"/>
                      </a:lnTo>
                      <a:lnTo>
                        <a:pt x="1809" y="393"/>
                      </a:lnTo>
                      <a:lnTo>
                        <a:pt x="1808" y="390"/>
                      </a:lnTo>
                      <a:lnTo>
                        <a:pt x="1806" y="386"/>
                      </a:lnTo>
                      <a:lnTo>
                        <a:pt x="1805" y="384"/>
                      </a:lnTo>
                      <a:lnTo>
                        <a:pt x="1806" y="382"/>
                      </a:lnTo>
                      <a:lnTo>
                        <a:pt x="1808" y="381"/>
                      </a:lnTo>
                      <a:lnTo>
                        <a:pt x="1810" y="380"/>
                      </a:lnTo>
                      <a:lnTo>
                        <a:pt x="1811" y="380"/>
                      </a:lnTo>
                      <a:close/>
                      <a:moveTo>
                        <a:pt x="428" y="372"/>
                      </a:moveTo>
                      <a:lnTo>
                        <a:pt x="436" y="374"/>
                      </a:lnTo>
                      <a:lnTo>
                        <a:pt x="440" y="378"/>
                      </a:lnTo>
                      <a:lnTo>
                        <a:pt x="446" y="384"/>
                      </a:lnTo>
                      <a:lnTo>
                        <a:pt x="450" y="390"/>
                      </a:lnTo>
                      <a:lnTo>
                        <a:pt x="454" y="396"/>
                      </a:lnTo>
                      <a:lnTo>
                        <a:pt x="455" y="403"/>
                      </a:lnTo>
                      <a:lnTo>
                        <a:pt x="450" y="411"/>
                      </a:lnTo>
                      <a:lnTo>
                        <a:pt x="443" y="417"/>
                      </a:lnTo>
                      <a:lnTo>
                        <a:pt x="434" y="420"/>
                      </a:lnTo>
                      <a:lnTo>
                        <a:pt x="423" y="418"/>
                      </a:lnTo>
                      <a:lnTo>
                        <a:pt x="413" y="416"/>
                      </a:lnTo>
                      <a:lnTo>
                        <a:pt x="404" y="413"/>
                      </a:lnTo>
                      <a:lnTo>
                        <a:pt x="398" y="410"/>
                      </a:lnTo>
                      <a:lnTo>
                        <a:pt x="397" y="405"/>
                      </a:lnTo>
                      <a:lnTo>
                        <a:pt x="398" y="399"/>
                      </a:lnTo>
                      <a:lnTo>
                        <a:pt x="402" y="392"/>
                      </a:lnTo>
                      <a:lnTo>
                        <a:pt x="406" y="385"/>
                      </a:lnTo>
                      <a:lnTo>
                        <a:pt x="409" y="380"/>
                      </a:lnTo>
                      <a:lnTo>
                        <a:pt x="414" y="374"/>
                      </a:lnTo>
                      <a:lnTo>
                        <a:pt x="420" y="372"/>
                      </a:lnTo>
                      <a:lnTo>
                        <a:pt x="428" y="372"/>
                      </a:lnTo>
                      <a:close/>
                      <a:moveTo>
                        <a:pt x="1855" y="372"/>
                      </a:moveTo>
                      <a:lnTo>
                        <a:pt x="1856" y="373"/>
                      </a:lnTo>
                      <a:lnTo>
                        <a:pt x="1857" y="374"/>
                      </a:lnTo>
                      <a:lnTo>
                        <a:pt x="1858" y="375"/>
                      </a:lnTo>
                      <a:lnTo>
                        <a:pt x="1859" y="378"/>
                      </a:lnTo>
                      <a:lnTo>
                        <a:pt x="1860" y="379"/>
                      </a:lnTo>
                      <a:lnTo>
                        <a:pt x="1862" y="381"/>
                      </a:lnTo>
                      <a:lnTo>
                        <a:pt x="1863" y="383"/>
                      </a:lnTo>
                      <a:lnTo>
                        <a:pt x="1864" y="385"/>
                      </a:lnTo>
                      <a:lnTo>
                        <a:pt x="1866" y="386"/>
                      </a:lnTo>
                      <a:lnTo>
                        <a:pt x="1868" y="389"/>
                      </a:lnTo>
                      <a:lnTo>
                        <a:pt x="1869" y="390"/>
                      </a:lnTo>
                      <a:lnTo>
                        <a:pt x="1869" y="390"/>
                      </a:lnTo>
                      <a:lnTo>
                        <a:pt x="1870" y="389"/>
                      </a:lnTo>
                      <a:lnTo>
                        <a:pt x="1870" y="388"/>
                      </a:lnTo>
                      <a:lnTo>
                        <a:pt x="1870" y="388"/>
                      </a:lnTo>
                      <a:lnTo>
                        <a:pt x="1870" y="386"/>
                      </a:lnTo>
                      <a:lnTo>
                        <a:pt x="1871" y="385"/>
                      </a:lnTo>
                      <a:lnTo>
                        <a:pt x="1871" y="385"/>
                      </a:lnTo>
                      <a:lnTo>
                        <a:pt x="1873" y="386"/>
                      </a:lnTo>
                      <a:lnTo>
                        <a:pt x="1876" y="389"/>
                      </a:lnTo>
                      <a:lnTo>
                        <a:pt x="1876" y="390"/>
                      </a:lnTo>
                      <a:lnTo>
                        <a:pt x="1876" y="389"/>
                      </a:lnTo>
                      <a:lnTo>
                        <a:pt x="1876" y="389"/>
                      </a:lnTo>
                      <a:lnTo>
                        <a:pt x="1876" y="388"/>
                      </a:lnTo>
                      <a:lnTo>
                        <a:pt x="1876" y="386"/>
                      </a:lnTo>
                      <a:lnTo>
                        <a:pt x="1876" y="386"/>
                      </a:lnTo>
                      <a:lnTo>
                        <a:pt x="1876" y="385"/>
                      </a:lnTo>
                      <a:lnTo>
                        <a:pt x="1876" y="383"/>
                      </a:lnTo>
                      <a:lnTo>
                        <a:pt x="1876" y="382"/>
                      </a:lnTo>
                      <a:lnTo>
                        <a:pt x="1877" y="381"/>
                      </a:lnTo>
                      <a:lnTo>
                        <a:pt x="1878" y="382"/>
                      </a:lnTo>
                      <a:lnTo>
                        <a:pt x="1880" y="383"/>
                      </a:lnTo>
                      <a:lnTo>
                        <a:pt x="1882" y="384"/>
                      </a:lnTo>
                      <a:lnTo>
                        <a:pt x="1885" y="386"/>
                      </a:lnTo>
                      <a:lnTo>
                        <a:pt x="1886" y="390"/>
                      </a:lnTo>
                      <a:lnTo>
                        <a:pt x="1887" y="392"/>
                      </a:lnTo>
                      <a:lnTo>
                        <a:pt x="1887" y="393"/>
                      </a:lnTo>
                      <a:lnTo>
                        <a:pt x="1887" y="395"/>
                      </a:lnTo>
                      <a:lnTo>
                        <a:pt x="1887" y="396"/>
                      </a:lnTo>
                      <a:lnTo>
                        <a:pt x="1887" y="399"/>
                      </a:lnTo>
                      <a:lnTo>
                        <a:pt x="1887" y="400"/>
                      </a:lnTo>
                      <a:lnTo>
                        <a:pt x="1888" y="402"/>
                      </a:lnTo>
                      <a:lnTo>
                        <a:pt x="1889" y="402"/>
                      </a:lnTo>
                      <a:lnTo>
                        <a:pt x="1890" y="402"/>
                      </a:lnTo>
                      <a:lnTo>
                        <a:pt x="1890" y="400"/>
                      </a:lnTo>
                      <a:lnTo>
                        <a:pt x="1890" y="399"/>
                      </a:lnTo>
                      <a:lnTo>
                        <a:pt x="1889" y="396"/>
                      </a:lnTo>
                      <a:lnTo>
                        <a:pt x="1889" y="395"/>
                      </a:lnTo>
                      <a:lnTo>
                        <a:pt x="1890" y="394"/>
                      </a:lnTo>
                      <a:lnTo>
                        <a:pt x="1890" y="393"/>
                      </a:lnTo>
                      <a:lnTo>
                        <a:pt x="1892" y="393"/>
                      </a:lnTo>
                      <a:lnTo>
                        <a:pt x="1893" y="393"/>
                      </a:lnTo>
                      <a:lnTo>
                        <a:pt x="1901" y="400"/>
                      </a:lnTo>
                      <a:lnTo>
                        <a:pt x="1902" y="402"/>
                      </a:lnTo>
                      <a:lnTo>
                        <a:pt x="1904" y="404"/>
                      </a:lnTo>
                      <a:lnTo>
                        <a:pt x="1906" y="405"/>
                      </a:lnTo>
                      <a:lnTo>
                        <a:pt x="1908" y="406"/>
                      </a:lnTo>
                      <a:lnTo>
                        <a:pt x="1910" y="407"/>
                      </a:lnTo>
                      <a:lnTo>
                        <a:pt x="1913" y="409"/>
                      </a:lnTo>
                      <a:lnTo>
                        <a:pt x="1915" y="410"/>
                      </a:lnTo>
                      <a:lnTo>
                        <a:pt x="1918" y="411"/>
                      </a:lnTo>
                      <a:lnTo>
                        <a:pt x="1920" y="413"/>
                      </a:lnTo>
                      <a:lnTo>
                        <a:pt x="1922" y="414"/>
                      </a:lnTo>
                      <a:lnTo>
                        <a:pt x="1923" y="416"/>
                      </a:lnTo>
                      <a:lnTo>
                        <a:pt x="1923" y="417"/>
                      </a:lnTo>
                      <a:lnTo>
                        <a:pt x="1923" y="418"/>
                      </a:lnTo>
                      <a:lnTo>
                        <a:pt x="1922" y="420"/>
                      </a:lnTo>
                      <a:lnTo>
                        <a:pt x="1922" y="421"/>
                      </a:lnTo>
                      <a:lnTo>
                        <a:pt x="1922" y="422"/>
                      </a:lnTo>
                      <a:lnTo>
                        <a:pt x="1922" y="423"/>
                      </a:lnTo>
                      <a:lnTo>
                        <a:pt x="1923" y="424"/>
                      </a:lnTo>
                      <a:lnTo>
                        <a:pt x="1924" y="426"/>
                      </a:lnTo>
                      <a:lnTo>
                        <a:pt x="1925" y="428"/>
                      </a:lnTo>
                      <a:lnTo>
                        <a:pt x="1925" y="429"/>
                      </a:lnTo>
                      <a:lnTo>
                        <a:pt x="1924" y="431"/>
                      </a:lnTo>
                      <a:lnTo>
                        <a:pt x="1924" y="432"/>
                      </a:lnTo>
                      <a:lnTo>
                        <a:pt x="1924" y="433"/>
                      </a:lnTo>
                      <a:lnTo>
                        <a:pt x="1922" y="435"/>
                      </a:lnTo>
                      <a:lnTo>
                        <a:pt x="1922" y="437"/>
                      </a:lnTo>
                      <a:lnTo>
                        <a:pt x="1922" y="439"/>
                      </a:lnTo>
                      <a:lnTo>
                        <a:pt x="1921" y="442"/>
                      </a:lnTo>
                      <a:lnTo>
                        <a:pt x="1921" y="444"/>
                      </a:lnTo>
                      <a:lnTo>
                        <a:pt x="1920" y="446"/>
                      </a:lnTo>
                      <a:lnTo>
                        <a:pt x="1920" y="448"/>
                      </a:lnTo>
                      <a:lnTo>
                        <a:pt x="1920" y="449"/>
                      </a:lnTo>
                      <a:lnTo>
                        <a:pt x="1919" y="450"/>
                      </a:lnTo>
                      <a:lnTo>
                        <a:pt x="1917" y="450"/>
                      </a:lnTo>
                      <a:lnTo>
                        <a:pt x="1914" y="450"/>
                      </a:lnTo>
                      <a:lnTo>
                        <a:pt x="1913" y="449"/>
                      </a:lnTo>
                      <a:lnTo>
                        <a:pt x="1911" y="448"/>
                      </a:lnTo>
                      <a:lnTo>
                        <a:pt x="1909" y="447"/>
                      </a:lnTo>
                      <a:lnTo>
                        <a:pt x="1907" y="445"/>
                      </a:lnTo>
                      <a:lnTo>
                        <a:pt x="1906" y="444"/>
                      </a:lnTo>
                      <a:lnTo>
                        <a:pt x="1902" y="442"/>
                      </a:lnTo>
                      <a:lnTo>
                        <a:pt x="1899" y="439"/>
                      </a:lnTo>
                      <a:lnTo>
                        <a:pt x="1896" y="437"/>
                      </a:lnTo>
                      <a:lnTo>
                        <a:pt x="1889" y="436"/>
                      </a:lnTo>
                      <a:lnTo>
                        <a:pt x="1882" y="434"/>
                      </a:lnTo>
                      <a:lnTo>
                        <a:pt x="1876" y="428"/>
                      </a:lnTo>
                      <a:lnTo>
                        <a:pt x="1875" y="427"/>
                      </a:lnTo>
                      <a:lnTo>
                        <a:pt x="1874" y="425"/>
                      </a:lnTo>
                      <a:lnTo>
                        <a:pt x="1874" y="424"/>
                      </a:lnTo>
                      <a:lnTo>
                        <a:pt x="1873" y="422"/>
                      </a:lnTo>
                      <a:lnTo>
                        <a:pt x="1873" y="421"/>
                      </a:lnTo>
                      <a:lnTo>
                        <a:pt x="1873" y="420"/>
                      </a:lnTo>
                      <a:lnTo>
                        <a:pt x="1878" y="422"/>
                      </a:lnTo>
                      <a:lnTo>
                        <a:pt x="1878" y="422"/>
                      </a:lnTo>
                      <a:lnTo>
                        <a:pt x="1878" y="421"/>
                      </a:lnTo>
                      <a:lnTo>
                        <a:pt x="1878" y="420"/>
                      </a:lnTo>
                      <a:lnTo>
                        <a:pt x="1877" y="418"/>
                      </a:lnTo>
                      <a:lnTo>
                        <a:pt x="1877" y="417"/>
                      </a:lnTo>
                      <a:lnTo>
                        <a:pt x="1878" y="417"/>
                      </a:lnTo>
                      <a:lnTo>
                        <a:pt x="1879" y="417"/>
                      </a:lnTo>
                      <a:lnTo>
                        <a:pt x="1880" y="417"/>
                      </a:lnTo>
                      <a:lnTo>
                        <a:pt x="1880" y="417"/>
                      </a:lnTo>
                      <a:lnTo>
                        <a:pt x="1881" y="417"/>
                      </a:lnTo>
                      <a:lnTo>
                        <a:pt x="1880" y="416"/>
                      </a:lnTo>
                      <a:lnTo>
                        <a:pt x="1880" y="415"/>
                      </a:lnTo>
                      <a:lnTo>
                        <a:pt x="1879" y="413"/>
                      </a:lnTo>
                      <a:lnTo>
                        <a:pt x="1878" y="411"/>
                      </a:lnTo>
                      <a:lnTo>
                        <a:pt x="1877" y="410"/>
                      </a:lnTo>
                      <a:lnTo>
                        <a:pt x="1875" y="409"/>
                      </a:lnTo>
                      <a:lnTo>
                        <a:pt x="1874" y="409"/>
                      </a:lnTo>
                      <a:lnTo>
                        <a:pt x="1871" y="409"/>
                      </a:lnTo>
                      <a:lnTo>
                        <a:pt x="1870" y="409"/>
                      </a:lnTo>
                      <a:lnTo>
                        <a:pt x="1869" y="410"/>
                      </a:lnTo>
                      <a:lnTo>
                        <a:pt x="1868" y="411"/>
                      </a:lnTo>
                      <a:lnTo>
                        <a:pt x="1867" y="412"/>
                      </a:lnTo>
                      <a:lnTo>
                        <a:pt x="1866" y="412"/>
                      </a:lnTo>
                      <a:lnTo>
                        <a:pt x="1864" y="411"/>
                      </a:lnTo>
                      <a:lnTo>
                        <a:pt x="1863" y="411"/>
                      </a:lnTo>
                      <a:lnTo>
                        <a:pt x="1862" y="411"/>
                      </a:lnTo>
                      <a:lnTo>
                        <a:pt x="1862" y="410"/>
                      </a:lnTo>
                      <a:lnTo>
                        <a:pt x="1860" y="409"/>
                      </a:lnTo>
                      <a:lnTo>
                        <a:pt x="1859" y="406"/>
                      </a:lnTo>
                      <a:lnTo>
                        <a:pt x="1858" y="405"/>
                      </a:lnTo>
                      <a:lnTo>
                        <a:pt x="1857" y="404"/>
                      </a:lnTo>
                      <a:lnTo>
                        <a:pt x="1856" y="402"/>
                      </a:lnTo>
                      <a:lnTo>
                        <a:pt x="1855" y="400"/>
                      </a:lnTo>
                      <a:lnTo>
                        <a:pt x="1855" y="400"/>
                      </a:lnTo>
                      <a:lnTo>
                        <a:pt x="1855" y="399"/>
                      </a:lnTo>
                      <a:lnTo>
                        <a:pt x="1856" y="398"/>
                      </a:lnTo>
                      <a:lnTo>
                        <a:pt x="1856" y="398"/>
                      </a:lnTo>
                      <a:lnTo>
                        <a:pt x="1857" y="398"/>
                      </a:lnTo>
                      <a:lnTo>
                        <a:pt x="1856" y="396"/>
                      </a:lnTo>
                      <a:lnTo>
                        <a:pt x="1855" y="394"/>
                      </a:lnTo>
                      <a:lnTo>
                        <a:pt x="1854" y="392"/>
                      </a:lnTo>
                      <a:lnTo>
                        <a:pt x="1852" y="390"/>
                      </a:lnTo>
                      <a:lnTo>
                        <a:pt x="1849" y="389"/>
                      </a:lnTo>
                      <a:lnTo>
                        <a:pt x="1848" y="389"/>
                      </a:lnTo>
                      <a:lnTo>
                        <a:pt x="1846" y="386"/>
                      </a:lnTo>
                      <a:lnTo>
                        <a:pt x="1845" y="385"/>
                      </a:lnTo>
                      <a:lnTo>
                        <a:pt x="1845" y="383"/>
                      </a:lnTo>
                      <a:lnTo>
                        <a:pt x="1845" y="382"/>
                      </a:lnTo>
                      <a:lnTo>
                        <a:pt x="1846" y="381"/>
                      </a:lnTo>
                      <a:lnTo>
                        <a:pt x="1847" y="381"/>
                      </a:lnTo>
                      <a:lnTo>
                        <a:pt x="1848" y="382"/>
                      </a:lnTo>
                      <a:lnTo>
                        <a:pt x="1851" y="383"/>
                      </a:lnTo>
                      <a:lnTo>
                        <a:pt x="1853" y="384"/>
                      </a:lnTo>
                      <a:lnTo>
                        <a:pt x="1854" y="385"/>
                      </a:lnTo>
                      <a:lnTo>
                        <a:pt x="1855" y="385"/>
                      </a:lnTo>
                      <a:lnTo>
                        <a:pt x="1855" y="385"/>
                      </a:lnTo>
                      <a:lnTo>
                        <a:pt x="1855" y="384"/>
                      </a:lnTo>
                      <a:lnTo>
                        <a:pt x="1855" y="382"/>
                      </a:lnTo>
                      <a:lnTo>
                        <a:pt x="1855" y="381"/>
                      </a:lnTo>
                      <a:lnTo>
                        <a:pt x="1855" y="380"/>
                      </a:lnTo>
                      <a:lnTo>
                        <a:pt x="1854" y="379"/>
                      </a:lnTo>
                      <a:lnTo>
                        <a:pt x="1854" y="378"/>
                      </a:lnTo>
                      <a:lnTo>
                        <a:pt x="1854" y="378"/>
                      </a:lnTo>
                      <a:lnTo>
                        <a:pt x="1854" y="377"/>
                      </a:lnTo>
                      <a:lnTo>
                        <a:pt x="1855" y="375"/>
                      </a:lnTo>
                      <a:lnTo>
                        <a:pt x="1854" y="373"/>
                      </a:lnTo>
                      <a:lnTo>
                        <a:pt x="1854" y="372"/>
                      </a:lnTo>
                      <a:lnTo>
                        <a:pt x="1855" y="372"/>
                      </a:lnTo>
                      <a:close/>
                      <a:moveTo>
                        <a:pt x="1843" y="361"/>
                      </a:moveTo>
                      <a:lnTo>
                        <a:pt x="1844" y="361"/>
                      </a:lnTo>
                      <a:lnTo>
                        <a:pt x="1845" y="361"/>
                      </a:lnTo>
                      <a:lnTo>
                        <a:pt x="1847" y="362"/>
                      </a:lnTo>
                      <a:lnTo>
                        <a:pt x="1849" y="363"/>
                      </a:lnTo>
                      <a:lnTo>
                        <a:pt x="1853" y="367"/>
                      </a:lnTo>
                      <a:lnTo>
                        <a:pt x="1852" y="368"/>
                      </a:lnTo>
                      <a:lnTo>
                        <a:pt x="1851" y="368"/>
                      </a:lnTo>
                      <a:lnTo>
                        <a:pt x="1849" y="367"/>
                      </a:lnTo>
                      <a:lnTo>
                        <a:pt x="1848" y="367"/>
                      </a:lnTo>
                      <a:lnTo>
                        <a:pt x="1846" y="366"/>
                      </a:lnTo>
                      <a:lnTo>
                        <a:pt x="1845" y="364"/>
                      </a:lnTo>
                      <a:lnTo>
                        <a:pt x="1844" y="363"/>
                      </a:lnTo>
                      <a:lnTo>
                        <a:pt x="1843" y="362"/>
                      </a:lnTo>
                      <a:lnTo>
                        <a:pt x="1843" y="362"/>
                      </a:lnTo>
                      <a:lnTo>
                        <a:pt x="1843" y="361"/>
                      </a:lnTo>
                      <a:lnTo>
                        <a:pt x="1843" y="361"/>
                      </a:lnTo>
                      <a:close/>
                      <a:moveTo>
                        <a:pt x="431" y="352"/>
                      </a:moveTo>
                      <a:lnTo>
                        <a:pt x="437" y="352"/>
                      </a:lnTo>
                      <a:lnTo>
                        <a:pt x="441" y="353"/>
                      </a:lnTo>
                      <a:lnTo>
                        <a:pt x="444" y="355"/>
                      </a:lnTo>
                      <a:lnTo>
                        <a:pt x="439" y="358"/>
                      </a:lnTo>
                      <a:lnTo>
                        <a:pt x="433" y="359"/>
                      </a:lnTo>
                      <a:lnTo>
                        <a:pt x="427" y="358"/>
                      </a:lnTo>
                      <a:lnTo>
                        <a:pt x="425" y="355"/>
                      </a:lnTo>
                      <a:lnTo>
                        <a:pt x="427" y="353"/>
                      </a:lnTo>
                      <a:lnTo>
                        <a:pt x="431" y="352"/>
                      </a:lnTo>
                      <a:close/>
                      <a:moveTo>
                        <a:pt x="133" y="345"/>
                      </a:moveTo>
                      <a:lnTo>
                        <a:pt x="134" y="345"/>
                      </a:lnTo>
                      <a:lnTo>
                        <a:pt x="135" y="346"/>
                      </a:lnTo>
                      <a:lnTo>
                        <a:pt x="135" y="347"/>
                      </a:lnTo>
                      <a:lnTo>
                        <a:pt x="136" y="348"/>
                      </a:lnTo>
                      <a:lnTo>
                        <a:pt x="136" y="350"/>
                      </a:lnTo>
                      <a:lnTo>
                        <a:pt x="138" y="352"/>
                      </a:lnTo>
                      <a:lnTo>
                        <a:pt x="136" y="355"/>
                      </a:lnTo>
                      <a:lnTo>
                        <a:pt x="136" y="356"/>
                      </a:lnTo>
                      <a:lnTo>
                        <a:pt x="135" y="357"/>
                      </a:lnTo>
                      <a:lnTo>
                        <a:pt x="132" y="358"/>
                      </a:lnTo>
                      <a:lnTo>
                        <a:pt x="129" y="359"/>
                      </a:lnTo>
                      <a:lnTo>
                        <a:pt x="125" y="360"/>
                      </a:lnTo>
                      <a:lnTo>
                        <a:pt x="122" y="360"/>
                      </a:lnTo>
                      <a:lnTo>
                        <a:pt x="121" y="358"/>
                      </a:lnTo>
                      <a:lnTo>
                        <a:pt x="120" y="355"/>
                      </a:lnTo>
                      <a:lnTo>
                        <a:pt x="120" y="352"/>
                      </a:lnTo>
                      <a:lnTo>
                        <a:pt x="122" y="349"/>
                      </a:lnTo>
                      <a:lnTo>
                        <a:pt x="124" y="347"/>
                      </a:lnTo>
                      <a:lnTo>
                        <a:pt x="127" y="347"/>
                      </a:lnTo>
                      <a:lnTo>
                        <a:pt x="128" y="347"/>
                      </a:lnTo>
                      <a:lnTo>
                        <a:pt x="130" y="346"/>
                      </a:lnTo>
                      <a:lnTo>
                        <a:pt x="131" y="345"/>
                      </a:lnTo>
                      <a:lnTo>
                        <a:pt x="133" y="345"/>
                      </a:lnTo>
                      <a:close/>
                      <a:moveTo>
                        <a:pt x="696" y="334"/>
                      </a:moveTo>
                      <a:lnTo>
                        <a:pt x="698" y="335"/>
                      </a:lnTo>
                      <a:lnTo>
                        <a:pt x="699" y="337"/>
                      </a:lnTo>
                      <a:lnTo>
                        <a:pt x="699" y="339"/>
                      </a:lnTo>
                      <a:lnTo>
                        <a:pt x="699" y="341"/>
                      </a:lnTo>
                      <a:lnTo>
                        <a:pt x="698" y="344"/>
                      </a:lnTo>
                      <a:lnTo>
                        <a:pt x="697" y="347"/>
                      </a:lnTo>
                      <a:lnTo>
                        <a:pt x="695" y="348"/>
                      </a:lnTo>
                      <a:lnTo>
                        <a:pt x="692" y="350"/>
                      </a:lnTo>
                      <a:lnTo>
                        <a:pt x="689" y="350"/>
                      </a:lnTo>
                      <a:lnTo>
                        <a:pt x="686" y="349"/>
                      </a:lnTo>
                      <a:lnTo>
                        <a:pt x="684" y="348"/>
                      </a:lnTo>
                      <a:lnTo>
                        <a:pt x="681" y="347"/>
                      </a:lnTo>
                      <a:lnTo>
                        <a:pt x="680" y="346"/>
                      </a:lnTo>
                      <a:lnTo>
                        <a:pt x="680" y="344"/>
                      </a:lnTo>
                      <a:lnTo>
                        <a:pt x="681" y="341"/>
                      </a:lnTo>
                      <a:lnTo>
                        <a:pt x="685" y="340"/>
                      </a:lnTo>
                      <a:lnTo>
                        <a:pt x="686" y="339"/>
                      </a:lnTo>
                      <a:lnTo>
                        <a:pt x="688" y="337"/>
                      </a:lnTo>
                      <a:lnTo>
                        <a:pt x="690" y="336"/>
                      </a:lnTo>
                      <a:lnTo>
                        <a:pt x="692" y="335"/>
                      </a:lnTo>
                      <a:lnTo>
                        <a:pt x="694" y="334"/>
                      </a:lnTo>
                      <a:lnTo>
                        <a:pt x="696" y="334"/>
                      </a:lnTo>
                      <a:close/>
                      <a:moveTo>
                        <a:pt x="281" y="331"/>
                      </a:moveTo>
                      <a:lnTo>
                        <a:pt x="282" y="333"/>
                      </a:lnTo>
                      <a:lnTo>
                        <a:pt x="283" y="333"/>
                      </a:lnTo>
                      <a:lnTo>
                        <a:pt x="283" y="333"/>
                      </a:lnTo>
                      <a:lnTo>
                        <a:pt x="284" y="333"/>
                      </a:lnTo>
                      <a:lnTo>
                        <a:pt x="285" y="331"/>
                      </a:lnTo>
                      <a:lnTo>
                        <a:pt x="288" y="335"/>
                      </a:lnTo>
                      <a:lnTo>
                        <a:pt x="292" y="336"/>
                      </a:lnTo>
                      <a:lnTo>
                        <a:pt x="294" y="337"/>
                      </a:lnTo>
                      <a:lnTo>
                        <a:pt x="296" y="339"/>
                      </a:lnTo>
                      <a:lnTo>
                        <a:pt x="298" y="340"/>
                      </a:lnTo>
                      <a:lnTo>
                        <a:pt x="300" y="341"/>
                      </a:lnTo>
                      <a:lnTo>
                        <a:pt x="303" y="342"/>
                      </a:lnTo>
                      <a:lnTo>
                        <a:pt x="303" y="345"/>
                      </a:lnTo>
                      <a:lnTo>
                        <a:pt x="302" y="347"/>
                      </a:lnTo>
                      <a:lnTo>
                        <a:pt x="299" y="348"/>
                      </a:lnTo>
                      <a:lnTo>
                        <a:pt x="296" y="349"/>
                      </a:lnTo>
                      <a:lnTo>
                        <a:pt x="294" y="350"/>
                      </a:lnTo>
                      <a:lnTo>
                        <a:pt x="292" y="350"/>
                      </a:lnTo>
                      <a:lnTo>
                        <a:pt x="288" y="350"/>
                      </a:lnTo>
                      <a:lnTo>
                        <a:pt x="285" y="349"/>
                      </a:lnTo>
                      <a:lnTo>
                        <a:pt x="282" y="348"/>
                      </a:lnTo>
                      <a:lnTo>
                        <a:pt x="278" y="347"/>
                      </a:lnTo>
                      <a:lnTo>
                        <a:pt x="277" y="345"/>
                      </a:lnTo>
                      <a:lnTo>
                        <a:pt x="276" y="342"/>
                      </a:lnTo>
                      <a:lnTo>
                        <a:pt x="277" y="340"/>
                      </a:lnTo>
                      <a:lnTo>
                        <a:pt x="277" y="337"/>
                      </a:lnTo>
                      <a:lnTo>
                        <a:pt x="280" y="335"/>
                      </a:lnTo>
                      <a:lnTo>
                        <a:pt x="281" y="331"/>
                      </a:lnTo>
                      <a:close/>
                      <a:moveTo>
                        <a:pt x="210" y="326"/>
                      </a:moveTo>
                      <a:lnTo>
                        <a:pt x="212" y="327"/>
                      </a:lnTo>
                      <a:lnTo>
                        <a:pt x="215" y="331"/>
                      </a:lnTo>
                      <a:lnTo>
                        <a:pt x="214" y="336"/>
                      </a:lnTo>
                      <a:lnTo>
                        <a:pt x="211" y="342"/>
                      </a:lnTo>
                      <a:lnTo>
                        <a:pt x="210" y="347"/>
                      </a:lnTo>
                      <a:lnTo>
                        <a:pt x="211" y="350"/>
                      </a:lnTo>
                      <a:lnTo>
                        <a:pt x="211" y="352"/>
                      </a:lnTo>
                      <a:lnTo>
                        <a:pt x="211" y="353"/>
                      </a:lnTo>
                      <a:lnTo>
                        <a:pt x="211" y="356"/>
                      </a:lnTo>
                      <a:lnTo>
                        <a:pt x="210" y="359"/>
                      </a:lnTo>
                      <a:lnTo>
                        <a:pt x="210" y="361"/>
                      </a:lnTo>
                      <a:lnTo>
                        <a:pt x="210" y="363"/>
                      </a:lnTo>
                      <a:lnTo>
                        <a:pt x="211" y="364"/>
                      </a:lnTo>
                      <a:lnTo>
                        <a:pt x="212" y="364"/>
                      </a:lnTo>
                      <a:lnTo>
                        <a:pt x="215" y="366"/>
                      </a:lnTo>
                      <a:lnTo>
                        <a:pt x="218" y="366"/>
                      </a:lnTo>
                      <a:lnTo>
                        <a:pt x="219" y="367"/>
                      </a:lnTo>
                      <a:lnTo>
                        <a:pt x="221" y="369"/>
                      </a:lnTo>
                      <a:lnTo>
                        <a:pt x="222" y="371"/>
                      </a:lnTo>
                      <a:lnTo>
                        <a:pt x="223" y="372"/>
                      </a:lnTo>
                      <a:lnTo>
                        <a:pt x="225" y="373"/>
                      </a:lnTo>
                      <a:lnTo>
                        <a:pt x="226" y="374"/>
                      </a:lnTo>
                      <a:lnTo>
                        <a:pt x="228" y="374"/>
                      </a:lnTo>
                      <a:lnTo>
                        <a:pt x="230" y="373"/>
                      </a:lnTo>
                      <a:lnTo>
                        <a:pt x="231" y="372"/>
                      </a:lnTo>
                      <a:lnTo>
                        <a:pt x="232" y="370"/>
                      </a:lnTo>
                      <a:lnTo>
                        <a:pt x="234" y="367"/>
                      </a:lnTo>
                      <a:lnTo>
                        <a:pt x="236" y="366"/>
                      </a:lnTo>
                      <a:lnTo>
                        <a:pt x="238" y="363"/>
                      </a:lnTo>
                      <a:lnTo>
                        <a:pt x="241" y="363"/>
                      </a:lnTo>
                      <a:lnTo>
                        <a:pt x="249" y="363"/>
                      </a:lnTo>
                      <a:lnTo>
                        <a:pt x="253" y="367"/>
                      </a:lnTo>
                      <a:lnTo>
                        <a:pt x="254" y="372"/>
                      </a:lnTo>
                      <a:lnTo>
                        <a:pt x="253" y="380"/>
                      </a:lnTo>
                      <a:lnTo>
                        <a:pt x="250" y="388"/>
                      </a:lnTo>
                      <a:lnTo>
                        <a:pt x="247" y="395"/>
                      </a:lnTo>
                      <a:lnTo>
                        <a:pt x="242" y="403"/>
                      </a:lnTo>
                      <a:lnTo>
                        <a:pt x="239" y="407"/>
                      </a:lnTo>
                      <a:lnTo>
                        <a:pt x="233" y="414"/>
                      </a:lnTo>
                      <a:lnTo>
                        <a:pt x="227" y="420"/>
                      </a:lnTo>
                      <a:lnTo>
                        <a:pt x="220" y="423"/>
                      </a:lnTo>
                      <a:lnTo>
                        <a:pt x="212" y="422"/>
                      </a:lnTo>
                      <a:lnTo>
                        <a:pt x="210" y="420"/>
                      </a:lnTo>
                      <a:lnTo>
                        <a:pt x="208" y="420"/>
                      </a:lnTo>
                      <a:lnTo>
                        <a:pt x="206" y="420"/>
                      </a:lnTo>
                      <a:lnTo>
                        <a:pt x="205" y="421"/>
                      </a:lnTo>
                      <a:lnTo>
                        <a:pt x="204" y="423"/>
                      </a:lnTo>
                      <a:lnTo>
                        <a:pt x="203" y="424"/>
                      </a:lnTo>
                      <a:lnTo>
                        <a:pt x="201" y="425"/>
                      </a:lnTo>
                      <a:lnTo>
                        <a:pt x="200" y="427"/>
                      </a:lnTo>
                      <a:lnTo>
                        <a:pt x="199" y="428"/>
                      </a:lnTo>
                      <a:lnTo>
                        <a:pt x="198" y="428"/>
                      </a:lnTo>
                      <a:lnTo>
                        <a:pt x="189" y="427"/>
                      </a:lnTo>
                      <a:lnTo>
                        <a:pt x="182" y="427"/>
                      </a:lnTo>
                      <a:lnTo>
                        <a:pt x="174" y="431"/>
                      </a:lnTo>
                      <a:lnTo>
                        <a:pt x="171" y="434"/>
                      </a:lnTo>
                      <a:lnTo>
                        <a:pt x="168" y="437"/>
                      </a:lnTo>
                      <a:lnTo>
                        <a:pt x="166" y="439"/>
                      </a:lnTo>
                      <a:lnTo>
                        <a:pt x="163" y="442"/>
                      </a:lnTo>
                      <a:lnTo>
                        <a:pt x="160" y="445"/>
                      </a:lnTo>
                      <a:lnTo>
                        <a:pt x="155" y="447"/>
                      </a:lnTo>
                      <a:lnTo>
                        <a:pt x="151" y="450"/>
                      </a:lnTo>
                      <a:lnTo>
                        <a:pt x="147" y="453"/>
                      </a:lnTo>
                      <a:lnTo>
                        <a:pt x="144" y="456"/>
                      </a:lnTo>
                      <a:lnTo>
                        <a:pt x="142" y="459"/>
                      </a:lnTo>
                      <a:lnTo>
                        <a:pt x="139" y="462"/>
                      </a:lnTo>
                      <a:lnTo>
                        <a:pt x="134" y="467"/>
                      </a:lnTo>
                      <a:lnTo>
                        <a:pt x="131" y="468"/>
                      </a:lnTo>
                      <a:lnTo>
                        <a:pt x="127" y="469"/>
                      </a:lnTo>
                      <a:lnTo>
                        <a:pt x="123" y="470"/>
                      </a:lnTo>
                      <a:lnTo>
                        <a:pt x="119" y="471"/>
                      </a:lnTo>
                      <a:lnTo>
                        <a:pt x="111" y="469"/>
                      </a:lnTo>
                      <a:lnTo>
                        <a:pt x="103" y="466"/>
                      </a:lnTo>
                      <a:lnTo>
                        <a:pt x="100" y="459"/>
                      </a:lnTo>
                      <a:lnTo>
                        <a:pt x="100" y="454"/>
                      </a:lnTo>
                      <a:lnTo>
                        <a:pt x="103" y="450"/>
                      </a:lnTo>
                      <a:lnTo>
                        <a:pt x="109" y="447"/>
                      </a:lnTo>
                      <a:lnTo>
                        <a:pt x="113" y="444"/>
                      </a:lnTo>
                      <a:lnTo>
                        <a:pt x="117" y="439"/>
                      </a:lnTo>
                      <a:lnTo>
                        <a:pt x="122" y="436"/>
                      </a:lnTo>
                      <a:lnTo>
                        <a:pt x="128" y="435"/>
                      </a:lnTo>
                      <a:lnTo>
                        <a:pt x="134" y="434"/>
                      </a:lnTo>
                      <a:lnTo>
                        <a:pt x="140" y="432"/>
                      </a:lnTo>
                      <a:lnTo>
                        <a:pt x="143" y="428"/>
                      </a:lnTo>
                      <a:lnTo>
                        <a:pt x="143" y="427"/>
                      </a:lnTo>
                      <a:lnTo>
                        <a:pt x="143" y="426"/>
                      </a:lnTo>
                      <a:lnTo>
                        <a:pt x="141" y="426"/>
                      </a:lnTo>
                      <a:lnTo>
                        <a:pt x="140" y="426"/>
                      </a:lnTo>
                      <a:lnTo>
                        <a:pt x="136" y="427"/>
                      </a:lnTo>
                      <a:lnTo>
                        <a:pt x="134" y="428"/>
                      </a:lnTo>
                      <a:lnTo>
                        <a:pt x="132" y="428"/>
                      </a:lnTo>
                      <a:lnTo>
                        <a:pt x="130" y="429"/>
                      </a:lnTo>
                      <a:lnTo>
                        <a:pt x="128" y="431"/>
                      </a:lnTo>
                      <a:lnTo>
                        <a:pt x="125" y="431"/>
                      </a:lnTo>
                      <a:lnTo>
                        <a:pt x="123" y="429"/>
                      </a:lnTo>
                      <a:lnTo>
                        <a:pt x="122" y="429"/>
                      </a:lnTo>
                      <a:lnTo>
                        <a:pt x="120" y="429"/>
                      </a:lnTo>
                      <a:lnTo>
                        <a:pt x="117" y="431"/>
                      </a:lnTo>
                      <a:lnTo>
                        <a:pt x="114" y="432"/>
                      </a:lnTo>
                      <a:lnTo>
                        <a:pt x="112" y="432"/>
                      </a:lnTo>
                      <a:lnTo>
                        <a:pt x="110" y="432"/>
                      </a:lnTo>
                      <a:lnTo>
                        <a:pt x="109" y="431"/>
                      </a:lnTo>
                      <a:lnTo>
                        <a:pt x="106" y="429"/>
                      </a:lnTo>
                      <a:lnTo>
                        <a:pt x="105" y="431"/>
                      </a:lnTo>
                      <a:lnTo>
                        <a:pt x="103" y="432"/>
                      </a:lnTo>
                      <a:lnTo>
                        <a:pt x="102" y="434"/>
                      </a:lnTo>
                      <a:lnTo>
                        <a:pt x="102" y="435"/>
                      </a:lnTo>
                      <a:lnTo>
                        <a:pt x="96" y="442"/>
                      </a:lnTo>
                      <a:lnTo>
                        <a:pt x="89" y="446"/>
                      </a:lnTo>
                      <a:lnTo>
                        <a:pt x="83" y="446"/>
                      </a:lnTo>
                      <a:lnTo>
                        <a:pt x="80" y="445"/>
                      </a:lnTo>
                      <a:lnTo>
                        <a:pt x="79" y="443"/>
                      </a:lnTo>
                      <a:lnTo>
                        <a:pt x="79" y="440"/>
                      </a:lnTo>
                      <a:lnTo>
                        <a:pt x="79" y="438"/>
                      </a:lnTo>
                      <a:lnTo>
                        <a:pt x="78" y="437"/>
                      </a:lnTo>
                      <a:lnTo>
                        <a:pt x="77" y="436"/>
                      </a:lnTo>
                      <a:lnTo>
                        <a:pt x="76" y="436"/>
                      </a:lnTo>
                      <a:lnTo>
                        <a:pt x="74" y="436"/>
                      </a:lnTo>
                      <a:lnTo>
                        <a:pt x="72" y="437"/>
                      </a:lnTo>
                      <a:lnTo>
                        <a:pt x="69" y="437"/>
                      </a:lnTo>
                      <a:lnTo>
                        <a:pt x="67" y="437"/>
                      </a:lnTo>
                      <a:lnTo>
                        <a:pt x="65" y="436"/>
                      </a:lnTo>
                      <a:lnTo>
                        <a:pt x="63" y="436"/>
                      </a:lnTo>
                      <a:lnTo>
                        <a:pt x="62" y="435"/>
                      </a:lnTo>
                      <a:lnTo>
                        <a:pt x="60" y="433"/>
                      </a:lnTo>
                      <a:lnTo>
                        <a:pt x="59" y="432"/>
                      </a:lnTo>
                      <a:lnTo>
                        <a:pt x="60" y="429"/>
                      </a:lnTo>
                      <a:lnTo>
                        <a:pt x="62" y="426"/>
                      </a:lnTo>
                      <a:lnTo>
                        <a:pt x="65" y="424"/>
                      </a:lnTo>
                      <a:lnTo>
                        <a:pt x="73" y="418"/>
                      </a:lnTo>
                      <a:lnTo>
                        <a:pt x="81" y="416"/>
                      </a:lnTo>
                      <a:lnTo>
                        <a:pt x="91" y="415"/>
                      </a:lnTo>
                      <a:lnTo>
                        <a:pt x="94" y="413"/>
                      </a:lnTo>
                      <a:lnTo>
                        <a:pt x="95" y="412"/>
                      </a:lnTo>
                      <a:lnTo>
                        <a:pt x="95" y="412"/>
                      </a:lnTo>
                      <a:lnTo>
                        <a:pt x="94" y="411"/>
                      </a:lnTo>
                      <a:lnTo>
                        <a:pt x="92" y="411"/>
                      </a:lnTo>
                      <a:lnTo>
                        <a:pt x="90" y="411"/>
                      </a:lnTo>
                      <a:lnTo>
                        <a:pt x="88" y="411"/>
                      </a:lnTo>
                      <a:lnTo>
                        <a:pt x="86" y="411"/>
                      </a:lnTo>
                      <a:lnTo>
                        <a:pt x="84" y="411"/>
                      </a:lnTo>
                      <a:lnTo>
                        <a:pt x="81" y="411"/>
                      </a:lnTo>
                      <a:lnTo>
                        <a:pt x="80" y="411"/>
                      </a:lnTo>
                      <a:lnTo>
                        <a:pt x="80" y="411"/>
                      </a:lnTo>
                      <a:lnTo>
                        <a:pt x="80" y="409"/>
                      </a:lnTo>
                      <a:lnTo>
                        <a:pt x="81" y="407"/>
                      </a:lnTo>
                      <a:lnTo>
                        <a:pt x="84" y="406"/>
                      </a:lnTo>
                      <a:lnTo>
                        <a:pt x="86" y="405"/>
                      </a:lnTo>
                      <a:lnTo>
                        <a:pt x="88" y="404"/>
                      </a:lnTo>
                      <a:lnTo>
                        <a:pt x="91" y="403"/>
                      </a:lnTo>
                      <a:lnTo>
                        <a:pt x="92" y="402"/>
                      </a:lnTo>
                      <a:lnTo>
                        <a:pt x="94" y="401"/>
                      </a:lnTo>
                      <a:lnTo>
                        <a:pt x="92" y="400"/>
                      </a:lnTo>
                      <a:lnTo>
                        <a:pt x="91" y="400"/>
                      </a:lnTo>
                      <a:lnTo>
                        <a:pt x="90" y="399"/>
                      </a:lnTo>
                      <a:lnTo>
                        <a:pt x="88" y="399"/>
                      </a:lnTo>
                      <a:lnTo>
                        <a:pt x="86" y="399"/>
                      </a:lnTo>
                      <a:lnTo>
                        <a:pt x="84" y="399"/>
                      </a:lnTo>
                      <a:lnTo>
                        <a:pt x="83" y="398"/>
                      </a:lnTo>
                      <a:lnTo>
                        <a:pt x="83" y="396"/>
                      </a:lnTo>
                      <a:lnTo>
                        <a:pt x="85" y="390"/>
                      </a:lnTo>
                      <a:lnTo>
                        <a:pt x="91" y="384"/>
                      </a:lnTo>
                      <a:lnTo>
                        <a:pt x="100" y="379"/>
                      </a:lnTo>
                      <a:lnTo>
                        <a:pt x="102" y="377"/>
                      </a:lnTo>
                      <a:lnTo>
                        <a:pt x="105" y="373"/>
                      </a:lnTo>
                      <a:lnTo>
                        <a:pt x="106" y="371"/>
                      </a:lnTo>
                      <a:lnTo>
                        <a:pt x="107" y="368"/>
                      </a:lnTo>
                      <a:lnTo>
                        <a:pt x="109" y="366"/>
                      </a:lnTo>
                      <a:lnTo>
                        <a:pt x="110" y="363"/>
                      </a:lnTo>
                      <a:lnTo>
                        <a:pt x="113" y="363"/>
                      </a:lnTo>
                      <a:lnTo>
                        <a:pt x="117" y="362"/>
                      </a:lnTo>
                      <a:lnTo>
                        <a:pt x="120" y="362"/>
                      </a:lnTo>
                      <a:lnTo>
                        <a:pt x="122" y="362"/>
                      </a:lnTo>
                      <a:lnTo>
                        <a:pt x="124" y="363"/>
                      </a:lnTo>
                      <a:lnTo>
                        <a:pt x="125" y="366"/>
                      </a:lnTo>
                      <a:lnTo>
                        <a:pt x="125" y="367"/>
                      </a:lnTo>
                      <a:lnTo>
                        <a:pt x="125" y="370"/>
                      </a:lnTo>
                      <a:lnTo>
                        <a:pt x="127" y="372"/>
                      </a:lnTo>
                      <a:lnTo>
                        <a:pt x="128" y="373"/>
                      </a:lnTo>
                      <a:lnTo>
                        <a:pt x="130" y="374"/>
                      </a:lnTo>
                      <a:lnTo>
                        <a:pt x="132" y="374"/>
                      </a:lnTo>
                      <a:lnTo>
                        <a:pt x="134" y="373"/>
                      </a:lnTo>
                      <a:lnTo>
                        <a:pt x="136" y="372"/>
                      </a:lnTo>
                      <a:lnTo>
                        <a:pt x="139" y="371"/>
                      </a:lnTo>
                      <a:lnTo>
                        <a:pt x="141" y="370"/>
                      </a:lnTo>
                      <a:lnTo>
                        <a:pt x="145" y="368"/>
                      </a:lnTo>
                      <a:lnTo>
                        <a:pt x="149" y="368"/>
                      </a:lnTo>
                      <a:lnTo>
                        <a:pt x="152" y="368"/>
                      </a:lnTo>
                      <a:lnTo>
                        <a:pt x="154" y="370"/>
                      </a:lnTo>
                      <a:lnTo>
                        <a:pt x="156" y="372"/>
                      </a:lnTo>
                      <a:lnTo>
                        <a:pt x="157" y="373"/>
                      </a:lnTo>
                      <a:lnTo>
                        <a:pt x="157" y="375"/>
                      </a:lnTo>
                      <a:lnTo>
                        <a:pt x="157" y="378"/>
                      </a:lnTo>
                      <a:lnTo>
                        <a:pt x="156" y="381"/>
                      </a:lnTo>
                      <a:lnTo>
                        <a:pt x="156" y="383"/>
                      </a:lnTo>
                      <a:lnTo>
                        <a:pt x="156" y="384"/>
                      </a:lnTo>
                      <a:lnTo>
                        <a:pt x="157" y="384"/>
                      </a:lnTo>
                      <a:lnTo>
                        <a:pt x="158" y="384"/>
                      </a:lnTo>
                      <a:lnTo>
                        <a:pt x="161" y="384"/>
                      </a:lnTo>
                      <a:lnTo>
                        <a:pt x="162" y="385"/>
                      </a:lnTo>
                      <a:lnTo>
                        <a:pt x="163" y="386"/>
                      </a:lnTo>
                      <a:lnTo>
                        <a:pt x="163" y="388"/>
                      </a:lnTo>
                      <a:lnTo>
                        <a:pt x="164" y="389"/>
                      </a:lnTo>
                      <a:lnTo>
                        <a:pt x="163" y="391"/>
                      </a:lnTo>
                      <a:lnTo>
                        <a:pt x="163" y="392"/>
                      </a:lnTo>
                      <a:lnTo>
                        <a:pt x="162" y="393"/>
                      </a:lnTo>
                      <a:lnTo>
                        <a:pt x="163" y="394"/>
                      </a:lnTo>
                      <a:lnTo>
                        <a:pt x="165" y="395"/>
                      </a:lnTo>
                      <a:lnTo>
                        <a:pt x="167" y="396"/>
                      </a:lnTo>
                      <a:lnTo>
                        <a:pt x="169" y="396"/>
                      </a:lnTo>
                      <a:lnTo>
                        <a:pt x="172" y="396"/>
                      </a:lnTo>
                      <a:lnTo>
                        <a:pt x="174" y="396"/>
                      </a:lnTo>
                      <a:lnTo>
                        <a:pt x="178" y="398"/>
                      </a:lnTo>
                      <a:lnTo>
                        <a:pt x="184" y="399"/>
                      </a:lnTo>
                      <a:lnTo>
                        <a:pt x="189" y="399"/>
                      </a:lnTo>
                      <a:lnTo>
                        <a:pt x="194" y="398"/>
                      </a:lnTo>
                      <a:lnTo>
                        <a:pt x="198" y="392"/>
                      </a:lnTo>
                      <a:lnTo>
                        <a:pt x="198" y="389"/>
                      </a:lnTo>
                      <a:lnTo>
                        <a:pt x="197" y="386"/>
                      </a:lnTo>
                      <a:lnTo>
                        <a:pt x="196" y="384"/>
                      </a:lnTo>
                      <a:lnTo>
                        <a:pt x="194" y="382"/>
                      </a:lnTo>
                      <a:lnTo>
                        <a:pt x="193" y="380"/>
                      </a:lnTo>
                      <a:lnTo>
                        <a:pt x="192" y="377"/>
                      </a:lnTo>
                      <a:lnTo>
                        <a:pt x="192" y="373"/>
                      </a:lnTo>
                      <a:lnTo>
                        <a:pt x="192" y="371"/>
                      </a:lnTo>
                      <a:lnTo>
                        <a:pt x="192" y="369"/>
                      </a:lnTo>
                      <a:lnTo>
                        <a:pt x="192" y="367"/>
                      </a:lnTo>
                      <a:lnTo>
                        <a:pt x="192" y="366"/>
                      </a:lnTo>
                      <a:lnTo>
                        <a:pt x="189" y="364"/>
                      </a:lnTo>
                      <a:lnTo>
                        <a:pt x="187" y="363"/>
                      </a:lnTo>
                      <a:lnTo>
                        <a:pt x="185" y="363"/>
                      </a:lnTo>
                      <a:lnTo>
                        <a:pt x="183" y="363"/>
                      </a:lnTo>
                      <a:lnTo>
                        <a:pt x="179" y="362"/>
                      </a:lnTo>
                      <a:lnTo>
                        <a:pt x="178" y="360"/>
                      </a:lnTo>
                      <a:lnTo>
                        <a:pt x="177" y="358"/>
                      </a:lnTo>
                      <a:lnTo>
                        <a:pt x="178" y="356"/>
                      </a:lnTo>
                      <a:lnTo>
                        <a:pt x="178" y="353"/>
                      </a:lnTo>
                      <a:lnTo>
                        <a:pt x="180" y="351"/>
                      </a:lnTo>
                      <a:lnTo>
                        <a:pt x="183" y="349"/>
                      </a:lnTo>
                      <a:lnTo>
                        <a:pt x="185" y="347"/>
                      </a:lnTo>
                      <a:lnTo>
                        <a:pt x="189" y="345"/>
                      </a:lnTo>
                      <a:lnTo>
                        <a:pt x="194" y="342"/>
                      </a:lnTo>
                      <a:lnTo>
                        <a:pt x="197" y="340"/>
                      </a:lnTo>
                      <a:lnTo>
                        <a:pt x="199" y="337"/>
                      </a:lnTo>
                      <a:lnTo>
                        <a:pt x="203" y="334"/>
                      </a:lnTo>
                      <a:lnTo>
                        <a:pt x="203" y="333"/>
                      </a:lnTo>
                      <a:lnTo>
                        <a:pt x="203" y="330"/>
                      </a:lnTo>
                      <a:lnTo>
                        <a:pt x="205" y="329"/>
                      </a:lnTo>
                      <a:lnTo>
                        <a:pt x="206" y="327"/>
                      </a:lnTo>
                      <a:lnTo>
                        <a:pt x="208" y="326"/>
                      </a:lnTo>
                      <a:lnTo>
                        <a:pt x="210" y="326"/>
                      </a:lnTo>
                      <a:close/>
                      <a:moveTo>
                        <a:pt x="347" y="315"/>
                      </a:moveTo>
                      <a:lnTo>
                        <a:pt x="357" y="316"/>
                      </a:lnTo>
                      <a:lnTo>
                        <a:pt x="360" y="316"/>
                      </a:lnTo>
                      <a:lnTo>
                        <a:pt x="363" y="316"/>
                      </a:lnTo>
                      <a:lnTo>
                        <a:pt x="365" y="317"/>
                      </a:lnTo>
                      <a:lnTo>
                        <a:pt x="368" y="317"/>
                      </a:lnTo>
                      <a:lnTo>
                        <a:pt x="370" y="318"/>
                      </a:lnTo>
                      <a:lnTo>
                        <a:pt x="373" y="319"/>
                      </a:lnTo>
                      <a:lnTo>
                        <a:pt x="376" y="320"/>
                      </a:lnTo>
                      <a:lnTo>
                        <a:pt x="379" y="320"/>
                      </a:lnTo>
                      <a:lnTo>
                        <a:pt x="381" y="323"/>
                      </a:lnTo>
                      <a:lnTo>
                        <a:pt x="385" y="327"/>
                      </a:lnTo>
                      <a:lnTo>
                        <a:pt x="386" y="334"/>
                      </a:lnTo>
                      <a:lnTo>
                        <a:pt x="386" y="340"/>
                      </a:lnTo>
                      <a:lnTo>
                        <a:pt x="385" y="347"/>
                      </a:lnTo>
                      <a:lnTo>
                        <a:pt x="385" y="352"/>
                      </a:lnTo>
                      <a:lnTo>
                        <a:pt x="387" y="357"/>
                      </a:lnTo>
                      <a:lnTo>
                        <a:pt x="391" y="361"/>
                      </a:lnTo>
                      <a:lnTo>
                        <a:pt x="395" y="367"/>
                      </a:lnTo>
                      <a:lnTo>
                        <a:pt x="395" y="369"/>
                      </a:lnTo>
                      <a:lnTo>
                        <a:pt x="394" y="370"/>
                      </a:lnTo>
                      <a:lnTo>
                        <a:pt x="393" y="371"/>
                      </a:lnTo>
                      <a:lnTo>
                        <a:pt x="391" y="371"/>
                      </a:lnTo>
                      <a:lnTo>
                        <a:pt x="389" y="372"/>
                      </a:lnTo>
                      <a:lnTo>
                        <a:pt x="385" y="373"/>
                      </a:lnTo>
                      <a:lnTo>
                        <a:pt x="383" y="373"/>
                      </a:lnTo>
                      <a:lnTo>
                        <a:pt x="381" y="375"/>
                      </a:lnTo>
                      <a:lnTo>
                        <a:pt x="379" y="379"/>
                      </a:lnTo>
                      <a:lnTo>
                        <a:pt x="376" y="381"/>
                      </a:lnTo>
                      <a:lnTo>
                        <a:pt x="375" y="384"/>
                      </a:lnTo>
                      <a:lnTo>
                        <a:pt x="374" y="386"/>
                      </a:lnTo>
                      <a:lnTo>
                        <a:pt x="372" y="389"/>
                      </a:lnTo>
                      <a:lnTo>
                        <a:pt x="370" y="391"/>
                      </a:lnTo>
                      <a:lnTo>
                        <a:pt x="368" y="393"/>
                      </a:lnTo>
                      <a:lnTo>
                        <a:pt x="365" y="395"/>
                      </a:lnTo>
                      <a:lnTo>
                        <a:pt x="359" y="400"/>
                      </a:lnTo>
                      <a:lnTo>
                        <a:pt x="351" y="402"/>
                      </a:lnTo>
                      <a:lnTo>
                        <a:pt x="343" y="403"/>
                      </a:lnTo>
                      <a:lnTo>
                        <a:pt x="336" y="402"/>
                      </a:lnTo>
                      <a:lnTo>
                        <a:pt x="334" y="400"/>
                      </a:lnTo>
                      <a:lnTo>
                        <a:pt x="331" y="398"/>
                      </a:lnTo>
                      <a:lnTo>
                        <a:pt x="329" y="395"/>
                      </a:lnTo>
                      <a:lnTo>
                        <a:pt x="327" y="393"/>
                      </a:lnTo>
                      <a:lnTo>
                        <a:pt x="326" y="391"/>
                      </a:lnTo>
                      <a:lnTo>
                        <a:pt x="325" y="389"/>
                      </a:lnTo>
                      <a:lnTo>
                        <a:pt x="326" y="386"/>
                      </a:lnTo>
                      <a:lnTo>
                        <a:pt x="327" y="384"/>
                      </a:lnTo>
                      <a:lnTo>
                        <a:pt x="330" y="382"/>
                      </a:lnTo>
                      <a:lnTo>
                        <a:pt x="335" y="379"/>
                      </a:lnTo>
                      <a:lnTo>
                        <a:pt x="340" y="375"/>
                      </a:lnTo>
                      <a:lnTo>
                        <a:pt x="345" y="371"/>
                      </a:lnTo>
                      <a:lnTo>
                        <a:pt x="345" y="369"/>
                      </a:lnTo>
                      <a:lnTo>
                        <a:pt x="341" y="368"/>
                      </a:lnTo>
                      <a:lnTo>
                        <a:pt x="336" y="370"/>
                      </a:lnTo>
                      <a:lnTo>
                        <a:pt x="329" y="372"/>
                      </a:lnTo>
                      <a:lnTo>
                        <a:pt x="325" y="373"/>
                      </a:lnTo>
                      <a:lnTo>
                        <a:pt x="320" y="375"/>
                      </a:lnTo>
                      <a:lnTo>
                        <a:pt x="316" y="379"/>
                      </a:lnTo>
                      <a:lnTo>
                        <a:pt x="310" y="380"/>
                      </a:lnTo>
                      <a:lnTo>
                        <a:pt x="306" y="380"/>
                      </a:lnTo>
                      <a:lnTo>
                        <a:pt x="304" y="378"/>
                      </a:lnTo>
                      <a:lnTo>
                        <a:pt x="305" y="372"/>
                      </a:lnTo>
                      <a:lnTo>
                        <a:pt x="306" y="366"/>
                      </a:lnTo>
                      <a:lnTo>
                        <a:pt x="309" y="360"/>
                      </a:lnTo>
                      <a:lnTo>
                        <a:pt x="314" y="356"/>
                      </a:lnTo>
                      <a:lnTo>
                        <a:pt x="319" y="353"/>
                      </a:lnTo>
                      <a:lnTo>
                        <a:pt x="325" y="350"/>
                      </a:lnTo>
                      <a:lnTo>
                        <a:pt x="327" y="347"/>
                      </a:lnTo>
                      <a:lnTo>
                        <a:pt x="327" y="346"/>
                      </a:lnTo>
                      <a:lnTo>
                        <a:pt x="325" y="345"/>
                      </a:lnTo>
                      <a:lnTo>
                        <a:pt x="324" y="345"/>
                      </a:lnTo>
                      <a:lnTo>
                        <a:pt x="321" y="344"/>
                      </a:lnTo>
                      <a:lnTo>
                        <a:pt x="319" y="342"/>
                      </a:lnTo>
                      <a:lnTo>
                        <a:pt x="318" y="341"/>
                      </a:lnTo>
                      <a:lnTo>
                        <a:pt x="317" y="340"/>
                      </a:lnTo>
                      <a:lnTo>
                        <a:pt x="317" y="339"/>
                      </a:lnTo>
                      <a:lnTo>
                        <a:pt x="318" y="337"/>
                      </a:lnTo>
                      <a:lnTo>
                        <a:pt x="320" y="336"/>
                      </a:lnTo>
                      <a:lnTo>
                        <a:pt x="320" y="335"/>
                      </a:lnTo>
                      <a:lnTo>
                        <a:pt x="323" y="335"/>
                      </a:lnTo>
                      <a:lnTo>
                        <a:pt x="325" y="335"/>
                      </a:lnTo>
                      <a:lnTo>
                        <a:pt x="328" y="334"/>
                      </a:lnTo>
                      <a:lnTo>
                        <a:pt x="331" y="333"/>
                      </a:lnTo>
                      <a:lnTo>
                        <a:pt x="334" y="333"/>
                      </a:lnTo>
                      <a:lnTo>
                        <a:pt x="336" y="331"/>
                      </a:lnTo>
                      <a:lnTo>
                        <a:pt x="338" y="330"/>
                      </a:lnTo>
                      <a:lnTo>
                        <a:pt x="339" y="329"/>
                      </a:lnTo>
                      <a:lnTo>
                        <a:pt x="338" y="328"/>
                      </a:lnTo>
                      <a:lnTo>
                        <a:pt x="336" y="327"/>
                      </a:lnTo>
                      <a:lnTo>
                        <a:pt x="335" y="327"/>
                      </a:lnTo>
                      <a:lnTo>
                        <a:pt x="332" y="327"/>
                      </a:lnTo>
                      <a:lnTo>
                        <a:pt x="330" y="326"/>
                      </a:lnTo>
                      <a:lnTo>
                        <a:pt x="328" y="326"/>
                      </a:lnTo>
                      <a:lnTo>
                        <a:pt x="326" y="326"/>
                      </a:lnTo>
                      <a:lnTo>
                        <a:pt x="324" y="325"/>
                      </a:lnTo>
                      <a:lnTo>
                        <a:pt x="323" y="324"/>
                      </a:lnTo>
                      <a:lnTo>
                        <a:pt x="324" y="323"/>
                      </a:lnTo>
                      <a:lnTo>
                        <a:pt x="325" y="322"/>
                      </a:lnTo>
                      <a:lnTo>
                        <a:pt x="327" y="320"/>
                      </a:lnTo>
                      <a:lnTo>
                        <a:pt x="337" y="316"/>
                      </a:lnTo>
                      <a:lnTo>
                        <a:pt x="347" y="315"/>
                      </a:lnTo>
                      <a:close/>
                      <a:moveTo>
                        <a:pt x="123" y="314"/>
                      </a:moveTo>
                      <a:lnTo>
                        <a:pt x="124" y="314"/>
                      </a:lnTo>
                      <a:lnTo>
                        <a:pt x="125" y="315"/>
                      </a:lnTo>
                      <a:lnTo>
                        <a:pt x="124" y="316"/>
                      </a:lnTo>
                      <a:lnTo>
                        <a:pt x="123" y="317"/>
                      </a:lnTo>
                      <a:lnTo>
                        <a:pt x="122" y="319"/>
                      </a:lnTo>
                      <a:lnTo>
                        <a:pt x="121" y="320"/>
                      </a:lnTo>
                      <a:lnTo>
                        <a:pt x="120" y="322"/>
                      </a:lnTo>
                      <a:lnTo>
                        <a:pt x="120" y="322"/>
                      </a:lnTo>
                      <a:lnTo>
                        <a:pt x="118" y="324"/>
                      </a:lnTo>
                      <a:lnTo>
                        <a:pt x="118" y="325"/>
                      </a:lnTo>
                      <a:lnTo>
                        <a:pt x="118" y="326"/>
                      </a:lnTo>
                      <a:lnTo>
                        <a:pt x="119" y="326"/>
                      </a:lnTo>
                      <a:lnTo>
                        <a:pt x="119" y="327"/>
                      </a:lnTo>
                      <a:lnTo>
                        <a:pt x="120" y="328"/>
                      </a:lnTo>
                      <a:lnTo>
                        <a:pt x="121" y="329"/>
                      </a:lnTo>
                      <a:lnTo>
                        <a:pt x="122" y="331"/>
                      </a:lnTo>
                      <a:lnTo>
                        <a:pt x="121" y="333"/>
                      </a:lnTo>
                      <a:lnTo>
                        <a:pt x="120" y="334"/>
                      </a:lnTo>
                      <a:lnTo>
                        <a:pt x="118" y="335"/>
                      </a:lnTo>
                      <a:lnTo>
                        <a:pt x="116" y="336"/>
                      </a:lnTo>
                      <a:lnTo>
                        <a:pt x="112" y="339"/>
                      </a:lnTo>
                      <a:lnTo>
                        <a:pt x="111" y="341"/>
                      </a:lnTo>
                      <a:lnTo>
                        <a:pt x="110" y="344"/>
                      </a:lnTo>
                      <a:lnTo>
                        <a:pt x="110" y="346"/>
                      </a:lnTo>
                      <a:lnTo>
                        <a:pt x="111" y="349"/>
                      </a:lnTo>
                      <a:lnTo>
                        <a:pt x="110" y="351"/>
                      </a:lnTo>
                      <a:lnTo>
                        <a:pt x="110" y="355"/>
                      </a:lnTo>
                      <a:lnTo>
                        <a:pt x="108" y="357"/>
                      </a:lnTo>
                      <a:lnTo>
                        <a:pt x="107" y="359"/>
                      </a:lnTo>
                      <a:lnTo>
                        <a:pt x="105" y="361"/>
                      </a:lnTo>
                      <a:lnTo>
                        <a:pt x="100" y="366"/>
                      </a:lnTo>
                      <a:lnTo>
                        <a:pt x="96" y="370"/>
                      </a:lnTo>
                      <a:lnTo>
                        <a:pt x="94" y="373"/>
                      </a:lnTo>
                      <a:lnTo>
                        <a:pt x="91" y="377"/>
                      </a:lnTo>
                      <a:lnTo>
                        <a:pt x="89" y="380"/>
                      </a:lnTo>
                      <a:lnTo>
                        <a:pt x="87" y="382"/>
                      </a:lnTo>
                      <a:lnTo>
                        <a:pt x="85" y="384"/>
                      </a:lnTo>
                      <a:lnTo>
                        <a:pt x="84" y="385"/>
                      </a:lnTo>
                      <a:lnTo>
                        <a:pt x="81" y="386"/>
                      </a:lnTo>
                      <a:lnTo>
                        <a:pt x="80" y="385"/>
                      </a:lnTo>
                      <a:lnTo>
                        <a:pt x="79" y="384"/>
                      </a:lnTo>
                      <a:lnTo>
                        <a:pt x="78" y="382"/>
                      </a:lnTo>
                      <a:lnTo>
                        <a:pt x="77" y="380"/>
                      </a:lnTo>
                      <a:lnTo>
                        <a:pt x="76" y="378"/>
                      </a:lnTo>
                      <a:lnTo>
                        <a:pt x="76" y="375"/>
                      </a:lnTo>
                      <a:lnTo>
                        <a:pt x="75" y="374"/>
                      </a:lnTo>
                      <a:lnTo>
                        <a:pt x="74" y="373"/>
                      </a:lnTo>
                      <a:lnTo>
                        <a:pt x="73" y="373"/>
                      </a:lnTo>
                      <a:lnTo>
                        <a:pt x="70" y="374"/>
                      </a:lnTo>
                      <a:lnTo>
                        <a:pt x="68" y="375"/>
                      </a:lnTo>
                      <a:lnTo>
                        <a:pt x="67" y="377"/>
                      </a:lnTo>
                      <a:lnTo>
                        <a:pt x="65" y="378"/>
                      </a:lnTo>
                      <a:lnTo>
                        <a:pt x="64" y="379"/>
                      </a:lnTo>
                      <a:lnTo>
                        <a:pt x="63" y="380"/>
                      </a:lnTo>
                      <a:lnTo>
                        <a:pt x="59" y="383"/>
                      </a:lnTo>
                      <a:lnTo>
                        <a:pt x="58" y="385"/>
                      </a:lnTo>
                      <a:lnTo>
                        <a:pt x="57" y="389"/>
                      </a:lnTo>
                      <a:lnTo>
                        <a:pt x="56" y="391"/>
                      </a:lnTo>
                      <a:lnTo>
                        <a:pt x="55" y="393"/>
                      </a:lnTo>
                      <a:lnTo>
                        <a:pt x="54" y="396"/>
                      </a:lnTo>
                      <a:lnTo>
                        <a:pt x="52" y="399"/>
                      </a:lnTo>
                      <a:lnTo>
                        <a:pt x="49" y="402"/>
                      </a:lnTo>
                      <a:lnTo>
                        <a:pt x="47" y="405"/>
                      </a:lnTo>
                      <a:lnTo>
                        <a:pt x="44" y="409"/>
                      </a:lnTo>
                      <a:lnTo>
                        <a:pt x="42" y="412"/>
                      </a:lnTo>
                      <a:lnTo>
                        <a:pt x="38" y="413"/>
                      </a:lnTo>
                      <a:lnTo>
                        <a:pt x="36" y="414"/>
                      </a:lnTo>
                      <a:lnTo>
                        <a:pt x="34" y="413"/>
                      </a:lnTo>
                      <a:lnTo>
                        <a:pt x="33" y="412"/>
                      </a:lnTo>
                      <a:lnTo>
                        <a:pt x="32" y="411"/>
                      </a:lnTo>
                      <a:lnTo>
                        <a:pt x="31" y="410"/>
                      </a:lnTo>
                      <a:lnTo>
                        <a:pt x="30" y="409"/>
                      </a:lnTo>
                      <a:lnTo>
                        <a:pt x="27" y="409"/>
                      </a:lnTo>
                      <a:lnTo>
                        <a:pt x="25" y="409"/>
                      </a:lnTo>
                      <a:lnTo>
                        <a:pt x="23" y="410"/>
                      </a:lnTo>
                      <a:lnTo>
                        <a:pt x="22" y="411"/>
                      </a:lnTo>
                      <a:lnTo>
                        <a:pt x="20" y="412"/>
                      </a:lnTo>
                      <a:lnTo>
                        <a:pt x="18" y="414"/>
                      </a:lnTo>
                      <a:lnTo>
                        <a:pt x="16" y="415"/>
                      </a:lnTo>
                      <a:lnTo>
                        <a:pt x="14" y="415"/>
                      </a:lnTo>
                      <a:lnTo>
                        <a:pt x="12" y="413"/>
                      </a:lnTo>
                      <a:lnTo>
                        <a:pt x="11" y="412"/>
                      </a:lnTo>
                      <a:lnTo>
                        <a:pt x="9" y="412"/>
                      </a:lnTo>
                      <a:lnTo>
                        <a:pt x="7" y="413"/>
                      </a:lnTo>
                      <a:lnTo>
                        <a:pt x="3" y="414"/>
                      </a:lnTo>
                      <a:lnTo>
                        <a:pt x="1" y="415"/>
                      </a:lnTo>
                      <a:lnTo>
                        <a:pt x="0" y="415"/>
                      </a:lnTo>
                      <a:lnTo>
                        <a:pt x="0" y="414"/>
                      </a:lnTo>
                      <a:lnTo>
                        <a:pt x="1" y="412"/>
                      </a:lnTo>
                      <a:lnTo>
                        <a:pt x="2" y="410"/>
                      </a:lnTo>
                      <a:lnTo>
                        <a:pt x="2" y="409"/>
                      </a:lnTo>
                      <a:lnTo>
                        <a:pt x="3" y="407"/>
                      </a:lnTo>
                      <a:lnTo>
                        <a:pt x="4" y="405"/>
                      </a:lnTo>
                      <a:lnTo>
                        <a:pt x="5" y="403"/>
                      </a:lnTo>
                      <a:lnTo>
                        <a:pt x="5" y="403"/>
                      </a:lnTo>
                      <a:lnTo>
                        <a:pt x="4" y="401"/>
                      </a:lnTo>
                      <a:lnTo>
                        <a:pt x="3" y="399"/>
                      </a:lnTo>
                      <a:lnTo>
                        <a:pt x="3" y="396"/>
                      </a:lnTo>
                      <a:lnTo>
                        <a:pt x="4" y="394"/>
                      </a:lnTo>
                      <a:lnTo>
                        <a:pt x="8" y="392"/>
                      </a:lnTo>
                      <a:lnTo>
                        <a:pt x="11" y="390"/>
                      </a:lnTo>
                      <a:lnTo>
                        <a:pt x="14" y="389"/>
                      </a:lnTo>
                      <a:lnTo>
                        <a:pt x="18" y="388"/>
                      </a:lnTo>
                      <a:lnTo>
                        <a:pt x="21" y="386"/>
                      </a:lnTo>
                      <a:lnTo>
                        <a:pt x="26" y="382"/>
                      </a:lnTo>
                      <a:lnTo>
                        <a:pt x="31" y="378"/>
                      </a:lnTo>
                      <a:lnTo>
                        <a:pt x="34" y="373"/>
                      </a:lnTo>
                      <a:lnTo>
                        <a:pt x="40" y="367"/>
                      </a:lnTo>
                      <a:lnTo>
                        <a:pt x="46" y="361"/>
                      </a:lnTo>
                      <a:lnTo>
                        <a:pt x="54" y="355"/>
                      </a:lnTo>
                      <a:lnTo>
                        <a:pt x="65" y="347"/>
                      </a:lnTo>
                      <a:lnTo>
                        <a:pt x="76" y="338"/>
                      </a:lnTo>
                      <a:lnTo>
                        <a:pt x="83" y="335"/>
                      </a:lnTo>
                      <a:lnTo>
                        <a:pt x="90" y="333"/>
                      </a:lnTo>
                      <a:lnTo>
                        <a:pt x="98" y="330"/>
                      </a:lnTo>
                      <a:lnTo>
                        <a:pt x="102" y="327"/>
                      </a:lnTo>
                      <a:lnTo>
                        <a:pt x="107" y="324"/>
                      </a:lnTo>
                      <a:lnTo>
                        <a:pt x="111" y="322"/>
                      </a:lnTo>
                      <a:lnTo>
                        <a:pt x="112" y="320"/>
                      </a:lnTo>
                      <a:lnTo>
                        <a:pt x="114" y="318"/>
                      </a:lnTo>
                      <a:lnTo>
                        <a:pt x="118" y="316"/>
                      </a:lnTo>
                      <a:lnTo>
                        <a:pt x="121" y="314"/>
                      </a:lnTo>
                      <a:lnTo>
                        <a:pt x="123" y="314"/>
                      </a:lnTo>
                      <a:close/>
                      <a:moveTo>
                        <a:pt x="1539" y="307"/>
                      </a:moveTo>
                      <a:lnTo>
                        <a:pt x="1540" y="307"/>
                      </a:lnTo>
                      <a:lnTo>
                        <a:pt x="1542" y="308"/>
                      </a:lnTo>
                      <a:lnTo>
                        <a:pt x="1544" y="309"/>
                      </a:lnTo>
                      <a:lnTo>
                        <a:pt x="1547" y="311"/>
                      </a:lnTo>
                      <a:lnTo>
                        <a:pt x="1548" y="312"/>
                      </a:lnTo>
                      <a:lnTo>
                        <a:pt x="1549" y="313"/>
                      </a:lnTo>
                      <a:lnTo>
                        <a:pt x="1549" y="314"/>
                      </a:lnTo>
                      <a:lnTo>
                        <a:pt x="1550" y="316"/>
                      </a:lnTo>
                      <a:lnTo>
                        <a:pt x="1551" y="318"/>
                      </a:lnTo>
                      <a:lnTo>
                        <a:pt x="1551" y="320"/>
                      </a:lnTo>
                      <a:lnTo>
                        <a:pt x="1552" y="323"/>
                      </a:lnTo>
                      <a:lnTo>
                        <a:pt x="1552" y="325"/>
                      </a:lnTo>
                      <a:lnTo>
                        <a:pt x="1551" y="326"/>
                      </a:lnTo>
                      <a:lnTo>
                        <a:pt x="1551" y="326"/>
                      </a:lnTo>
                      <a:lnTo>
                        <a:pt x="1550" y="326"/>
                      </a:lnTo>
                      <a:lnTo>
                        <a:pt x="1548" y="324"/>
                      </a:lnTo>
                      <a:lnTo>
                        <a:pt x="1542" y="320"/>
                      </a:lnTo>
                      <a:lnTo>
                        <a:pt x="1539" y="317"/>
                      </a:lnTo>
                      <a:lnTo>
                        <a:pt x="1538" y="313"/>
                      </a:lnTo>
                      <a:lnTo>
                        <a:pt x="1537" y="309"/>
                      </a:lnTo>
                      <a:lnTo>
                        <a:pt x="1538" y="307"/>
                      </a:lnTo>
                      <a:lnTo>
                        <a:pt x="1539" y="307"/>
                      </a:lnTo>
                      <a:close/>
                      <a:moveTo>
                        <a:pt x="139" y="287"/>
                      </a:moveTo>
                      <a:lnTo>
                        <a:pt x="141" y="287"/>
                      </a:lnTo>
                      <a:lnTo>
                        <a:pt x="142" y="289"/>
                      </a:lnTo>
                      <a:lnTo>
                        <a:pt x="143" y="290"/>
                      </a:lnTo>
                      <a:lnTo>
                        <a:pt x="144" y="291"/>
                      </a:lnTo>
                      <a:lnTo>
                        <a:pt x="145" y="292"/>
                      </a:lnTo>
                      <a:lnTo>
                        <a:pt x="145" y="293"/>
                      </a:lnTo>
                      <a:lnTo>
                        <a:pt x="144" y="295"/>
                      </a:lnTo>
                      <a:lnTo>
                        <a:pt x="143" y="297"/>
                      </a:lnTo>
                      <a:lnTo>
                        <a:pt x="142" y="300"/>
                      </a:lnTo>
                      <a:lnTo>
                        <a:pt x="139" y="301"/>
                      </a:lnTo>
                      <a:lnTo>
                        <a:pt x="136" y="301"/>
                      </a:lnTo>
                      <a:lnTo>
                        <a:pt x="135" y="298"/>
                      </a:lnTo>
                      <a:lnTo>
                        <a:pt x="133" y="297"/>
                      </a:lnTo>
                      <a:lnTo>
                        <a:pt x="133" y="294"/>
                      </a:lnTo>
                      <a:lnTo>
                        <a:pt x="133" y="292"/>
                      </a:lnTo>
                      <a:lnTo>
                        <a:pt x="134" y="290"/>
                      </a:lnTo>
                      <a:lnTo>
                        <a:pt x="136" y="287"/>
                      </a:lnTo>
                      <a:lnTo>
                        <a:pt x="139" y="287"/>
                      </a:lnTo>
                      <a:close/>
                      <a:moveTo>
                        <a:pt x="434" y="285"/>
                      </a:moveTo>
                      <a:lnTo>
                        <a:pt x="434" y="287"/>
                      </a:lnTo>
                      <a:lnTo>
                        <a:pt x="434" y="289"/>
                      </a:lnTo>
                      <a:lnTo>
                        <a:pt x="433" y="290"/>
                      </a:lnTo>
                      <a:lnTo>
                        <a:pt x="433" y="291"/>
                      </a:lnTo>
                      <a:lnTo>
                        <a:pt x="431" y="292"/>
                      </a:lnTo>
                      <a:lnTo>
                        <a:pt x="429" y="293"/>
                      </a:lnTo>
                      <a:lnTo>
                        <a:pt x="428" y="293"/>
                      </a:lnTo>
                      <a:lnTo>
                        <a:pt x="427" y="292"/>
                      </a:lnTo>
                      <a:lnTo>
                        <a:pt x="426" y="291"/>
                      </a:lnTo>
                      <a:lnTo>
                        <a:pt x="426" y="291"/>
                      </a:lnTo>
                      <a:lnTo>
                        <a:pt x="426" y="289"/>
                      </a:lnTo>
                      <a:lnTo>
                        <a:pt x="427" y="287"/>
                      </a:lnTo>
                      <a:lnTo>
                        <a:pt x="429" y="286"/>
                      </a:lnTo>
                      <a:lnTo>
                        <a:pt x="431" y="285"/>
                      </a:lnTo>
                      <a:lnTo>
                        <a:pt x="434" y="285"/>
                      </a:lnTo>
                      <a:close/>
                      <a:moveTo>
                        <a:pt x="266" y="280"/>
                      </a:moveTo>
                      <a:lnTo>
                        <a:pt x="269" y="280"/>
                      </a:lnTo>
                      <a:lnTo>
                        <a:pt x="271" y="281"/>
                      </a:lnTo>
                      <a:lnTo>
                        <a:pt x="273" y="282"/>
                      </a:lnTo>
                      <a:lnTo>
                        <a:pt x="274" y="283"/>
                      </a:lnTo>
                      <a:lnTo>
                        <a:pt x="275" y="284"/>
                      </a:lnTo>
                      <a:lnTo>
                        <a:pt x="282" y="296"/>
                      </a:lnTo>
                      <a:lnTo>
                        <a:pt x="283" y="297"/>
                      </a:lnTo>
                      <a:lnTo>
                        <a:pt x="284" y="298"/>
                      </a:lnTo>
                      <a:lnTo>
                        <a:pt x="284" y="300"/>
                      </a:lnTo>
                      <a:lnTo>
                        <a:pt x="284" y="302"/>
                      </a:lnTo>
                      <a:lnTo>
                        <a:pt x="284" y="304"/>
                      </a:lnTo>
                      <a:lnTo>
                        <a:pt x="280" y="308"/>
                      </a:lnTo>
                      <a:lnTo>
                        <a:pt x="275" y="309"/>
                      </a:lnTo>
                      <a:lnTo>
                        <a:pt x="270" y="309"/>
                      </a:lnTo>
                      <a:lnTo>
                        <a:pt x="265" y="307"/>
                      </a:lnTo>
                      <a:lnTo>
                        <a:pt x="262" y="305"/>
                      </a:lnTo>
                      <a:lnTo>
                        <a:pt x="261" y="304"/>
                      </a:lnTo>
                      <a:lnTo>
                        <a:pt x="261" y="301"/>
                      </a:lnTo>
                      <a:lnTo>
                        <a:pt x="261" y="298"/>
                      </a:lnTo>
                      <a:lnTo>
                        <a:pt x="261" y="296"/>
                      </a:lnTo>
                      <a:lnTo>
                        <a:pt x="262" y="294"/>
                      </a:lnTo>
                      <a:lnTo>
                        <a:pt x="262" y="292"/>
                      </a:lnTo>
                      <a:lnTo>
                        <a:pt x="262" y="286"/>
                      </a:lnTo>
                      <a:lnTo>
                        <a:pt x="263" y="283"/>
                      </a:lnTo>
                      <a:lnTo>
                        <a:pt x="264" y="282"/>
                      </a:lnTo>
                      <a:lnTo>
                        <a:pt x="265" y="281"/>
                      </a:lnTo>
                      <a:lnTo>
                        <a:pt x="266" y="280"/>
                      </a:lnTo>
                      <a:close/>
                      <a:moveTo>
                        <a:pt x="210" y="270"/>
                      </a:moveTo>
                      <a:lnTo>
                        <a:pt x="211" y="271"/>
                      </a:lnTo>
                      <a:lnTo>
                        <a:pt x="211" y="272"/>
                      </a:lnTo>
                      <a:lnTo>
                        <a:pt x="211" y="273"/>
                      </a:lnTo>
                      <a:lnTo>
                        <a:pt x="211" y="275"/>
                      </a:lnTo>
                      <a:lnTo>
                        <a:pt x="211" y="278"/>
                      </a:lnTo>
                      <a:lnTo>
                        <a:pt x="210" y="279"/>
                      </a:lnTo>
                      <a:lnTo>
                        <a:pt x="209" y="279"/>
                      </a:lnTo>
                      <a:lnTo>
                        <a:pt x="207" y="281"/>
                      </a:lnTo>
                      <a:lnTo>
                        <a:pt x="204" y="282"/>
                      </a:lnTo>
                      <a:lnTo>
                        <a:pt x="201" y="283"/>
                      </a:lnTo>
                      <a:lnTo>
                        <a:pt x="199" y="283"/>
                      </a:lnTo>
                      <a:lnTo>
                        <a:pt x="196" y="284"/>
                      </a:lnTo>
                      <a:lnTo>
                        <a:pt x="194" y="285"/>
                      </a:lnTo>
                      <a:lnTo>
                        <a:pt x="193" y="287"/>
                      </a:lnTo>
                      <a:lnTo>
                        <a:pt x="193" y="290"/>
                      </a:lnTo>
                      <a:lnTo>
                        <a:pt x="194" y="291"/>
                      </a:lnTo>
                      <a:lnTo>
                        <a:pt x="195" y="293"/>
                      </a:lnTo>
                      <a:lnTo>
                        <a:pt x="197" y="294"/>
                      </a:lnTo>
                      <a:lnTo>
                        <a:pt x="198" y="295"/>
                      </a:lnTo>
                      <a:lnTo>
                        <a:pt x="198" y="296"/>
                      </a:lnTo>
                      <a:lnTo>
                        <a:pt x="197" y="300"/>
                      </a:lnTo>
                      <a:lnTo>
                        <a:pt x="196" y="304"/>
                      </a:lnTo>
                      <a:lnTo>
                        <a:pt x="193" y="307"/>
                      </a:lnTo>
                      <a:lnTo>
                        <a:pt x="189" y="311"/>
                      </a:lnTo>
                      <a:lnTo>
                        <a:pt x="185" y="313"/>
                      </a:lnTo>
                      <a:lnTo>
                        <a:pt x="175" y="316"/>
                      </a:lnTo>
                      <a:lnTo>
                        <a:pt x="167" y="316"/>
                      </a:lnTo>
                      <a:lnTo>
                        <a:pt x="161" y="313"/>
                      </a:lnTo>
                      <a:lnTo>
                        <a:pt x="157" y="307"/>
                      </a:lnTo>
                      <a:lnTo>
                        <a:pt x="156" y="301"/>
                      </a:lnTo>
                      <a:lnTo>
                        <a:pt x="163" y="291"/>
                      </a:lnTo>
                      <a:lnTo>
                        <a:pt x="174" y="282"/>
                      </a:lnTo>
                      <a:lnTo>
                        <a:pt x="177" y="281"/>
                      </a:lnTo>
                      <a:lnTo>
                        <a:pt x="179" y="280"/>
                      </a:lnTo>
                      <a:lnTo>
                        <a:pt x="182" y="279"/>
                      </a:lnTo>
                      <a:lnTo>
                        <a:pt x="185" y="276"/>
                      </a:lnTo>
                      <a:lnTo>
                        <a:pt x="188" y="275"/>
                      </a:lnTo>
                      <a:lnTo>
                        <a:pt x="192" y="275"/>
                      </a:lnTo>
                      <a:lnTo>
                        <a:pt x="195" y="275"/>
                      </a:lnTo>
                      <a:lnTo>
                        <a:pt x="198" y="274"/>
                      </a:lnTo>
                      <a:lnTo>
                        <a:pt x="199" y="273"/>
                      </a:lnTo>
                      <a:lnTo>
                        <a:pt x="201" y="272"/>
                      </a:lnTo>
                      <a:lnTo>
                        <a:pt x="204" y="271"/>
                      </a:lnTo>
                      <a:lnTo>
                        <a:pt x="206" y="270"/>
                      </a:lnTo>
                      <a:lnTo>
                        <a:pt x="208" y="270"/>
                      </a:lnTo>
                      <a:lnTo>
                        <a:pt x="210" y="270"/>
                      </a:lnTo>
                      <a:close/>
                      <a:moveTo>
                        <a:pt x="517" y="268"/>
                      </a:moveTo>
                      <a:lnTo>
                        <a:pt x="520" y="270"/>
                      </a:lnTo>
                      <a:lnTo>
                        <a:pt x="521" y="271"/>
                      </a:lnTo>
                      <a:lnTo>
                        <a:pt x="522" y="273"/>
                      </a:lnTo>
                      <a:lnTo>
                        <a:pt x="521" y="275"/>
                      </a:lnTo>
                      <a:lnTo>
                        <a:pt x="520" y="278"/>
                      </a:lnTo>
                      <a:lnTo>
                        <a:pt x="517" y="280"/>
                      </a:lnTo>
                      <a:lnTo>
                        <a:pt x="514" y="282"/>
                      </a:lnTo>
                      <a:lnTo>
                        <a:pt x="511" y="284"/>
                      </a:lnTo>
                      <a:lnTo>
                        <a:pt x="507" y="285"/>
                      </a:lnTo>
                      <a:lnTo>
                        <a:pt x="504" y="285"/>
                      </a:lnTo>
                      <a:lnTo>
                        <a:pt x="502" y="284"/>
                      </a:lnTo>
                      <a:lnTo>
                        <a:pt x="501" y="282"/>
                      </a:lnTo>
                      <a:lnTo>
                        <a:pt x="501" y="280"/>
                      </a:lnTo>
                      <a:lnTo>
                        <a:pt x="502" y="278"/>
                      </a:lnTo>
                      <a:lnTo>
                        <a:pt x="504" y="275"/>
                      </a:lnTo>
                      <a:lnTo>
                        <a:pt x="506" y="274"/>
                      </a:lnTo>
                      <a:lnTo>
                        <a:pt x="507" y="272"/>
                      </a:lnTo>
                      <a:lnTo>
                        <a:pt x="510" y="272"/>
                      </a:lnTo>
                      <a:lnTo>
                        <a:pt x="512" y="271"/>
                      </a:lnTo>
                      <a:lnTo>
                        <a:pt x="514" y="270"/>
                      </a:lnTo>
                      <a:lnTo>
                        <a:pt x="515" y="268"/>
                      </a:lnTo>
                      <a:lnTo>
                        <a:pt x="517" y="268"/>
                      </a:lnTo>
                      <a:close/>
                      <a:moveTo>
                        <a:pt x="330" y="266"/>
                      </a:moveTo>
                      <a:lnTo>
                        <a:pt x="332" y="266"/>
                      </a:lnTo>
                      <a:lnTo>
                        <a:pt x="335" y="268"/>
                      </a:lnTo>
                      <a:lnTo>
                        <a:pt x="337" y="268"/>
                      </a:lnTo>
                      <a:lnTo>
                        <a:pt x="338" y="268"/>
                      </a:lnTo>
                      <a:lnTo>
                        <a:pt x="338" y="269"/>
                      </a:lnTo>
                      <a:lnTo>
                        <a:pt x="338" y="271"/>
                      </a:lnTo>
                      <a:lnTo>
                        <a:pt x="337" y="272"/>
                      </a:lnTo>
                      <a:lnTo>
                        <a:pt x="336" y="273"/>
                      </a:lnTo>
                      <a:lnTo>
                        <a:pt x="334" y="274"/>
                      </a:lnTo>
                      <a:lnTo>
                        <a:pt x="330" y="275"/>
                      </a:lnTo>
                      <a:lnTo>
                        <a:pt x="328" y="276"/>
                      </a:lnTo>
                      <a:lnTo>
                        <a:pt x="327" y="276"/>
                      </a:lnTo>
                      <a:lnTo>
                        <a:pt x="324" y="276"/>
                      </a:lnTo>
                      <a:lnTo>
                        <a:pt x="320" y="275"/>
                      </a:lnTo>
                      <a:lnTo>
                        <a:pt x="318" y="275"/>
                      </a:lnTo>
                      <a:lnTo>
                        <a:pt x="317" y="274"/>
                      </a:lnTo>
                      <a:lnTo>
                        <a:pt x="317" y="272"/>
                      </a:lnTo>
                      <a:lnTo>
                        <a:pt x="318" y="271"/>
                      </a:lnTo>
                      <a:lnTo>
                        <a:pt x="319" y="269"/>
                      </a:lnTo>
                      <a:lnTo>
                        <a:pt x="321" y="268"/>
                      </a:lnTo>
                      <a:lnTo>
                        <a:pt x="324" y="268"/>
                      </a:lnTo>
                      <a:lnTo>
                        <a:pt x="327" y="266"/>
                      </a:lnTo>
                      <a:lnTo>
                        <a:pt x="330" y="266"/>
                      </a:lnTo>
                      <a:close/>
                      <a:moveTo>
                        <a:pt x="460" y="258"/>
                      </a:moveTo>
                      <a:lnTo>
                        <a:pt x="463" y="259"/>
                      </a:lnTo>
                      <a:lnTo>
                        <a:pt x="465" y="260"/>
                      </a:lnTo>
                      <a:lnTo>
                        <a:pt x="466" y="262"/>
                      </a:lnTo>
                      <a:lnTo>
                        <a:pt x="466" y="264"/>
                      </a:lnTo>
                      <a:lnTo>
                        <a:pt x="465" y="266"/>
                      </a:lnTo>
                      <a:lnTo>
                        <a:pt x="463" y="269"/>
                      </a:lnTo>
                      <a:lnTo>
                        <a:pt x="461" y="271"/>
                      </a:lnTo>
                      <a:lnTo>
                        <a:pt x="458" y="273"/>
                      </a:lnTo>
                      <a:lnTo>
                        <a:pt x="456" y="274"/>
                      </a:lnTo>
                      <a:lnTo>
                        <a:pt x="448" y="275"/>
                      </a:lnTo>
                      <a:lnTo>
                        <a:pt x="441" y="274"/>
                      </a:lnTo>
                      <a:lnTo>
                        <a:pt x="436" y="274"/>
                      </a:lnTo>
                      <a:lnTo>
                        <a:pt x="431" y="275"/>
                      </a:lnTo>
                      <a:lnTo>
                        <a:pt x="428" y="275"/>
                      </a:lnTo>
                      <a:lnTo>
                        <a:pt x="424" y="275"/>
                      </a:lnTo>
                      <a:lnTo>
                        <a:pt x="420" y="274"/>
                      </a:lnTo>
                      <a:lnTo>
                        <a:pt x="418" y="272"/>
                      </a:lnTo>
                      <a:lnTo>
                        <a:pt x="417" y="270"/>
                      </a:lnTo>
                      <a:lnTo>
                        <a:pt x="416" y="269"/>
                      </a:lnTo>
                      <a:lnTo>
                        <a:pt x="417" y="266"/>
                      </a:lnTo>
                      <a:lnTo>
                        <a:pt x="418" y="264"/>
                      </a:lnTo>
                      <a:lnTo>
                        <a:pt x="420" y="262"/>
                      </a:lnTo>
                      <a:lnTo>
                        <a:pt x="423" y="262"/>
                      </a:lnTo>
                      <a:lnTo>
                        <a:pt x="426" y="261"/>
                      </a:lnTo>
                      <a:lnTo>
                        <a:pt x="428" y="261"/>
                      </a:lnTo>
                      <a:lnTo>
                        <a:pt x="431" y="260"/>
                      </a:lnTo>
                      <a:lnTo>
                        <a:pt x="434" y="260"/>
                      </a:lnTo>
                      <a:lnTo>
                        <a:pt x="435" y="260"/>
                      </a:lnTo>
                      <a:lnTo>
                        <a:pt x="436" y="260"/>
                      </a:lnTo>
                      <a:lnTo>
                        <a:pt x="436" y="260"/>
                      </a:lnTo>
                      <a:lnTo>
                        <a:pt x="434" y="260"/>
                      </a:lnTo>
                      <a:lnTo>
                        <a:pt x="447" y="259"/>
                      </a:lnTo>
                      <a:lnTo>
                        <a:pt x="460" y="258"/>
                      </a:lnTo>
                      <a:close/>
                      <a:moveTo>
                        <a:pt x="208" y="246"/>
                      </a:moveTo>
                      <a:lnTo>
                        <a:pt x="212" y="250"/>
                      </a:lnTo>
                      <a:lnTo>
                        <a:pt x="214" y="251"/>
                      </a:lnTo>
                      <a:lnTo>
                        <a:pt x="215" y="252"/>
                      </a:lnTo>
                      <a:lnTo>
                        <a:pt x="216" y="254"/>
                      </a:lnTo>
                      <a:lnTo>
                        <a:pt x="217" y="255"/>
                      </a:lnTo>
                      <a:lnTo>
                        <a:pt x="217" y="258"/>
                      </a:lnTo>
                      <a:lnTo>
                        <a:pt x="217" y="260"/>
                      </a:lnTo>
                      <a:lnTo>
                        <a:pt x="215" y="262"/>
                      </a:lnTo>
                      <a:lnTo>
                        <a:pt x="211" y="263"/>
                      </a:lnTo>
                      <a:lnTo>
                        <a:pt x="208" y="264"/>
                      </a:lnTo>
                      <a:lnTo>
                        <a:pt x="205" y="264"/>
                      </a:lnTo>
                      <a:lnTo>
                        <a:pt x="201" y="264"/>
                      </a:lnTo>
                      <a:lnTo>
                        <a:pt x="199" y="264"/>
                      </a:lnTo>
                      <a:lnTo>
                        <a:pt x="198" y="263"/>
                      </a:lnTo>
                      <a:lnTo>
                        <a:pt x="196" y="263"/>
                      </a:lnTo>
                      <a:lnTo>
                        <a:pt x="195" y="263"/>
                      </a:lnTo>
                      <a:lnTo>
                        <a:pt x="193" y="264"/>
                      </a:lnTo>
                      <a:lnTo>
                        <a:pt x="192" y="264"/>
                      </a:lnTo>
                      <a:lnTo>
                        <a:pt x="190" y="265"/>
                      </a:lnTo>
                      <a:lnTo>
                        <a:pt x="189" y="265"/>
                      </a:lnTo>
                      <a:lnTo>
                        <a:pt x="188" y="266"/>
                      </a:lnTo>
                      <a:lnTo>
                        <a:pt x="186" y="265"/>
                      </a:lnTo>
                      <a:lnTo>
                        <a:pt x="183" y="265"/>
                      </a:lnTo>
                      <a:lnTo>
                        <a:pt x="179" y="265"/>
                      </a:lnTo>
                      <a:lnTo>
                        <a:pt x="176" y="265"/>
                      </a:lnTo>
                      <a:lnTo>
                        <a:pt x="173" y="266"/>
                      </a:lnTo>
                      <a:lnTo>
                        <a:pt x="172" y="268"/>
                      </a:lnTo>
                      <a:lnTo>
                        <a:pt x="169" y="269"/>
                      </a:lnTo>
                      <a:lnTo>
                        <a:pt x="167" y="270"/>
                      </a:lnTo>
                      <a:lnTo>
                        <a:pt x="165" y="271"/>
                      </a:lnTo>
                      <a:lnTo>
                        <a:pt x="164" y="272"/>
                      </a:lnTo>
                      <a:lnTo>
                        <a:pt x="162" y="272"/>
                      </a:lnTo>
                      <a:lnTo>
                        <a:pt x="161" y="272"/>
                      </a:lnTo>
                      <a:lnTo>
                        <a:pt x="160" y="271"/>
                      </a:lnTo>
                      <a:lnTo>
                        <a:pt x="160" y="270"/>
                      </a:lnTo>
                      <a:lnTo>
                        <a:pt x="161" y="268"/>
                      </a:lnTo>
                      <a:lnTo>
                        <a:pt x="163" y="264"/>
                      </a:lnTo>
                      <a:lnTo>
                        <a:pt x="165" y="262"/>
                      </a:lnTo>
                      <a:lnTo>
                        <a:pt x="169" y="259"/>
                      </a:lnTo>
                      <a:lnTo>
                        <a:pt x="174" y="257"/>
                      </a:lnTo>
                      <a:lnTo>
                        <a:pt x="177" y="255"/>
                      </a:lnTo>
                      <a:lnTo>
                        <a:pt x="186" y="252"/>
                      </a:lnTo>
                      <a:lnTo>
                        <a:pt x="194" y="249"/>
                      </a:lnTo>
                      <a:lnTo>
                        <a:pt x="201" y="246"/>
                      </a:lnTo>
                      <a:lnTo>
                        <a:pt x="208" y="246"/>
                      </a:lnTo>
                      <a:close/>
                      <a:moveTo>
                        <a:pt x="404" y="204"/>
                      </a:moveTo>
                      <a:lnTo>
                        <a:pt x="409" y="204"/>
                      </a:lnTo>
                      <a:lnTo>
                        <a:pt x="413" y="205"/>
                      </a:lnTo>
                      <a:lnTo>
                        <a:pt x="416" y="207"/>
                      </a:lnTo>
                      <a:lnTo>
                        <a:pt x="417" y="208"/>
                      </a:lnTo>
                      <a:lnTo>
                        <a:pt x="418" y="209"/>
                      </a:lnTo>
                      <a:lnTo>
                        <a:pt x="419" y="211"/>
                      </a:lnTo>
                      <a:lnTo>
                        <a:pt x="422" y="213"/>
                      </a:lnTo>
                      <a:lnTo>
                        <a:pt x="423" y="214"/>
                      </a:lnTo>
                      <a:lnTo>
                        <a:pt x="425" y="215"/>
                      </a:lnTo>
                      <a:lnTo>
                        <a:pt x="427" y="216"/>
                      </a:lnTo>
                      <a:lnTo>
                        <a:pt x="430" y="215"/>
                      </a:lnTo>
                      <a:lnTo>
                        <a:pt x="433" y="215"/>
                      </a:lnTo>
                      <a:lnTo>
                        <a:pt x="435" y="215"/>
                      </a:lnTo>
                      <a:lnTo>
                        <a:pt x="437" y="216"/>
                      </a:lnTo>
                      <a:lnTo>
                        <a:pt x="439" y="218"/>
                      </a:lnTo>
                      <a:lnTo>
                        <a:pt x="440" y="219"/>
                      </a:lnTo>
                      <a:lnTo>
                        <a:pt x="440" y="220"/>
                      </a:lnTo>
                      <a:lnTo>
                        <a:pt x="441" y="222"/>
                      </a:lnTo>
                      <a:lnTo>
                        <a:pt x="441" y="225"/>
                      </a:lnTo>
                      <a:lnTo>
                        <a:pt x="441" y="226"/>
                      </a:lnTo>
                      <a:lnTo>
                        <a:pt x="441" y="228"/>
                      </a:lnTo>
                      <a:lnTo>
                        <a:pt x="444" y="229"/>
                      </a:lnTo>
                      <a:lnTo>
                        <a:pt x="445" y="229"/>
                      </a:lnTo>
                      <a:lnTo>
                        <a:pt x="446" y="230"/>
                      </a:lnTo>
                      <a:lnTo>
                        <a:pt x="448" y="230"/>
                      </a:lnTo>
                      <a:lnTo>
                        <a:pt x="449" y="232"/>
                      </a:lnTo>
                      <a:lnTo>
                        <a:pt x="449" y="233"/>
                      </a:lnTo>
                      <a:lnTo>
                        <a:pt x="449" y="235"/>
                      </a:lnTo>
                      <a:lnTo>
                        <a:pt x="448" y="236"/>
                      </a:lnTo>
                      <a:lnTo>
                        <a:pt x="446" y="237"/>
                      </a:lnTo>
                      <a:lnTo>
                        <a:pt x="444" y="238"/>
                      </a:lnTo>
                      <a:lnTo>
                        <a:pt x="441" y="240"/>
                      </a:lnTo>
                      <a:lnTo>
                        <a:pt x="441" y="240"/>
                      </a:lnTo>
                      <a:lnTo>
                        <a:pt x="443" y="241"/>
                      </a:lnTo>
                      <a:lnTo>
                        <a:pt x="443" y="242"/>
                      </a:lnTo>
                      <a:lnTo>
                        <a:pt x="444" y="244"/>
                      </a:lnTo>
                      <a:lnTo>
                        <a:pt x="441" y="247"/>
                      </a:lnTo>
                      <a:lnTo>
                        <a:pt x="439" y="248"/>
                      </a:lnTo>
                      <a:lnTo>
                        <a:pt x="436" y="249"/>
                      </a:lnTo>
                      <a:lnTo>
                        <a:pt x="433" y="250"/>
                      </a:lnTo>
                      <a:lnTo>
                        <a:pt x="429" y="251"/>
                      </a:lnTo>
                      <a:lnTo>
                        <a:pt x="423" y="252"/>
                      </a:lnTo>
                      <a:lnTo>
                        <a:pt x="417" y="255"/>
                      </a:lnTo>
                      <a:lnTo>
                        <a:pt x="411" y="258"/>
                      </a:lnTo>
                      <a:lnTo>
                        <a:pt x="407" y="258"/>
                      </a:lnTo>
                      <a:lnTo>
                        <a:pt x="404" y="257"/>
                      </a:lnTo>
                      <a:lnTo>
                        <a:pt x="403" y="255"/>
                      </a:lnTo>
                      <a:lnTo>
                        <a:pt x="401" y="254"/>
                      </a:lnTo>
                      <a:lnTo>
                        <a:pt x="400" y="253"/>
                      </a:lnTo>
                      <a:lnTo>
                        <a:pt x="398" y="252"/>
                      </a:lnTo>
                      <a:lnTo>
                        <a:pt x="396" y="251"/>
                      </a:lnTo>
                      <a:lnTo>
                        <a:pt x="394" y="250"/>
                      </a:lnTo>
                      <a:lnTo>
                        <a:pt x="393" y="248"/>
                      </a:lnTo>
                      <a:lnTo>
                        <a:pt x="391" y="247"/>
                      </a:lnTo>
                      <a:lnTo>
                        <a:pt x="391" y="246"/>
                      </a:lnTo>
                      <a:lnTo>
                        <a:pt x="392" y="244"/>
                      </a:lnTo>
                      <a:lnTo>
                        <a:pt x="395" y="243"/>
                      </a:lnTo>
                      <a:lnTo>
                        <a:pt x="397" y="243"/>
                      </a:lnTo>
                      <a:lnTo>
                        <a:pt x="401" y="243"/>
                      </a:lnTo>
                      <a:lnTo>
                        <a:pt x="402" y="243"/>
                      </a:lnTo>
                      <a:lnTo>
                        <a:pt x="404" y="242"/>
                      </a:lnTo>
                      <a:lnTo>
                        <a:pt x="407" y="242"/>
                      </a:lnTo>
                      <a:lnTo>
                        <a:pt x="408" y="241"/>
                      </a:lnTo>
                      <a:lnTo>
                        <a:pt x="409" y="240"/>
                      </a:lnTo>
                      <a:lnTo>
                        <a:pt x="409" y="238"/>
                      </a:lnTo>
                      <a:lnTo>
                        <a:pt x="408" y="237"/>
                      </a:lnTo>
                      <a:lnTo>
                        <a:pt x="406" y="236"/>
                      </a:lnTo>
                      <a:lnTo>
                        <a:pt x="404" y="236"/>
                      </a:lnTo>
                      <a:lnTo>
                        <a:pt x="402" y="236"/>
                      </a:lnTo>
                      <a:lnTo>
                        <a:pt x="400" y="235"/>
                      </a:lnTo>
                      <a:lnTo>
                        <a:pt x="397" y="235"/>
                      </a:lnTo>
                      <a:lnTo>
                        <a:pt x="397" y="233"/>
                      </a:lnTo>
                      <a:lnTo>
                        <a:pt x="396" y="231"/>
                      </a:lnTo>
                      <a:lnTo>
                        <a:pt x="396" y="230"/>
                      </a:lnTo>
                      <a:lnTo>
                        <a:pt x="396" y="228"/>
                      </a:lnTo>
                      <a:lnTo>
                        <a:pt x="397" y="227"/>
                      </a:lnTo>
                      <a:lnTo>
                        <a:pt x="396" y="226"/>
                      </a:lnTo>
                      <a:lnTo>
                        <a:pt x="395" y="226"/>
                      </a:lnTo>
                      <a:lnTo>
                        <a:pt x="394" y="225"/>
                      </a:lnTo>
                      <a:lnTo>
                        <a:pt x="392" y="225"/>
                      </a:lnTo>
                      <a:lnTo>
                        <a:pt x="391" y="222"/>
                      </a:lnTo>
                      <a:lnTo>
                        <a:pt x="391" y="221"/>
                      </a:lnTo>
                      <a:lnTo>
                        <a:pt x="392" y="219"/>
                      </a:lnTo>
                      <a:lnTo>
                        <a:pt x="392" y="218"/>
                      </a:lnTo>
                      <a:lnTo>
                        <a:pt x="393" y="217"/>
                      </a:lnTo>
                      <a:lnTo>
                        <a:pt x="394" y="215"/>
                      </a:lnTo>
                      <a:lnTo>
                        <a:pt x="395" y="214"/>
                      </a:lnTo>
                      <a:lnTo>
                        <a:pt x="394" y="211"/>
                      </a:lnTo>
                      <a:lnTo>
                        <a:pt x="394" y="210"/>
                      </a:lnTo>
                      <a:lnTo>
                        <a:pt x="394" y="209"/>
                      </a:lnTo>
                      <a:lnTo>
                        <a:pt x="395" y="207"/>
                      </a:lnTo>
                      <a:lnTo>
                        <a:pt x="396" y="206"/>
                      </a:lnTo>
                      <a:lnTo>
                        <a:pt x="400" y="205"/>
                      </a:lnTo>
                      <a:lnTo>
                        <a:pt x="404" y="204"/>
                      </a:lnTo>
                      <a:close/>
                      <a:moveTo>
                        <a:pt x="310" y="194"/>
                      </a:moveTo>
                      <a:lnTo>
                        <a:pt x="313" y="195"/>
                      </a:lnTo>
                      <a:lnTo>
                        <a:pt x="315" y="196"/>
                      </a:lnTo>
                      <a:lnTo>
                        <a:pt x="317" y="197"/>
                      </a:lnTo>
                      <a:lnTo>
                        <a:pt x="319" y="197"/>
                      </a:lnTo>
                      <a:lnTo>
                        <a:pt x="321" y="199"/>
                      </a:lnTo>
                      <a:lnTo>
                        <a:pt x="323" y="202"/>
                      </a:lnTo>
                      <a:lnTo>
                        <a:pt x="323" y="205"/>
                      </a:lnTo>
                      <a:lnTo>
                        <a:pt x="324" y="207"/>
                      </a:lnTo>
                      <a:lnTo>
                        <a:pt x="324" y="210"/>
                      </a:lnTo>
                      <a:lnTo>
                        <a:pt x="325" y="211"/>
                      </a:lnTo>
                      <a:lnTo>
                        <a:pt x="327" y="213"/>
                      </a:lnTo>
                      <a:lnTo>
                        <a:pt x="328" y="213"/>
                      </a:lnTo>
                      <a:lnTo>
                        <a:pt x="330" y="213"/>
                      </a:lnTo>
                      <a:lnTo>
                        <a:pt x="331" y="210"/>
                      </a:lnTo>
                      <a:lnTo>
                        <a:pt x="332" y="210"/>
                      </a:lnTo>
                      <a:lnTo>
                        <a:pt x="335" y="209"/>
                      </a:lnTo>
                      <a:lnTo>
                        <a:pt x="336" y="208"/>
                      </a:lnTo>
                      <a:lnTo>
                        <a:pt x="337" y="207"/>
                      </a:lnTo>
                      <a:lnTo>
                        <a:pt x="338" y="208"/>
                      </a:lnTo>
                      <a:lnTo>
                        <a:pt x="340" y="209"/>
                      </a:lnTo>
                      <a:lnTo>
                        <a:pt x="342" y="210"/>
                      </a:lnTo>
                      <a:lnTo>
                        <a:pt x="342" y="213"/>
                      </a:lnTo>
                      <a:lnTo>
                        <a:pt x="342" y="214"/>
                      </a:lnTo>
                      <a:lnTo>
                        <a:pt x="343" y="216"/>
                      </a:lnTo>
                      <a:lnTo>
                        <a:pt x="343" y="218"/>
                      </a:lnTo>
                      <a:lnTo>
                        <a:pt x="345" y="219"/>
                      </a:lnTo>
                      <a:lnTo>
                        <a:pt x="347" y="221"/>
                      </a:lnTo>
                      <a:lnTo>
                        <a:pt x="349" y="224"/>
                      </a:lnTo>
                      <a:lnTo>
                        <a:pt x="352" y="225"/>
                      </a:lnTo>
                      <a:lnTo>
                        <a:pt x="354" y="227"/>
                      </a:lnTo>
                      <a:lnTo>
                        <a:pt x="357" y="229"/>
                      </a:lnTo>
                      <a:lnTo>
                        <a:pt x="358" y="231"/>
                      </a:lnTo>
                      <a:lnTo>
                        <a:pt x="359" y="235"/>
                      </a:lnTo>
                      <a:lnTo>
                        <a:pt x="359" y="237"/>
                      </a:lnTo>
                      <a:lnTo>
                        <a:pt x="359" y="239"/>
                      </a:lnTo>
                      <a:lnTo>
                        <a:pt x="359" y="242"/>
                      </a:lnTo>
                      <a:lnTo>
                        <a:pt x="359" y="244"/>
                      </a:lnTo>
                      <a:lnTo>
                        <a:pt x="361" y="248"/>
                      </a:lnTo>
                      <a:lnTo>
                        <a:pt x="362" y="248"/>
                      </a:lnTo>
                      <a:lnTo>
                        <a:pt x="363" y="249"/>
                      </a:lnTo>
                      <a:lnTo>
                        <a:pt x="363" y="250"/>
                      </a:lnTo>
                      <a:lnTo>
                        <a:pt x="365" y="252"/>
                      </a:lnTo>
                      <a:lnTo>
                        <a:pt x="367" y="254"/>
                      </a:lnTo>
                      <a:lnTo>
                        <a:pt x="368" y="257"/>
                      </a:lnTo>
                      <a:lnTo>
                        <a:pt x="368" y="260"/>
                      </a:lnTo>
                      <a:lnTo>
                        <a:pt x="368" y="262"/>
                      </a:lnTo>
                      <a:lnTo>
                        <a:pt x="365" y="264"/>
                      </a:lnTo>
                      <a:lnTo>
                        <a:pt x="364" y="265"/>
                      </a:lnTo>
                      <a:lnTo>
                        <a:pt x="361" y="266"/>
                      </a:lnTo>
                      <a:lnTo>
                        <a:pt x="357" y="266"/>
                      </a:lnTo>
                      <a:lnTo>
                        <a:pt x="353" y="266"/>
                      </a:lnTo>
                      <a:lnTo>
                        <a:pt x="351" y="265"/>
                      </a:lnTo>
                      <a:lnTo>
                        <a:pt x="349" y="264"/>
                      </a:lnTo>
                      <a:lnTo>
                        <a:pt x="348" y="262"/>
                      </a:lnTo>
                      <a:lnTo>
                        <a:pt x="347" y="260"/>
                      </a:lnTo>
                      <a:lnTo>
                        <a:pt x="347" y="257"/>
                      </a:lnTo>
                      <a:lnTo>
                        <a:pt x="347" y="254"/>
                      </a:lnTo>
                      <a:lnTo>
                        <a:pt x="347" y="252"/>
                      </a:lnTo>
                      <a:lnTo>
                        <a:pt x="346" y="251"/>
                      </a:lnTo>
                      <a:lnTo>
                        <a:pt x="345" y="250"/>
                      </a:lnTo>
                      <a:lnTo>
                        <a:pt x="342" y="250"/>
                      </a:lnTo>
                      <a:lnTo>
                        <a:pt x="340" y="250"/>
                      </a:lnTo>
                      <a:lnTo>
                        <a:pt x="338" y="250"/>
                      </a:lnTo>
                      <a:lnTo>
                        <a:pt x="335" y="249"/>
                      </a:lnTo>
                      <a:lnTo>
                        <a:pt x="331" y="249"/>
                      </a:lnTo>
                      <a:lnTo>
                        <a:pt x="329" y="248"/>
                      </a:lnTo>
                      <a:lnTo>
                        <a:pt x="328" y="246"/>
                      </a:lnTo>
                      <a:lnTo>
                        <a:pt x="326" y="246"/>
                      </a:lnTo>
                      <a:lnTo>
                        <a:pt x="324" y="246"/>
                      </a:lnTo>
                      <a:lnTo>
                        <a:pt x="321" y="248"/>
                      </a:lnTo>
                      <a:lnTo>
                        <a:pt x="320" y="249"/>
                      </a:lnTo>
                      <a:lnTo>
                        <a:pt x="319" y="251"/>
                      </a:lnTo>
                      <a:lnTo>
                        <a:pt x="319" y="252"/>
                      </a:lnTo>
                      <a:lnTo>
                        <a:pt x="318" y="253"/>
                      </a:lnTo>
                      <a:lnTo>
                        <a:pt x="317" y="254"/>
                      </a:lnTo>
                      <a:lnTo>
                        <a:pt x="310" y="255"/>
                      </a:lnTo>
                      <a:lnTo>
                        <a:pt x="303" y="254"/>
                      </a:lnTo>
                      <a:lnTo>
                        <a:pt x="296" y="251"/>
                      </a:lnTo>
                      <a:lnTo>
                        <a:pt x="291" y="248"/>
                      </a:lnTo>
                      <a:lnTo>
                        <a:pt x="288" y="243"/>
                      </a:lnTo>
                      <a:lnTo>
                        <a:pt x="288" y="241"/>
                      </a:lnTo>
                      <a:lnTo>
                        <a:pt x="291" y="240"/>
                      </a:lnTo>
                      <a:lnTo>
                        <a:pt x="293" y="238"/>
                      </a:lnTo>
                      <a:lnTo>
                        <a:pt x="296" y="237"/>
                      </a:lnTo>
                      <a:lnTo>
                        <a:pt x="298" y="237"/>
                      </a:lnTo>
                      <a:lnTo>
                        <a:pt x="300" y="236"/>
                      </a:lnTo>
                      <a:lnTo>
                        <a:pt x="303" y="236"/>
                      </a:lnTo>
                      <a:lnTo>
                        <a:pt x="305" y="235"/>
                      </a:lnTo>
                      <a:lnTo>
                        <a:pt x="307" y="232"/>
                      </a:lnTo>
                      <a:lnTo>
                        <a:pt x="308" y="231"/>
                      </a:lnTo>
                      <a:lnTo>
                        <a:pt x="308" y="229"/>
                      </a:lnTo>
                      <a:lnTo>
                        <a:pt x="307" y="227"/>
                      </a:lnTo>
                      <a:lnTo>
                        <a:pt x="305" y="225"/>
                      </a:lnTo>
                      <a:lnTo>
                        <a:pt x="303" y="222"/>
                      </a:lnTo>
                      <a:lnTo>
                        <a:pt x="300" y="221"/>
                      </a:lnTo>
                      <a:lnTo>
                        <a:pt x="298" y="220"/>
                      </a:lnTo>
                      <a:lnTo>
                        <a:pt x="296" y="219"/>
                      </a:lnTo>
                      <a:lnTo>
                        <a:pt x="295" y="218"/>
                      </a:lnTo>
                      <a:lnTo>
                        <a:pt x="293" y="218"/>
                      </a:lnTo>
                      <a:lnTo>
                        <a:pt x="291" y="218"/>
                      </a:lnTo>
                      <a:lnTo>
                        <a:pt x="289" y="218"/>
                      </a:lnTo>
                      <a:lnTo>
                        <a:pt x="288" y="218"/>
                      </a:lnTo>
                      <a:lnTo>
                        <a:pt x="287" y="217"/>
                      </a:lnTo>
                      <a:lnTo>
                        <a:pt x="286" y="215"/>
                      </a:lnTo>
                      <a:lnTo>
                        <a:pt x="286" y="213"/>
                      </a:lnTo>
                      <a:lnTo>
                        <a:pt x="287" y="209"/>
                      </a:lnTo>
                      <a:lnTo>
                        <a:pt x="288" y="206"/>
                      </a:lnTo>
                      <a:lnTo>
                        <a:pt x="291" y="203"/>
                      </a:lnTo>
                      <a:lnTo>
                        <a:pt x="294" y="199"/>
                      </a:lnTo>
                      <a:lnTo>
                        <a:pt x="298" y="197"/>
                      </a:lnTo>
                      <a:lnTo>
                        <a:pt x="300" y="196"/>
                      </a:lnTo>
                      <a:lnTo>
                        <a:pt x="304" y="195"/>
                      </a:lnTo>
                      <a:lnTo>
                        <a:pt x="307" y="194"/>
                      </a:lnTo>
                      <a:lnTo>
                        <a:pt x="310" y="194"/>
                      </a:lnTo>
                      <a:close/>
                      <a:moveTo>
                        <a:pt x="401" y="148"/>
                      </a:moveTo>
                      <a:lnTo>
                        <a:pt x="405" y="149"/>
                      </a:lnTo>
                      <a:lnTo>
                        <a:pt x="408" y="151"/>
                      </a:lnTo>
                      <a:lnTo>
                        <a:pt x="411" y="153"/>
                      </a:lnTo>
                      <a:lnTo>
                        <a:pt x="412" y="155"/>
                      </a:lnTo>
                      <a:lnTo>
                        <a:pt x="412" y="158"/>
                      </a:lnTo>
                      <a:lnTo>
                        <a:pt x="411" y="160"/>
                      </a:lnTo>
                      <a:lnTo>
                        <a:pt x="408" y="162"/>
                      </a:lnTo>
                      <a:lnTo>
                        <a:pt x="405" y="163"/>
                      </a:lnTo>
                      <a:lnTo>
                        <a:pt x="401" y="163"/>
                      </a:lnTo>
                      <a:lnTo>
                        <a:pt x="398" y="163"/>
                      </a:lnTo>
                      <a:lnTo>
                        <a:pt x="395" y="162"/>
                      </a:lnTo>
                      <a:lnTo>
                        <a:pt x="394" y="162"/>
                      </a:lnTo>
                      <a:lnTo>
                        <a:pt x="392" y="160"/>
                      </a:lnTo>
                      <a:lnTo>
                        <a:pt x="391" y="159"/>
                      </a:lnTo>
                      <a:lnTo>
                        <a:pt x="389" y="156"/>
                      </a:lnTo>
                      <a:lnTo>
                        <a:pt x="381" y="156"/>
                      </a:lnTo>
                      <a:lnTo>
                        <a:pt x="379" y="156"/>
                      </a:lnTo>
                      <a:lnTo>
                        <a:pt x="378" y="155"/>
                      </a:lnTo>
                      <a:lnTo>
                        <a:pt x="378" y="154"/>
                      </a:lnTo>
                      <a:lnTo>
                        <a:pt x="379" y="153"/>
                      </a:lnTo>
                      <a:lnTo>
                        <a:pt x="380" y="152"/>
                      </a:lnTo>
                      <a:lnTo>
                        <a:pt x="383" y="151"/>
                      </a:lnTo>
                      <a:lnTo>
                        <a:pt x="385" y="150"/>
                      </a:lnTo>
                      <a:lnTo>
                        <a:pt x="389" y="150"/>
                      </a:lnTo>
                      <a:lnTo>
                        <a:pt x="391" y="149"/>
                      </a:lnTo>
                      <a:lnTo>
                        <a:pt x="394" y="149"/>
                      </a:lnTo>
                      <a:lnTo>
                        <a:pt x="396" y="149"/>
                      </a:lnTo>
                      <a:lnTo>
                        <a:pt x="401" y="148"/>
                      </a:lnTo>
                      <a:close/>
                      <a:moveTo>
                        <a:pt x="1203" y="0"/>
                      </a:moveTo>
                      <a:lnTo>
                        <a:pt x="1204" y="0"/>
                      </a:lnTo>
                      <a:lnTo>
                        <a:pt x="1207" y="1"/>
                      </a:lnTo>
                      <a:lnTo>
                        <a:pt x="1210" y="2"/>
                      </a:lnTo>
                      <a:lnTo>
                        <a:pt x="1212" y="4"/>
                      </a:lnTo>
                      <a:lnTo>
                        <a:pt x="1212" y="6"/>
                      </a:lnTo>
                      <a:lnTo>
                        <a:pt x="1213" y="6"/>
                      </a:lnTo>
                      <a:lnTo>
                        <a:pt x="1215" y="8"/>
                      </a:lnTo>
                      <a:lnTo>
                        <a:pt x="1216" y="9"/>
                      </a:lnTo>
                      <a:lnTo>
                        <a:pt x="1219" y="10"/>
                      </a:lnTo>
                      <a:lnTo>
                        <a:pt x="1220" y="10"/>
                      </a:lnTo>
                      <a:lnTo>
                        <a:pt x="1221" y="10"/>
                      </a:lnTo>
                      <a:lnTo>
                        <a:pt x="1221" y="9"/>
                      </a:lnTo>
                      <a:lnTo>
                        <a:pt x="1221" y="8"/>
                      </a:lnTo>
                      <a:lnTo>
                        <a:pt x="1220" y="6"/>
                      </a:lnTo>
                      <a:lnTo>
                        <a:pt x="1219" y="3"/>
                      </a:lnTo>
                      <a:lnTo>
                        <a:pt x="1218" y="2"/>
                      </a:lnTo>
                      <a:lnTo>
                        <a:pt x="1216" y="1"/>
                      </a:lnTo>
                      <a:lnTo>
                        <a:pt x="1216" y="0"/>
                      </a:lnTo>
                      <a:lnTo>
                        <a:pt x="1219" y="0"/>
                      </a:lnTo>
                      <a:lnTo>
                        <a:pt x="1221" y="1"/>
                      </a:lnTo>
                      <a:lnTo>
                        <a:pt x="1223" y="2"/>
                      </a:lnTo>
                      <a:lnTo>
                        <a:pt x="1225" y="2"/>
                      </a:lnTo>
                      <a:lnTo>
                        <a:pt x="1227" y="2"/>
                      </a:lnTo>
                      <a:lnTo>
                        <a:pt x="1230" y="2"/>
                      </a:lnTo>
                      <a:lnTo>
                        <a:pt x="1231" y="2"/>
                      </a:lnTo>
                      <a:lnTo>
                        <a:pt x="1233" y="1"/>
                      </a:lnTo>
                      <a:lnTo>
                        <a:pt x="1234" y="0"/>
                      </a:lnTo>
                      <a:lnTo>
                        <a:pt x="1236" y="0"/>
                      </a:lnTo>
                      <a:lnTo>
                        <a:pt x="1240" y="2"/>
                      </a:lnTo>
                      <a:lnTo>
                        <a:pt x="1243" y="3"/>
                      </a:lnTo>
                      <a:lnTo>
                        <a:pt x="1246" y="6"/>
                      </a:lnTo>
                      <a:lnTo>
                        <a:pt x="1251" y="7"/>
                      </a:lnTo>
                      <a:lnTo>
                        <a:pt x="1254" y="7"/>
                      </a:lnTo>
                      <a:lnTo>
                        <a:pt x="1255" y="6"/>
                      </a:lnTo>
                      <a:lnTo>
                        <a:pt x="1257" y="6"/>
                      </a:lnTo>
                      <a:lnTo>
                        <a:pt x="1259" y="6"/>
                      </a:lnTo>
                      <a:lnTo>
                        <a:pt x="1263" y="7"/>
                      </a:lnTo>
                      <a:lnTo>
                        <a:pt x="1266" y="8"/>
                      </a:lnTo>
                      <a:lnTo>
                        <a:pt x="1270" y="9"/>
                      </a:lnTo>
                      <a:lnTo>
                        <a:pt x="1275" y="10"/>
                      </a:lnTo>
                      <a:lnTo>
                        <a:pt x="1278" y="11"/>
                      </a:lnTo>
                      <a:lnTo>
                        <a:pt x="1291" y="14"/>
                      </a:lnTo>
                      <a:lnTo>
                        <a:pt x="1304" y="20"/>
                      </a:lnTo>
                      <a:lnTo>
                        <a:pt x="1307" y="22"/>
                      </a:lnTo>
                      <a:lnTo>
                        <a:pt x="1308" y="23"/>
                      </a:lnTo>
                      <a:lnTo>
                        <a:pt x="1309" y="25"/>
                      </a:lnTo>
                      <a:lnTo>
                        <a:pt x="1311" y="28"/>
                      </a:lnTo>
                      <a:lnTo>
                        <a:pt x="1313" y="29"/>
                      </a:lnTo>
                      <a:lnTo>
                        <a:pt x="1322" y="29"/>
                      </a:lnTo>
                      <a:lnTo>
                        <a:pt x="1329" y="32"/>
                      </a:lnTo>
                      <a:lnTo>
                        <a:pt x="1335" y="35"/>
                      </a:lnTo>
                      <a:lnTo>
                        <a:pt x="1342" y="38"/>
                      </a:lnTo>
                      <a:lnTo>
                        <a:pt x="1345" y="40"/>
                      </a:lnTo>
                      <a:lnTo>
                        <a:pt x="1349" y="43"/>
                      </a:lnTo>
                      <a:lnTo>
                        <a:pt x="1349" y="45"/>
                      </a:lnTo>
                      <a:lnTo>
                        <a:pt x="1349" y="47"/>
                      </a:lnTo>
                      <a:lnTo>
                        <a:pt x="1346" y="49"/>
                      </a:lnTo>
                      <a:lnTo>
                        <a:pt x="1340" y="49"/>
                      </a:lnTo>
                      <a:lnTo>
                        <a:pt x="1338" y="49"/>
                      </a:lnTo>
                      <a:lnTo>
                        <a:pt x="1336" y="50"/>
                      </a:lnTo>
                      <a:lnTo>
                        <a:pt x="1335" y="50"/>
                      </a:lnTo>
                      <a:lnTo>
                        <a:pt x="1333" y="50"/>
                      </a:lnTo>
                      <a:lnTo>
                        <a:pt x="1331" y="49"/>
                      </a:lnTo>
                      <a:lnTo>
                        <a:pt x="1298" y="42"/>
                      </a:lnTo>
                      <a:lnTo>
                        <a:pt x="1296" y="41"/>
                      </a:lnTo>
                      <a:lnTo>
                        <a:pt x="1295" y="41"/>
                      </a:lnTo>
                      <a:lnTo>
                        <a:pt x="1293" y="41"/>
                      </a:lnTo>
                      <a:lnTo>
                        <a:pt x="1292" y="42"/>
                      </a:lnTo>
                      <a:lnTo>
                        <a:pt x="1291" y="42"/>
                      </a:lnTo>
                      <a:lnTo>
                        <a:pt x="1288" y="43"/>
                      </a:lnTo>
                      <a:lnTo>
                        <a:pt x="1285" y="43"/>
                      </a:lnTo>
                      <a:lnTo>
                        <a:pt x="1282" y="42"/>
                      </a:lnTo>
                      <a:lnTo>
                        <a:pt x="1280" y="42"/>
                      </a:lnTo>
                      <a:lnTo>
                        <a:pt x="1278" y="42"/>
                      </a:lnTo>
                      <a:lnTo>
                        <a:pt x="1276" y="43"/>
                      </a:lnTo>
                      <a:lnTo>
                        <a:pt x="1274" y="43"/>
                      </a:lnTo>
                      <a:lnTo>
                        <a:pt x="1270" y="43"/>
                      </a:lnTo>
                      <a:lnTo>
                        <a:pt x="1267" y="42"/>
                      </a:lnTo>
                      <a:lnTo>
                        <a:pt x="1258" y="42"/>
                      </a:lnTo>
                      <a:lnTo>
                        <a:pt x="1256" y="42"/>
                      </a:lnTo>
                      <a:lnTo>
                        <a:pt x="1253" y="42"/>
                      </a:lnTo>
                      <a:lnTo>
                        <a:pt x="1251" y="42"/>
                      </a:lnTo>
                      <a:lnTo>
                        <a:pt x="1248" y="43"/>
                      </a:lnTo>
                      <a:lnTo>
                        <a:pt x="1247" y="43"/>
                      </a:lnTo>
                      <a:lnTo>
                        <a:pt x="1247" y="44"/>
                      </a:lnTo>
                      <a:lnTo>
                        <a:pt x="1251" y="45"/>
                      </a:lnTo>
                      <a:lnTo>
                        <a:pt x="1254" y="45"/>
                      </a:lnTo>
                      <a:lnTo>
                        <a:pt x="1256" y="44"/>
                      </a:lnTo>
                      <a:lnTo>
                        <a:pt x="1258" y="44"/>
                      </a:lnTo>
                      <a:lnTo>
                        <a:pt x="1265" y="44"/>
                      </a:lnTo>
                      <a:lnTo>
                        <a:pt x="1273" y="45"/>
                      </a:lnTo>
                      <a:lnTo>
                        <a:pt x="1280" y="46"/>
                      </a:lnTo>
                      <a:lnTo>
                        <a:pt x="1298" y="46"/>
                      </a:lnTo>
                      <a:lnTo>
                        <a:pt x="1304" y="45"/>
                      </a:lnTo>
                      <a:lnTo>
                        <a:pt x="1313" y="47"/>
                      </a:lnTo>
                      <a:lnTo>
                        <a:pt x="1322" y="51"/>
                      </a:lnTo>
                      <a:lnTo>
                        <a:pt x="1328" y="53"/>
                      </a:lnTo>
                      <a:lnTo>
                        <a:pt x="1335" y="55"/>
                      </a:lnTo>
                      <a:lnTo>
                        <a:pt x="1342" y="57"/>
                      </a:lnTo>
                      <a:lnTo>
                        <a:pt x="1344" y="56"/>
                      </a:lnTo>
                      <a:lnTo>
                        <a:pt x="1346" y="55"/>
                      </a:lnTo>
                      <a:lnTo>
                        <a:pt x="1349" y="55"/>
                      </a:lnTo>
                      <a:lnTo>
                        <a:pt x="1351" y="55"/>
                      </a:lnTo>
                      <a:lnTo>
                        <a:pt x="1355" y="56"/>
                      </a:lnTo>
                      <a:lnTo>
                        <a:pt x="1360" y="57"/>
                      </a:lnTo>
                      <a:lnTo>
                        <a:pt x="1362" y="57"/>
                      </a:lnTo>
                      <a:lnTo>
                        <a:pt x="1363" y="58"/>
                      </a:lnTo>
                      <a:lnTo>
                        <a:pt x="1365" y="61"/>
                      </a:lnTo>
                      <a:lnTo>
                        <a:pt x="1366" y="63"/>
                      </a:lnTo>
                      <a:lnTo>
                        <a:pt x="1367" y="64"/>
                      </a:lnTo>
                      <a:lnTo>
                        <a:pt x="1368" y="66"/>
                      </a:lnTo>
                      <a:lnTo>
                        <a:pt x="1368" y="68"/>
                      </a:lnTo>
                      <a:lnTo>
                        <a:pt x="1367" y="71"/>
                      </a:lnTo>
                      <a:lnTo>
                        <a:pt x="1367" y="73"/>
                      </a:lnTo>
                      <a:lnTo>
                        <a:pt x="1367" y="75"/>
                      </a:lnTo>
                      <a:lnTo>
                        <a:pt x="1368" y="76"/>
                      </a:lnTo>
                      <a:lnTo>
                        <a:pt x="1371" y="78"/>
                      </a:lnTo>
                      <a:lnTo>
                        <a:pt x="1373" y="78"/>
                      </a:lnTo>
                      <a:lnTo>
                        <a:pt x="1375" y="78"/>
                      </a:lnTo>
                      <a:lnTo>
                        <a:pt x="1377" y="78"/>
                      </a:lnTo>
                      <a:lnTo>
                        <a:pt x="1378" y="77"/>
                      </a:lnTo>
                      <a:lnTo>
                        <a:pt x="1379" y="76"/>
                      </a:lnTo>
                      <a:lnTo>
                        <a:pt x="1380" y="76"/>
                      </a:lnTo>
                      <a:lnTo>
                        <a:pt x="1382" y="76"/>
                      </a:lnTo>
                      <a:lnTo>
                        <a:pt x="1383" y="76"/>
                      </a:lnTo>
                      <a:lnTo>
                        <a:pt x="1385" y="77"/>
                      </a:lnTo>
                      <a:lnTo>
                        <a:pt x="1387" y="79"/>
                      </a:lnTo>
                      <a:lnTo>
                        <a:pt x="1389" y="82"/>
                      </a:lnTo>
                      <a:lnTo>
                        <a:pt x="1393" y="84"/>
                      </a:lnTo>
                      <a:lnTo>
                        <a:pt x="1395" y="85"/>
                      </a:lnTo>
                      <a:lnTo>
                        <a:pt x="1398" y="86"/>
                      </a:lnTo>
                      <a:lnTo>
                        <a:pt x="1401" y="88"/>
                      </a:lnTo>
                      <a:lnTo>
                        <a:pt x="1405" y="90"/>
                      </a:lnTo>
                      <a:lnTo>
                        <a:pt x="1408" y="93"/>
                      </a:lnTo>
                      <a:lnTo>
                        <a:pt x="1409" y="95"/>
                      </a:lnTo>
                      <a:lnTo>
                        <a:pt x="1411" y="97"/>
                      </a:lnTo>
                      <a:lnTo>
                        <a:pt x="1413" y="99"/>
                      </a:lnTo>
                      <a:lnTo>
                        <a:pt x="1416" y="101"/>
                      </a:lnTo>
                      <a:lnTo>
                        <a:pt x="1418" y="104"/>
                      </a:lnTo>
                      <a:lnTo>
                        <a:pt x="1418" y="106"/>
                      </a:lnTo>
                      <a:lnTo>
                        <a:pt x="1418" y="107"/>
                      </a:lnTo>
                      <a:lnTo>
                        <a:pt x="1417" y="108"/>
                      </a:lnTo>
                      <a:lnTo>
                        <a:pt x="1417" y="108"/>
                      </a:lnTo>
                      <a:lnTo>
                        <a:pt x="1416" y="110"/>
                      </a:lnTo>
                      <a:lnTo>
                        <a:pt x="1413" y="110"/>
                      </a:lnTo>
                      <a:lnTo>
                        <a:pt x="1412" y="112"/>
                      </a:lnTo>
                      <a:lnTo>
                        <a:pt x="1411" y="115"/>
                      </a:lnTo>
                      <a:lnTo>
                        <a:pt x="1410" y="116"/>
                      </a:lnTo>
                      <a:lnTo>
                        <a:pt x="1409" y="116"/>
                      </a:lnTo>
                      <a:lnTo>
                        <a:pt x="1409" y="117"/>
                      </a:lnTo>
                      <a:lnTo>
                        <a:pt x="1407" y="117"/>
                      </a:lnTo>
                      <a:lnTo>
                        <a:pt x="1400" y="117"/>
                      </a:lnTo>
                      <a:lnTo>
                        <a:pt x="1398" y="117"/>
                      </a:lnTo>
                      <a:lnTo>
                        <a:pt x="1396" y="118"/>
                      </a:lnTo>
                      <a:lnTo>
                        <a:pt x="1395" y="119"/>
                      </a:lnTo>
                      <a:lnTo>
                        <a:pt x="1393" y="119"/>
                      </a:lnTo>
                      <a:lnTo>
                        <a:pt x="1389" y="119"/>
                      </a:lnTo>
                      <a:lnTo>
                        <a:pt x="1382" y="118"/>
                      </a:lnTo>
                      <a:lnTo>
                        <a:pt x="1375" y="117"/>
                      </a:lnTo>
                      <a:lnTo>
                        <a:pt x="1366" y="115"/>
                      </a:lnTo>
                      <a:lnTo>
                        <a:pt x="1362" y="112"/>
                      </a:lnTo>
                      <a:lnTo>
                        <a:pt x="1358" y="112"/>
                      </a:lnTo>
                      <a:lnTo>
                        <a:pt x="1354" y="111"/>
                      </a:lnTo>
                      <a:lnTo>
                        <a:pt x="1351" y="110"/>
                      </a:lnTo>
                      <a:lnTo>
                        <a:pt x="1340" y="110"/>
                      </a:lnTo>
                      <a:lnTo>
                        <a:pt x="1333" y="108"/>
                      </a:lnTo>
                      <a:lnTo>
                        <a:pt x="1329" y="109"/>
                      </a:lnTo>
                      <a:lnTo>
                        <a:pt x="1324" y="110"/>
                      </a:lnTo>
                      <a:lnTo>
                        <a:pt x="1320" y="110"/>
                      </a:lnTo>
                      <a:lnTo>
                        <a:pt x="1309" y="110"/>
                      </a:lnTo>
                      <a:lnTo>
                        <a:pt x="1306" y="110"/>
                      </a:lnTo>
                      <a:lnTo>
                        <a:pt x="1303" y="110"/>
                      </a:lnTo>
                      <a:lnTo>
                        <a:pt x="1301" y="110"/>
                      </a:lnTo>
                      <a:lnTo>
                        <a:pt x="1300" y="111"/>
                      </a:lnTo>
                      <a:lnTo>
                        <a:pt x="1300" y="112"/>
                      </a:lnTo>
                      <a:lnTo>
                        <a:pt x="1300" y="112"/>
                      </a:lnTo>
                      <a:lnTo>
                        <a:pt x="1300" y="115"/>
                      </a:lnTo>
                      <a:lnTo>
                        <a:pt x="1300" y="117"/>
                      </a:lnTo>
                      <a:lnTo>
                        <a:pt x="1301" y="119"/>
                      </a:lnTo>
                      <a:lnTo>
                        <a:pt x="1302" y="121"/>
                      </a:lnTo>
                      <a:lnTo>
                        <a:pt x="1304" y="123"/>
                      </a:lnTo>
                      <a:lnTo>
                        <a:pt x="1307" y="124"/>
                      </a:lnTo>
                      <a:lnTo>
                        <a:pt x="1309" y="124"/>
                      </a:lnTo>
                      <a:lnTo>
                        <a:pt x="1310" y="123"/>
                      </a:lnTo>
                      <a:lnTo>
                        <a:pt x="1311" y="122"/>
                      </a:lnTo>
                      <a:lnTo>
                        <a:pt x="1312" y="121"/>
                      </a:lnTo>
                      <a:lnTo>
                        <a:pt x="1313" y="120"/>
                      </a:lnTo>
                      <a:lnTo>
                        <a:pt x="1313" y="119"/>
                      </a:lnTo>
                      <a:lnTo>
                        <a:pt x="1314" y="118"/>
                      </a:lnTo>
                      <a:lnTo>
                        <a:pt x="1318" y="118"/>
                      </a:lnTo>
                      <a:lnTo>
                        <a:pt x="1320" y="118"/>
                      </a:lnTo>
                      <a:lnTo>
                        <a:pt x="1323" y="118"/>
                      </a:lnTo>
                      <a:lnTo>
                        <a:pt x="1327" y="119"/>
                      </a:lnTo>
                      <a:lnTo>
                        <a:pt x="1330" y="120"/>
                      </a:lnTo>
                      <a:lnTo>
                        <a:pt x="1332" y="120"/>
                      </a:lnTo>
                      <a:lnTo>
                        <a:pt x="1335" y="120"/>
                      </a:lnTo>
                      <a:lnTo>
                        <a:pt x="1338" y="119"/>
                      </a:lnTo>
                      <a:lnTo>
                        <a:pt x="1343" y="117"/>
                      </a:lnTo>
                      <a:lnTo>
                        <a:pt x="1350" y="117"/>
                      </a:lnTo>
                      <a:lnTo>
                        <a:pt x="1360" y="119"/>
                      </a:lnTo>
                      <a:lnTo>
                        <a:pt x="1371" y="123"/>
                      </a:lnTo>
                      <a:lnTo>
                        <a:pt x="1383" y="128"/>
                      </a:lnTo>
                      <a:lnTo>
                        <a:pt x="1387" y="129"/>
                      </a:lnTo>
                      <a:lnTo>
                        <a:pt x="1390" y="131"/>
                      </a:lnTo>
                      <a:lnTo>
                        <a:pt x="1393" y="134"/>
                      </a:lnTo>
                      <a:lnTo>
                        <a:pt x="1394" y="138"/>
                      </a:lnTo>
                      <a:lnTo>
                        <a:pt x="1395" y="141"/>
                      </a:lnTo>
                      <a:lnTo>
                        <a:pt x="1394" y="142"/>
                      </a:lnTo>
                      <a:lnTo>
                        <a:pt x="1393" y="143"/>
                      </a:lnTo>
                      <a:lnTo>
                        <a:pt x="1391" y="143"/>
                      </a:lnTo>
                      <a:lnTo>
                        <a:pt x="1388" y="143"/>
                      </a:lnTo>
                      <a:lnTo>
                        <a:pt x="1386" y="144"/>
                      </a:lnTo>
                      <a:lnTo>
                        <a:pt x="1383" y="144"/>
                      </a:lnTo>
                      <a:lnTo>
                        <a:pt x="1382" y="145"/>
                      </a:lnTo>
                      <a:lnTo>
                        <a:pt x="1379" y="147"/>
                      </a:lnTo>
                      <a:lnTo>
                        <a:pt x="1377" y="149"/>
                      </a:lnTo>
                      <a:lnTo>
                        <a:pt x="1376" y="151"/>
                      </a:lnTo>
                      <a:lnTo>
                        <a:pt x="1376" y="153"/>
                      </a:lnTo>
                      <a:lnTo>
                        <a:pt x="1378" y="155"/>
                      </a:lnTo>
                      <a:lnTo>
                        <a:pt x="1382" y="155"/>
                      </a:lnTo>
                      <a:lnTo>
                        <a:pt x="1384" y="154"/>
                      </a:lnTo>
                      <a:lnTo>
                        <a:pt x="1386" y="153"/>
                      </a:lnTo>
                      <a:lnTo>
                        <a:pt x="1388" y="152"/>
                      </a:lnTo>
                      <a:lnTo>
                        <a:pt x="1389" y="152"/>
                      </a:lnTo>
                      <a:lnTo>
                        <a:pt x="1389" y="151"/>
                      </a:lnTo>
                      <a:lnTo>
                        <a:pt x="1393" y="151"/>
                      </a:lnTo>
                      <a:lnTo>
                        <a:pt x="1397" y="150"/>
                      </a:lnTo>
                      <a:lnTo>
                        <a:pt x="1400" y="150"/>
                      </a:lnTo>
                      <a:lnTo>
                        <a:pt x="1405" y="150"/>
                      </a:lnTo>
                      <a:lnTo>
                        <a:pt x="1407" y="149"/>
                      </a:lnTo>
                      <a:lnTo>
                        <a:pt x="1409" y="148"/>
                      </a:lnTo>
                      <a:lnTo>
                        <a:pt x="1410" y="147"/>
                      </a:lnTo>
                      <a:lnTo>
                        <a:pt x="1410" y="144"/>
                      </a:lnTo>
                      <a:lnTo>
                        <a:pt x="1410" y="142"/>
                      </a:lnTo>
                      <a:lnTo>
                        <a:pt x="1409" y="140"/>
                      </a:lnTo>
                      <a:lnTo>
                        <a:pt x="1409" y="138"/>
                      </a:lnTo>
                      <a:lnTo>
                        <a:pt x="1409" y="135"/>
                      </a:lnTo>
                      <a:lnTo>
                        <a:pt x="1410" y="134"/>
                      </a:lnTo>
                      <a:lnTo>
                        <a:pt x="1412" y="133"/>
                      </a:lnTo>
                      <a:lnTo>
                        <a:pt x="1415" y="132"/>
                      </a:lnTo>
                      <a:lnTo>
                        <a:pt x="1418" y="133"/>
                      </a:lnTo>
                      <a:lnTo>
                        <a:pt x="1421" y="134"/>
                      </a:lnTo>
                      <a:lnTo>
                        <a:pt x="1424" y="135"/>
                      </a:lnTo>
                      <a:lnTo>
                        <a:pt x="1427" y="139"/>
                      </a:lnTo>
                      <a:lnTo>
                        <a:pt x="1429" y="142"/>
                      </a:lnTo>
                      <a:lnTo>
                        <a:pt x="1430" y="144"/>
                      </a:lnTo>
                      <a:lnTo>
                        <a:pt x="1431" y="148"/>
                      </a:lnTo>
                      <a:lnTo>
                        <a:pt x="1431" y="149"/>
                      </a:lnTo>
                      <a:lnTo>
                        <a:pt x="1434" y="160"/>
                      </a:lnTo>
                      <a:lnTo>
                        <a:pt x="1440" y="171"/>
                      </a:lnTo>
                      <a:lnTo>
                        <a:pt x="1440" y="180"/>
                      </a:lnTo>
                      <a:lnTo>
                        <a:pt x="1439" y="182"/>
                      </a:lnTo>
                      <a:lnTo>
                        <a:pt x="1439" y="183"/>
                      </a:lnTo>
                      <a:lnTo>
                        <a:pt x="1440" y="185"/>
                      </a:lnTo>
                      <a:lnTo>
                        <a:pt x="1440" y="186"/>
                      </a:lnTo>
                      <a:lnTo>
                        <a:pt x="1440" y="191"/>
                      </a:lnTo>
                      <a:lnTo>
                        <a:pt x="1440" y="193"/>
                      </a:lnTo>
                      <a:lnTo>
                        <a:pt x="1438" y="195"/>
                      </a:lnTo>
                      <a:lnTo>
                        <a:pt x="1437" y="197"/>
                      </a:lnTo>
                      <a:lnTo>
                        <a:pt x="1436" y="199"/>
                      </a:lnTo>
                      <a:lnTo>
                        <a:pt x="1436" y="202"/>
                      </a:lnTo>
                      <a:lnTo>
                        <a:pt x="1436" y="204"/>
                      </a:lnTo>
                      <a:lnTo>
                        <a:pt x="1438" y="208"/>
                      </a:lnTo>
                      <a:lnTo>
                        <a:pt x="1440" y="207"/>
                      </a:lnTo>
                      <a:lnTo>
                        <a:pt x="1441" y="206"/>
                      </a:lnTo>
                      <a:lnTo>
                        <a:pt x="1443" y="205"/>
                      </a:lnTo>
                      <a:lnTo>
                        <a:pt x="1444" y="204"/>
                      </a:lnTo>
                      <a:lnTo>
                        <a:pt x="1444" y="203"/>
                      </a:lnTo>
                      <a:lnTo>
                        <a:pt x="1444" y="200"/>
                      </a:lnTo>
                      <a:lnTo>
                        <a:pt x="1445" y="199"/>
                      </a:lnTo>
                      <a:lnTo>
                        <a:pt x="1445" y="198"/>
                      </a:lnTo>
                      <a:lnTo>
                        <a:pt x="1447" y="197"/>
                      </a:lnTo>
                      <a:lnTo>
                        <a:pt x="1449" y="196"/>
                      </a:lnTo>
                      <a:lnTo>
                        <a:pt x="1450" y="195"/>
                      </a:lnTo>
                      <a:lnTo>
                        <a:pt x="1451" y="194"/>
                      </a:lnTo>
                      <a:lnTo>
                        <a:pt x="1451" y="193"/>
                      </a:lnTo>
                      <a:lnTo>
                        <a:pt x="1451" y="184"/>
                      </a:lnTo>
                      <a:lnTo>
                        <a:pt x="1451" y="182"/>
                      </a:lnTo>
                      <a:lnTo>
                        <a:pt x="1452" y="181"/>
                      </a:lnTo>
                      <a:lnTo>
                        <a:pt x="1452" y="180"/>
                      </a:lnTo>
                      <a:lnTo>
                        <a:pt x="1453" y="177"/>
                      </a:lnTo>
                      <a:lnTo>
                        <a:pt x="1453" y="175"/>
                      </a:lnTo>
                      <a:lnTo>
                        <a:pt x="1454" y="173"/>
                      </a:lnTo>
                      <a:lnTo>
                        <a:pt x="1455" y="172"/>
                      </a:lnTo>
                      <a:lnTo>
                        <a:pt x="1455" y="170"/>
                      </a:lnTo>
                      <a:lnTo>
                        <a:pt x="1455" y="167"/>
                      </a:lnTo>
                      <a:lnTo>
                        <a:pt x="1454" y="165"/>
                      </a:lnTo>
                      <a:lnTo>
                        <a:pt x="1451" y="162"/>
                      </a:lnTo>
                      <a:lnTo>
                        <a:pt x="1450" y="161"/>
                      </a:lnTo>
                      <a:lnTo>
                        <a:pt x="1450" y="160"/>
                      </a:lnTo>
                      <a:lnTo>
                        <a:pt x="1450" y="160"/>
                      </a:lnTo>
                      <a:lnTo>
                        <a:pt x="1452" y="160"/>
                      </a:lnTo>
                      <a:lnTo>
                        <a:pt x="1453" y="161"/>
                      </a:lnTo>
                      <a:lnTo>
                        <a:pt x="1454" y="161"/>
                      </a:lnTo>
                      <a:lnTo>
                        <a:pt x="1455" y="162"/>
                      </a:lnTo>
                      <a:lnTo>
                        <a:pt x="1462" y="169"/>
                      </a:lnTo>
                      <a:lnTo>
                        <a:pt x="1464" y="171"/>
                      </a:lnTo>
                      <a:lnTo>
                        <a:pt x="1466" y="172"/>
                      </a:lnTo>
                      <a:lnTo>
                        <a:pt x="1467" y="173"/>
                      </a:lnTo>
                      <a:lnTo>
                        <a:pt x="1469" y="173"/>
                      </a:lnTo>
                      <a:lnTo>
                        <a:pt x="1471" y="173"/>
                      </a:lnTo>
                      <a:lnTo>
                        <a:pt x="1472" y="174"/>
                      </a:lnTo>
                      <a:lnTo>
                        <a:pt x="1473" y="175"/>
                      </a:lnTo>
                      <a:lnTo>
                        <a:pt x="1474" y="176"/>
                      </a:lnTo>
                      <a:lnTo>
                        <a:pt x="1476" y="178"/>
                      </a:lnTo>
                      <a:lnTo>
                        <a:pt x="1477" y="180"/>
                      </a:lnTo>
                      <a:lnTo>
                        <a:pt x="1481" y="182"/>
                      </a:lnTo>
                      <a:lnTo>
                        <a:pt x="1483" y="183"/>
                      </a:lnTo>
                      <a:lnTo>
                        <a:pt x="1485" y="183"/>
                      </a:lnTo>
                      <a:lnTo>
                        <a:pt x="1486" y="183"/>
                      </a:lnTo>
                      <a:lnTo>
                        <a:pt x="1487" y="182"/>
                      </a:lnTo>
                      <a:lnTo>
                        <a:pt x="1487" y="180"/>
                      </a:lnTo>
                      <a:lnTo>
                        <a:pt x="1486" y="177"/>
                      </a:lnTo>
                      <a:lnTo>
                        <a:pt x="1484" y="175"/>
                      </a:lnTo>
                      <a:lnTo>
                        <a:pt x="1481" y="173"/>
                      </a:lnTo>
                      <a:lnTo>
                        <a:pt x="1477" y="171"/>
                      </a:lnTo>
                      <a:lnTo>
                        <a:pt x="1474" y="169"/>
                      </a:lnTo>
                      <a:lnTo>
                        <a:pt x="1472" y="166"/>
                      </a:lnTo>
                      <a:lnTo>
                        <a:pt x="1471" y="164"/>
                      </a:lnTo>
                      <a:lnTo>
                        <a:pt x="1469" y="162"/>
                      </a:lnTo>
                      <a:lnTo>
                        <a:pt x="1467" y="161"/>
                      </a:lnTo>
                      <a:lnTo>
                        <a:pt x="1465" y="160"/>
                      </a:lnTo>
                      <a:lnTo>
                        <a:pt x="1464" y="160"/>
                      </a:lnTo>
                      <a:lnTo>
                        <a:pt x="1463" y="159"/>
                      </a:lnTo>
                      <a:lnTo>
                        <a:pt x="1463" y="158"/>
                      </a:lnTo>
                      <a:lnTo>
                        <a:pt x="1464" y="158"/>
                      </a:lnTo>
                      <a:lnTo>
                        <a:pt x="1465" y="158"/>
                      </a:lnTo>
                      <a:lnTo>
                        <a:pt x="1466" y="158"/>
                      </a:lnTo>
                      <a:lnTo>
                        <a:pt x="1467" y="158"/>
                      </a:lnTo>
                      <a:lnTo>
                        <a:pt x="1470" y="159"/>
                      </a:lnTo>
                      <a:lnTo>
                        <a:pt x="1471" y="160"/>
                      </a:lnTo>
                      <a:lnTo>
                        <a:pt x="1472" y="161"/>
                      </a:lnTo>
                      <a:lnTo>
                        <a:pt x="1474" y="163"/>
                      </a:lnTo>
                      <a:lnTo>
                        <a:pt x="1476" y="165"/>
                      </a:lnTo>
                      <a:lnTo>
                        <a:pt x="1478" y="167"/>
                      </a:lnTo>
                      <a:lnTo>
                        <a:pt x="1481" y="170"/>
                      </a:lnTo>
                      <a:lnTo>
                        <a:pt x="1483" y="171"/>
                      </a:lnTo>
                      <a:lnTo>
                        <a:pt x="1485" y="173"/>
                      </a:lnTo>
                      <a:lnTo>
                        <a:pt x="1486" y="173"/>
                      </a:lnTo>
                      <a:lnTo>
                        <a:pt x="1486" y="173"/>
                      </a:lnTo>
                      <a:lnTo>
                        <a:pt x="1486" y="171"/>
                      </a:lnTo>
                      <a:lnTo>
                        <a:pt x="1485" y="169"/>
                      </a:lnTo>
                      <a:lnTo>
                        <a:pt x="1484" y="166"/>
                      </a:lnTo>
                      <a:lnTo>
                        <a:pt x="1484" y="165"/>
                      </a:lnTo>
                      <a:lnTo>
                        <a:pt x="1485" y="165"/>
                      </a:lnTo>
                      <a:lnTo>
                        <a:pt x="1487" y="164"/>
                      </a:lnTo>
                      <a:lnTo>
                        <a:pt x="1488" y="164"/>
                      </a:lnTo>
                      <a:lnTo>
                        <a:pt x="1489" y="163"/>
                      </a:lnTo>
                      <a:lnTo>
                        <a:pt x="1492" y="164"/>
                      </a:lnTo>
                      <a:lnTo>
                        <a:pt x="1493" y="164"/>
                      </a:lnTo>
                      <a:lnTo>
                        <a:pt x="1493" y="164"/>
                      </a:lnTo>
                      <a:lnTo>
                        <a:pt x="1494" y="164"/>
                      </a:lnTo>
                      <a:lnTo>
                        <a:pt x="1495" y="163"/>
                      </a:lnTo>
                      <a:lnTo>
                        <a:pt x="1496" y="163"/>
                      </a:lnTo>
                      <a:lnTo>
                        <a:pt x="1497" y="162"/>
                      </a:lnTo>
                      <a:lnTo>
                        <a:pt x="1499" y="162"/>
                      </a:lnTo>
                      <a:lnTo>
                        <a:pt x="1500" y="163"/>
                      </a:lnTo>
                      <a:lnTo>
                        <a:pt x="1503" y="163"/>
                      </a:lnTo>
                      <a:lnTo>
                        <a:pt x="1506" y="164"/>
                      </a:lnTo>
                      <a:lnTo>
                        <a:pt x="1509" y="166"/>
                      </a:lnTo>
                      <a:lnTo>
                        <a:pt x="1513" y="169"/>
                      </a:lnTo>
                      <a:lnTo>
                        <a:pt x="1515" y="171"/>
                      </a:lnTo>
                      <a:lnTo>
                        <a:pt x="1517" y="173"/>
                      </a:lnTo>
                      <a:lnTo>
                        <a:pt x="1521" y="177"/>
                      </a:lnTo>
                      <a:lnTo>
                        <a:pt x="1526" y="181"/>
                      </a:lnTo>
                      <a:lnTo>
                        <a:pt x="1530" y="184"/>
                      </a:lnTo>
                      <a:lnTo>
                        <a:pt x="1532" y="186"/>
                      </a:lnTo>
                      <a:lnTo>
                        <a:pt x="1536" y="188"/>
                      </a:lnTo>
                      <a:lnTo>
                        <a:pt x="1539" y="191"/>
                      </a:lnTo>
                      <a:lnTo>
                        <a:pt x="1542" y="193"/>
                      </a:lnTo>
                      <a:lnTo>
                        <a:pt x="1544" y="195"/>
                      </a:lnTo>
                      <a:lnTo>
                        <a:pt x="1546" y="197"/>
                      </a:lnTo>
                      <a:lnTo>
                        <a:pt x="1547" y="199"/>
                      </a:lnTo>
                      <a:lnTo>
                        <a:pt x="1546" y="202"/>
                      </a:lnTo>
                      <a:lnTo>
                        <a:pt x="1544" y="204"/>
                      </a:lnTo>
                      <a:lnTo>
                        <a:pt x="1543" y="206"/>
                      </a:lnTo>
                      <a:lnTo>
                        <a:pt x="1542" y="207"/>
                      </a:lnTo>
                      <a:lnTo>
                        <a:pt x="1540" y="209"/>
                      </a:lnTo>
                      <a:lnTo>
                        <a:pt x="1539" y="211"/>
                      </a:lnTo>
                      <a:lnTo>
                        <a:pt x="1539" y="215"/>
                      </a:lnTo>
                      <a:lnTo>
                        <a:pt x="1539" y="216"/>
                      </a:lnTo>
                      <a:lnTo>
                        <a:pt x="1538" y="216"/>
                      </a:lnTo>
                      <a:lnTo>
                        <a:pt x="1536" y="216"/>
                      </a:lnTo>
                      <a:lnTo>
                        <a:pt x="1535" y="215"/>
                      </a:lnTo>
                      <a:lnTo>
                        <a:pt x="1532" y="215"/>
                      </a:lnTo>
                      <a:lnTo>
                        <a:pt x="1531" y="215"/>
                      </a:lnTo>
                      <a:lnTo>
                        <a:pt x="1530" y="216"/>
                      </a:lnTo>
                      <a:lnTo>
                        <a:pt x="1530" y="217"/>
                      </a:lnTo>
                      <a:lnTo>
                        <a:pt x="1530" y="219"/>
                      </a:lnTo>
                      <a:lnTo>
                        <a:pt x="1531" y="220"/>
                      </a:lnTo>
                      <a:lnTo>
                        <a:pt x="1533" y="222"/>
                      </a:lnTo>
                      <a:lnTo>
                        <a:pt x="1535" y="224"/>
                      </a:lnTo>
                      <a:lnTo>
                        <a:pt x="1535" y="226"/>
                      </a:lnTo>
                      <a:lnTo>
                        <a:pt x="1535" y="228"/>
                      </a:lnTo>
                      <a:lnTo>
                        <a:pt x="1530" y="228"/>
                      </a:lnTo>
                      <a:lnTo>
                        <a:pt x="1529" y="228"/>
                      </a:lnTo>
                      <a:lnTo>
                        <a:pt x="1529" y="229"/>
                      </a:lnTo>
                      <a:lnTo>
                        <a:pt x="1529" y="230"/>
                      </a:lnTo>
                      <a:lnTo>
                        <a:pt x="1529" y="231"/>
                      </a:lnTo>
                      <a:lnTo>
                        <a:pt x="1528" y="232"/>
                      </a:lnTo>
                      <a:lnTo>
                        <a:pt x="1526" y="232"/>
                      </a:lnTo>
                      <a:lnTo>
                        <a:pt x="1525" y="232"/>
                      </a:lnTo>
                      <a:lnTo>
                        <a:pt x="1522" y="231"/>
                      </a:lnTo>
                      <a:lnTo>
                        <a:pt x="1520" y="230"/>
                      </a:lnTo>
                      <a:lnTo>
                        <a:pt x="1519" y="230"/>
                      </a:lnTo>
                      <a:lnTo>
                        <a:pt x="1517" y="229"/>
                      </a:lnTo>
                      <a:lnTo>
                        <a:pt x="1515" y="228"/>
                      </a:lnTo>
                      <a:lnTo>
                        <a:pt x="1513" y="227"/>
                      </a:lnTo>
                      <a:lnTo>
                        <a:pt x="1510" y="226"/>
                      </a:lnTo>
                      <a:lnTo>
                        <a:pt x="1507" y="224"/>
                      </a:lnTo>
                      <a:lnTo>
                        <a:pt x="1503" y="221"/>
                      </a:lnTo>
                      <a:lnTo>
                        <a:pt x="1499" y="219"/>
                      </a:lnTo>
                      <a:lnTo>
                        <a:pt x="1499" y="219"/>
                      </a:lnTo>
                      <a:lnTo>
                        <a:pt x="1499" y="220"/>
                      </a:lnTo>
                      <a:lnTo>
                        <a:pt x="1499" y="221"/>
                      </a:lnTo>
                      <a:lnTo>
                        <a:pt x="1500" y="224"/>
                      </a:lnTo>
                      <a:lnTo>
                        <a:pt x="1500" y="225"/>
                      </a:lnTo>
                      <a:lnTo>
                        <a:pt x="1500" y="227"/>
                      </a:lnTo>
                      <a:lnTo>
                        <a:pt x="1500" y="228"/>
                      </a:lnTo>
                      <a:lnTo>
                        <a:pt x="1499" y="228"/>
                      </a:lnTo>
                      <a:lnTo>
                        <a:pt x="1498" y="228"/>
                      </a:lnTo>
                      <a:lnTo>
                        <a:pt x="1497" y="227"/>
                      </a:lnTo>
                      <a:lnTo>
                        <a:pt x="1495" y="227"/>
                      </a:lnTo>
                      <a:lnTo>
                        <a:pt x="1494" y="226"/>
                      </a:lnTo>
                      <a:lnTo>
                        <a:pt x="1492" y="225"/>
                      </a:lnTo>
                      <a:lnTo>
                        <a:pt x="1491" y="225"/>
                      </a:lnTo>
                      <a:lnTo>
                        <a:pt x="1489" y="225"/>
                      </a:lnTo>
                      <a:lnTo>
                        <a:pt x="1489" y="226"/>
                      </a:lnTo>
                      <a:lnTo>
                        <a:pt x="1491" y="228"/>
                      </a:lnTo>
                      <a:lnTo>
                        <a:pt x="1493" y="230"/>
                      </a:lnTo>
                      <a:lnTo>
                        <a:pt x="1495" y="231"/>
                      </a:lnTo>
                      <a:lnTo>
                        <a:pt x="1496" y="232"/>
                      </a:lnTo>
                      <a:lnTo>
                        <a:pt x="1498" y="233"/>
                      </a:lnTo>
                      <a:lnTo>
                        <a:pt x="1499" y="235"/>
                      </a:lnTo>
                      <a:lnTo>
                        <a:pt x="1502" y="233"/>
                      </a:lnTo>
                      <a:lnTo>
                        <a:pt x="1503" y="233"/>
                      </a:lnTo>
                      <a:lnTo>
                        <a:pt x="1504" y="232"/>
                      </a:lnTo>
                      <a:lnTo>
                        <a:pt x="1505" y="231"/>
                      </a:lnTo>
                      <a:lnTo>
                        <a:pt x="1506" y="232"/>
                      </a:lnTo>
                      <a:lnTo>
                        <a:pt x="1514" y="236"/>
                      </a:lnTo>
                      <a:lnTo>
                        <a:pt x="1524" y="240"/>
                      </a:lnTo>
                      <a:lnTo>
                        <a:pt x="1530" y="248"/>
                      </a:lnTo>
                      <a:lnTo>
                        <a:pt x="1531" y="251"/>
                      </a:lnTo>
                      <a:lnTo>
                        <a:pt x="1530" y="254"/>
                      </a:lnTo>
                      <a:lnTo>
                        <a:pt x="1528" y="257"/>
                      </a:lnTo>
                      <a:lnTo>
                        <a:pt x="1526" y="259"/>
                      </a:lnTo>
                      <a:lnTo>
                        <a:pt x="1522" y="259"/>
                      </a:lnTo>
                      <a:lnTo>
                        <a:pt x="1517" y="257"/>
                      </a:lnTo>
                      <a:lnTo>
                        <a:pt x="1511" y="253"/>
                      </a:lnTo>
                      <a:lnTo>
                        <a:pt x="1506" y="250"/>
                      </a:lnTo>
                      <a:lnTo>
                        <a:pt x="1502" y="248"/>
                      </a:lnTo>
                      <a:lnTo>
                        <a:pt x="1498" y="247"/>
                      </a:lnTo>
                      <a:lnTo>
                        <a:pt x="1496" y="246"/>
                      </a:lnTo>
                      <a:lnTo>
                        <a:pt x="1494" y="246"/>
                      </a:lnTo>
                      <a:lnTo>
                        <a:pt x="1493" y="247"/>
                      </a:lnTo>
                      <a:lnTo>
                        <a:pt x="1492" y="249"/>
                      </a:lnTo>
                      <a:lnTo>
                        <a:pt x="1492" y="250"/>
                      </a:lnTo>
                      <a:lnTo>
                        <a:pt x="1493" y="252"/>
                      </a:lnTo>
                      <a:lnTo>
                        <a:pt x="1493" y="254"/>
                      </a:lnTo>
                      <a:lnTo>
                        <a:pt x="1494" y="258"/>
                      </a:lnTo>
                      <a:lnTo>
                        <a:pt x="1495" y="261"/>
                      </a:lnTo>
                      <a:lnTo>
                        <a:pt x="1496" y="265"/>
                      </a:lnTo>
                      <a:lnTo>
                        <a:pt x="1498" y="268"/>
                      </a:lnTo>
                      <a:lnTo>
                        <a:pt x="1502" y="270"/>
                      </a:lnTo>
                      <a:lnTo>
                        <a:pt x="1504" y="270"/>
                      </a:lnTo>
                      <a:lnTo>
                        <a:pt x="1505" y="270"/>
                      </a:lnTo>
                      <a:lnTo>
                        <a:pt x="1505" y="269"/>
                      </a:lnTo>
                      <a:lnTo>
                        <a:pt x="1505" y="268"/>
                      </a:lnTo>
                      <a:lnTo>
                        <a:pt x="1505" y="265"/>
                      </a:lnTo>
                      <a:lnTo>
                        <a:pt x="1505" y="263"/>
                      </a:lnTo>
                      <a:lnTo>
                        <a:pt x="1504" y="261"/>
                      </a:lnTo>
                      <a:lnTo>
                        <a:pt x="1504" y="260"/>
                      </a:lnTo>
                      <a:lnTo>
                        <a:pt x="1504" y="259"/>
                      </a:lnTo>
                      <a:lnTo>
                        <a:pt x="1504" y="258"/>
                      </a:lnTo>
                      <a:lnTo>
                        <a:pt x="1506" y="258"/>
                      </a:lnTo>
                      <a:lnTo>
                        <a:pt x="1507" y="259"/>
                      </a:lnTo>
                      <a:lnTo>
                        <a:pt x="1509" y="260"/>
                      </a:lnTo>
                      <a:lnTo>
                        <a:pt x="1510" y="261"/>
                      </a:lnTo>
                      <a:lnTo>
                        <a:pt x="1514" y="261"/>
                      </a:lnTo>
                      <a:lnTo>
                        <a:pt x="1517" y="261"/>
                      </a:lnTo>
                      <a:lnTo>
                        <a:pt x="1521" y="261"/>
                      </a:lnTo>
                      <a:lnTo>
                        <a:pt x="1525" y="263"/>
                      </a:lnTo>
                      <a:lnTo>
                        <a:pt x="1526" y="265"/>
                      </a:lnTo>
                      <a:lnTo>
                        <a:pt x="1527" y="268"/>
                      </a:lnTo>
                      <a:lnTo>
                        <a:pt x="1527" y="270"/>
                      </a:lnTo>
                      <a:lnTo>
                        <a:pt x="1527" y="272"/>
                      </a:lnTo>
                      <a:lnTo>
                        <a:pt x="1526" y="274"/>
                      </a:lnTo>
                      <a:lnTo>
                        <a:pt x="1526" y="276"/>
                      </a:lnTo>
                      <a:lnTo>
                        <a:pt x="1526" y="276"/>
                      </a:lnTo>
                      <a:lnTo>
                        <a:pt x="1526" y="278"/>
                      </a:lnTo>
                      <a:lnTo>
                        <a:pt x="1526" y="279"/>
                      </a:lnTo>
                      <a:lnTo>
                        <a:pt x="1525" y="280"/>
                      </a:lnTo>
                      <a:lnTo>
                        <a:pt x="1525" y="281"/>
                      </a:lnTo>
                      <a:lnTo>
                        <a:pt x="1524" y="281"/>
                      </a:lnTo>
                      <a:lnTo>
                        <a:pt x="1520" y="280"/>
                      </a:lnTo>
                      <a:lnTo>
                        <a:pt x="1518" y="280"/>
                      </a:lnTo>
                      <a:lnTo>
                        <a:pt x="1516" y="279"/>
                      </a:lnTo>
                      <a:lnTo>
                        <a:pt x="1515" y="279"/>
                      </a:lnTo>
                      <a:lnTo>
                        <a:pt x="1513" y="278"/>
                      </a:lnTo>
                      <a:lnTo>
                        <a:pt x="1511" y="279"/>
                      </a:lnTo>
                      <a:lnTo>
                        <a:pt x="1511" y="280"/>
                      </a:lnTo>
                      <a:lnTo>
                        <a:pt x="1511" y="282"/>
                      </a:lnTo>
                      <a:lnTo>
                        <a:pt x="1511" y="284"/>
                      </a:lnTo>
                      <a:lnTo>
                        <a:pt x="1513" y="287"/>
                      </a:lnTo>
                      <a:lnTo>
                        <a:pt x="1513" y="290"/>
                      </a:lnTo>
                      <a:lnTo>
                        <a:pt x="1514" y="292"/>
                      </a:lnTo>
                      <a:lnTo>
                        <a:pt x="1515" y="294"/>
                      </a:lnTo>
                      <a:lnTo>
                        <a:pt x="1517" y="295"/>
                      </a:lnTo>
                      <a:lnTo>
                        <a:pt x="1519" y="297"/>
                      </a:lnTo>
                      <a:lnTo>
                        <a:pt x="1521" y="297"/>
                      </a:lnTo>
                      <a:lnTo>
                        <a:pt x="1521" y="300"/>
                      </a:lnTo>
                      <a:lnTo>
                        <a:pt x="1522" y="300"/>
                      </a:lnTo>
                      <a:lnTo>
                        <a:pt x="1524" y="301"/>
                      </a:lnTo>
                      <a:lnTo>
                        <a:pt x="1526" y="302"/>
                      </a:lnTo>
                      <a:lnTo>
                        <a:pt x="1527" y="304"/>
                      </a:lnTo>
                      <a:lnTo>
                        <a:pt x="1527" y="306"/>
                      </a:lnTo>
                      <a:lnTo>
                        <a:pt x="1526" y="307"/>
                      </a:lnTo>
                      <a:lnTo>
                        <a:pt x="1525" y="307"/>
                      </a:lnTo>
                      <a:lnTo>
                        <a:pt x="1524" y="308"/>
                      </a:lnTo>
                      <a:lnTo>
                        <a:pt x="1521" y="308"/>
                      </a:lnTo>
                      <a:lnTo>
                        <a:pt x="1520" y="309"/>
                      </a:lnTo>
                      <a:lnTo>
                        <a:pt x="1519" y="309"/>
                      </a:lnTo>
                      <a:lnTo>
                        <a:pt x="1519" y="311"/>
                      </a:lnTo>
                      <a:lnTo>
                        <a:pt x="1519" y="313"/>
                      </a:lnTo>
                      <a:lnTo>
                        <a:pt x="1520" y="315"/>
                      </a:lnTo>
                      <a:lnTo>
                        <a:pt x="1521" y="318"/>
                      </a:lnTo>
                      <a:lnTo>
                        <a:pt x="1521" y="319"/>
                      </a:lnTo>
                      <a:lnTo>
                        <a:pt x="1522" y="320"/>
                      </a:lnTo>
                      <a:lnTo>
                        <a:pt x="1522" y="322"/>
                      </a:lnTo>
                      <a:lnTo>
                        <a:pt x="1521" y="322"/>
                      </a:lnTo>
                      <a:lnTo>
                        <a:pt x="1519" y="322"/>
                      </a:lnTo>
                      <a:lnTo>
                        <a:pt x="1517" y="322"/>
                      </a:lnTo>
                      <a:lnTo>
                        <a:pt x="1515" y="323"/>
                      </a:lnTo>
                      <a:lnTo>
                        <a:pt x="1514" y="323"/>
                      </a:lnTo>
                      <a:lnTo>
                        <a:pt x="1513" y="325"/>
                      </a:lnTo>
                      <a:lnTo>
                        <a:pt x="1513" y="326"/>
                      </a:lnTo>
                      <a:lnTo>
                        <a:pt x="1513" y="328"/>
                      </a:lnTo>
                      <a:lnTo>
                        <a:pt x="1515" y="339"/>
                      </a:lnTo>
                      <a:lnTo>
                        <a:pt x="1519" y="350"/>
                      </a:lnTo>
                      <a:lnTo>
                        <a:pt x="1520" y="352"/>
                      </a:lnTo>
                      <a:lnTo>
                        <a:pt x="1520" y="355"/>
                      </a:lnTo>
                      <a:lnTo>
                        <a:pt x="1520" y="357"/>
                      </a:lnTo>
                      <a:lnTo>
                        <a:pt x="1519" y="359"/>
                      </a:lnTo>
                      <a:lnTo>
                        <a:pt x="1519" y="361"/>
                      </a:lnTo>
                      <a:lnTo>
                        <a:pt x="1519" y="363"/>
                      </a:lnTo>
                      <a:lnTo>
                        <a:pt x="1519" y="366"/>
                      </a:lnTo>
                      <a:lnTo>
                        <a:pt x="1520" y="368"/>
                      </a:lnTo>
                      <a:lnTo>
                        <a:pt x="1521" y="370"/>
                      </a:lnTo>
                      <a:lnTo>
                        <a:pt x="1522" y="372"/>
                      </a:lnTo>
                      <a:lnTo>
                        <a:pt x="1525" y="373"/>
                      </a:lnTo>
                      <a:lnTo>
                        <a:pt x="1526" y="372"/>
                      </a:lnTo>
                      <a:lnTo>
                        <a:pt x="1526" y="372"/>
                      </a:lnTo>
                      <a:lnTo>
                        <a:pt x="1527" y="370"/>
                      </a:lnTo>
                      <a:lnTo>
                        <a:pt x="1527" y="369"/>
                      </a:lnTo>
                      <a:lnTo>
                        <a:pt x="1528" y="368"/>
                      </a:lnTo>
                      <a:lnTo>
                        <a:pt x="1528" y="367"/>
                      </a:lnTo>
                      <a:lnTo>
                        <a:pt x="1529" y="366"/>
                      </a:lnTo>
                      <a:lnTo>
                        <a:pt x="1530" y="366"/>
                      </a:lnTo>
                      <a:lnTo>
                        <a:pt x="1532" y="368"/>
                      </a:lnTo>
                      <a:lnTo>
                        <a:pt x="1535" y="370"/>
                      </a:lnTo>
                      <a:lnTo>
                        <a:pt x="1537" y="372"/>
                      </a:lnTo>
                      <a:lnTo>
                        <a:pt x="1539" y="374"/>
                      </a:lnTo>
                      <a:lnTo>
                        <a:pt x="1541" y="377"/>
                      </a:lnTo>
                      <a:lnTo>
                        <a:pt x="1548" y="383"/>
                      </a:lnTo>
                      <a:lnTo>
                        <a:pt x="1549" y="385"/>
                      </a:lnTo>
                      <a:lnTo>
                        <a:pt x="1549" y="386"/>
                      </a:lnTo>
                      <a:lnTo>
                        <a:pt x="1549" y="388"/>
                      </a:lnTo>
                      <a:lnTo>
                        <a:pt x="1548" y="388"/>
                      </a:lnTo>
                      <a:lnTo>
                        <a:pt x="1547" y="388"/>
                      </a:lnTo>
                      <a:lnTo>
                        <a:pt x="1544" y="388"/>
                      </a:lnTo>
                      <a:lnTo>
                        <a:pt x="1542" y="388"/>
                      </a:lnTo>
                      <a:lnTo>
                        <a:pt x="1541" y="388"/>
                      </a:lnTo>
                      <a:lnTo>
                        <a:pt x="1539" y="389"/>
                      </a:lnTo>
                      <a:lnTo>
                        <a:pt x="1538" y="389"/>
                      </a:lnTo>
                      <a:lnTo>
                        <a:pt x="1537" y="390"/>
                      </a:lnTo>
                      <a:lnTo>
                        <a:pt x="1537" y="391"/>
                      </a:lnTo>
                      <a:lnTo>
                        <a:pt x="1539" y="393"/>
                      </a:lnTo>
                      <a:lnTo>
                        <a:pt x="1541" y="395"/>
                      </a:lnTo>
                      <a:lnTo>
                        <a:pt x="1543" y="396"/>
                      </a:lnTo>
                      <a:lnTo>
                        <a:pt x="1546" y="399"/>
                      </a:lnTo>
                      <a:lnTo>
                        <a:pt x="1548" y="399"/>
                      </a:lnTo>
                      <a:lnTo>
                        <a:pt x="1550" y="400"/>
                      </a:lnTo>
                      <a:lnTo>
                        <a:pt x="1552" y="401"/>
                      </a:lnTo>
                      <a:lnTo>
                        <a:pt x="1553" y="402"/>
                      </a:lnTo>
                      <a:lnTo>
                        <a:pt x="1554" y="404"/>
                      </a:lnTo>
                      <a:lnTo>
                        <a:pt x="1555" y="405"/>
                      </a:lnTo>
                      <a:lnTo>
                        <a:pt x="1557" y="405"/>
                      </a:lnTo>
                      <a:lnTo>
                        <a:pt x="1558" y="406"/>
                      </a:lnTo>
                      <a:lnTo>
                        <a:pt x="1560" y="406"/>
                      </a:lnTo>
                      <a:lnTo>
                        <a:pt x="1561" y="406"/>
                      </a:lnTo>
                      <a:lnTo>
                        <a:pt x="1562" y="406"/>
                      </a:lnTo>
                      <a:lnTo>
                        <a:pt x="1563" y="407"/>
                      </a:lnTo>
                      <a:lnTo>
                        <a:pt x="1565" y="410"/>
                      </a:lnTo>
                      <a:lnTo>
                        <a:pt x="1568" y="412"/>
                      </a:lnTo>
                      <a:lnTo>
                        <a:pt x="1570" y="414"/>
                      </a:lnTo>
                      <a:lnTo>
                        <a:pt x="1572" y="417"/>
                      </a:lnTo>
                      <a:lnTo>
                        <a:pt x="1574" y="421"/>
                      </a:lnTo>
                      <a:lnTo>
                        <a:pt x="1574" y="422"/>
                      </a:lnTo>
                      <a:lnTo>
                        <a:pt x="1574" y="425"/>
                      </a:lnTo>
                      <a:lnTo>
                        <a:pt x="1575" y="427"/>
                      </a:lnTo>
                      <a:lnTo>
                        <a:pt x="1575" y="429"/>
                      </a:lnTo>
                      <a:lnTo>
                        <a:pt x="1574" y="432"/>
                      </a:lnTo>
                      <a:lnTo>
                        <a:pt x="1573" y="432"/>
                      </a:lnTo>
                      <a:lnTo>
                        <a:pt x="1572" y="432"/>
                      </a:lnTo>
                      <a:lnTo>
                        <a:pt x="1571" y="432"/>
                      </a:lnTo>
                      <a:lnTo>
                        <a:pt x="1569" y="431"/>
                      </a:lnTo>
                      <a:lnTo>
                        <a:pt x="1568" y="429"/>
                      </a:lnTo>
                      <a:lnTo>
                        <a:pt x="1564" y="428"/>
                      </a:lnTo>
                      <a:lnTo>
                        <a:pt x="1561" y="427"/>
                      </a:lnTo>
                      <a:lnTo>
                        <a:pt x="1559" y="425"/>
                      </a:lnTo>
                      <a:lnTo>
                        <a:pt x="1557" y="423"/>
                      </a:lnTo>
                      <a:lnTo>
                        <a:pt x="1553" y="420"/>
                      </a:lnTo>
                      <a:lnTo>
                        <a:pt x="1550" y="418"/>
                      </a:lnTo>
                      <a:lnTo>
                        <a:pt x="1548" y="418"/>
                      </a:lnTo>
                      <a:lnTo>
                        <a:pt x="1546" y="418"/>
                      </a:lnTo>
                      <a:lnTo>
                        <a:pt x="1544" y="420"/>
                      </a:lnTo>
                      <a:lnTo>
                        <a:pt x="1546" y="422"/>
                      </a:lnTo>
                      <a:lnTo>
                        <a:pt x="1546" y="424"/>
                      </a:lnTo>
                      <a:lnTo>
                        <a:pt x="1546" y="425"/>
                      </a:lnTo>
                      <a:lnTo>
                        <a:pt x="1546" y="427"/>
                      </a:lnTo>
                      <a:lnTo>
                        <a:pt x="1543" y="428"/>
                      </a:lnTo>
                      <a:lnTo>
                        <a:pt x="1542" y="427"/>
                      </a:lnTo>
                      <a:lnTo>
                        <a:pt x="1540" y="426"/>
                      </a:lnTo>
                      <a:lnTo>
                        <a:pt x="1537" y="425"/>
                      </a:lnTo>
                      <a:lnTo>
                        <a:pt x="1535" y="423"/>
                      </a:lnTo>
                      <a:lnTo>
                        <a:pt x="1532" y="423"/>
                      </a:lnTo>
                      <a:lnTo>
                        <a:pt x="1531" y="423"/>
                      </a:lnTo>
                      <a:lnTo>
                        <a:pt x="1531" y="424"/>
                      </a:lnTo>
                      <a:lnTo>
                        <a:pt x="1531" y="425"/>
                      </a:lnTo>
                      <a:lnTo>
                        <a:pt x="1532" y="427"/>
                      </a:lnTo>
                      <a:lnTo>
                        <a:pt x="1535" y="429"/>
                      </a:lnTo>
                      <a:lnTo>
                        <a:pt x="1535" y="432"/>
                      </a:lnTo>
                      <a:lnTo>
                        <a:pt x="1536" y="433"/>
                      </a:lnTo>
                      <a:lnTo>
                        <a:pt x="1537" y="434"/>
                      </a:lnTo>
                      <a:lnTo>
                        <a:pt x="1539" y="435"/>
                      </a:lnTo>
                      <a:lnTo>
                        <a:pt x="1541" y="436"/>
                      </a:lnTo>
                      <a:lnTo>
                        <a:pt x="1542" y="436"/>
                      </a:lnTo>
                      <a:lnTo>
                        <a:pt x="1543" y="437"/>
                      </a:lnTo>
                      <a:lnTo>
                        <a:pt x="1544" y="438"/>
                      </a:lnTo>
                      <a:lnTo>
                        <a:pt x="1544" y="439"/>
                      </a:lnTo>
                      <a:lnTo>
                        <a:pt x="1544" y="442"/>
                      </a:lnTo>
                      <a:lnTo>
                        <a:pt x="1546" y="443"/>
                      </a:lnTo>
                      <a:lnTo>
                        <a:pt x="1548" y="445"/>
                      </a:lnTo>
                      <a:lnTo>
                        <a:pt x="1551" y="446"/>
                      </a:lnTo>
                      <a:lnTo>
                        <a:pt x="1553" y="447"/>
                      </a:lnTo>
                      <a:lnTo>
                        <a:pt x="1555" y="447"/>
                      </a:lnTo>
                      <a:lnTo>
                        <a:pt x="1558" y="448"/>
                      </a:lnTo>
                      <a:lnTo>
                        <a:pt x="1560" y="450"/>
                      </a:lnTo>
                      <a:lnTo>
                        <a:pt x="1563" y="454"/>
                      </a:lnTo>
                      <a:lnTo>
                        <a:pt x="1564" y="456"/>
                      </a:lnTo>
                      <a:lnTo>
                        <a:pt x="1565" y="457"/>
                      </a:lnTo>
                      <a:lnTo>
                        <a:pt x="1567" y="459"/>
                      </a:lnTo>
                      <a:lnTo>
                        <a:pt x="1568" y="460"/>
                      </a:lnTo>
                      <a:lnTo>
                        <a:pt x="1568" y="461"/>
                      </a:lnTo>
                      <a:lnTo>
                        <a:pt x="1568" y="462"/>
                      </a:lnTo>
                      <a:lnTo>
                        <a:pt x="1567" y="464"/>
                      </a:lnTo>
                      <a:lnTo>
                        <a:pt x="1565" y="464"/>
                      </a:lnTo>
                      <a:lnTo>
                        <a:pt x="1564" y="465"/>
                      </a:lnTo>
                      <a:lnTo>
                        <a:pt x="1563" y="466"/>
                      </a:lnTo>
                      <a:lnTo>
                        <a:pt x="1563" y="466"/>
                      </a:lnTo>
                      <a:lnTo>
                        <a:pt x="1563" y="468"/>
                      </a:lnTo>
                      <a:lnTo>
                        <a:pt x="1565" y="470"/>
                      </a:lnTo>
                      <a:lnTo>
                        <a:pt x="1568" y="471"/>
                      </a:lnTo>
                      <a:lnTo>
                        <a:pt x="1571" y="473"/>
                      </a:lnTo>
                      <a:lnTo>
                        <a:pt x="1573" y="476"/>
                      </a:lnTo>
                      <a:lnTo>
                        <a:pt x="1576" y="477"/>
                      </a:lnTo>
                      <a:lnTo>
                        <a:pt x="1578" y="482"/>
                      </a:lnTo>
                      <a:lnTo>
                        <a:pt x="1579" y="487"/>
                      </a:lnTo>
                      <a:lnTo>
                        <a:pt x="1580" y="491"/>
                      </a:lnTo>
                      <a:lnTo>
                        <a:pt x="1581" y="494"/>
                      </a:lnTo>
                      <a:lnTo>
                        <a:pt x="1581" y="497"/>
                      </a:lnTo>
                      <a:lnTo>
                        <a:pt x="1581" y="499"/>
                      </a:lnTo>
                      <a:lnTo>
                        <a:pt x="1582" y="500"/>
                      </a:lnTo>
                      <a:lnTo>
                        <a:pt x="1582" y="502"/>
                      </a:lnTo>
                      <a:lnTo>
                        <a:pt x="1582" y="504"/>
                      </a:lnTo>
                      <a:lnTo>
                        <a:pt x="1582" y="505"/>
                      </a:lnTo>
                      <a:lnTo>
                        <a:pt x="1581" y="505"/>
                      </a:lnTo>
                      <a:lnTo>
                        <a:pt x="1580" y="505"/>
                      </a:lnTo>
                      <a:lnTo>
                        <a:pt x="1579" y="503"/>
                      </a:lnTo>
                      <a:lnTo>
                        <a:pt x="1574" y="501"/>
                      </a:lnTo>
                      <a:lnTo>
                        <a:pt x="1570" y="497"/>
                      </a:lnTo>
                      <a:lnTo>
                        <a:pt x="1568" y="492"/>
                      </a:lnTo>
                      <a:lnTo>
                        <a:pt x="1567" y="492"/>
                      </a:lnTo>
                      <a:lnTo>
                        <a:pt x="1564" y="492"/>
                      </a:lnTo>
                      <a:lnTo>
                        <a:pt x="1563" y="491"/>
                      </a:lnTo>
                      <a:lnTo>
                        <a:pt x="1562" y="491"/>
                      </a:lnTo>
                      <a:lnTo>
                        <a:pt x="1561" y="491"/>
                      </a:lnTo>
                      <a:lnTo>
                        <a:pt x="1560" y="491"/>
                      </a:lnTo>
                      <a:lnTo>
                        <a:pt x="1561" y="492"/>
                      </a:lnTo>
                      <a:lnTo>
                        <a:pt x="1564" y="495"/>
                      </a:lnTo>
                      <a:lnTo>
                        <a:pt x="1568" y="498"/>
                      </a:lnTo>
                      <a:lnTo>
                        <a:pt x="1571" y="500"/>
                      </a:lnTo>
                      <a:lnTo>
                        <a:pt x="1573" y="502"/>
                      </a:lnTo>
                      <a:lnTo>
                        <a:pt x="1576" y="505"/>
                      </a:lnTo>
                      <a:lnTo>
                        <a:pt x="1578" y="508"/>
                      </a:lnTo>
                      <a:lnTo>
                        <a:pt x="1578" y="509"/>
                      </a:lnTo>
                      <a:lnTo>
                        <a:pt x="1578" y="509"/>
                      </a:lnTo>
                      <a:lnTo>
                        <a:pt x="1576" y="510"/>
                      </a:lnTo>
                      <a:lnTo>
                        <a:pt x="1575" y="510"/>
                      </a:lnTo>
                      <a:lnTo>
                        <a:pt x="1574" y="509"/>
                      </a:lnTo>
                      <a:lnTo>
                        <a:pt x="1572" y="509"/>
                      </a:lnTo>
                      <a:lnTo>
                        <a:pt x="1571" y="509"/>
                      </a:lnTo>
                      <a:lnTo>
                        <a:pt x="1571" y="510"/>
                      </a:lnTo>
                      <a:lnTo>
                        <a:pt x="1570" y="511"/>
                      </a:lnTo>
                      <a:lnTo>
                        <a:pt x="1571" y="512"/>
                      </a:lnTo>
                      <a:lnTo>
                        <a:pt x="1572" y="514"/>
                      </a:lnTo>
                      <a:lnTo>
                        <a:pt x="1573" y="518"/>
                      </a:lnTo>
                      <a:lnTo>
                        <a:pt x="1574" y="520"/>
                      </a:lnTo>
                      <a:lnTo>
                        <a:pt x="1575" y="522"/>
                      </a:lnTo>
                      <a:lnTo>
                        <a:pt x="1576" y="525"/>
                      </a:lnTo>
                      <a:lnTo>
                        <a:pt x="1579" y="527"/>
                      </a:lnTo>
                      <a:lnTo>
                        <a:pt x="1581" y="529"/>
                      </a:lnTo>
                      <a:lnTo>
                        <a:pt x="1583" y="530"/>
                      </a:lnTo>
                      <a:lnTo>
                        <a:pt x="1584" y="530"/>
                      </a:lnTo>
                      <a:lnTo>
                        <a:pt x="1587" y="530"/>
                      </a:lnTo>
                      <a:lnTo>
                        <a:pt x="1589" y="531"/>
                      </a:lnTo>
                      <a:lnTo>
                        <a:pt x="1591" y="533"/>
                      </a:lnTo>
                      <a:lnTo>
                        <a:pt x="1593" y="536"/>
                      </a:lnTo>
                      <a:lnTo>
                        <a:pt x="1595" y="540"/>
                      </a:lnTo>
                      <a:lnTo>
                        <a:pt x="1596" y="542"/>
                      </a:lnTo>
                      <a:lnTo>
                        <a:pt x="1596" y="545"/>
                      </a:lnTo>
                      <a:lnTo>
                        <a:pt x="1596" y="547"/>
                      </a:lnTo>
                      <a:lnTo>
                        <a:pt x="1595" y="548"/>
                      </a:lnTo>
                      <a:lnTo>
                        <a:pt x="1594" y="548"/>
                      </a:lnTo>
                      <a:lnTo>
                        <a:pt x="1592" y="547"/>
                      </a:lnTo>
                      <a:lnTo>
                        <a:pt x="1590" y="546"/>
                      </a:lnTo>
                      <a:lnTo>
                        <a:pt x="1587" y="545"/>
                      </a:lnTo>
                      <a:lnTo>
                        <a:pt x="1583" y="543"/>
                      </a:lnTo>
                      <a:lnTo>
                        <a:pt x="1580" y="541"/>
                      </a:lnTo>
                      <a:lnTo>
                        <a:pt x="1576" y="538"/>
                      </a:lnTo>
                      <a:lnTo>
                        <a:pt x="1573" y="538"/>
                      </a:lnTo>
                      <a:lnTo>
                        <a:pt x="1571" y="538"/>
                      </a:lnTo>
                      <a:lnTo>
                        <a:pt x="1569" y="540"/>
                      </a:lnTo>
                      <a:lnTo>
                        <a:pt x="1568" y="541"/>
                      </a:lnTo>
                      <a:lnTo>
                        <a:pt x="1568" y="543"/>
                      </a:lnTo>
                      <a:lnTo>
                        <a:pt x="1568" y="545"/>
                      </a:lnTo>
                      <a:lnTo>
                        <a:pt x="1568" y="547"/>
                      </a:lnTo>
                      <a:lnTo>
                        <a:pt x="1569" y="549"/>
                      </a:lnTo>
                      <a:lnTo>
                        <a:pt x="1570" y="552"/>
                      </a:lnTo>
                      <a:lnTo>
                        <a:pt x="1571" y="554"/>
                      </a:lnTo>
                      <a:lnTo>
                        <a:pt x="1574" y="556"/>
                      </a:lnTo>
                      <a:lnTo>
                        <a:pt x="1576" y="557"/>
                      </a:lnTo>
                      <a:lnTo>
                        <a:pt x="1580" y="559"/>
                      </a:lnTo>
                      <a:lnTo>
                        <a:pt x="1583" y="560"/>
                      </a:lnTo>
                      <a:lnTo>
                        <a:pt x="1584" y="563"/>
                      </a:lnTo>
                      <a:lnTo>
                        <a:pt x="1587" y="565"/>
                      </a:lnTo>
                      <a:lnTo>
                        <a:pt x="1590" y="567"/>
                      </a:lnTo>
                      <a:lnTo>
                        <a:pt x="1592" y="569"/>
                      </a:lnTo>
                      <a:lnTo>
                        <a:pt x="1592" y="573"/>
                      </a:lnTo>
                      <a:lnTo>
                        <a:pt x="1592" y="575"/>
                      </a:lnTo>
                      <a:lnTo>
                        <a:pt x="1592" y="577"/>
                      </a:lnTo>
                      <a:lnTo>
                        <a:pt x="1591" y="579"/>
                      </a:lnTo>
                      <a:lnTo>
                        <a:pt x="1590" y="580"/>
                      </a:lnTo>
                      <a:lnTo>
                        <a:pt x="1587" y="582"/>
                      </a:lnTo>
                      <a:lnTo>
                        <a:pt x="1587" y="585"/>
                      </a:lnTo>
                      <a:lnTo>
                        <a:pt x="1586" y="587"/>
                      </a:lnTo>
                      <a:lnTo>
                        <a:pt x="1585" y="589"/>
                      </a:lnTo>
                      <a:lnTo>
                        <a:pt x="1579" y="589"/>
                      </a:lnTo>
                      <a:lnTo>
                        <a:pt x="1571" y="586"/>
                      </a:lnTo>
                      <a:lnTo>
                        <a:pt x="1563" y="580"/>
                      </a:lnTo>
                      <a:lnTo>
                        <a:pt x="1558" y="576"/>
                      </a:lnTo>
                      <a:lnTo>
                        <a:pt x="1552" y="571"/>
                      </a:lnTo>
                      <a:lnTo>
                        <a:pt x="1548" y="567"/>
                      </a:lnTo>
                      <a:lnTo>
                        <a:pt x="1546" y="566"/>
                      </a:lnTo>
                      <a:lnTo>
                        <a:pt x="1546" y="566"/>
                      </a:lnTo>
                      <a:lnTo>
                        <a:pt x="1544" y="567"/>
                      </a:lnTo>
                      <a:lnTo>
                        <a:pt x="1544" y="568"/>
                      </a:lnTo>
                      <a:lnTo>
                        <a:pt x="1546" y="569"/>
                      </a:lnTo>
                      <a:lnTo>
                        <a:pt x="1546" y="570"/>
                      </a:lnTo>
                      <a:lnTo>
                        <a:pt x="1546" y="571"/>
                      </a:lnTo>
                      <a:lnTo>
                        <a:pt x="1544" y="573"/>
                      </a:lnTo>
                      <a:lnTo>
                        <a:pt x="1542" y="573"/>
                      </a:lnTo>
                      <a:lnTo>
                        <a:pt x="1540" y="574"/>
                      </a:lnTo>
                      <a:lnTo>
                        <a:pt x="1539" y="575"/>
                      </a:lnTo>
                      <a:lnTo>
                        <a:pt x="1537" y="576"/>
                      </a:lnTo>
                      <a:lnTo>
                        <a:pt x="1537" y="578"/>
                      </a:lnTo>
                      <a:lnTo>
                        <a:pt x="1537" y="580"/>
                      </a:lnTo>
                      <a:lnTo>
                        <a:pt x="1538" y="581"/>
                      </a:lnTo>
                      <a:lnTo>
                        <a:pt x="1540" y="584"/>
                      </a:lnTo>
                      <a:lnTo>
                        <a:pt x="1542" y="585"/>
                      </a:lnTo>
                      <a:lnTo>
                        <a:pt x="1546" y="587"/>
                      </a:lnTo>
                      <a:lnTo>
                        <a:pt x="1548" y="588"/>
                      </a:lnTo>
                      <a:lnTo>
                        <a:pt x="1549" y="590"/>
                      </a:lnTo>
                      <a:lnTo>
                        <a:pt x="1549" y="591"/>
                      </a:lnTo>
                      <a:lnTo>
                        <a:pt x="1548" y="593"/>
                      </a:lnTo>
                      <a:lnTo>
                        <a:pt x="1547" y="595"/>
                      </a:lnTo>
                      <a:lnTo>
                        <a:pt x="1546" y="595"/>
                      </a:lnTo>
                      <a:lnTo>
                        <a:pt x="1544" y="596"/>
                      </a:lnTo>
                      <a:lnTo>
                        <a:pt x="1542" y="596"/>
                      </a:lnTo>
                      <a:lnTo>
                        <a:pt x="1541" y="596"/>
                      </a:lnTo>
                      <a:lnTo>
                        <a:pt x="1540" y="597"/>
                      </a:lnTo>
                      <a:lnTo>
                        <a:pt x="1540" y="599"/>
                      </a:lnTo>
                      <a:lnTo>
                        <a:pt x="1540" y="600"/>
                      </a:lnTo>
                      <a:lnTo>
                        <a:pt x="1541" y="601"/>
                      </a:lnTo>
                      <a:lnTo>
                        <a:pt x="1543" y="602"/>
                      </a:lnTo>
                      <a:lnTo>
                        <a:pt x="1546" y="603"/>
                      </a:lnTo>
                      <a:lnTo>
                        <a:pt x="1549" y="603"/>
                      </a:lnTo>
                      <a:lnTo>
                        <a:pt x="1551" y="604"/>
                      </a:lnTo>
                      <a:lnTo>
                        <a:pt x="1552" y="607"/>
                      </a:lnTo>
                      <a:lnTo>
                        <a:pt x="1554" y="609"/>
                      </a:lnTo>
                      <a:lnTo>
                        <a:pt x="1554" y="613"/>
                      </a:lnTo>
                      <a:lnTo>
                        <a:pt x="1557" y="617"/>
                      </a:lnTo>
                      <a:lnTo>
                        <a:pt x="1559" y="620"/>
                      </a:lnTo>
                      <a:lnTo>
                        <a:pt x="1562" y="622"/>
                      </a:lnTo>
                      <a:lnTo>
                        <a:pt x="1564" y="625"/>
                      </a:lnTo>
                      <a:lnTo>
                        <a:pt x="1568" y="628"/>
                      </a:lnTo>
                      <a:lnTo>
                        <a:pt x="1570" y="631"/>
                      </a:lnTo>
                      <a:lnTo>
                        <a:pt x="1583" y="643"/>
                      </a:lnTo>
                      <a:lnTo>
                        <a:pt x="1591" y="651"/>
                      </a:lnTo>
                      <a:lnTo>
                        <a:pt x="1596" y="660"/>
                      </a:lnTo>
                      <a:lnTo>
                        <a:pt x="1601" y="669"/>
                      </a:lnTo>
                      <a:lnTo>
                        <a:pt x="1601" y="673"/>
                      </a:lnTo>
                      <a:lnTo>
                        <a:pt x="1603" y="676"/>
                      </a:lnTo>
                      <a:lnTo>
                        <a:pt x="1604" y="679"/>
                      </a:lnTo>
                      <a:lnTo>
                        <a:pt x="1605" y="683"/>
                      </a:lnTo>
                      <a:lnTo>
                        <a:pt x="1606" y="687"/>
                      </a:lnTo>
                      <a:lnTo>
                        <a:pt x="1606" y="691"/>
                      </a:lnTo>
                      <a:lnTo>
                        <a:pt x="1607" y="695"/>
                      </a:lnTo>
                      <a:lnTo>
                        <a:pt x="1607" y="698"/>
                      </a:lnTo>
                      <a:lnTo>
                        <a:pt x="1612" y="718"/>
                      </a:lnTo>
                      <a:lnTo>
                        <a:pt x="1611" y="718"/>
                      </a:lnTo>
                      <a:lnTo>
                        <a:pt x="1611" y="718"/>
                      </a:lnTo>
                      <a:lnTo>
                        <a:pt x="1609" y="717"/>
                      </a:lnTo>
                      <a:lnTo>
                        <a:pt x="1608" y="715"/>
                      </a:lnTo>
                      <a:lnTo>
                        <a:pt x="1607" y="713"/>
                      </a:lnTo>
                      <a:lnTo>
                        <a:pt x="1607" y="713"/>
                      </a:lnTo>
                      <a:lnTo>
                        <a:pt x="1605" y="711"/>
                      </a:lnTo>
                      <a:lnTo>
                        <a:pt x="1604" y="709"/>
                      </a:lnTo>
                      <a:lnTo>
                        <a:pt x="1603" y="707"/>
                      </a:lnTo>
                      <a:lnTo>
                        <a:pt x="1601" y="705"/>
                      </a:lnTo>
                      <a:lnTo>
                        <a:pt x="1600" y="704"/>
                      </a:lnTo>
                      <a:lnTo>
                        <a:pt x="1598" y="704"/>
                      </a:lnTo>
                      <a:lnTo>
                        <a:pt x="1598" y="705"/>
                      </a:lnTo>
                      <a:lnTo>
                        <a:pt x="1597" y="706"/>
                      </a:lnTo>
                      <a:lnTo>
                        <a:pt x="1596" y="707"/>
                      </a:lnTo>
                      <a:lnTo>
                        <a:pt x="1596" y="709"/>
                      </a:lnTo>
                      <a:lnTo>
                        <a:pt x="1594" y="711"/>
                      </a:lnTo>
                      <a:lnTo>
                        <a:pt x="1590" y="709"/>
                      </a:lnTo>
                      <a:lnTo>
                        <a:pt x="1585" y="704"/>
                      </a:lnTo>
                      <a:lnTo>
                        <a:pt x="1580" y="698"/>
                      </a:lnTo>
                      <a:lnTo>
                        <a:pt x="1576" y="691"/>
                      </a:lnTo>
                      <a:lnTo>
                        <a:pt x="1574" y="687"/>
                      </a:lnTo>
                      <a:lnTo>
                        <a:pt x="1572" y="680"/>
                      </a:lnTo>
                      <a:lnTo>
                        <a:pt x="1570" y="674"/>
                      </a:lnTo>
                      <a:lnTo>
                        <a:pt x="1567" y="666"/>
                      </a:lnTo>
                      <a:lnTo>
                        <a:pt x="1561" y="661"/>
                      </a:lnTo>
                      <a:lnTo>
                        <a:pt x="1558" y="660"/>
                      </a:lnTo>
                      <a:lnTo>
                        <a:pt x="1554" y="658"/>
                      </a:lnTo>
                      <a:lnTo>
                        <a:pt x="1551" y="657"/>
                      </a:lnTo>
                      <a:lnTo>
                        <a:pt x="1548" y="654"/>
                      </a:lnTo>
                      <a:lnTo>
                        <a:pt x="1546" y="653"/>
                      </a:lnTo>
                      <a:lnTo>
                        <a:pt x="1543" y="650"/>
                      </a:lnTo>
                      <a:lnTo>
                        <a:pt x="1540" y="646"/>
                      </a:lnTo>
                      <a:lnTo>
                        <a:pt x="1537" y="643"/>
                      </a:lnTo>
                      <a:lnTo>
                        <a:pt x="1532" y="640"/>
                      </a:lnTo>
                      <a:lnTo>
                        <a:pt x="1528" y="638"/>
                      </a:lnTo>
                      <a:lnTo>
                        <a:pt x="1524" y="635"/>
                      </a:lnTo>
                      <a:lnTo>
                        <a:pt x="1521" y="633"/>
                      </a:lnTo>
                      <a:lnTo>
                        <a:pt x="1520" y="633"/>
                      </a:lnTo>
                      <a:lnTo>
                        <a:pt x="1519" y="632"/>
                      </a:lnTo>
                      <a:lnTo>
                        <a:pt x="1519" y="631"/>
                      </a:lnTo>
                      <a:lnTo>
                        <a:pt x="1517" y="629"/>
                      </a:lnTo>
                      <a:lnTo>
                        <a:pt x="1515" y="626"/>
                      </a:lnTo>
                      <a:lnTo>
                        <a:pt x="1513" y="626"/>
                      </a:lnTo>
                      <a:lnTo>
                        <a:pt x="1514" y="630"/>
                      </a:lnTo>
                      <a:lnTo>
                        <a:pt x="1516" y="633"/>
                      </a:lnTo>
                      <a:lnTo>
                        <a:pt x="1519" y="636"/>
                      </a:lnTo>
                      <a:lnTo>
                        <a:pt x="1524" y="640"/>
                      </a:lnTo>
                      <a:lnTo>
                        <a:pt x="1528" y="641"/>
                      </a:lnTo>
                      <a:lnTo>
                        <a:pt x="1531" y="645"/>
                      </a:lnTo>
                      <a:lnTo>
                        <a:pt x="1535" y="649"/>
                      </a:lnTo>
                      <a:lnTo>
                        <a:pt x="1539" y="653"/>
                      </a:lnTo>
                      <a:lnTo>
                        <a:pt x="1543" y="656"/>
                      </a:lnTo>
                      <a:lnTo>
                        <a:pt x="1546" y="657"/>
                      </a:lnTo>
                      <a:lnTo>
                        <a:pt x="1549" y="658"/>
                      </a:lnTo>
                      <a:lnTo>
                        <a:pt x="1552" y="661"/>
                      </a:lnTo>
                      <a:lnTo>
                        <a:pt x="1555" y="662"/>
                      </a:lnTo>
                      <a:lnTo>
                        <a:pt x="1559" y="665"/>
                      </a:lnTo>
                      <a:lnTo>
                        <a:pt x="1560" y="668"/>
                      </a:lnTo>
                      <a:lnTo>
                        <a:pt x="1560" y="669"/>
                      </a:lnTo>
                      <a:lnTo>
                        <a:pt x="1559" y="671"/>
                      </a:lnTo>
                      <a:lnTo>
                        <a:pt x="1558" y="672"/>
                      </a:lnTo>
                      <a:lnTo>
                        <a:pt x="1557" y="673"/>
                      </a:lnTo>
                      <a:lnTo>
                        <a:pt x="1555" y="673"/>
                      </a:lnTo>
                      <a:lnTo>
                        <a:pt x="1554" y="674"/>
                      </a:lnTo>
                      <a:lnTo>
                        <a:pt x="1553" y="675"/>
                      </a:lnTo>
                      <a:lnTo>
                        <a:pt x="1552" y="676"/>
                      </a:lnTo>
                      <a:lnTo>
                        <a:pt x="1550" y="676"/>
                      </a:lnTo>
                      <a:lnTo>
                        <a:pt x="1548" y="676"/>
                      </a:lnTo>
                      <a:lnTo>
                        <a:pt x="1547" y="676"/>
                      </a:lnTo>
                      <a:lnTo>
                        <a:pt x="1546" y="675"/>
                      </a:lnTo>
                      <a:lnTo>
                        <a:pt x="1544" y="674"/>
                      </a:lnTo>
                      <a:lnTo>
                        <a:pt x="1542" y="674"/>
                      </a:lnTo>
                      <a:lnTo>
                        <a:pt x="1541" y="674"/>
                      </a:lnTo>
                      <a:lnTo>
                        <a:pt x="1541" y="674"/>
                      </a:lnTo>
                      <a:lnTo>
                        <a:pt x="1543" y="677"/>
                      </a:lnTo>
                      <a:lnTo>
                        <a:pt x="1546" y="679"/>
                      </a:lnTo>
                      <a:lnTo>
                        <a:pt x="1549" y="682"/>
                      </a:lnTo>
                      <a:lnTo>
                        <a:pt x="1552" y="684"/>
                      </a:lnTo>
                      <a:lnTo>
                        <a:pt x="1554" y="685"/>
                      </a:lnTo>
                      <a:lnTo>
                        <a:pt x="1557" y="687"/>
                      </a:lnTo>
                      <a:lnTo>
                        <a:pt x="1558" y="688"/>
                      </a:lnTo>
                      <a:lnTo>
                        <a:pt x="1558" y="689"/>
                      </a:lnTo>
                      <a:lnTo>
                        <a:pt x="1557" y="689"/>
                      </a:lnTo>
                      <a:lnTo>
                        <a:pt x="1555" y="689"/>
                      </a:lnTo>
                      <a:lnTo>
                        <a:pt x="1554" y="689"/>
                      </a:lnTo>
                      <a:lnTo>
                        <a:pt x="1552" y="689"/>
                      </a:lnTo>
                      <a:lnTo>
                        <a:pt x="1551" y="689"/>
                      </a:lnTo>
                      <a:lnTo>
                        <a:pt x="1550" y="689"/>
                      </a:lnTo>
                      <a:lnTo>
                        <a:pt x="1549" y="690"/>
                      </a:lnTo>
                      <a:lnTo>
                        <a:pt x="1550" y="693"/>
                      </a:lnTo>
                      <a:lnTo>
                        <a:pt x="1551" y="694"/>
                      </a:lnTo>
                      <a:lnTo>
                        <a:pt x="1552" y="695"/>
                      </a:lnTo>
                      <a:lnTo>
                        <a:pt x="1553" y="696"/>
                      </a:lnTo>
                      <a:lnTo>
                        <a:pt x="1554" y="696"/>
                      </a:lnTo>
                      <a:lnTo>
                        <a:pt x="1555" y="698"/>
                      </a:lnTo>
                      <a:lnTo>
                        <a:pt x="1557" y="700"/>
                      </a:lnTo>
                      <a:lnTo>
                        <a:pt x="1559" y="702"/>
                      </a:lnTo>
                      <a:lnTo>
                        <a:pt x="1561" y="705"/>
                      </a:lnTo>
                      <a:lnTo>
                        <a:pt x="1563" y="706"/>
                      </a:lnTo>
                      <a:lnTo>
                        <a:pt x="1565" y="706"/>
                      </a:lnTo>
                      <a:lnTo>
                        <a:pt x="1568" y="705"/>
                      </a:lnTo>
                      <a:lnTo>
                        <a:pt x="1570" y="705"/>
                      </a:lnTo>
                      <a:lnTo>
                        <a:pt x="1572" y="705"/>
                      </a:lnTo>
                      <a:lnTo>
                        <a:pt x="1574" y="705"/>
                      </a:lnTo>
                      <a:lnTo>
                        <a:pt x="1579" y="708"/>
                      </a:lnTo>
                      <a:lnTo>
                        <a:pt x="1583" y="711"/>
                      </a:lnTo>
                      <a:lnTo>
                        <a:pt x="1587" y="713"/>
                      </a:lnTo>
                      <a:lnTo>
                        <a:pt x="1590" y="715"/>
                      </a:lnTo>
                      <a:lnTo>
                        <a:pt x="1592" y="716"/>
                      </a:lnTo>
                      <a:lnTo>
                        <a:pt x="1596" y="718"/>
                      </a:lnTo>
                      <a:lnTo>
                        <a:pt x="1598" y="720"/>
                      </a:lnTo>
                      <a:lnTo>
                        <a:pt x="1601" y="722"/>
                      </a:lnTo>
                      <a:lnTo>
                        <a:pt x="1603" y="723"/>
                      </a:lnTo>
                      <a:lnTo>
                        <a:pt x="1605" y="726"/>
                      </a:lnTo>
                      <a:lnTo>
                        <a:pt x="1606" y="728"/>
                      </a:lnTo>
                      <a:lnTo>
                        <a:pt x="1607" y="731"/>
                      </a:lnTo>
                      <a:lnTo>
                        <a:pt x="1606" y="733"/>
                      </a:lnTo>
                      <a:lnTo>
                        <a:pt x="1605" y="735"/>
                      </a:lnTo>
                      <a:lnTo>
                        <a:pt x="1603" y="737"/>
                      </a:lnTo>
                      <a:lnTo>
                        <a:pt x="1601" y="739"/>
                      </a:lnTo>
                      <a:lnTo>
                        <a:pt x="1598" y="740"/>
                      </a:lnTo>
                      <a:lnTo>
                        <a:pt x="1596" y="741"/>
                      </a:lnTo>
                      <a:lnTo>
                        <a:pt x="1594" y="742"/>
                      </a:lnTo>
                      <a:lnTo>
                        <a:pt x="1593" y="744"/>
                      </a:lnTo>
                      <a:lnTo>
                        <a:pt x="1593" y="748"/>
                      </a:lnTo>
                      <a:lnTo>
                        <a:pt x="1592" y="751"/>
                      </a:lnTo>
                      <a:lnTo>
                        <a:pt x="1590" y="752"/>
                      </a:lnTo>
                      <a:lnTo>
                        <a:pt x="1589" y="753"/>
                      </a:lnTo>
                      <a:lnTo>
                        <a:pt x="1586" y="754"/>
                      </a:lnTo>
                      <a:lnTo>
                        <a:pt x="1584" y="754"/>
                      </a:lnTo>
                      <a:lnTo>
                        <a:pt x="1582" y="754"/>
                      </a:lnTo>
                      <a:lnTo>
                        <a:pt x="1581" y="755"/>
                      </a:lnTo>
                      <a:lnTo>
                        <a:pt x="1578" y="760"/>
                      </a:lnTo>
                      <a:lnTo>
                        <a:pt x="1574" y="766"/>
                      </a:lnTo>
                      <a:lnTo>
                        <a:pt x="1571" y="772"/>
                      </a:lnTo>
                      <a:lnTo>
                        <a:pt x="1567" y="776"/>
                      </a:lnTo>
                      <a:lnTo>
                        <a:pt x="1561" y="777"/>
                      </a:lnTo>
                      <a:lnTo>
                        <a:pt x="1553" y="776"/>
                      </a:lnTo>
                      <a:lnTo>
                        <a:pt x="1546" y="777"/>
                      </a:lnTo>
                      <a:lnTo>
                        <a:pt x="1539" y="780"/>
                      </a:lnTo>
                      <a:lnTo>
                        <a:pt x="1537" y="780"/>
                      </a:lnTo>
                      <a:lnTo>
                        <a:pt x="1535" y="780"/>
                      </a:lnTo>
                      <a:lnTo>
                        <a:pt x="1532" y="780"/>
                      </a:lnTo>
                      <a:lnTo>
                        <a:pt x="1530" y="782"/>
                      </a:lnTo>
                      <a:lnTo>
                        <a:pt x="1528" y="782"/>
                      </a:lnTo>
                      <a:lnTo>
                        <a:pt x="1526" y="784"/>
                      </a:lnTo>
                      <a:lnTo>
                        <a:pt x="1524" y="786"/>
                      </a:lnTo>
                      <a:lnTo>
                        <a:pt x="1520" y="787"/>
                      </a:lnTo>
                      <a:lnTo>
                        <a:pt x="1517" y="787"/>
                      </a:lnTo>
                      <a:lnTo>
                        <a:pt x="1514" y="786"/>
                      </a:lnTo>
                      <a:lnTo>
                        <a:pt x="1511" y="785"/>
                      </a:lnTo>
                      <a:lnTo>
                        <a:pt x="1508" y="782"/>
                      </a:lnTo>
                      <a:lnTo>
                        <a:pt x="1505" y="778"/>
                      </a:lnTo>
                      <a:lnTo>
                        <a:pt x="1503" y="775"/>
                      </a:lnTo>
                      <a:lnTo>
                        <a:pt x="1500" y="773"/>
                      </a:lnTo>
                      <a:lnTo>
                        <a:pt x="1497" y="771"/>
                      </a:lnTo>
                      <a:lnTo>
                        <a:pt x="1496" y="774"/>
                      </a:lnTo>
                      <a:lnTo>
                        <a:pt x="1496" y="776"/>
                      </a:lnTo>
                      <a:lnTo>
                        <a:pt x="1497" y="778"/>
                      </a:lnTo>
                      <a:lnTo>
                        <a:pt x="1498" y="781"/>
                      </a:lnTo>
                      <a:lnTo>
                        <a:pt x="1499" y="784"/>
                      </a:lnTo>
                      <a:lnTo>
                        <a:pt x="1502" y="786"/>
                      </a:lnTo>
                      <a:lnTo>
                        <a:pt x="1503" y="788"/>
                      </a:lnTo>
                      <a:lnTo>
                        <a:pt x="1503" y="789"/>
                      </a:lnTo>
                      <a:lnTo>
                        <a:pt x="1502" y="792"/>
                      </a:lnTo>
                      <a:lnTo>
                        <a:pt x="1499" y="793"/>
                      </a:lnTo>
                      <a:lnTo>
                        <a:pt x="1497" y="795"/>
                      </a:lnTo>
                      <a:lnTo>
                        <a:pt x="1494" y="796"/>
                      </a:lnTo>
                      <a:lnTo>
                        <a:pt x="1491" y="798"/>
                      </a:lnTo>
                      <a:lnTo>
                        <a:pt x="1486" y="799"/>
                      </a:lnTo>
                      <a:lnTo>
                        <a:pt x="1483" y="800"/>
                      </a:lnTo>
                      <a:lnTo>
                        <a:pt x="1482" y="802"/>
                      </a:lnTo>
                      <a:lnTo>
                        <a:pt x="1482" y="804"/>
                      </a:lnTo>
                      <a:lnTo>
                        <a:pt x="1482" y="806"/>
                      </a:lnTo>
                      <a:lnTo>
                        <a:pt x="1482" y="809"/>
                      </a:lnTo>
                      <a:lnTo>
                        <a:pt x="1482" y="818"/>
                      </a:lnTo>
                      <a:lnTo>
                        <a:pt x="1481" y="827"/>
                      </a:lnTo>
                      <a:lnTo>
                        <a:pt x="1480" y="833"/>
                      </a:lnTo>
                      <a:lnTo>
                        <a:pt x="1480" y="837"/>
                      </a:lnTo>
                      <a:lnTo>
                        <a:pt x="1478" y="839"/>
                      </a:lnTo>
                      <a:lnTo>
                        <a:pt x="1477" y="840"/>
                      </a:lnTo>
                      <a:lnTo>
                        <a:pt x="1476" y="841"/>
                      </a:lnTo>
                      <a:lnTo>
                        <a:pt x="1474" y="841"/>
                      </a:lnTo>
                      <a:lnTo>
                        <a:pt x="1473" y="842"/>
                      </a:lnTo>
                      <a:lnTo>
                        <a:pt x="1471" y="843"/>
                      </a:lnTo>
                      <a:lnTo>
                        <a:pt x="1469" y="846"/>
                      </a:lnTo>
                      <a:lnTo>
                        <a:pt x="1467" y="848"/>
                      </a:lnTo>
                      <a:lnTo>
                        <a:pt x="1466" y="850"/>
                      </a:lnTo>
                      <a:lnTo>
                        <a:pt x="1466" y="853"/>
                      </a:lnTo>
                      <a:lnTo>
                        <a:pt x="1464" y="855"/>
                      </a:lnTo>
                      <a:lnTo>
                        <a:pt x="1462" y="858"/>
                      </a:lnTo>
                      <a:lnTo>
                        <a:pt x="1458" y="860"/>
                      </a:lnTo>
                      <a:lnTo>
                        <a:pt x="1456" y="861"/>
                      </a:lnTo>
                      <a:lnTo>
                        <a:pt x="1455" y="860"/>
                      </a:lnTo>
                      <a:lnTo>
                        <a:pt x="1453" y="859"/>
                      </a:lnTo>
                      <a:lnTo>
                        <a:pt x="1452" y="858"/>
                      </a:lnTo>
                      <a:lnTo>
                        <a:pt x="1450" y="858"/>
                      </a:lnTo>
                      <a:lnTo>
                        <a:pt x="1449" y="858"/>
                      </a:lnTo>
                      <a:lnTo>
                        <a:pt x="1448" y="859"/>
                      </a:lnTo>
                      <a:lnTo>
                        <a:pt x="1447" y="861"/>
                      </a:lnTo>
                      <a:lnTo>
                        <a:pt x="1445" y="862"/>
                      </a:lnTo>
                      <a:lnTo>
                        <a:pt x="1445" y="863"/>
                      </a:lnTo>
                      <a:lnTo>
                        <a:pt x="1444" y="864"/>
                      </a:lnTo>
                      <a:lnTo>
                        <a:pt x="1444" y="864"/>
                      </a:lnTo>
                      <a:lnTo>
                        <a:pt x="1442" y="864"/>
                      </a:lnTo>
                      <a:lnTo>
                        <a:pt x="1440" y="864"/>
                      </a:lnTo>
                      <a:lnTo>
                        <a:pt x="1437" y="862"/>
                      </a:lnTo>
                      <a:lnTo>
                        <a:pt x="1434" y="861"/>
                      </a:lnTo>
                      <a:lnTo>
                        <a:pt x="1433" y="859"/>
                      </a:lnTo>
                      <a:lnTo>
                        <a:pt x="1433" y="855"/>
                      </a:lnTo>
                      <a:lnTo>
                        <a:pt x="1434" y="854"/>
                      </a:lnTo>
                      <a:lnTo>
                        <a:pt x="1434" y="852"/>
                      </a:lnTo>
                      <a:lnTo>
                        <a:pt x="1436" y="850"/>
                      </a:lnTo>
                      <a:lnTo>
                        <a:pt x="1436" y="847"/>
                      </a:lnTo>
                      <a:lnTo>
                        <a:pt x="1436" y="846"/>
                      </a:lnTo>
                      <a:lnTo>
                        <a:pt x="1434" y="844"/>
                      </a:lnTo>
                      <a:lnTo>
                        <a:pt x="1432" y="844"/>
                      </a:lnTo>
                      <a:lnTo>
                        <a:pt x="1431" y="844"/>
                      </a:lnTo>
                      <a:lnTo>
                        <a:pt x="1430" y="846"/>
                      </a:lnTo>
                      <a:lnTo>
                        <a:pt x="1429" y="847"/>
                      </a:lnTo>
                      <a:lnTo>
                        <a:pt x="1429" y="850"/>
                      </a:lnTo>
                      <a:lnTo>
                        <a:pt x="1429" y="853"/>
                      </a:lnTo>
                      <a:lnTo>
                        <a:pt x="1429" y="855"/>
                      </a:lnTo>
                      <a:lnTo>
                        <a:pt x="1428" y="858"/>
                      </a:lnTo>
                      <a:lnTo>
                        <a:pt x="1428" y="860"/>
                      </a:lnTo>
                      <a:lnTo>
                        <a:pt x="1426" y="861"/>
                      </a:lnTo>
                      <a:lnTo>
                        <a:pt x="1422" y="862"/>
                      </a:lnTo>
                      <a:lnTo>
                        <a:pt x="1421" y="863"/>
                      </a:lnTo>
                      <a:lnTo>
                        <a:pt x="1419" y="864"/>
                      </a:lnTo>
                      <a:lnTo>
                        <a:pt x="1418" y="865"/>
                      </a:lnTo>
                      <a:lnTo>
                        <a:pt x="1416" y="866"/>
                      </a:lnTo>
                      <a:lnTo>
                        <a:pt x="1413" y="866"/>
                      </a:lnTo>
                      <a:lnTo>
                        <a:pt x="1411" y="866"/>
                      </a:lnTo>
                      <a:lnTo>
                        <a:pt x="1409" y="868"/>
                      </a:lnTo>
                      <a:lnTo>
                        <a:pt x="1407" y="869"/>
                      </a:lnTo>
                      <a:lnTo>
                        <a:pt x="1405" y="871"/>
                      </a:lnTo>
                      <a:lnTo>
                        <a:pt x="1405" y="872"/>
                      </a:lnTo>
                      <a:lnTo>
                        <a:pt x="1404" y="874"/>
                      </a:lnTo>
                      <a:lnTo>
                        <a:pt x="1404" y="876"/>
                      </a:lnTo>
                      <a:lnTo>
                        <a:pt x="1404" y="879"/>
                      </a:lnTo>
                      <a:lnTo>
                        <a:pt x="1402" y="880"/>
                      </a:lnTo>
                      <a:lnTo>
                        <a:pt x="1402" y="881"/>
                      </a:lnTo>
                      <a:lnTo>
                        <a:pt x="1401" y="881"/>
                      </a:lnTo>
                      <a:lnTo>
                        <a:pt x="1400" y="882"/>
                      </a:lnTo>
                      <a:lnTo>
                        <a:pt x="1399" y="883"/>
                      </a:lnTo>
                      <a:lnTo>
                        <a:pt x="1398" y="883"/>
                      </a:lnTo>
                      <a:lnTo>
                        <a:pt x="1398" y="884"/>
                      </a:lnTo>
                      <a:lnTo>
                        <a:pt x="1400" y="884"/>
                      </a:lnTo>
                      <a:lnTo>
                        <a:pt x="1401" y="886"/>
                      </a:lnTo>
                      <a:lnTo>
                        <a:pt x="1404" y="887"/>
                      </a:lnTo>
                      <a:lnTo>
                        <a:pt x="1405" y="890"/>
                      </a:lnTo>
                      <a:lnTo>
                        <a:pt x="1405" y="891"/>
                      </a:lnTo>
                      <a:lnTo>
                        <a:pt x="1404" y="892"/>
                      </a:lnTo>
                      <a:lnTo>
                        <a:pt x="1401" y="892"/>
                      </a:lnTo>
                      <a:lnTo>
                        <a:pt x="1399" y="892"/>
                      </a:lnTo>
                      <a:lnTo>
                        <a:pt x="1398" y="891"/>
                      </a:lnTo>
                      <a:lnTo>
                        <a:pt x="1396" y="891"/>
                      </a:lnTo>
                      <a:lnTo>
                        <a:pt x="1395" y="891"/>
                      </a:lnTo>
                      <a:lnTo>
                        <a:pt x="1393" y="892"/>
                      </a:lnTo>
                      <a:lnTo>
                        <a:pt x="1390" y="893"/>
                      </a:lnTo>
                      <a:lnTo>
                        <a:pt x="1389" y="894"/>
                      </a:lnTo>
                      <a:lnTo>
                        <a:pt x="1388" y="896"/>
                      </a:lnTo>
                      <a:lnTo>
                        <a:pt x="1388" y="898"/>
                      </a:lnTo>
                      <a:lnTo>
                        <a:pt x="1389" y="901"/>
                      </a:lnTo>
                      <a:lnTo>
                        <a:pt x="1391" y="904"/>
                      </a:lnTo>
                      <a:lnTo>
                        <a:pt x="1394" y="905"/>
                      </a:lnTo>
                      <a:lnTo>
                        <a:pt x="1396" y="906"/>
                      </a:lnTo>
                      <a:lnTo>
                        <a:pt x="1397" y="907"/>
                      </a:lnTo>
                      <a:lnTo>
                        <a:pt x="1399" y="908"/>
                      </a:lnTo>
                      <a:lnTo>
                        <a:pt x="1400" y="911"/>
                      </a:lnTo>
                      <a:lnTo>
                        <a:pt x="1401" y="912"/>
                      </a:lnTo>
                      <a:lnTo>
                        <a:pt x="1400" y="913"/>
                      </a:lnTo>
                      <a:lnTo>
                        <a:pt x="1399" y="914"/>
                      </a:lnTo>
                      <a:lnTo>
                        <a:pt x="1396" y="915"/>
                      </a:lnTo>
                      <a:lnTo>
                        <a:pt x="1395" y="916"/>
                      </a:lnTo>
                      <a:lnTo>
                        <a:pt x="1394" y="918"/>
                      </a:lnTo>
                      <a:lnTo>
                        <a:pt x="1394" y="920"/>
                      </a:lnTo>
                      <a:lnTo>
                        <a:pt x="1395" y="923"/>
                      </a:lnTo>
                      <a:lnTo>
                        <a:pt x="1395" y="926"/>
                      </a:lnTo>
                      <a:lnTo>
                        <a:pt x="1396" y="928"/>
                      </a:lnTo>
                      <a:lnTo>
                        <a:pt x="1399" y="930"/>
                      </a:lnTo>
                      <a:lnTo>
                        <a:pt x="1400" y="933"/>
                      </a:lnTo>
                      <a:lnTo>
                        <a:pt x="1401" y="936"/>
                      </a:lnTo>
                      <a:lnTo>
                        <a:pt x="1401" y="939"/>
                      </a:lnTo>
                      <a:lnTo>
                        <a:pt x="1401" y="942"/>
                      </a:lnTo>
                      <a:lnTo>
                        <a:pt x="1400" y="946"/>
                      </a:lnTo>
                      <a:lnTo>
                        <a:pt x="1399" y="950"/>
                      </a:lnTo>
                      <a:lnTo>
                        <a:pt x="1397" y="953"/>
                      </a:lnTo>
                      <a:lnTo>
                        <a:pt x="1395" y="957"/>
                      </a:lnTo>
                      <a:lnTo>
                        <a:pt x="1391" y="959"/>
                      </a:lnTo>
                      <a:lnTo>
                        <a:pt x="1390" y="960"/>
                      </a:lnTo>
                      <a:lnTo>
                        <a:pt x="1390" y="963"/>
                      </a:lnTo>
                      <a:lnTo>
                        <a:pt x="1390" y="967"/>
                      </a:lnTo>
                      <a:lnTo>
                        <a:pt x="1389" y="970"/>
                      </a:lnTo>
                      <a:lnTo>
                        <a:pt x="1389" y="973"/>
                      </a:lnTo>
                      <a:lnTo>
                        <a:pt x="1390" y="975"/>
                      </a:lnTo>
                      <a:lnTo>
                        <a:pt x="1389" y="978"/>
                      </a:lnTo>
                      <a:lnTo>
                        <a:pt x="1388" y="979"/>
                      </a:lnTo>
                      <a:lnTo>
                        <a:pt x="1387" y="979"/>
                      </a:lnTo>
                      <a:lnTo>
                        <a:pt x="1385" y="979"/>
                      </a:lnTo>
                      <a:lnTo>
                        <a:pt x="1383" y="979"/>
                      </a:lnTo>
                      <a:lnTo>
                        <a:pt x="1380" y="980"/>
                      </a:lnTo>
                      <a:lnTo>
                        <a:pt x="1379" y="980"/>
                      </a:lnTo>
                      <a:lnTo>
                        <a:pt x="1377" y="981"/>
                      </a:lnTo>
                      <a:lnTo>
                        <a:pt x="1376" y="982"/>
                      </a:lnTo>
                      <a:lnTo>
                        <a:pt x="1376" y="985"/>
                      </a:lnTo>
                      <a:lnTo>
                        <a:pt x="1377" y="989"/>
                      </a:lnTo>
                      <a:lnTo>
                        <a:pt x="1378" y="991"/>
                      </a:lnTo>
                      <a:lnTo>
                        <a:pt x="1379" y="994"/>
                      </a:lnTo>
                      <a:lnTo>
                        <a:pt x="1380" y="996"/>
                      </a:lnTo>
                      <a:lnTo>
                        <a:pt x="1380" y="1000"/>
                      </a:lnTo>
                      <a:lnTo>
                        <a:pt x="1383" y="1010"/>
                      </a:lnTo>
                      <a:lnTo>
                        <a:pt x="1385" y="1020"/>
                      </a:lnTo>
                      <a:lnTo>
                        <a:pt x="1386" y="1023"/>
                      </a:lnTo>
                      <a:lnTo>
                        <a:pt x="1386" y="1025"/>
                      </a:lnTo>
                      <a:lnTo>
                        <a:pt x="1385" y="1027"/>
                      </a:lnTo>
                      <a:lnTo>
                        <a:pt x="1384" y="1029"/>
                      </a:lnTo>
                      <a:lnTo>
                        <a:pt x="1383" y="1032"/>
                      </a:lnTo>
                      <a:lnTo>
                        <a:pt x="1380" y="1035"/>
                      </a:lnTo>
                      <a:lnTo>
                        <a:pt x="1379" y="1038"/>
                      </a:lnTo>
                      <a:lnTo>
                        <a:pt x="1377" y="1042"/>
                      </a:lnTo>
                      <a:lnTo>
                        <a:pt x="1377" y="1045"/>
                      </a:lnTo>
                      <a:lnTo>
                        <a:pt x="1376" y="1048"/>
                      </a:lnTo>
                      <a:lnTo>
                        <a:pt x="1376" y="1053"/>
                      </a:lnTo>
                      <a:lnTo>
                        <a:pt x="1377" y="1057"/>
                      </a:lnTo>
                      <a:lnTo>
                        <a:pt x="1377" y="1062"/>
                      </a:lnTo>
                      <a:lnTo>
                        <a:pt x="1377" y="1070"/>
                      </a:lnTo>
                      <a:lnTo>
                        <a:pt x="1377" y="1077"/>
                      </a:lnTo>
                      <a:lnTo>
                        <a:pt x="1376" y="1081"/>
                      </a:lnTo>
                      <a:lnTo>
                        <a:pt x="1374" y="1083"/>
                      </a:lnTo>
                      <a:lnTo>
                        <a:pt x="1369" y="1081"/>
                      </a:lnTo>
                      <a:lnTo>
                        <a:pt x="1367" y="1079"/>
                      </a:lnTo>
                      <a:lnTo>
                        <a:pt x="1365" y="1077"/>
                      </a:lnTo>
                      <a:lnTo>
                        <a:pt x="1362" y="1077"/>
                      </a:lnTo>
                      <a:lnTo>
                        <a:pt x="1360" y="1077"/>
                      </a:lnTo>
                      <a:lnTo>
                        <a:pt x="1357" y="1079"/>
                      </a:lnTo>
                      <a:lnTo>
                        <a:pt x="1356" y="1080"/>
                      </a:lnTo>
                      <a:lnTo>
                        <a:pt x="1355" y="1082"/>
                      </a:lnTo>
                      <a:lnTo>
                        <a:pt x="1354" y="1083"/>
                      </a:lnTo>
                      <a:lnTo>
                        <a:pt x="1353" y="1084"/>
                      </a:lnTo>
                      <a:lnTo>
                        <a:pt x="1352" y="1086"/>
                      </a:lnTo>
                      <a:lnTo>
                        <a:pt x="1350" y="1086"/>
                      </a:lnTo>
                      <a:lnTo>
                        <a:pt x="1349" y="1083"/>
                      </a:lnTo>
                      <a:lnTo>
                        <a:pt x="1345" y="1081"/>
                      </a:lnTo>
                      <a:lnTo>
                        <a:pt x="1344" y="1079"/>
                      </a:lnTo>
                      <a:lnTo>
                        <a:pt x="1344" y="1077"/>
                      </a:lnTo>
                      <a:lnTo>
                        <a:pt x="1344" y="1073"/>
                      </a:lnTo>
                      <a:lnTo>
                        <a:pt x="1344" y="1071"/>
                      </a:lnTo>
                      <a:lnTo>
                        <a:pt x="1344" y="1068"/>
                      </a:lnTo>
                      <a:lnTo>
                        <a:pt x="1343" y="1066"/>
                      </a:lnTo>
                      <a:lnTo>
                        <a:pt x="1341" y="1065"/>
                      </a:lnTo>
                      <a:lnTo>
                        <a:pt x="1339" y="1064"/>
                      </a:lnTo>
                      <a:lnTo>
                        <a:pt x="1336" y="1062"/>
                      </a:lnTo>
                      <a:lnTo>
                        <a:pt x="1334" y="1062"/>
                      </a:lnTo>
                      <a:lnTo>
                        <a:pt x="1333" y="1061"/>
                      </a:lnTo>
                      <a:lnTo>
                        <a:pt x="1331" y="1060"/>
                      </a:lnTo>
                      <a:lnTo>
                        <a:pt x="1329" y="1058"/>
                      </a:lnTo>
                      <a:lnTo>
                        <a:pt x="1328" y="1057"/>
                      </a:lnTo>
                      <a:lnTo>
                        <a:pt x="1328" y="1054"/>
                      </a:lnTo>
                      <a:lnTo>
                        <a:pt x="1327" y="1050"/>
                      </a:lnTo>
                      <a:lnTo>
                        <a:pt x="1324" y="1048"/>
                      </a:lnTo>
                      <a:lnTo>
                        <a:pt x="1322" y="1047"/>
                      </a:lnTo>
                      <a:lnTo>
                        <a:pt x="1319" y="1046"/>
                      </a:lnTo>
                      <a:lnTo>
                        <a:pt x="1316" y="1046"/>
                      </a:lnTo>
                      <a:lnTo>
                        <a:pt x="1313" y="1046"/>
                      </a:lnTo>
                      <a:lnTo>
                        <a:pt x="1310" y="1046"/>
                      </a:lnTo>
                      <a:lnTo>
                        <a:pt x="1308" y="1046"/>
                      </a:lnTo>
                      <a:lnTo>
                        <a:pt x="1307" y="1047"/>
                      </a:lnTo>
                      <a:lnTo>
                        <a:pt x="1306" y="1048"/>
                      </a:lnTo>
                      <a:lnTo>
                        <a:pt x="1306" y="1049"/>
                      </a:lnTo>
                      <a:lnTo>
                        <a:pt x="1304" y="1051"/>
                      </a:lnTo>
                      <a:lnTo>
                        <a:pt x="1303" y="1053"/>
                      </a:lnTo>
                      <a:lnTo>
                        <a:pt x="1302" y="1055"/>
                      </a:lnTo>
                      <a:lnTo>
                        <a:pt x="1301" y="1056"/>
                      </a:lnTo>
                      <a:lnTo>
                        <a:pt x="1301" y="1055"/>
                      </a:lnTo>
                      <a:lnTo>
                        <a:pt x="1300" y="1054"/>
                      </a:lnTo>
                      <a:lnTo>
                        <a:pt x="1300" y="1051"/>
                      </a:lnTo>
                      <a:lnTo>
                        <a:pt x="1300" y="1048"/>
                      </a:lnTo>
                      <a:lnTo>
                        <a:pt x="1300" y="1046"/>
                      </a:lnTo>
                      <a:lnTo>
                        <a:pt x="1300" y="1045"/>
                      </a:lnTo>
                      <a:lnTo>
                        <a:pt x="1300" y="1044"/>
                      </a:lnTo>
                      <a:lnTo>
                        <a:pt x="1299" y="1040"/>
                      </a:lnTo>
                      <a:lnTo>
                        <a:pt x="1298" y="1038"/>
                      </a:lnTo>
                      <a:lnTo>
                        <a:pt x="1296" y="1037"/>
                      </a:lnTo>
                      <a:lnTo>
                        <a:pt x="1293" y="1035"/>
                      </a:lnTo>
                      <a:lnTo>
                        <a:pt x="1291" y="1034"/>
                      </a:lnTo>
                      <a:lnTo>
                        <a:pt x="1289" y="1033"/>
                      </a:lnTo>
                      <a:lnTo>
                        <a:pt x="1285" y="1031"/>
                      </a:lnTo>
                      <a:lnTo>
                        <a:pt x="1280" y="1026"/>
                      </a:lnTo>
                      <a:lnTo>
                        <a:pt x="1278" y="1022"/>
                      </a:lnTo>
                      <a:lnTo>
                        <a:pt x="1274" y="1012"/>
                      </a:lnTo>
                      <a:lnTo>
                        <a:pt x="1268" y="1003"/>
                      </a:lnTo>
                      <a:lnTo>
                        <a:pt x="1263" y="993"/>
                      </a:lnTo>
                      <a:lnTo>
                        <a:pt x="1259" y="982"/>
                      </a:lnTo>
                      <a:lnTo>
                        <a:pt x="1256" y="971"/>
                      </a:lnTo>
                      <a:lnTo>
                        <a:pt x="1252" y="961"/>
                      </a:lnTo>
                      <a:lnTo>
                        <a:pt x="1246" y="950"/>
                      </a:lnTo>
                      <a:lnTo>
                        <a:pt x="1240" y="939"/>
                      </a:lnTo>
                      <a:lnTo>
                        <a:pt x="1235" y="929"/>
                      </a:lnTo>
                      <a:lnTo>
                        <a:pt x="1234" y="917"/>
                      </a:lnTo>
                      <a:lnTo>
                        <a:pt x="1235" y="913"/>
                      </a:lnTo>
                      <a:lnTo>
                        <a:pt x="1237" y="907"/>
                      </a:lnTo>
                      <a:lnTo>
                        <a:pt x="1241" y="901"/>
                      </a:lnTo>
                      <a:lnTo>
                        <a:pt x="1242" y="895"/>
                      </a:lnTo>
                      <a:lnTo>
                        <a:pt x="1242" y="891"/>
                      </a:lnTo>
                      <a:lnTo>
                        <a:pt x="1238" y="889"/>
                      </a:lnTo>
                      <a:lnTo>
                        <a:pt x="1235" y="889"/>
                      </a:lnTo>
                      <a:lnTo>
                        <a:pt x="1233" y="891"/>
                      </a:lnTo>
                      <a:lnTo>
                        <a:pt x="1232" y="892"/>
                      </a:lnTo>
                      <a:lnTo>
                        <a:pt x="1230" y="895"/>
                      </a:lnTo>
                      <a:lnTo>
                        <a:pt x="1229" y="897"/>
                      </a:lnTo>
                      <a:lnTo>
                        <a:pt x="1227" y="900"/>
                      </a:lnTo>
                      <a:lnTo>
                        <a:pt x="1226" y="901"/>
                      </a:lnTo>
                      <a:lnTo>
                        <a:pt x="1225" y="903"/>
                      </a:lnTo>
                      <a:lnTo>
                        <a:pt x="1224" y="904"/>
                      </a:lnTo>
                      <a:lnTo>
                        <a:pt x="1223" y="905"/>
                      </a:lnTo>
                      <a:lnTo>
                        <a:pt x="1221" y="905"/>
                      </a:lnTo>
                      <a:lnTo>
                        <a:pt x="1219" y="904"/>
                      </a:lnTo>
                      <a:lnTo>
                        <a:pt x="1218" y="894"/>
                      </a:lnTo>
                      <a:lnTo>
                        <a:pt x="1219" y="884"/>
                      </a:lnTo>
                      <a:lnTo>
                        <a:pt x="1215" y="871"/>
                      </a:lnTo>
                      <a:lnTo>
                        <a:pt x="1212" y="860"/>
                      </a:lnTo>
                      <a:lnTo>
                        <a:pt x="1210" y="852"/>
                      </a:lnTo>
                      <a:lnTo>
                        <a:pt x="1208" y="847"/>
                      </a:lnTo>
                      <a:lnTo>
                        <a:pt x="1203" y="840"/>
                      </a:lnTo>
                      <a:lnTo>
                        <a:pt x="1190" y="820"/>
                      </a:lnTo>
                      <a:lnTo>
                        <a:pt x="1188" y="817"/>
                      </a:lnTo>
                      <a:lnTo>
                        <a:pt x="1188" y="814"/>
                      </a:lnTo>
                      <a:lnTo>
                        <a:pt x="1188" y="810"/>
                      </a:lnTo>
                      <a:lnTo>
                        <a:pt x="1189" y="807"/>
                      </a:lnTo>
                      <a:lnTo>
                        <a:pt x="1190" y="803"/>
                      </a:lnTo>
                      <a:lnTo>
                        <a:pt x="1191" y="800"/>
                      </a:lnTo>
                      <a:lnTo>
                        <a:pt x="1192" y="798"/>
                      </a:lnTo>
                      <a:lnTo>
                        <a:pt x="1193" y="797"/>
                      </a:lnTo>
                      <a:lnTo>
                        <a:pt x="1194" y="795"/>
                      </a:lnTo>
                      <a:lnTo>
                        <a:pt x="1194" y="793"/>
                      </a:lnTo>
                      <a:lnTo>
                        <a:pt x="1190" y="792"/>
                      </a:lnTo>
                      <a:lnTo>
                        <a:pt x="1186" y="789"/>
                      </a:lnTo>
                      <a:lnTo>
                        <a:pt x="1181" y="787"/>
                      </a:lnTo>
                      <a:lnTo>
                        <a:pt x="1179" y="784"/>
                      </a:lnTo>
                      <a:lnTo>
                        <a:pt x="1178" y="782"/>
                      </a:lnTo>
                      <a:lnTo>
                        <a:pt x="1177" y="781"/>
                      </a:lnTo>
                      <a:lnTo>
                        <a:pt x="1177" y="780"/>
                      </a:lnTo>
                      <a:lnTo>
                        <a:pt x="1177" y="778"/>
                      </a:lnTo>
                      <a:lnTo>
                        <a:pt x="1178" y="778"/>
                      </a:lnTo>
                      <a:lnTo>
                        <a:pt x="1179" y="780"/>
                      </a:lnTo>
                      <a:lnTo>
                        <a:pt x="1181" y="778"/>
                      </a:lnTo>
                      <a:lnTo>
                        <a:pt x="1183" y="778"/>
                      </a:lnTo>
                      <a:lnTo>
                        <a:pt x="1184" y="776"/>
                      </a:lnTo>
                      <a:lnTo>
                        <a:pt x="1184" y="775"/>
                      </a:lnTo>
                      <a:lnTo>
                        <a:pt x="1183" y="773"/>
                      </a:lnTo>
                      <a:lnTo>
                        <a:pt x="1181" y="770"/>
                      </a:lnTo>
                      <a:lnTo>
                        <a:pt x="1181" y="767"/>
                      </a:lnTo>
                      <a:lnTo>
                        <a:pt x="1180" y="765"/>
                      </a:lnTo>
                      <a:lnTo>
                        <a:pt x="1180" y="762"/>
                      </a:lnTo>
                      <a:lnTo>
                        <a:pt x="1179" y="760"/>
                      </a:lnTo>
                      <a:lnTo>
                        <a:pt x="1177" y="758"/>
                      </a:lnTo>
                      <a:lnTo>
                        <a:pt x="1176" y="756"/>
                      </a:lnTo>
                      <a:lnTo>
                        <a:pt x="1173" y="754"/>
                      </a:lnTo>
                      <a:lnTo>
                        <a:pt x="1173" y="752"/>
                      </a:lnTo>
                      <a:lnTo>
                        <a:pt x="1173" y="750"/>
                      </a:lnTo>
                      <a:lnTo>
                        <a:pt x="1175" y="749"/>
                      </a:lnTo>
                      <a:lnTo>
                        <a:pt x="1178" y="745"/>
                      </a:lnTo>
                      <a:lnTo>
                        <a:pt x="1181" y="744"/>
                      </a:lnTo>
                      <a:lnTo>
                        <a:pt x="1183" y="743"/>
                      </a:lnTo>
                      <a:lnTo>
                        <a:pt x="1186" y="742"/>
                      </a:lnTo>
                      <a:lnTo>
                        <a:pt x="1188" y="740"/>
                      </a:lnTo>
                      <a:lnTo>
                        <a:pt x="1190" y="739"/>
                      </a:lnTo>
                      <a:lnTo>
                        <a:pt x="1193" y="739"/>
                      </a:lnTo>
                      <a:lnTo>
                        <a:pt x="1196" y="739"/>
                      </a:lnTo>
                      <a:lnTo>
                        <a:pt x="1199" y="740"/>
                      </a:lnTo>
                      <a:lnTo>
                        <a:pt x="1202" y="742"/>
                      </a:lnTo>
                      <a:lnTo>
                        <a:pt x="1205" y="742"/>
                      </a:lnTo>
                      <a:lnTo>
                        <a:pt x="1209" y="742"/>
                      </a:lnTo>
                      <a:lnTo>
                        <a:pt x="1213" y="742"/>
                      </a:lnTo>
                      <a:lnTo>
                        <a:pt x="1216" y="742"/>
                      </a:lnTo>
                      <a:lnTo>
                        <a:pt x="1219" y="743"/>
                      </a:lnTo>
                      <a:lnTo>
                        <a:pt x="1221" y="746"/>
                      </a:lnTo>
                      <a:lnTo>
                        <a:pt x="1223" y="749"/>
                      </a:lnTo>
                      <a:lnTo>
                        <a:pt x="1225" y="750"/>
                      </a:lnTo>
                      <a:lnTo>
                        <a:pt x="1227" y="751"/>
                      </a:lnTo>
                      <a:lnTo>
                        <a:pt x="1230" y="751"/>
                      </a:lnTo>
                      <a:lnTo>
                        <a:pt x="1230" y="750"/>
                      </a:lnTo>
                      <a:lnTo>
                        <a:pt x="1230" y="749"/>
                      </a:lnTo>
                      <a:lnTo>
                        <a:pt x="1229" y="746"/>
                      </a:lnTo>
                      <a:lnTo>
                        <a:pt x="1227" y="744"/>
                      </a:lnTo>
                      <a:lnTo>
                        <a:pt x="1225" y="742"/>
                      </a:lnTo>
                      <a:lnTo>
                        <a:pt x="1223" y="741"/>
                      </a:lnTo>
                      <a:lnTo>
                        <a:pt x="1221" y="740"/>
                      </a:lnTo>
                      <a:lnTo>
                        <a:pt x="1220" y="739"/>
                      </a:lnTo>
                      <a:lnTo>
                        <a:pt x="1219" y="737"/>
                      </a:lnTo>
                      <a:lnTo>
                        <a:pt x="1218" y="734"/>
                      </a:lnTo>
                      <a:lnTo>
                        <a:pt x="1218" y="732"/>
                      </a:lnTo>
                      <a:lnTo>
                        <a:pt x="1216" y="730"/>
                      </a:lnTo>
                      <a:lnTo>
                        <a:pt x="1214" y="729"/>
                      </a:lnTo>
                      <a:lnTo>
                        <a:pt x="1209" y="729"/>
                      </a:lnTo>
                      <a:lnTo>
                        <a:pt x="1202" y="731"/>
                      </a:lnTo>
                      <a:lnTo>
                        <a:pt x="1197" y="732"/>
                      </a:lnTo>
                      <a:lnTo>
                        <a:pt x="1192" y="731"/>
                      </a:lnTo>
                      <a:lnTo>
                        <a:pt x="1191" y="728"/>
                      </a:lnTo>
                      <a:lnTo>
                        <a:pt x="1191" y="726"/>
                      </a:lnTo>
                      <a:lnTo>
                        <a:pt x="1192" y="724"/>
                      </a:lnTo>
                      <a:lnTo>
                        <a:pt x="1193" y="722"/>
                      </a:lnTo>
                      <a:lnTo>
                        <a:pt x="1197" y="721"/>
                      </a:lnTo>
                      <a:lnTo>
                        <a:pt x="1199" y="721"/>
                      </a:lnTo>
                      <a:lnTo>
                        <a:pt x="1201" y="720"/>
                      </a:lnTo>
                      <a:lnTo>
                        <a:pt x="1203" y="720"/>
                      </a:lnTo>
                      <a:lnTo>
                        <a:pt x="1205" y="720"/>
                      </a:lnTo>
                      <a:lnTo>
                        <a:pt x="1209" y="720"/>
                      </a:lnTo>
                      <a:lnTo>
                        <a:pt x="1210" y="719"/>
                      </a:lnTo>
                      <a:lnTo>
                        <a:pt x="1211" y="717"/>
                      </a:lnTo>
                      <a:lnTo>
                        <a:pt x="1211" y="716"/>
                      </a:lnTo>
                      <a:lnTo>
                        <a:pt x="1211" y="713"/>
                      </a:lnTo>
                      <a:lnTo>
                        <a:pt x="1210" y="711"/>
                      </a:lnTo>
                      <a:lnTo>
                        <a:pt x="1210" y="709"/>
                      </a:lnTo>
                      <a:lnTo>
                        <a:pt x="1209" y="707"/>
                      </a:lnTo>
                      <a:lnTo>
                        <a:pt x="1210" y="705"/>
                      </a:lnTo>
                      <a:lnTo>
                        <a:pt x="1210" y="704"/>
                      </a:lnTo>
                      <a:lnTo>
                        <a:pt x="1212" y="702"/>
                      </a:lnTo>
                      <a:lnTo>
                        <a:pt x="1214" y="701"/>
                      </a:lnTo>
                      <a:lnTo>
                        <a:pt x="1215" y="698"/>
                      </a:lnTo>
                      <a:lnTo>
                        <a:pt x="1216" y="696"/>
                      </a:lnTo>
                      <a:lnTo>
                        <a:pt x="1216" y="693"/>
                      </a:lnTo>
                      <a:lnTo>
                        <a:pt x="1216" y="689"/>
                      </a:lnTo>
                      <a:lnTo>
                        <a:pt x="1216" y="687"/>
                      </a:lnTo>
                      <a:lnTo>
                        <a:pt x="1219" y="684"/>
                      </a:lnTo>
                      <a:lnTo>
                        <a:pt x="1220" y="679"/>
                      </a:lnTo>
                      <a:lnTo>
                        <a:pt x="1220" y="675"/>
                      </a:lnTo>
                      <a:lnTo>
                        <a:pt x="1219" y="669"/>
                      </a:lnTo>
                      <a:lnTo>
                        <a:pt x="1218" y="663"/>
                      </a:lnTo>
                      <a:lnTo>
                        <a:pt x="1213" y="657"/>
                      </a:lnTo>
                      <a:lnTo>
                        <a:pt x="1207" y="654"/>
                      </a:lnTo>
                      <a:lnTo>
                        <a:pt x="1199" y="654"/>
                      </a:lnTo>
                      <a:lnTo>
                        <a:pt x="1198" y="654"/>
                      </a:lnTo>
                      <a:lnTo>
                        <a:pt x="1196" y="654"/>
                      </a:lnTo>
                      <a:lnTo>
                        <a:pt x="1193" y="654"/>
                      </a:lnTo>
                      <a:lnTo>
                        <a:pt x="1191" y="654"/>
                      </a:lnTo>
                      <a:lnTo>
                        <a:pt x="1189" y="654"/>
                      </a:lnTo>
                      <a:lnTo>
                        <a:pt x="1187" y="655"/>
                      </a:lnTo>
                      <a:lnTo>
                        <a:pt x="1186" y="655"/>
                      </a:lnTo>
                      <a:lnTo>
                        <a:pt x="1184" y="656"/>
                      </a:lnTo>
                      <a:lnTo>
                        <a:pt x="1183" y="657"/>
                      </a:lnTo>
                      <a:lnTo>
                        <a:pt x="1184" y="658"/>
                      </a:lnTo>
                      <a:lnTo>
                        <a:pt x="1186" y="661"/>
                      </a:lnTo>
                      <a:lnTo>
                        <a:pt x="1188" y="663"/>
                      </a:lnTo>
                      <a:lnTo>
                        <a:pt x="1192" y="667"/>
                      </a:lnTo>
                      <a:lnTo>
                        <a:pt x="1196" y="673"/>
                      </a:lnTo>
                      <a:lnTo>
                        <a:pt x="1197" y="677"/>
                      </a:lnTo>
                      <a:lnTo>
                        <a:pt x="1196" y="680"/>
                      </a:lnTo>
                      <a:lnTo>
                        <a:pt x="1190" y="683"/>
                      </a:lnTo>
                      <a:lnTo>
                        <a:pt x="1175" y="683"/>
                      </a:lnTo>
                      <a:lnTo>
                        <a:pt x="1172" y="684"/>
                      </a:lnTo>
                      <a:lnTo>
                        <a:pt x="1169" y="685"/>
                      </a:lnTo>
                      <a:lnTo>
                        <a:pt x="1168" y="685"/>
                      </a:lnTo>
                      <a:lnTo>
                        <a:pt x="1166" y="685"/>
                      </a:lnTo>
                      <a:lnTo>
                        <a:pt x="1164" y="684"/>
                      </a:lnTo>
                      <a:lnTo>
                        <a:pt x="1161" y="680"/>
                      </a:lnTo>
                      <a:lnTo>
                        <a:pt x="1160" y="679"/>
                      </a:lnTo>
                      <a:lnTo>
                        <a:pt x="1160" y="677"/>
                      </a:lnTo>
                      <a:lnTo>
                        <a:pt x="1160" y="675"/>
                      </a:lnTo>
                      <a:lnTo>
                        <a:pt x="1160" y="674"/>
                      </a:lnTo>
                      <a:lnTo>
                        <a:pt x="1159" y="672"/>
                      </a:lnTo>
                      <a:lnTo>
                        <a:pt x="1158" y="671"/>
                      </a:lnTo>
                      <a:lnTo>
                        <a:pt x="1155" y="669"/>
                      </a:lnTo>
                      <a:lnTo>
                        <a:pt x="1153" y="669"/>
                      </a:lnTo>
                      <a:lnTo>
                        <a:pt x="1150" y="667"/>
                      </a:lnTo>
                      <a:lnTo>
                        <a:pt x="1148" y="665"/>
                      </a:lnTo>
                      <a:lnTo>
                        <a:pt x="1147" y="662"/>
                      </a:lnTo>
                      <a:lnTo>
                        <a:pt x="1146" y="660"/>
                      </a:lnTo>
                      <a:lnTo>
                        <a:pt x="1146" y="656"/>
                      </a:lnTo>
                      <a:lnTo>
                        <a:pt x="1146" y="653"/>
                      </a:lnTo>
                      <a:lnTo>
                        <a:pt x="1147" y="649"/>
                      </a:lnTo>
                      <a:lnTo>
                        <a:pt x="1147" y="645"/>
                      </a:lnTo>
                      <a:lnTo>
                        <a:pt x="1148" y="641"/>
                      </a:lnTo>
                      <a:lnTo>
                        <a:pt x="1150" y="640"/>
                      </a:lnTo>
                      <a:lnTo>
                        <a:pt x="1151" y="639"/>
                      </a:lnTo>
                      <a:lnTo>
                        <a:pt x="1154" y="636"/>
                      </a:lnTo>
                      <a:lnTo>
                        <a:pt x="1155" y="635"/>
                      </a:lnTo>
                      <a:lnTo>
                        <a:pt x="1155" y="633"/>
                      </a:lnTo>
                      <a:lnTo>
                        <a:pt x="1155" y="629"/>
                      </a:lnTo>
                      <a:lnTo>
                        <a:pt x="1153" y="623"/>
                      </a:lnTo>
                      <a:lnTo>
                        <a:pt x="1150" y="618"/>
                      </a:lnTo>
                      <a:lnTo>
                        <a:pt x="1149" y="612"/>
                      </a:lnTo>
                      <a:lnTo>
                        <a:pt x="1150" y="609"/>
                      </a:lnTo>
                      <a:lnTo>
                        <a:pt x="1155" y="609"/>
                      </a:lnTo>
                      <a:lnTo>
                        <a:pt x="1158" y="609"/>
                      </a:lnTo>
                      <a:lnTo>
                        <a:pt x="1161" y="611"/>
                      </a:lnTo>
                      <a:lnTo>
                        <a:pt x="1165" y="613"/>
                      </a:lnTo>
                      <a:lnTo>
                        <a:pt x="1168" y="615"/>
                      </a:lnTo>
                      <a:lnTo>
                        <a:pt x="1172" y="618"/>
                      </a:lnTo>
                      <a:lnTo>
                        <a:pt x="1176" y="619"/>
                      </a:lnTo>
                      <a:lnTo>
                        <a:pt x="1179" y="620"/>
                      </a:lnTo>
                      <a:lnTo>
                        <a:pt x="1182" y="621"/>
                      </a:lnTo>
                      <a:lnTo>
                        <a:pt x="1186" y="622"/>
                      </a:lnTo>
                      <a:lnTo>
                        <a:pt x="1188" y="622"/>
                      </a:lnTo>
                      <a:lnTo>
                        <a:pt x="1191" y="623"/>
                      </a:lnTo>
                      <a:lnTo>
                        <a:pt x="1193" y="624"/>
                      </a:lnTo>
                      <a:lnTo>
                        <a:pt x="1197" y="625"/>
                      </a:lnTo>
                      <a:lnTo>
                        <a:pt x="1199" y="626"/>
                      </a:lnTo>
                      <a:lnTo>
                        <a:pt x="1201" y="628"/>
                      </a:lnTo>
                      <a:lnTo>
                        <a:pt x="1202" y="628"/>
                      </a:lnTo>
                      <a:lnTo>
                        <a:pt x="1203" y="626"/>
                      </a:lnTo>
                      <a:lnTo>
                        <a:pt x="1204" y="625"/>
                      </a:lnTo>
                      <a:lnTo>
                        <a:pt x="1204" y="623"/>
                      </a:lnTo>
                      <a:lnTo>
                        <a:pt x="1203" y="620"/>
                      </a:lnTo>
                      <a:lnTo>
                        <a:pt x="1202" y="614"/>
                      </a:lnTo>
                      <a:lnTo>
                        <a:pt x="1200" y="611"/>
                      </a:lnTo>
                      <a:lnTo>
                        <a:pt x="1198" y="609"/>
                      </a:lnTo>
                      <a:lnTo>
                        <a:pt x="1194" y="607"/>
                      </a:lnTo>
                      <a:lnTo>
                        <a:pt x="1190" y="604"/>
                      </a:lnTo>
                      <a:lnTo>
                        <a:pt x="1188" y="602"/>
                      </a:lnTo>
                      <a:lnTo>
                        <a:pt x="1186" y="600"/>
                      </a:lnTo>
                      <a:lnTo>
                        <a:pt x="1183" y="598"/>
                      </a:lnTo>
                      <a:lnTo>
                        <a:pt x="1183" y="595"/>
                      </a:lnTo>
                      <a:lnTo>
                        <a:pt x="1183" y="592"/>
                      </a:lnTo>
                      <a:lnTo>
                        <a:pt x="1182" y="590"/>
                      </a:lnTo>
                      <a:lnTo>
                        <a:pt x="1180" y="588"/>
                      </a:lnTo>
                      <a:lnTo>
                        <a:pt x="1177" y="587"/>
                      </a:lnTo>
                      <a:lnTo>
                        <a:pt x="1176" y="587"/>
                      </a:lnTo>
                      <a:lnTo>
                        <a:pt x="1173" y="587"/>
                      </a:lnTo>
                      <a:lnTo>
                        <a:pt x="1171" y="587"/>
                      </a:lnTo>
                      <a:lnTo>
                        <a:pt x="1170" y="587"/>
                      </a:lnTo>
                      <a:lnTo>
                        <a:pt x="1168" y="587"/>
                      </a:lnTo>
                      <a:lnTo>
                        <a:pt x="1167" y="586"/>
                      </a:lnTo>
                      <a:lnTo>
                        <a:pt x="1166" y="585"/>
                      </a:lnTo>
                      <a:lnTo>
                        <a:pt x="1166" y="582"/>
                      </a:lnTo>
                      <a:lnTo>
                        <a:pt x="1166" y="580"/>
                      </a:lnTo>
                      <a:lnTo>
                        <a:pt x="1167" y="578"/>
                      </a:lnTo>
                      <a:lnTo>
                        <a:pt x="1167" y="576"/>
                      </a:lnTo>
                      <a:lnTo>
                        <a:pt x="1167" y="574"/>
                      </a:lnTo>
                      <a:lnTo>
                        <a:pt x="1166" y="573"/>
                      </a:lnTo>
                      <a:lnTo>
                        <a:pt x="1164" y="571"/>
                      </a:lnTo>
                      <a:lnTo>
                        <a:pt x="1161" y="570"/>
                      </a:lnTo>
                      <a:lnTo>
                        <a:pt x="1158" y="569"/>
                      </a:lnTo>
                      <a:lnTo>
                        <a:pt x="1155" y="569"/>
                      </a:lnTo>
                      <a:lnTo>
                        <a:pt x="1153" y="570"/>
                      </a:lnTo>
                      <a:lnTo>
                        <a:pt x="1150" y="571"/>
                      </a:lnTo>
                      <a:lnTo>
                        <a:pt x="1149" y="571"/>
                      </a:lnTo>
                      <a:lnTo>
                        <a:pt x="1148" y="573"/>
                      </a:lnTo>
                      <a:lnTo>
                        <a:pt x="1148" y="574"/>
                      </a:lnTo>
                      <a:lnTo>
                        <a:pt x="1148" y="576"/>
                      </a:lnTo>
                      <a:lnTo>
                        <a:pt x="1148" y="578"/>
                      </a:lnTo>
                      <a:lnTo>
                        <a:pt x="1148" y="580"/>
                      </a:lnTo>
                      <a:lnTo>
                        <a:pt x="1148" y="584"/>
                      </a:lnTo>
                      <a:lnTo>
                        <a:pt x="1147" y="586"/>
                      </a:lnTo>
                      <a:lnTo>
                        <a:pt x="1145" y="587"/>
                      </a:lnTo>
                      <a:lnTo>
                        <a:pt x="1142" y="587"/>
                      </a:lnTo>
                      <a:lnTo>
                        <a:pt x="1138" y="586"/>
                      </a:lnTo>
                      <a:lnTo>
                        <a:pt x="1135" y="584"/>
                      </a:lnTo>
                      <a:lnTo>
                        <a:pt x="1131" y="580"/>
                      </a:lnTo>
                      <a:lnTo>
                        <a:pt x="1128" y="578"/>
                      </a:lnTo>
                      <a:lnTo>
                        <a:pt x="1127" y="576"/>
                      </a:lnTo>
                      <a:lnTo>
                        <a:pt x="1127" y="574"/>
                      </a:lnTo>
                      <a:lnTo>
                        <a:pt x="1127" y="571"/>
                      </a:lnTo>
                      <a:lnTo>
                        <a:pt x="1127" y="569"/>
                      </a:lnTo>
                      <a:lnTo>
                        <a:pt x="1126" y="567"/>
                      </a:lnTo>
                      <a:lnTo>
                        <a:pt x="1126" y="564"/>
                      </a:lnTo>
                      <a:lnTo>
                        <a:pt x="1125" y="560"/>
                      </a:lnTo>
                      <a:lnTo>
                        <a:pt x="1124" y="558"/>
                      </a:lnTo>
                      <a:lnTo>
                        <a:pt x="1123" y="556"/>
                      </a:lnTo>
                      <a:lnTo>
                        <a:pt x="1122" y="554"/>
                      </a:lnTo>
                      <a:lnTo>
                        <a:pt x="1122" y="551"/>
                      </a:lnTo>
                      <a:lnTo>
                        <a:pt x="1122" y="548"/>
                      </a:lnTo>
                      <a:lnTo>
                        <a:pt x="1122" y="547"/>
                      </a:lnTo>
                      <a:lnTo>
                        <a:pt x="1123" y="545"/>
                      </a:lnTo>
                      <a:lnTo>
                        <a:pt x="1124" y="544"/>
                      </a:lnTo>
                      <a:lnTo>
                        <a:pt x="1126" y="543"/>
                      </a:lnTo>
                      <a:lnTo>
                        <a:pt x="1127" y="542"/>
                      </a:lnTo>
                      <a:lnTo>
                        <a:pt x="1127" y="541"/>
                      </a:lnTo>
                      <a:lnTo>
                        <a:pt x="1127" y="538"/>
                      </a:lnTo>
                      <a:lnTo>
                        <a:pt x="1126" y="536"/>
                      </a:lnTo>
                      <a:lnTo>
                        <a:pt x="1125" y="535"/>
                      </a:lnTo>
                      <a:lnTo>
                        <a:pt x="1123" y="533"/>
                      </a:lnTo>
                      <a:lnTo>
                        <a:pt x="1122" y="531"/>
                      </a:lnTo>
                      <a:lnTo>
                        <a:pt x="1120" y="529"/>
                      </a:lnTo>
                      <a:lnTo>
                        <a:pt x="1118" y="526"/>
                      </a:lnTo>
                      <a:lnTo>
                        <a:pt x="1117" y="525"/>
                      </a:lnTo>
                      <a:lnTo>
                        <a:pt x="1120" y="523"/>
                      </a:lnTo>
                      <a:lnTo>
                        <a:pt x="1122" y="522"/>
                      </a:lnTo>
                      <a:lnTo>
                        <a:pt x="1123" y="521"/>
                      </a:lnTo>
                      <a:lnTo>
                        <a:pt x="1125" y="520"/>
                      </a:lnTo>
                      <a:lnTo>
                        <a:pt x="1126" y="519"/>
                      </a:lnTo>
                      <a:lnTo>
                        <a:pt x="1128" y="516"/>
                      </a:lnTo>
                      <a:lnTo>
                        <a:pt x="1129" y="513"/>
                      </a:lnTo>
                      <a:lnTo>
                        <a:pt x="1128" y="512"/>
                      </a:lnTo>
                      <a:lnTo>
                        <a:pt x="1127" y="510"/>
                      </a:lnTo>
                      <a:lnTo>
                        <a:pt x="1125" y="509"/>
                      </a:lnTo>
                      <a:lnTo>
                        <a:pt x="1122" y="508"/>
                      </a:lnTo>
                      <a:lnTo>
                        <a:pt x="1118" y="506"/>
                      </a:lnTo>
                      <a:lnTo>
                        <a:pt x="1116" y="505"/>
                      </a:lnTo>
                      <a:lnTo>
                        <a:pt x="1115" y="504"/>
                      </a:lnTo>
                      <a:lnTo>
                        <a:pt x="1115" y="502"/>
                      </a:lnTo>
                      <a:lnTo>
                        <a:pt x="1115" y="500"/>
                      </a:lnTo>
                      <a:lnTo>
                        <a:pt x="1115" y="498"/>
                      </a:lnTo>
                      <a:lnTo>
                        <a:pt x="1116" y="495"/>
                      </a:lnTo>
                      <a:lnTo>
                        <a:pt x="1116" y="494"/>
                      </a:lnTo>
                      <a:lnTo>
                        <a:pt x="1115" y="492"/>
                      </a:lnTo>
                      <a:lnTo>
                        <a:pt x="1114" y="489"/>
                      </a:lnTo>
                      <a:lnTo>
                        <a:pt x="1112" y="486"/>
                      </a:lnTo>
                      <a:lnTo>
                        <a:pt x="1109" y="483"/>
                      </a:lnTo>
                      <a:lnTo>
                        <a:pt x="1105" y="481"/>
                      </a:lnTo>
                      <a:lnTo>
                        <a:pt x="1103" y="479"/>
                      </a:lnTo>
                      <a:lnTo>
                        <a:pt x="1099" y="478"/>
                      </a:lnTo>
                      <a:lnTo>
                        <a:pt x="1098" y="477"/>
                      </a:lnTo>
                      <a:lnTo>
                        <a:pt x="1098" y="476"/>
                      </a:lnTo>
                      <a:lnTo>
                        <a:pt x="1098" y="475"/>
                      </a:lnTo>
                      <a:lnTo>
                        <a:pt x="1098" y="472"/>
                      </a:lnTo>
                      <a:lnTo>
                        <a:pt x="1099" y="470"/>
                      </a:lnTo>
                      <a:lnTo>
                        <a:pt x="1099" y="466"/>
                      </a:lnTo>
                      <a:lnTo>
                        <a:pt x="1099" y="461"/>
                      </a:lnTo>
                      <a:lnTo>
                        <a:pt x="1098" y="457"/>
                      </a:lnTo>
                      <a:lnTo>
                        <a:pt x="1096" y="454"/>
                      </a:lnTo>
                      <a:lnTo>
                        <a:pt x="1094" y="448"/>
                      </a:lnTo>
                      <a:lnTo>
                        <a:pt x="1093" y="445"/>
                      </a:lnTo>
                      <a:lnTo>
                        <a:pt x="1092" y="442"/>
                      </a:lnTo>
                      <a:lnTo>
                        <a:pt x="1090" y="438"/>
                      </a:lnTo>
                      <a:lnTo>
                        <a:pt x="1089" y="435"/>
                      </a:lnTo>
                      <a:lnTo>
                        <a:pt x="1088" y="433"/>
                      </a:lnTo>
                      <a:lnTo>
                        <a:pt x="1084" y="431"/>
                      </a:lnTo>
                      <a:lnTo>
                        <a:pt x="1081" y="429"/>
                      </a:lnTo>
                      <a:lnTo>
                        <a:pt x="1079" y="427"/>
                      </a:lnTo>
                      <a:lnTo>
                        <a:pt x="1078" y="425"/>
                      </a:lnTo>
                      <a:lnTo>
                        <a:pt x="1076" y="423"/>
                      </a:lnTo>
                      <a:lnTo>
                        <a:pt x="1073" y="420"/>
                      </a:lnTo>
                      <a:lnTo>
                        <a:pt x="1072" y="418"/>
                      </a:lnTo>
                      <a:lnTo>
                        <a:pt x="1070" y="415"/>
                      </a:lnTo>
                      <a:lnTo>
                        <a:pt x="1066" y="412"/>
                      </a:lnTo>
                      <a:lnTo>
                        <a:pt x="1062" y="409"/>
                      </a:lnTo>
                      <a:lnTo>
                        <a:pt x="1059" y="405"/>
                      </a:lnTo>
                      <a:lnTo>
                        <a:pt x="1057" y="401"/>
                      </a:lnTo>
                      <a:lnTo>
                        <a:pt x="1055" y="396"/>
                      </a:lnTo>
                      <a:lnTo>
                        <a:pt x="1055" y="392"/>
                      </a:lnTo>
                      <a:lnTo>
                        <a:pt x="1049" y="382"/>
                      </a:lnTo>
                      <a:lnTo>
                        <a:pt x="1041" y="372"/>
                      </a:lnTo>
                      <a:lnTo>
                        <a:pt x="1033" y="366"/>
                      </a:lnTo>
                      <a:lnTo>
                        <a:pt x="1020" y="359"/>
                      </a:lnTo>
                      <a:lnTo>
                        <a:pt x="1008" y="355"/>
                      </a:lnTo>
                      <a:lnTo>
                        <a:pt x="1005" y="352"/>
                      </a:lnTo>
                      <a:lnTo>
                        <a:pt x="1002" y="351"/>
                      </a:lnTo>
                      <a:lnTo>
                        <a:pt x="997" y="350"/>
                      </a:lnTo>
                      <a:lnTo>
                        <a:pt x="994" y="349"/>
                      </a:lnTo>
                      <a:lnTo>
                        <a:pt x="991" y="348"/>
                      </a:lnTo>
                      <a:lnTo>
                        <a:pt x="987" y="346"/>
                      </a:lnTo>
                      <a:lnTo>
                        <a:pt x="983" y="344"/>
                      </a:lnTo>
                      <a:lnTo>
                        <a:pt x="979" y="341"/>
                      </a:lnTo>
                      <a:lnTo>
                        <a:pt x="975" y="339"/>
                      </a:lnTo>
                      <a:lnTo>
                        <a:pt x="973" y="339"/>
                      </a:lnTo>
                      <a:lnTo>
                        <a:pt x="970" y="338"/>
                      </a:lnTo>
                      <a:lnTo>
                        <a:pt x="967" y="337"/>
                      </a:lnTo>
                      <a:lnTo>
                        <a:pt x="964" y="336"/>
                      </a:lnTo>
                      <a:lnTo>
                        <a:pt x="962" y="336"/>
                      </a:lnTo>
                      <a:lnTo>
                        <a:pt x="960" y="335"/>
                      </a:lnTo>
                      <a:lnTo>
                        <a:pt x="959" y="337"/>
                      </a:lnTo>
                      <a:lnTo>
                        <a:pt x="960" y="338"/>
                      </a:lnTo>
                      <a:lnTo>
                        <a:pt x="961" y="340"/>
                      </a:lnTo>
                      <a:lnTo>
                        <a:pt x="963" y="342"/>
                      </a:lnTo>
                      <a:lnTo>
                        <a:pt x="964" y="344"/>
                      </a:lnTo>
                      <a:lnTo>
                        <a:pt x="964" y="345"/>
                      </a:lnTo>
                      <a:lnTo>
                        <a:pt x="962" y="346"/>
                      </a:lnTo>
                      <a:lnTo>
                        <a:pt x="961" y="346"/>
                      </a:lnTo>
                      <a:lnTo>
                        <a:pt x="959" y="346"/>
                      </a:lnTo>
                      <a:lnTo>
                        <a:pt x="957" y="345"/>
                      </a:lnTo>
                      <a:lnTo>
                        <a:pt x="954" y="345"/>
                      </a:lnTo>
                      <a:lnTo>
                        <a:pt x="952" y="344"/>
                      </a:lnTo>
                      <a:lnTo>
                        <a:pt x="951" y="344"/>
                      </a:lnTo>
                      <a:lnTo>
                        <a:pt x="943" y="341"/>
                      </a:lnTo>
                      <a:lnTo>
                        <a:pt x="937" y="340"/>
                      </a:lnTo>
                      <a:lnTo>
                        <a:pt x="933" y="341"/>
                      </a:lnTo>
                      <a:lnTo>
                        <a:pt x="931" y="346"/>
                      </a:lnTo>
                      <a:lnTo>
                        <a:pt x="928" y="346"/>
                      </a:lnTo>
                      <a:lnTo>
                        <a:pt x="925" y="344"/>
                      </a:lnTo>
                      <a:lnTo>
                        <a:pt x="921" y="341"/>
                      </a:lnTo>
                      <a:lnTo>
                        <a:pt x="918" y="339"/>
                      </a:lnTo>
                      <a:lnTo>
                        <a:pt x="916" y="339"/>
                      </a:lnTo>
                      <a:lnTo>
                        <a:pt x="915" y="340"/>
                      </a:lnTo>
                      <a:lnTo>
                        <a:pt x="914" y="341"/>
                      </a:lnTo>
                      <a:lnTo>
                        <a:pt x="914" y="344"/>
                      </a:lnTo>
                      <a:lnTo>
                        <a:pt x="914" y="346"/>
                      </a:lnTo>
                      <a:lnTo>
                        <a:pt x="914" y="348"/>
                      </a:lnTo>
                      <a:lnTo>
                        <a:pt x="914" y="349"/>
                      </a:lnTo>
                      <a:lnTo>
                        <a:pt x="914" y="350"/>
                      </a:lnTo>
                      <a:lnTo>
                        <a:pt x="910" y="350"/>
                      </a:lnTo>
                      <a:lnTo>
                        <a:pt x="907" y="349"/>
                      </a:lnTo>
                      <a:lnTo>
                        <a:pt x="904" y="348"/>
                      </a:lnTo>
                      <a:lnTo>
                        <a:pt x="900" y="347"/>
                      </a:lnTo>
                      <a:lnTo>
                        <a:pt x="896" y="346"/>
                      </a:lnTo>
                      <a:lnTo>
                        <a:pt x="893" y="345"/>
                      </a:lnTo>
                      <a:lnTo>
                        <a:pt x="888" y="344"/>
                      </a:lnTo>
                      <a:lnTo>
                        <a:pt x="885" y="342"/>
                      </a:lnTo>
                      <a:lnTo>
                        <a:pt x="881" y="341"/>
                      </a:lnTo>
                      <a:lnTo>
                        <a:pt x="877" y="340"/>
                      </a:lnTo>
                      <a:lnTo>
                        <a:pt x="875" y="338"/>
                      </a:lnTo>
                      <a:lnTo>
                        <a:pt x="874" y="336"/>
                      </a:lnTo>
                      <a:lnTo>
                        <a:pt x="872" y="335"/>
                      </a:lnTo>
                      <a:lnTo>
                        <a:pt x="870" y="333"/>
                      </a:lnTo>
                      <a:lnTo>
                        <a:pt x="866" y="331"/>
                      </a:lnTo>
                      <a:lnTo>
                        <a:pt x="862" y="330"/>
                      </a:lnTo>
                      <a:lnTo>
                        <a:pt x="859" y="329"/>
                      </a:lnTo>
                      <a:lnTo>
                        <a:pt x="854" y="328"/>
                      </a:lnTo>
                      <a:lnTo>
                        <a:pt x="852" y="328"/>
                      </a:lnTo>
                      <a:lnTo>
                        <a:pt x="851" y="327"/>
                      </a:lnTo>
                      <a:lnTo>
                        <a:pt x="851" y="326"/>
                      </a:lnTo>
                      <a:lnTo>
                        <a:pt x="852" y="325"/>
                      </a:lnTo>
                      <a:lnTo>
                        <a:pt x="854" y="324"/>
                      </a:lnTo>
                      <a:lnTo>
                        <a:pt x="856" y="323"/>
                      </a:lnTo>
                      <a:lnTo>
                        <a:pt x="860" y="322"/>
                      </a:lnTo>
                      <a:lnTo>
                        <a:pt x="862" y="320"/>
                      </a:lnTo>
                      <a:lnTo>
                        <a:pt x="863" y="319"/>
                      </a:lnTo>
                      <a:lnTo>
                        <a:pt x="866" y="319"/>
                      </a:lnTo>
                      <a:lnTo>
                        <a:pt x="869" y="319"/>
                      </a:lnTo>
                      <a:lnTo>
                        <a:pt x="872" y="319"/>
                      </a:lnTo>
                      <a:lnTo>
                        <a:pt x="875" y="319"/>
                      </a:lnTo>
                      <a:lnTo>
                        <a:pt x="877" y="318"/>
                      </a:lnTo>
                      <a:lnTo>
                        <a:pt x="880" y="318"/>
                      </a:lnTo>
                      <a:lnTo>
                        <a:pt x="882" y="317"/>
                      </a:lnTo>
                      <a:lnTo>
                        <a:pt x="882" y="315"/>
                      </a:lnTo>
                      <a:lnTo>
                        <a:pt x="881" y="313"/>
                      </a:lnTo>
                      <a:lnTo>
                        <a:pt x="880" y="312"/>
                      </a:lnTo>
                      <a:lnTo>
                        <a:pt x="876" y="311"/>
                      </a:lnTo>
                      <a:lnTo>
                        <a:pt x="873" y="309"/>
                      </a:lnTo>
                      <a:lnTo>
                        <a:pt x="870" y="309"/>
                      </a:lnTo>
                      <a:lnTo>
                        <a:pt x="867" y="311"/>
                      </a:lnTo>
                      <a:lnTo>
                        <a:pt x="865" y="311"/>
                      </a:lnTo>
                      <a:lnTo>
                        <a:pt x="862" y="311"/>
                      </a:lnTo>
                      <a:lnTo>
                        <a:pt x="859" y="309"/>
                      </a:lnTo>
                      <a:lnTo>
                        <a:pt x="855" y="307"/>
                      </a:lnTo>
                      <a:lnTo>
                        <a:pt x="853" y="306"/>
                      </a:lnTo>
                      <a:lnTo>
                        <a:pt x="850" y="304"/>
                      </a:lnTo>
                      <a:lnTo>
                        <a:pt x="843" y="302"/>
                      </a:lnTo>
                      <a:lnTo>
                        <a:pt x="836" y="301"/>
                      </a:lnTo>
                      <a:lnTo>
                        <a:pt x="829" y="297"/>
                      </a:lnTo>
                      <a:lnTo>
                        <a:pt x="827" y="296"/>
                      </a:lnTo>
                      <a:lnTo>
                        <a:pt x="826" y="293"/>
                      </a:lnTo>
                      <a:lnTo>
                        <a:pt x="826" y="291"/>
                      </a:lnTo>
                      <a:lnTo>
                        <a:pt x="827" y="289"/>
                      </a:lnTo>
                      <a:lnTo>
                        <a:pt x="829" y="286"/>
                      </a:lnTo>
                      <a:lnTo>
                        <a:pt x="831" y="284"/>
                      </a:lnTo>
                      <a:lnTo>
                        <a:pt x="836" y="283"/>
                      </a:lnTo>
                      <a:lnTo>
                        <a:pt x="839" y="282"/>
                      </a:lnTo>
                      <a:lnTo>
                        <a:pt x="842" y="282"/>
                      </a:lnTo>
                      <a:lnTo>
                        <a:pt x="845" y="281"/>
                      </a:lnTo>
                      <a:lnTo>
                        <a:pt x="848" y="281"/>
                      </a:lnTo>
                      <a:lnTo>
                        <a:pt x="850" y="280"/>
                      </a:lnTo>
                      <a:lnTo>
                        <a:pt x="852" y="280"/>
                      </a:lnTo>
                      <a:lnTo>
                        <a:pt x="853" y="281"/>
                      </a:lnTo>
                      <a:lnTo>
                        <a:pt x="855" y="282"/>
                      </a:lnTo>
                      <a:lnTo>
                        <a:pt x="858" y="283"/>
                      </a:lnTo>
                      <a:lnTo>
                        <a:pt x="859" y="285"/>
                      </a:lnTo>
                      <a:lnTo>
                        <a:pt x="863" y="285"/>
                      </a:lnTo>
                      <a:lnTo>
                        <a:pt x="865" y="284"/>
                      </a:lnTo>
                      <a:lnTo>
                        <a:pt x="867" y="283"/>
                      </a:lnTo>
                      <a:lnTo>
                        <a:pt x="870" y="282"/>
                      </a:lnTo>
                      <a:lnTo>
                        <a:pt x="872" y="280"/>
                      </a:lnTo>
                      <a:lnTo>
                        <a:pt x="874" y="279"/>
                      </a:lnTo>
                      <a:lnTo>
                        <a:pt x="876" y="279"/>
                      </a:lnTo>
                      <a:lnTo>
                        <a:pt x="881" y="278"/>
                      </a:lnTo>
                      <a:lnTo>
                        <a:pt x="885" y="279"/>
                      </a:lnTo>
                      <a:lnTo>
                        <a:pt x="892" y="281"/>
                      </a:lnTo>
                      <a:lnTo>
                        <a:pt x="896" y="282"/>
                      </a:lnTo>
                      <a:lnTo>
                        <a:pt x="900" y="281"/>
                      </a:lnTo>
                      <a:lnTo>
                        <a:pt x="900" y="279"/>
                      </a:lnTo>
                      <a:lnTo>
                        <a:pt x="902" y="276"/>
                      </a:lnTo>
                      <a:lnTo>
                        <a:pt x="903" y="276"/>
                      </a:lnTo>
                      <a:lnTo>
                        <a:pt x="904" y="275"/>
                      </a:lnTo>
                      <a:lnTo>
                        <a:pt x="906" y="275"/>
                      </a:lnTo>
                      <a:lnTo>
                        <a:pt x="908" y="275"/>
                      </a:lnTo>
                      <a:lnTo>
                        <a:pt x="909" y="275"/>
                      </a:lnTo>
                      <a:lnTo>
                        <a:pt x="911" y="275"/>
                      </a:lnTo>
                      <a:lnTo>
                        <a:pt x="913" y="274"/>
                      </a:lnTo>
                      <a:lnTo>
                        <a:pt x="914" y="273"/>
                      </a:lnTo>
                      <a:lnTo>
                        <a:pt x="913" y="272"/>
                      </a:lnTo>
                      <a:lnTo>
                        <a:pt x="911" y="270"/>
                      </a:lnTo>
                      <a:lnTo>
                        <a:pt x="908" y="265"/>
                      </a:lnTo>
                      <a:lnTo>
                        <a:pt x="903" y="262"/>
                      </a:lnTo>
                      <a:lnTo>
                        <a:pt x="897" y="260"/>
                      </a:lnTo>
                      <a:lnTo>
                        <a:pt x="892" y="261"/>
                      </a:lnTo>
                      <a:lnTo>
                        <a:pt x="892" y="262"/>
                      </a:lnTo>
                      <a:lnTo>
                        <a:pt x="891" y="263"/>
                      </a:lnTo>
                      <a:lnTo>
                        <a:pt x="889" y="265"/>
                      </a:lnTo>
                      <a:lnTo>
                        <a:pt x="888" y="266"/>
                      </a:lnTo>
                      <a:lnTo>
                        <a:pt x="887" y="268"/>
                      </a:lnTo>
                      <a:lnTo>
                        <a:pt x="886" y="268"/>
                      </a:lnTo>
                      <a:lnTo>
                        <a:pt x="883" y="268"/>
                      </a:lnTo>
                      <a:lnTo>
                        <a:pt x="882" y="265"/>
                      </a:lnTo>
                      <a:lnTo>
                        <a:pt x="878" y="264"/>
                      </a:lnTo>
                      <a:lnTo>
                        <a:pt x="875" y="264"/>
                      </a:lnTo>
                      <a:lnTo>
                        <a:pt x="872" y="265"/>
                      </a:lnTo>
                      <a:lnTo>
                        <a:pt x="870" y="265"/>
                      </a:lnTo>
                      <a:lnTo>
                        <a:pt x="869" y="268"/>
                      </a:lnTo>
                      <a:lnTo>
                        <a:pt x="867" y="270"/>
                      </a:lnTo>
                      <a:lnTo>
                        <a:pt x="866" y="271"/>
                      </a:lnTo>
                      <a:lnTo>
                        <a:pt x="863" y="271"/>
                      </a:lnTo>
                      <a:lnTo>
                        <a:pt x="860" y="272"/>
                      </a:lnTo>
                      <a:lnTo>
                        <a:pt x="856" y="272"/>
                      </a:lnTo>
                      <a:lnTo>
                        <a:pt x="854" y="271"/>
                      </a:lnTo>
                      <a:lnTo>
                        <a:pt x="852" y="270"/>
                      </a:lnTo>
                      <a:lnTo>
                        <a:pt x="849" y="269"/>
                      </a:lnTo>
                      <a:lnTo>
                        <a:pt x="847" y="269"/>
                      </a:lnTo>
                      <a:lnTo>
                        <a:pt x="844" y="266"/>
                      </a:lnTo>
                      <a:lnTo>
                        <a:pt x="844" y="265"/>
                      </a:lnTo>
                      <a:lnTo>
                        <a:pt x="844" y="263"/>
                      </a:lnTo>
                      <a:lnTo>
                        <a:pt x="845" y="261"/>
                      </a:lnTo>
                      <a:lnTo>
                        <a:pt x="845" y="259"/>
                      </a:lnTo>
                      <a:lnTo>
                        <a:pt x="841" y="253"/>
                      </a:lnTo>
                      <a:lnTo>
                        <a:pt x="833" y="252"/>
                      </a:lnTo>
                      <a:lnTo>
                        <a:pt x="825" y="251"/>
                      </a:lnTo>
                      <a:lnTo>
                        <a:pt x="818" y="250"/>
                      </a:lnTo>
                      <a:lnTo>
                        <a:pt x="812" y="247"/>
                      </a:lnTo>
                      <a:lnTo>
                        <a:pt x="808" y="244"/>
                      </a:lnTo>
                      <a:lnTo>
                        <a:pt x="805" y="241"/>
                      </a:lnTo>
                      <a:lnTo>
                        <a:pt x="802" y="238"/>
                      </a:lnTo>
                      <a:lnTo>
                        <a:pt x="800" y="235"/>
                      </a:lnTo>
                      <a:lnTo>
                        <a:pt x="798" y="231"/>
                      </a:lnTo>
                      <a:lnTo>
                        <a:pt x="797" y="229"/>
                      </a:lnTo>
                      <a:lnTo>
                        <a:pt x="796" y="227"/>
                      </a:lnTo>
                      <a:lnTo>
                        <a:pt x="796" y="224"/>
                      </a:lnTo>
                      <a:lnTo>
                        <a:pt x="796" y="221"/>
                      </a:lnTo>
                      <a:lnTo>
                        <a:pt x="796" y="219"/>
                      </a:lnTo>
                      <a:lnTo>
                        <a:pt x="796" y="217"/>
                      </a:lnTo>
                      <a:lnTo>
                        <a:pt x="797" y="216"/>
                      </a:lnTo>
                      <a:lnTo>
                        <a:pt x="798" y="215"/>
                      </a:lnTo>
                      <a:lnTo>
                        <a:pt x="807" y="210"/>
                      </a:lnTo>
                      <a:lnTo>
                        <a:pt x="817" y="207"/>
                      </a:lnTo>
                      <a:lnTo>
                        <a:pt x="827" y="204"/>
                      </a:lnTo>
                      <a:lnTo>
                        <a:pt x="830" y="204"/>
                      </a:lnTo>
                      <a:lnTo>
                        <a:pt x="834" y="203"/>
                      </a:lnTo>
                      <a:lnTo>
                        <a:pt x="838" y="202"/>
                      </a:lnTo>
                      <a:lnTo>
                        <a:pt x="842" y="199"/>
                      </a:lnTo>
                      <a:lnTo>
                        <a:pt x="844" y="198"/>
                      </a:lnTo>
                      <a:lnTo>
                        <a:pt x="847" y="197"/>
                      </a:lnTo>
                      <a:lnTo>
                        <a:pt x="850" y="195"/>
                      </a:lnTo>
                      <a:lnTo>
                        <a:pt x="852" y="194"/>
                      </a:lnTo>
                      <a:lnTo>
                        <a:pt x="853" y="193"/>
                      </a:lnTo>
                      <a:lnTo>
                        <a:pt x="854" y="191"/>
                      </a:lnTo>
                      <a:lnTo>
                        <a:pt x="855" y="189"/>
                      </a:lnTo>
                      <a:lnTo>
                        <a:pt x="856" y="188"/>
                      </a:lnTo>
                      <a:lnTo>
                        <a:pt x="859" y="188"/>
                      </a:lnTo>
                      <a:lnTo>
                        <a:pt x="862" y="188"/>
                      </a:lnTo>
                      <a:lnTo>
                        <a:pt x="865" y="189"/>
                      </a:lnTo>
                      <a:lnTo>
                        <a:pt x="867" y="189"/>
                      </a:lnTo>
                      <a:lnTo>
                        <a:pt x="871" y="189"/>
                      </a:lnTo>
                      <a:lnTo>
                        <a:pt x="872" y="188"/>
                      </a:lnTo>
                      <a:lnTo>
                        <a:pt x="874" y="188"/>
                      </a:lnTo>
                      <a:lnTo>
                        <a:pt x="876" y="187"/>
                      </a:lnTo>
                      <a:lnTo>
                        <a:pt x="878" y="186"/>
                      </a:lnTo>
                      <a:lnTo>
                        <a:pt x="881" y="186"/>
                      </a:lnTo>
                      <a:lnTo>
                        <a:pt x="881" y="186"/>
                      </a:lnTo>
                      <a:lnTo>
                        <a:pt x="882" y="187"/>
                      </a:lnTo>
                      <a:lnTo>
                        <a:pt x="883" y="188"/>
                      </a:lnTo>
                      <a:lnTo>
                        <a:pt x="889" y="188"/>
                      </a:lnTo>
                      <a:lnTo>
                        <a:pt x="893" y="188"/>
                      </a:lnTo>
                      <a:lnTo>
                        <a:pt x="896" y="187"/>
                      </a:lnTo>
                      <a:lnTo>
                        <a:pt x="897" y="185"/>
                      </a:lnTo>
                      <a:lnTo>
                        <a:pt x="899" y="183"/>
                      </a:lnTo>
                      <a:lnTo>
                        <a:pt x="902" y="181"/>
                      </a:lnTo>
                      <a:lnTo>
                        <a:pt x="904" y="178"/>
                      </a:lnTo>
                      <a:lnTo>
                        <a:pt x="907" y="177"/>
                      </a:lnTo>
                      <a:lnTo>
                        <a:pt x="910" y="176"/>
                      </a:lnTo>
                      <a:lnTo>
                        <a:pt x="913" y="174"/>
                      </a:lnTo>
                      <a:lnTo>
                        <a:pt x="915" y="172"/>
                      </a:lnTo>
                      <a:lnTo>
                        <a:pt x="915" y="170"/>
                      </a:lnTo>
                      <a:lnTo>
                        <a:pt x="914" y="166"/>
                      </a:lnTo>
                      <a:lnTo>
                        <a:pt x="911" y="164"/>
                      </a:lnTo>
                      <a:lnTo>
                        <a:pt x="910" y="163"/>
                      </a:lnTo>
                      <a:lnTo>
                        <a:pt x="909" y="162"/>
                      </a:lnTo>
                      <a:lnTo>
                        <a:pt x="907" y="160"/>
                      </a:lnTo>
                      <a:lnTo>
                        <a:pt x="905" y="159"/>
                      </a:lnTo>
                      <a:lnTo>
                        <a:pt x="904" y="158"/>
                      </a:lnTo>
                      <a:lnTo>
                        <a:pt x="903" y="156"/>
                      </a:lnTo>
                      <a:lnTo>
                        <a:pt x="904" y="155"/>
                      </a:lnTo>
                      <a:lnTo>
                        <a:pt x="905" y="154"/>
                      </a:lnTo>
                      <a:lnTo>
                        <a:pt x="907" y="153"/>
                      </a:lnTo>
                      <a:lnTo>
                        <a:pt x="909" y="153"/>
                      </a:lnTo>
                      <a:lnTo>
                        <a:pt x="911" y="153"/>
                      </a:lnTo>
                      <a:lnTo>
                        <a:pt x="913" y="153"/>
                      </a:lnTo>
                      <a:lnTo>
                        <a:pt x="914" y="153"/>
                      </a:lnTo>
                      <a:lnTo>
                        <a:pt x="915" y="152"/>
                      </a:lnTo>
                      <a:lnTo>
                        <a:pt x="914" y="151"/>
                      </a:lnTo>
                      <a:lnTo>
                        <a:pt x="911" y="149"/>
                      </a:lnTo>
                      <a:lnTo>
                        <a:pt x="910" y="149"/>
                      </a:lnTo>
                      <a:lnTo>
                        <a:pt x="909" y="148"/>
                      </a:lnTo>
                      <a:lnTo>
                        <a:pt x="908" y="148"/>
                      </a:lnTo>
                      <a:lnTo>
                        <a:pt x="907" y="147"/>
                      </a:lnTo>
                      <a:lnTo>
                        <a:pt x="908" y="147"/>
                      </a:lnTo>
                      <a:lnTo>
                        <a:pt x="909" y="147"/>
                      </a:lnTo>
                      <a:lnTo>
                        <a:pt x="910" y="145"/>
                      </a:lnTo>
                      <a:lnTo>
                        <a:pt x="910" y="145"/>
                      </a:lnTo>
                      <a:lnTo>
                        <a:pt x="909" y="144"/>
                      </a:lnTo>
                      <a:lnTo>
                        <a:pt x="907" y="143"/>
                      </a:lnTo>
                      <a:lnTo>
                        <a:pt x="905" y="143"/>
                      </a:lnTo>
                      <a:lnTo>
                        <a:pt x="902" y="142"/>
                      </a:lnTo>
                      <a:lnTo>
                        <a:pt x="898" y="142"/>
                      </a:lnTo>
                      <a:lnTo>
                        <a:pt x="898" y="143"/>
                      </a:lnTo>
                      <a:lnTo>
                        <a:pt x="897" y="143"/>
                      </a:lnTo>
                      <a:lnTo>
                        <a:pt x="897" y="144"/>
                      </a:lnTo>
                      <a:lnTo>
                        <a:pt x="897" y="144"/>
                      </a:lnTo>
                      <a:lnTo>
                        <a:pt x="896" y="144"/>
                      </a:lnTo>
                      <a:lnTo>
                        <a:pt x="892" y="144"/>
                      </a:lnTo>
                      <a:lnTo>
                        <a:pt x="887" y="142"/>
                      </a:lnTo>
                      <a:lnTo>
                        <a:pt x="883" y="140"/>
                      </a:lnTo>
                      <a:lnTo>
                        <a:pt x="881" y="140"/>
                      </a:lnTo>
                      <a:lnTo>
                        <a:pt x="877" y="139"/>
                      </a:lnTo>
                      <a:lnTo>
                        <a:pt x="874" y="139"/>
                      </a:lnTo>
                      <a:lnTo>
                        <a:pt x="872" y="139"/>
                      </a:lnTo>
                      <a:lnTo>
                        <a:pt x="870" y="138"/>
                      </a:lnTo>
                      <a:lnTo>
                        <a:pt x="869" y="135"/>
                      </a:lnTo>
                      <a:lnTo>
                        <a:pt x="869" y="133"/>
                      </a:lnTo>
                      <a:lnTo>
                        <a:pt x="867" y="131"/>
                      </a:lnTo>
                      <a:lnTo>
                        <a:pt x="867" y="129"/>
                      </a:lnTo>
                      <a:lnTo>
                        <a:pt x="867" y="128"/>
                      </a:lnTo>
                      <a:lnTo>
                        <a:pt x="869" y="126"/>
                      </a:lnTo>
                      <a:lnTo>
                        <a:pt x="869" y="124"/>
                      </a:lnTo>
                      <a:lnTo>
                        <a:pt x="870" y="122"/>
                      </a:lnTo>
                      <a:lnTo>
                        <a:pt x="872" y="121"/>
                      </a:lnTo>
                      <a:lnTo>
                        <a:pt x="873" y="119"/>
                      </a:lnTo>
                      <a:lnTo>
                        <a:pt x="874" y="118"/>
                      </a:lnTo>
                      <a:lnTo>
                        <a:pt x="876" y="117"/>
                      </a:lnTo>
                      <a:lnTo>
                        <a:pt x="878" y="116"/>
                      </a:lnTo>
                      <a:lnTo>
                        <a:pt x="878" y="115"/>
                      </a:lnTo>
                      <a:lnTo>
                        <a:pt x="878" y="113"/>
                      </a:lnTo>
                      <a:lnTo>
                        <a:pt x="878" y="112"/>
                      </a:lnTo>
                      <a:lnTo>
                        <a:pt x="878" y="111"/>
                      </a:lnTo>
                      <a:lnTo>
                        <a:pt x="878" y="109"/>
                      </a:lnTo>
                      <a:lnTo>
                        <a:pt x="878" y="108"/>
                      </a:lnTo>
                      <a:lnTo>
                        <a:pt x="878" y="107"/>
                      </a:lnTo>
                      <a:lnTo>
                        <a:pt x="878" y="108"/>
                      </a:lnTo>
                      <a:lnTo>
                        <a:pt x="882" y="108"/>
                      </a:lnTo>
                      <a:lnTo>
                        <a:pt x="884" y="109"/>
                      </a:lnTo>
                      <a:lnTo>
                        <a:pt x="886" y="109"/>
                      </a:lnTo>
                      <a:lnTo>
                        <a:pt x="887" y="110"/>
                      </a:lnTo>
                      <a:lnTo>
                        <a:pt x="891" y="109"/>
                      </a:lnTo>
                      <a:lnTo>
                        <a:pt x="893" y="107"/>
                      </a:lnTo>
                      <a:lnTo>
                        <a:pt x="894" y="105"/>
                      </a:lnTo>
                      <a:lnTo>
                        <a:pt x="895" y="102"/>
                      </a:lnTo>
                      <a:lnTo>
                        <a:pt x="896" y="100"/>
                      </a:lnTo>
                      <a:lnTo>
                        <a:pt x="897" y="99"/>
                      </a:lnTo>
                      <a:lnTo>
                        <a:pt x="898" y="97"/>
                      </a:lnTo>
                      <a:lnTo>
                        <a:pt x="900" y="94"/>
                      </a:lnTo>
                      <a:lnTo>
                        <a:pt x="903" y="93"/>
                      </a:lnTo>
                      <a:lnTo>
                        <a:pt x="905" y="91"/>
                      </a:lnTo>
                      <a:lnTo>
                        <a:pt x="907" y="90"/>
                      </a:lnTo>
                      <a:lnTo>
                        <a:pt x="909" y="88"/>
                      </a:lnTo>
                      <a:lnTo>
                        <a:pt x="911" y="86"/>
                      </a:lnTo>
                      <a:lnTo>
                        <a:pt x="914" y="86"/>
                      </a:lnTo>
                      <a:lnTo>
                        <a:pt x="921" y="86"/>
                      </a:lnTo>
                      <a:lnTo>
                        <a:pt x="928" y="88"/>
                      </a:lnTo>
                      <a:lnTo>
                        <a:pt x="933" y="91"/>
                      </a:lnTo>
                      <a:lnTo>
                        <a:pt x="940" y="93"/>
                      </a:lnTo>
                      <a:lnTo>
                        <a:pt x="943" y="93"/>
                      </a:lnTo>
                      <a:lnTo>
                        <a:pt x="945" y="93"/>
                      </a:lnTo>
                      <a:lnTo>
                        <a:pt x="946" y="91"/>
                      </a:lnTo>
                      <a:lnTo>
                        <a:pt x="947" y="90"/>
                      </a:lnTo>
                      <a:lnTo>
                        <a:pt x="947" y="88"/>
                      </a:lnTo>
                      <a:lnTo>
                        <a:pt x="947" y="86"/>
                      </a:lnTo>
                      <a:lnTo>
                        <a:pt x="947" y="85"/>
                      </a:lnTo>
                      <a:lnTo>
                        <a:pt x="947" y="83"/>
                      </a:lnTo>
                      <a:lnTo>
                        <a:pt x="947" y="80"/>
                      </a:lnTo>
                      <a:lnTo>
                        <a:pt x="947" y="79"/>
                      </a:lnTo>
                      <a:lnTo>
                        <a:pt x="948" y="76"/>
                      </a:lnTo>
                      <a:lnTo>
                        <a:pt x="949" y="74"/>
                      </a:lnTo>
                      <a:lnTo>
                        <a:pt x="949" y="72"/>
                      </a:lnTo>
                      <a:lnTo>
                        <a:pt x="948" y="68"/>
                      </a:lnTo>
                      <a:lnTo>
                        <a:pt x="945" y="66"/>
                      </a:lnTo>
                      <a:lnTo>
                        <a:pt x="942" y="64"/>
                      </a:lnTo>
                      <a:lnTo>
                        <a:pt x="940" y="62"/>
                      </a:lnTo>
                      <a:lnTo>
                        <a:pt x="938" y="60"/>
                      </a:lnTo>
                      <a:lnTo>
                        <a:pt x="936" y="57"/>
                      </a:lnTo>
                      <a:lnTo>
                        <a:pt x="935" y="55"/>
                      </a:lnTo>
                      <a:lnTo>
                        <a:pt x="935" y="53"/>
                      </a:lnTo>
                      <a:lnTo>
                        <a:pt x="936" y="51"/>
                      </a:lnTo>
                      <a:lnTo>
                        <a:pt x="939" y="50"/>
                      </a:lnTo>
                      <a:lnTo>
                        <a:pt x="943" y="47"/>
                      </a:lnTo>
                      <a:lnTo>
                        <a:pt x="949" y="47"/>
                      </a:lnTo>
                      <a:lnTo>
                        <a:pt x="953" y="49"/>
                      </a:lnTo>
                      <a:lnTo>
                        <a:pt x="959" y="53"/>
                      </a:lnTo>
                      <a:lnTo>
                        <a:pt x="964" y="58"/>
                      </a:lnTo>
                      <a:lnTo>
                        <a:pt x="973" y="62"/>
                      </a:lnTo>
                      <a:lnTo>
                        <a:pt x="976" y="64"/>
                      </a:lnTo>
                      <a:lnTo>
                        <a:pt x="980" y="66"/>
                      </a:lnTo>
                      <a:lnTo>
                        <a:pt x="984" y="68"/>
                      </a:lnTo>
                      <a:lnTo>
                        <a:pt x="987" y="71"/>
                      </a:lnTo>
                      <a:lnTo>
                        <a:pt x="990" y="73"/>
                      </a:lnTo>
                      <a:lnTo>
                        <a:pt x="992" y="75"/>
                      </a:lnTo>
                      <a:lnTo>
                        <a:pt x="995" y="77"/>
                      </a:lnTo>
                      <a:lnTo>
                        <a:pt x="997" y="78"/>
                      </a:lnTo>
                      <a:lnTo>
                        <a:pt x="1000" y="79"/>
                      </a:lnTo>
                      <a:lnTo>
                        <a:pt x="1001" y="79"/>
                      </a:lnTo>
                      <a:lnTo>
                        <a:pt x="1002" y="79"/>
                      </a:lnTo>
                      <a:lnTo>
                        <a:pt x="1002" y="78"/>
                      </a:lnTo>
                      <a:lnTo>
                        <a:pt x="1002" y="77"/>
                      </a:lnTo>
                      <a:lnTo>
                        <a:pt x="1000" y="74"/>
                      </a:lnTo>
                      <a:lnTo>
                        <a:pt x="997" y="72"/>
                      </a:lnTo>
                      <a:lnTo>
                        <a:pt x="994" y="69"/>
                      </a:lnTo>
                      <a:lnTo>
                        <a:pt x="991" y="68"/>
                      </a:lnTo>
                      <a:lnTo>
                        <a:pt x="978" y="61"/>
                      </a:lnTo>
                      <a:lnTo>
                        <a:pt x="967" y="53"/>
                      </a:lnTo>
                      <a:lnTo>
                        <a:pt x="965" y="52"/>
                      </a:lnTo>
                      <a:lnTo>
                        <a:pt x="963" y="50"/>
                      </a:lnTo>
                      <a:lnTo>
                        <a:pt x="962" y="49"/>
                      </a:lnTo>
                      <a:lnTo>
                        <a:pt x="960" y="47"/>
                      </a:lnTo>
                      <a:lnTo>
                        <a:pt x="960" y="45"/>
                      </a:lnTo>
                      <a:lnTo>
                        <a:pt x="960" y="44"/>
                      </a:lnTo>
                      <a:lnTo>
                        <a:pt x="973" y="44"/>
                      </a:lnTo>
                      <a:lnTo>
                        <a:pt x="976" y="44"/>
                      </a:lnTo>
                      <a:lnTo>
                        <a:pt x="981" y="44"/>
                      </a:lnTo>
                      <a:lnTo>
                        <a:pt x="985" y="43"/>
                      </a:lnTo>
                      <a:lnTo>
                        <a:pt x="989" y="42"/>
                      </a:lnTo>
                      <a:lnTo>
                        <a:pt x="990" y="42"/>
                      </a:lnTo>
                      <a:lnTo>
                        <a:pt x="992" y="41"/>
                      </a:lnTo>
                      <a:lnTo>
                        <a:pt x="994" y="40"/>
                      </a:lnTo>
                      <a:lnTo>
                        <a:pt x="997" y="40"/>
                      </a:lnTo>
                      <a:lnTo>
                        <a:pt x="1002" y="40"/>
                      </a:lnTo>
                      <a:lnTo>
                        <a:pt x="1004" y="40"/>
                      </a:lnTo>
                      <a:lnTo>
                        <a:pt x="1006" y="39"/>
                      </a:lnTo>
                      <a:lnTo>
                        <a:pt x="1008" y="38"/>
                      </a:lnTo>
                      <a:lnTo>
                        <a:pt x="1009" y="38"/>
                      </a:lnTo>
                      <a:lnTo>
                        <a:pt x="1012" y="36"/>
                      </a:lnTo>
                      <a:lnTo>
                        <a:pt x="1014" y="35"/>
                      </a:lnTo>
                      <a:lnTo>
                        <a:pt x="1017" y="35"/>
                      </a:lnTo>
                      <a:lnTo>
                        <a:pt x="1020" y="35"/>
                      </a:lnTo>
                      <a:lnTo>
                        <a:pt x="1024" y="36"/>
                      </a:lnTo>
                      <a:lnTo>
                        <a:pt x="1026" y="38"/>
                      </a:lnTo>
                      <a:lnTo>
                        <a:pt x="1027" y="39"/>
                      </a:lnTo>
                      <a:lnTo>
                        <a:pt x="1028" y="41"/>
                      </a:lnTo>
                      <a:lnTo>
                        <a:pt x="1030" y="42"/>
                      </a:lnTo>
                      <a:lnTo>
                        <a:pt x="1033" y="44"/>
                      </a:lnTo>
                      <a:lnTo>
                        <a:pt x="1034" y="45"/>
                      </a:lnTo>
                      <a:lnTo>
                        <a:pt x="1036" y="46"/>
                      </a:lnTo>
                      <a:lnTo>
                        <a:pt x="1037" y="46"/>
                      </a:lnTo>
                      <a:lnTo>
                        <a:pt x="1038" y="47"/>
                      </a:lnTo>
                      <a:lnTo>
                        <a:pt x="1039" y="49"/>
                      </a:lnTo>
                      <a:lnTo>
                        <a:pt x="1039" y="55"/>
                      </a:lnTo>
                      <a:lnTo>
                        <a:pt x="1039" y="60"/>
                      </a:lnTo>
                      <a:lnTo>
                        <a:pt x="1040" y="64"/>
                      </a:lnTo>
                      <a:lnTo>
                        <a:pt x="1040" y="68"/>
                      </a:lnTo>
                      <a:lnTo>
                        <a:pt x="1041" y="73"/>
                      </a:lnTo>
                      <a:lnTo>
                        <a:pt x="1041" y="73"/>
                      </a:lnTo>
                      <a:lnTo>
                        <a:pt x="1041" y="75"/>
                      </a:lnTo>
                      <a:lnTo>
                        <a:pt x="1041" y="77"/>
                      </a:lnTo>
                      <a:lnTo>
                        <a:pt x="1042" y="78"/>
                      </a:lnTo>
                      <a:lnTo>
                        <a:pt x="1044" y="79"/>
                      </a:lnTo>
                      <a:lnTo>
                        <a:pt x="1045" y="78"/>
                      </a:lnTo>
                      <a:lnTo>
                        <a:pt x="1046" y="77"/>
                      </a:lnTo>
                      <a:lnTo>
                        <a:pt x="1047" y="76"/>
                      </a:lnTo>
                      <a:lnTo>
                        <a:pt x="1047" y="75"/>
                      </a:lnTo>
                      <a:lnTo>
                        <a:pt x="1048" y="75"/>
                      </a:lnTo>
                      <a:lnTo>
                        <a:pt x="1048" y="73"/>
                      </a:lnTo>
                      <a:lnTo>
                        <a:pt x="1048" y="69"/>
                      </a:lnTo>
                      <a:lnTo>
                        <a:pt x="1047" y="66"/>
                      </a:lnTo>
                      <a:lnTo>
                        <a:pt x="1046" y="63"/>
                      </a:lnTo>
                      <a:lnTo>
                        <a:pt x="1045" y="60"/>
                      </a:lnTo>
                      <a:lnTo>
                        <a:pt x="1046" y="57"/>
                      </a:lnTo>
                      <a:lnTo>
                        <a:pt x="1047" y="56"/>
                      </a:lnTo>
                      <a:lnTo>
                        <a:pt x="1047" y="55"/>
                      </a:lnTo>
                      <a:lnTo>
                        <a:pt x="1048" y="55"/>
                      </a:lnTo>
                      <a:lnTo>
                        <a:pt x="1048" y="54"/>
                      </a:lnTo>
                      <a:lnTo>
                        <a:pt x="1047" y="53"/>
                      </a:lnTo>
                      <a:lnTo>
                        <a:pt x="1046" y="51"/>
                      </a:lnTo>
                      <a:lnTo>
                        <a:pt x="1044" y="49"/>
                      </a:lnTo>
                      <a:lnTo>
                        <a:pt x="1041" y="46"/>
                      </a:lnTo>
                      <a:lnTo>
                        <a:pt x="1041" y="44"/>
                      </a:lnTo>
                      <a:lnTo>
                        <a:pt x="1040" y="42"/>
                      </a:lnTo>
                      <a:lnTo>
                        <a:pt x="1041" y="42"/>
                      </a:lnTo>
                      <a:lnTo>
                        <a:pt x="1041" y="42"/>
                      </a:lnTo>
                      <a:lnTo>
                        <a:pt x="1044" y="42"/>
                      </a:lnTo>
                      <a:lnTo>
                        <a:pt x="1045" y="43"/>
                      </a:lnTo>
                      <a:lnTo>
                        <a:pt x="1046" y="44"/>
                      </a:lnTo>
                      <a:lnTo>
                        <a:pt x="1048" y="45"/>
                      </a:lnTo>
                      <a:lnTo>
                        <a:pt x="1049" y="47"/>
                      </a:lnTo>
                      <a:lnTo>
                        <a:pt x="1050" y="49"/>
                      </a:lnTo>
                      <a:lnTo>
                        <a:pt x="1052" y="51"/>
                      </a:lnTo>
                      <a:lnTo>
                        <a:pt x="1055" y="53"/>
                      </a:lnTo>
                      <a:lnTo>
                        <a:pt x="1059" y="55"/>
                      </a:lnTo>
                      <a:lnTo>
                        <a:pt x="1061" y="56"/>
                      </a:lnTo>
                      <a:lnTo>
                        <a:pt x="1062" y="58"/>
                      </a:lnTo>
                      <a:lnTo>
                        <a:pt x="1063" y="60"/>
                      </a:lnTo>
                      <a:lnTo>
                        <a:pt x="1063" y="60"/>
                      </a:lnTo>
                      <a:lnTo>
                        <a:pt x="1063" y="63"/>
                      </a:lnTo>
                      <a:lnTo>
                        <a:pt x="1065" y="66"/>
                      </a:lnTo>
                      <a:lnTo>
                        <a:pt x="1067" y="68"/>
                      </a:lnTo>
                      <a:lnTo>
                        <a:pt x="1070" y="71"/>
                      </a:lnTo>
                      <a:lnTo>
                        <a:pt x="1071" y="72"/>
                      </a:lnTo>
                      <a:lnTo>
                        <a:pt x="1074" y="74"/>
                      </a:lnTo>
                      <a:lnTo>
                        <a:pt x="1077" y="74"/>
                      </a:lnTo>
                      <a:lnTo>
                        <a:pt x="1079" y="75"/>
                      </a:lnTo>
                      <a:lnTo>
                        <a:pt x="1080" y="75"/>
                      </a:lnTo>
                      <a:lnTo>
                        <a:pt x="1080" y="74"/>
                      </a:lnTo>
                      <a:lnTo>
                        <a:pt x="1080" y="74"/>
                      </a:lnTo>
                      <a:lnTo>
                        <a:pt x="1079" y="73"/>
                      </a:lnTo>
                      <a:lnTo>
                        <a:pt x="1079" y="72"/>
                      </a:lnTo>
                      <a:lnTo>
                        <a:pt x="1079" y="71"/>
                      </a:lnTo>
                      <a:lnTo>
                        <a:pt x="1077" y="69"/>
                      </a:lnTo>
                      <a:lnTo>
                        <a:pt x="1076" y="68"/>
                      </a:lnTo>
                      <a:lnTo>
                        <a:pt x="1076" y="67"/>
                      </a:lnTo>
                      <a:lnTo>
                        <a:pt x="1077" y="67"/>
                      </a:lnTo>
                      <a:lnTo>
                        <a:pt x="1078" y="67"/>
                      </a:lnTo>
                      <a:lnTo>
                        <a:pt x="1080" y="67"/>
                      </a:lnTo>
                      <a:lnTo>
                        <a:pt x="1082" y="67"/>
                      </a:lnTo>
                      <a:lnTo>
                        <a:pt x="1084" y="67"/>
                      </a:lnTo>
                      <a:lnTo>
                        <a:pt x="1088" y="68"/>
                      </a:lnTo>
                      <a:lnTo>
                        <a:pt x="1090" y="69"/>
                      </a:lnTo>
                      <a:lnTo>
                        <a:pt x="1092" y="69"/>
                      </a:lnTo>
                      <a:lnTo>
                        <a:pt x="1093" y="69"/>
                      </a:lnTo>
                      <a:lnTo>
                        <a:pt x="1094" y="69"/>
                      </a:lnTo>
                      <a:lnTo>
                        <a:pt x="1094" y="68"/>
                      </a:lnTo>
                      <a:lnTo>
                        <a:pt x="1093" y="66"/>
                      </a:lnTo>
                      <a:lnTo>
                        <a:pt x="1092" y="65"/>
                      </a:lnTo>
                      <a:lnTo>
                        <a:pt x="1090" y="64"/>
                      </a:lnTo>
                      <a:lnTo>
                        <a:pt x="1089" y="63"/>
                      </a:lnTo>
                      <a:lnTo>
                        <a:pt x="1087" y="63"/>
                      </a:lnTo>
                      <a:lnTo>
                        <a:pt x="1085" y="62"/>
                      </a:lnTo>
                      <a:lnTo>
                        <a:pt x="1080" y="58"/>
                      </a:lnTo>
                      <a:lnTo>
                        <a:pt x="1077" y="55"/>
                      </a:lnTo>
                      <a:lnTo>
                        <a:pt x="1073" y="51"/>
                      </a:lnTo>
                      <a:lnTo>
                        <a:pt x="1070" y="47"/>
                      </a:lnTo>
                      <a:lnTo>
                        <a:pt x="1068" y="44"/>
                      </a:lnTo>
                      <a:lnTo>
                        <a:pt x="1067" y="43"/>
                      </a:lnTo>
                      <a:lnTo>
                        <a:pt x="1065" y="41"/>
                      </a:lnTo>
                      <a:lnTo>
                        <a:pt x="1063" y="40"/>
                      </a:lnTo>
                      <a:lnTo>
                        <a:pt x="1062" y="38"/>
                      </a:lnTo>
                      <a:lnTo>
                        <a:pt x="1061" y="36"/>
                      </a:lnTo>
                      <a:lnTo>
                        <a:pt x="1060" y="35"/>
                      </a:lnTo>
                      <a:lnTo>
                        <a:pt x="1061" y="34"/>
                      </a:lnTo>
                      <a:lnTo>
                        <a:pt x="1062" y="33"/>
                      </a:lnTo>
                      <a:lnTo>
                        <a:pt x="1066" y="33"/>
                      </a:lnTo>
                      <a:lnTo>
                        <a:pt x="1071" y="34"/>
                      </a:lnTo>
                      <a:lnTo>
                        <a:pt x="1079" y="35"/>
                      </a:lnTo>
                      <a:lnTo>
                        <a:pt x="1085" y="38"/>
                      </a:lnTo>
                      <a:lnTo>
                        <a:pt x="1088" y="40"/>
                      </a:lnTo>
                      <a:lnTo>
                        <a:pt x="1091" y="42"/>
                      </a:lnTo>
                      <a:lnTo>
                        <a:pt x="1093" y="44"/>
                      </a:lnTo>
                      <a:lnTo>
                        <a:pt x="1096" y="46"/>
                      </a:lnTo>
                      <a:lnTo>
                        <a:pt x="1109" y="53"/>
                      </a:lnTo>
                      <a:lnTo>
                        <a:pt x="1122" y="61"/>
                      </a:lnTo>
                      <a:lnTo>
                        <a:pt x="1135" y="68"/>
                      </a:lnTo>
                      <a:lnTo>
                        <a:pt x="1137" y="71"/>
                      </a:lnTo>
                      <a:lnTo>
                        <a:pt x="1139" y="73"/>
                      </a:lnTo>
                      <a:lnTo>
                        <a:pt x="1140" y="75"/>
                      </a:lnTo>
                      <a:lnTo>
                        <a:pt x="1142" y="77"/>
                      </a:lnTo>
                      <a:lnTo>
                        <a:pt x="1144" y="79"/>
                      </a:lnTo>
                      <a:lnTo>
                        <a:pt x="1147" y="82"/>
                      </a:lnTo>
                      <a:lnTo>
                        <a:pt x="1150" y="84"/>
                      </a:lnTo>
                      <a:lnTo>
                        <a:pt x="1155" y="86"/>
                      </a:lnTo>
                      <a:lnTo>
                        <a:pt x="1157" y="86"/>
                      </a:lnTo>
                      <a:lnTo>
                        <a:pt x="1158" y="87"/>
                      </a:lnTo>
                      <a:lnTo>
                        <a:pt x="1158" y="86"/>
                      </a:lnTo>
                      <a:lnTo>
                        <a:pt x="1158" y="86"/>
                      </a:lnTo>
                      <a:lnTo>
                        <a:pt x="1157" y="85"/>
                      </a:lnTo>
                      <a:lnTo>
                        <a:pt x="1157" y="84"/>
                      </a:lnTo>
                      <a:lnTo>
                        <a:pt x="1155" y="82"/>
                      </a:lnTo>
                      <a:lnTo>
                        <a:pt x="1153" y="79"/>
                      </a:lnTo>
                      <a:lnTo>
                        <a:pt x="1150" y="79"/>
                      </a:lnTo>
                      <a:lnTo>
                        <a:pt x="1149" y="76"/>
                      </a:lnTo>
                      <a:lnTo>
                        <a:pt x="1148" y="74"/>
                      </a:lnTo>
                      <a:lnTo>
                        <a:pt x="1147" y="72"/>
                      </a:lnTo>
                      <a:lnTo>
                        <a:pt x="1147" y="69"/>
                      </a:lnTo>
                      <a:lnTo>
                        <a:pt x="1146" y="68"/>
                      </a:lnTo>
                      <a:lnTo>
                        <a:pt x="1146" y="66"/>
                      </a:lnTo>
                      <a:lnTo>
                        <a:pt x="1146" y="64"/>
                      </a:lnTo>
                      <a:lnTo>
                        <a:pt x="1146" y="63"/>
                      </a:lnTo>
                      <a:lnTo>
                        <a:pt x="1145" y="62"/>
                      </a:lnTo>
                      <a:lnTo>
                        <a:pt x="1144" y="60"/>
                      </a:lnTo>
                      <a:lnTo>
                        <a:pt x="1144" y="58"/>
                      </a:lnTo>
                      <a:lnTo>
                        <a:pt x="1144" y="57"/>
                      </a:lnTo>
                      <a:lnTo>
                        <a:pt x="1144" y="57"/>
                      </a:lnTo>
                      <a:lnTo>
                        <a:pt x="1145" y="57"/>
                      </a:lnTo>
                      <a:lnTo>
                        <a:pt x="1146" y="57"/>
                      </a:lnTo>
                      <a:lnTo>
                        <a:pt x="1149" y="58"/>
                      </a:lnTo>
                      <a:lnTo>
                        <a:pt x="1151" y="58"/>
                      </a:lnTo>
                      <a:lnTo>
                        <a:pt x="1153" y="58"/>
                      </a:lnTo>
                      <a:lnTo>
                        <a:pt x="1153" y="57"/>
                      </a:lnTo>
                      <a:lnTo>
                        <a:pt x="1153" y="54"/>
                      </a:lnTo>
                      <a:lnTo>
                        <a:pt x="1150" y="52"/>
                      </a:lnTo>
                      <a:lnTo>
                        <a:pt x="1148" y="49"/>
                      </a:lnTo>
                      <a:lnTo>
                        <a:pt x="1145" y="46"/>
                      </a:lnTo>
                      <a:lnTo>
                        <a:pt x="1140" y="44"/>
                      </a:lnTo>
                      <a:lnTo>
                        <a:pt x="1137" y="42"/>
                      </a:lnTo>
                      <a:lnTo>
                        <a:pt x="1136" y="40"/>
                      </a:lnTo>
                      <a:lnTo>
                        <a:pt x="1134" y="38"/>
                      </a:lnTo>
                      <a:lnTo>
                        <a:pt x="1132" y="34"/>
                      </a:lnTo>
                      <a:lnTo>
                        <a:pt x="1129" y="32"/>
                      </a:lnTo>
                      <a:lnTo>
                        <a:pt x="1127" y="30"/>
                      </a:lnTo>
                      <a:lnTo>
                        <a:pt x="1126" y="29"/>
                      </a:lnTo>
                      <a:lnTo>
                        <a:pt x="1134" y="30"/>
                      </a:lnTo>
                      <a:lnTo>
                        <a:pt x="1142" y="32"/>
                      </a:lnTo>
                      <a:lnTo>
                        <a:pt x="1148" y="33"/>
                      </a:lnTo>
                      <a:lnTo>
                        <a:pt x="1156" y="33"/>
                      </a:lnTo>
                      <a:lnTo>
                        <a:pt x="1162" y="36"/>
                      </a:lnTo>
                      <a:lnTo>
                        <a:pt x="1168" y="40"/>
                      </a:lnTo>
                      <a:lnTo>
                        <a:pt x="1173" y="42"/>
                      </a:lnTo>
                      <a:lnTo>
                        <a:pt x="1178" y="43"/>
                      </a:lnTo>
                      <a:lnTo>
                        <a:pt x="1182" y="45"/>
                      </a:lnTo>
                      <a:lnTo>
                        <a:pt x="1186" y="49"/>
                      </a:lnTo>
                      <a:lnTo>
                        <a:pt x="1189" y="51"/>
                      </a:lnTo>
                      <a:lnTo>
                        <a:pt x="1191" y="53"/>
                      </a:lnTo>
                      <a:lnTo>
                        <a:pt x="1193" y="55"/>
                      </a:lnTo>
                      <a:lnTo>
                        <a:pt x="1197" y="56"/>
                      </a:lnTo>
                      <a:lnTo>
                        <a:pt x="1199" y="57"/>
                      </a:lnTo>
                      <a:lnTo>
                        <a:pt x="1199" y="54"/>
                      </a:lnTo>
                      <a:lnTo>
                        <a:pt x="1199" y="52"/>
                      </a:lnTo>
                      <a:lnTo>
                        <a:pt x="1198" y="50"/>
                      </a:lnTo>
                      <a:lnTo>
                        <a:pt x="1197" y="47"/>
                      </a:lnTo>
                      <a:lnTo>
                        <a:pt x="1194" y="45"/>
                      </a:lnTo>
                      <a:lnTo>
                        <a:pt x="1190" y="42"/>
                      </a:lnTo>
                      <a:lnTo>
                        <a:pt x="1183" y="40"/>
                      </a:lnTo>
                      <a:lnTo>
                        <a:pt x="1178" y="38"/>
                      </a:lnTo>
                      <a:lnTo>
                        <a:pt x="1172" y="35"/>
                      </a:lnTo>
                      <a:lnTo>
                        <a:pt x="1167" y="33"/>
                      </a:lnTo>
                      <a:lnTo>
                        <a:pt x="1161" y="31"/>
                      </a:lnTo>
                      <a:lnTo>
                        <a:pt x="1155" y="29"/>
                      </a:lnTo>
                      <a:lnTo>
                        <a:pt x="1144" y="28"/>
                      </a:lnTo>
                      <a:lnTo>
                        <a:pt x="1133" y="27"/>
                      </a:lnTo>
                      <a:lnTo>
                        <a:pt x="1131" y="25"/>
                      </a:lnTo>
                      <a:lnTo>
                        <a:pt x="1127" y="23"/>
                      </a:lnTo>
                      <a:lnTo>
                        <a:pt x="1125" y="22"/>
                      </a:lnTo>
                      <a:lnTo>
                        <a:pt x="1122" y="22"/>
                      </a:lnTo>
                      <a:lnTo>
                        <a:pt x="1121" y="22"/>
                      </a:lnTo>
                      <a:lnTo>
                        <a:pt x="1118" y="22"/>
                      </a:lnTo>
                      <a:lnTo>
                        <a:pt x="1116" y="23"/>
                      </a:lnTo>
                      <a:lnTo>
                        <a:pt x="1114" y="22"/>
                      </a:lnTo>
                      <a:lnTo>
                        <a:pt x="1113" y="22"/>
                      </a:lnTo>
                      <a:lnTo>
                        <a:pt x="1111" y="20"/>
                      </a:lnTo>
                      <a:lnTo>
                        <a:pt x="1111" y="19"/>
                      </a:lnTo>
                      <a:lnTo>
                        <a:pt x="1111" y="18"/>
                      </a:lnTo>
                      <a:lnTo>
                        <a:pt x="1112" y="18"/>
                      </a:lnTo>
                      <a:lnTo>
                        <a:pt x="1113" y="17"/>
                      </a:lnTo>
                      <a:lnTo>
                        <a:pt x="1113" y="15"/>
                      </a:lnTo>
                      <a:lnTo>
                        <a:pt x="1113" y="14"/>
                      </a:lnTo>
                      <a:lnTo>
                        <a:pt x="1111" y="13"/>
                      </a:lnTo>
                      <a:lnTo>
                        <a:pt x="1110" y="12"/>
                      </a:lnTo>
                      <a:lnTo>
                        <a:pt x="1107" y="10"/>
                      </a:lnTo>
                      <a:lnTo>
                        <a:pt x="1106" y="9"/>
                      </a:lnTo>
                      <a:lnTo>
                        <a:pt x="1106" y="8"/>
                      </a:lnTo>
                      <a:lnTo>
                        <a:pt x="1107" y="8"/>
                      </a:lnTo>
                      <a:lnTo>
                        <a:pt x="1109" y="8"/>
                      </a:lnTo>
                      <a:lnTo>
                        <a:pt x="1111" y="8"/>
                      </a:lnTo>
                      <a:lnTo>
                        <a:pt x="1113" y="9"/>
                      </a:lnTo>
                      <a:lnTo>
                        <a:pt x="1115" y="10"/>
                      </a:lnTo>
                      <a:lnTo>
                        <a:pt x="1117" y="11"/>
                      </a:lnTo>
                      <a:lnTo>
                        <a:pt x="1118" y="13"/>
                      </a:lnTo>
                      <a:lnTo>
                        <a:pt x="1121" y="15"/>
                      </a:lnTo>
                      <a:lnTo>
                        <a:pt x="1122" y="15"/>
                      </a:lnTo>
                      <a:lnTo>
                        <a:pt x="1124" y="15"/>
                      </a:lnTo>
                      <a:lnTo>
                        <a:pt x="1125" y="14"/>
                      </a:lnTo>
                      <a:lnTo>
                        <a:pt x="1126" y="13"/>
                      </a:lnTo>
                      <a:lnTo>
                        <a:pt x="1125" y="12"/>
                      </a:lnTo>
                      <a:lnTo>
                        <a:pt x="1124" y="11"/>
                      </a:lnTo>
                      <a:lnTo>
                        <a:pt x="1123" y="10"/>
                      </a:lnTo>
                      <a:lnTo>
                        <a:pt x="1122" y="9"/>
                      </a:lnTo>
                      <a:lnTo>
                        <a:pt x="1121" y="8"/>
                      </a:lnTo>
                      <a:lnTo>
                        <a:pt x="1121" y="7"/>
                      </a:lnTo>
                      <a:lnTo>
                        <a:pt x="1121" y="7"/>
                      </a:lnTo>
                      <a:lnTo>
                        <a:pt x="1123" y="7"/>
                      </a:lnTo>
                      <a:lnTo>
                        <a:pt x="1124" y="7"/>
                      </a:lnTo>
                      <a:lnTo>
                        <a:pt x="1127" y="8"/>
                      </a:lnTo>
                      <a:lnTo>
                        <a:pt x="1129" y="9"/>
                      </a:lnTo>
                      <a:lnTo>
                        <a:pt x="1133" y="9"/>
                      </a:lnTo>
                      <a:lnTo>
                        <a:pt x="1135" y="10"/>
                      </a:lnTo>
                      <a:lnTo>
                        <a:pt x="1137" y="11"/>
                      </a:lnTo>
                      <a:lnTo>
                        <a:pt x="1138" y="11"/>
                      </a:lnTo>
                      <a:lnTo>
                        <a:pt x="1139" y="11"/>
                      </a:lnTo>
                      <a:lnTo>
                        <a:pt x="1142" y="11"/>
                      </a:lnTo>
                      <a:lnTo>
                        <a:pt x="1143" y="12"/>
                      </a:lnTo>
                      <a:lnTo>
                        <a:pt x="1145" y="12"/>
                      </a:lnTo>
                      <a:lnTo>
                        <a:pt x="1146" y="12"/>
                      </a:lnTo>
                      <a:lnTo>
                        <a:pt x="1146" y="11"/>
                      </a:lnTo>
                      <a:lnTo>
                        <a:pt x="1145" y="11"/>
                      </a:lnTo>
                      <a:lnTo>
                        <a:pt x="1144" y="10"/>
                      </a:lnTo>
                      <a:lnTo>
                        <a:pt x="1144" y="10"/>
                      </a:lnTo>
                      <a:lnTo>
                        <a:pt x="1142" y="9"/>
                      </a:lnTo>
                      <a:lnTo>
                        <a:pt x="1142" y="8"/>
                      </a:lnTo>
                      <a:lnTo>
                        <a:pt x="1140" y="7"/>
                      </a:lnTo>
                      <a:lnTo>
                        <a:pt x="1140" y="7"/>
                      </a:lnTo>
                      <a:lnTo>
                        <a:pt x="1139" y="7"/>
                      </a:lnTo>
                      <a:lnTo>
                        <a:pt x="1139" y="7"/>
                      </a:lnTo>
                      <a:lnTo>
                        <a:pt x="1140" y="7"/>
                      </a:lnTo>
                      <a:lnTo>
                        <a:pt x="1142" y="7"/>
                      </a:lnTo>
                      <a:lnTo>
                        <a:pt x="1144" y="7"/>
                      </a:lnTo>
                      <a:lnTo>
                        <a:pt x="1145" y="8"/>
                      </a:lnTo>
                      <a:lnTo>
                        <a:pt x="1147" y="9"/>
                      </a:lnTo>
                      <a:lnTo>
                        <a:pt x="1148" y="9"/>
                      </a:lnTo>
                      <a:lnTo>
                        <a:pt x="1148" y="9"/>
                      </a:lnTo>
                      <a:lnTo>
                        <a:pt x="1149" y="9"/>
                      </a:lnTo>
                      <a:lnTo>
                        <a:pt x="1149" y="8"/>
                      </a:lnTo>
                      <a:lnTo>
                        <a:pt x="1148" y="7"/>
                      </a:lnTo>
                      <a:lnTo>
                        <a:pt x="1147" y="6"/>
                      </a:lnTo>
                      <a:lnTo>
                        <a:pt x="1146" y="4"/>
                      </a:lnTo>
                      <a:lnTo>
                        <a:pt x="1147" y="3"/>
                      </a:lnTo>
                      <a:lnTo>
                        <a:pt x="1148" y="3"/>
                      </a:lnTo>
                      <a:lnTo>
                        <a:pt x="1150" y="2"/>
                      </a:lnTo>
                      <a:lnTo>
                        <a:pt x="1153" y="2"/>
                      </a:lnTo>
                      <a:lnTo>
                        <a:pt x="1157" y="4"/>
                      </a:lnTo>
                      <a:lnTo>
                        <a:pt x="1159" y="7"/>
                      </a:lnTo>
                      <a:lnTo>
                        <a:pt x="1161" y="9"/>
                      </a:lnTo>
                      <a:lnTo>
                        <a:pt x="1162" y="10"/>
                      </a:lnTo>
                      <a:lnTo>
                        <a:pt x="1164" y="12"/>
                      </a:lnTo>
                      <a:lnTo>
                        <a:pt x="1165" y="13"/>
                      </a:lnTo>
                      <a:lnTo>
                        <a:pt x="1166" y="15"/>
                      </a:lnTo>
                      <a:lnTo>
                        <a:pt x="1168" y="18"/>
                      </a:lnTo>
                      <a:lnTo>
                        <a:pt x="1181" y="24"/>
                      </a:lnTo>
                      <a:lnTo>
                        <a:pt x="1186" y="27"/>
                      </a:lnTo>
                      <a:lnTo>
                        <a:pt x="1189" y="28"/>
                      </a:lnTo>
                      <a:lnTo>
                        <a:pt x="1193" y="30"/>
                      </a:lnTo>
                      <a:lnTo>
                        <a:pt x="1197" y="31"/>
                      </a:lnTo>
                      <a:lnTo>
                        <a:pt x="1199" y="33"/>
                      </a:lnTo>
                      <a:lnTo>
                        <a:pt x="1202" y="35"/>
                      </a:lnTo>
                      <a:lnTo>
                        <a:pt x="1203" y="36"/>
                      </a:lnTo>
                      <a:lnTo>
                        <a:pt x="1205" y="39"/>
                      </a:lnTo>
                      <a:lnTo>
                        <a:pt x="1208" y="40"/>
                      </a:lnTo>
                      <a:lnTo>
                        <a:pt x="1209" y="41"/>
                      </a:lnTo>
                      <a:lnTo>
                        <a:pt x="1210" y="40"/>
                      </a:lnTo>
                      <a:lnTo>
                        <a:pt x="1210" y="40"/>
                      </a:lnTo>
                      <a:lnTo>
                        <a:pt x="1209" y="39"/>
                      </a:lnTo>
                      <a:lnTo>
                        <a:pt x="1208" y="38"/>
                      </a:lnTo>
                      <a:lnTo>
                        <a:pt x="1207" y="36"/>
                      </a:lnTo>
                      <a:lnTo>
                        <a:pt x="1205" y="35"/>
                      </a:lnTo>
                      <a:lnTo>
                        <a:pt x="1205" y="35"/>
                      </a:lnTo>
                      <a:lnTo>
                        <a:pt x="1204" y="34"/>
                      </a:lnTo>
                      <a:lnTo>
                        <a:pt x="1202" y="33"/>
                      </a:lnTo>
                      <a:lnTo>
                        <a:pt x="1201" y="32"/>
                      </a:lnTo>
                      <a:lnTo>
                        <a:pt x="1201" y="30"/>
                      </a:lnTo>
                      <a:lnTo>
                        <a:pt x="1201" y="29"/>
                      </a:lnTo>
                      <a:lnTo>
                        <a:pt x="1202" y="29"/>
                      </a:lnTo>
                      <a:lnTo>
                        <a:pt x="1204" y="29"/>
                      </a:lnTo>
                      <a:lnTo>
                        <a:pt x="1207" y="30"/>
                      </a:lnTo>
                      <a:lnTo>
                        <a:pt x="1208" y="30"/>
                      </a:lnTo>
                      <a:lnTo>
                        <a:pt x="1210" y="30"/>
                      </a:lnTo>
                      <a:lnTo>
                        <a:pt x="1211" y="30"/>
                      </a:lnTo>
                      <a:lnTo>
                        <a:pt x="1211" y="30"/>
                      </a:lnTo>
                      <a:lnTo>
                        <a:pt x="1211" y="30"/>
                      </a:lnTo>
                      <a:lnTo>
                        <a:pt x="1210" y="29"/>
                      </a:lnTo>
                      <a:lnTo>
                        <a:pt x="1208" y="27"/>
                      </a:lnTo>
                      <a:lnTo>
                        <a:pt x="1207" y="25"/>
                      </a:lnTo>
                      <a:lnTo>
                        <a:pt x="1207" y="24"/>
                      </a:lnTo>
                      <a:lnTo>
                        <a:pt x="1208" y="23"/>
                      </a:lnTo>
                      <a:lnTo>
                        <a:pt x="1209" y="23"/>
                      </a:lnTo>
                      <a:lnTo>
                        <a:pt x="1210" y="23"/>
                      </a:lnTo>
                      <a:lnTo>
                        <a:pt x="1212" y="23"/>
                      </a:lnTo>
                      <a:lnTo>
                        <a:pt x="1213" y="23"/>
                      </a:lnTo>
                      <a:lnTo>
                        <a:pt x="1215" y="23"/>
                      </a:lnTo>
                      <a:lnTo>
                        <a:pt x="1215" y="22"/>
                      </a:lnTo>
                      <a:lnTo>
                        <a:pt x="1215" y="22"/>
                      </a:lnTo>
                      <a:lnTo>
                        <a:pt x="1214" y="20"/>
                      </a:lnTo>
                      <a:lnTo>
                        <a:pt x="1211" y="18"/>
                      </a:lnTo>
                      <a:lnTo>
                        <a:pt x="1208" y="15"/>
                      </a:lnTo>
                      <a:lnTo>
                        <a:pt x="1204" y="14"/>
                      </a:lnTo>
                      <a:lnTo>
                        <a:pt x="1201" y="13"/>
                      </a:lnTo>
                      <a:lnTo>
                        <a:pt x="1199" y="12"/>
                      </a:lnTo>
                      <a:lnTo>
                        <a:pt x="1197" y="10"/>
                      </a:lnTo>
                      <a:lnTo>
                        <a:pt x="1196" y="9"/>
                      </a:lnTo>
                      <a:lnTo>
                        <a:pt x="1194" y="7"/>
                      </a:lnTo>
                      <a:lnTo>
                        <a:pt x="1193" y="4"/>
                      </a:lnTo>
                      <a:lnTo>
                        <a:pt x="1193" y="3"/>
                      </a:lnTo>
                      <a:lnTo>
                        <a:pt x="1194" y="2"/>
                      </a:lnTo>
                      <a:lnTo>
                        <a:pt x="1196" y="2"/>
                      </a:lnTo>
                      <a:lnTo>
                        <a:pt x="1197" y="1"/>
                      </a:lnTo>
                      <a:lnTo>
                        <a:pt x="1199" y="1"/>
                      </a:lnTo>
                      <a:lnTo>
                        <a:pt x="1200" y="1"/>
                      </a:lnTo>
                      <a:lnTo>
                        <a:pt x="1201" y="0"/>
                      </a:lnTo>
                      <a:lnTo>
                        <a:pt x="1203"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41" name="Freeform 38"/>
                <p:cNvSpPr>
                  <a:spLocks noEditPoints="1"/>
                </p:cNvSpPr>
                <p:nvPr/>
              </p:nvSpPr>
              <p:spPr bwMode="auto">
                <a:xfrm>
                  <a:off x="5541" y="601"/>
                  <a:ext cx="488" cy="489"/>
                </a:xfrm>
                <a:custGeom>
                  <a:avLst/>
                  <a:gdLst>
                    <a:gd name="T0" fmla="*/ 1638 w 3420"/>
                    <a:gd name="T1" fmla="*/ 448 h 3420"/>
                    <a:gd name="T2" fmla="*/ 1678 w 3420"/>
                    <a:gd name="T3" fmla="*/ 437 h 3420"/>
                    <a:gd name="T4" fmla="*/ 1715 w 3420"/>
                    <a:gd name="T5" fmla="*/ 464 h 3420"/>
                    <a:gd name="T6" fmla="*/ 1723 w 3420"/>
                    <a:gd name="T7" fmla="*/ 497 h 3420"/>
                    <a:gd name="T8" fmla="*/ 1660 w 3420"/>
                    <a:gd name="T9" fmla="*/ 514 h 3420"/>
                    <a:gd name="T10" fmla="*/ 1638 w 3420"/>
                    <a:gd name="T11" fmla="*/ 567 h 3420"/>
                    <a:gd name="T12" fmla="*/ 1616 w 3420"/>
                    <a:gd name="T13" fmla="*/ 596 h 3420"/>
                    <a:gd name="T14" fmla="*/ 1549 w 3420"/>
                    <a:gd name="T15" fmla="*/ 625 h 3420"/>
                    <a:gd name="T16" fmla="*/ 1551 w 3420"/>
                    <a:gd name="T17" fmla="*/ 642 h 3420"/>
                    <a:gd name="T18" fmla="*/ 1559 w 3420"/>
                    <a:gd name="T19" fmla="*/ 687 h 3420"/>
                    <a:gd name="T20" fmla="*/ 1461 w 3420"/>
                    <a:gd name="T21" fmla="*/ 732 h 3420"/>
                    <a:gd name="T22" fmla="*/ 1479 w 3420"/>
                    <a:gd name="T23" fmla="*/ 785 h 3420"/>
                    <a:gd name="T24" fmla="*/ 1426 w 3420"/>
                    <a:gd name="T25" fmla="*/ 774 h 3420"/>
                    <a:gd name="T26" fmla="*/ 1332 w 3420"/>
                    <a:gd name="T27" fmla="*/ 778 h 3420"/>
                    <a:gd name="T28" fmla="*/ 1333 w 3420"/>
                    <a:gd name="T29" fmla="*/ 818 h 3420"/>
                    <a:gd name="T30" fmla="*/ 1487 w 3420"/>
                    <a:gd name="T31" fmla="*/ 813 h 3420"/>
                    <a:gd name="T32" fmla="*/ 1433 w 3420"/>
                    <a:gd name="T33" fmla="*/ 855 h 3420"/>
                    <a:gd name="T34" fmla="*/ 1301 w 3420"/>
                    <a:gd name="T35" fmla="*/ 868 h 3420"/>
                    <a:gd name="T36" fmla="*/ 1231 w 3420"/>
                    <a:gd name="T37" fmla="*/ 787 h 3420"/>
                    <a:gd name="T38" fmla="*/ 1251 w 3420"/>
                    <a:gd name="T39" fmla="*/ 752 h 3420"/>
                    <a:gd name="T40" fmla="*/ 1326 w 3420"/>
                    <a:gd name="T41" fmla="*/ 761 h 3420"/>
                    <a:gd name="T42" fmla="*/ 1384 w 3420"/>
                    <a:gd name="T43" fmla="*/ 707 h 3420"/>
                    <a:gd name="T44" fmla="*/ 1407 w 3420"/>
                    <a:gd name="T45" fmla="*/ 684 h 3420"/>
                    <a:gd name="T46" fmla="*/ 1373 w 3420"/>
                    <a:gd name="T47" fmla="*/ 658 h 3420"/>
                    <a:gd name="T48" fmla="*/ 1407 w 3420"/>
                    <a:gd name="T49" fmla="*/ 647 h 3420"/>
                    <a:gd name="T50" fmla="*/ 1358 w 3420"/>
                    <a:gd name="T51" fmla="*/ 659 h 3420"/>
                    <a:gd name="T52" fmla="*/ 1318 w 3420"/>
                    <a:gd name="T53" fmla="*/ 678 h 3420"/>
                    <a:gd name="T54" fmla="*/ 1267 w 3420"/>
                    <a:gd name="T55" fmla="*/ 663 h 3420"/>
                    <a:gd name="T56" fmla="*/ 1246 w 3420"/>
                    <a:gd name="T57" fmla="*/ 625 h 3420"/>
                    <a:gd name="T58" fmla="*/ 1242 w 3420"/>
                    <a:gd name="T59" fmla="*/ 594 h 3420"/>
                    <a:gd name="T60" fmla="*/ 1266 w 3420"/>
                    <a:gd name="T61" fmla="*/ 565 h 3420"/>
                    <a:gd name="T62" fmla="*/ 1268 w 3420"/>
                    <a:gd name="T63" fmla="*/ 534 h 3420"/>
                    <a:gd name="T64" fmla="*/ 1328 w 3420"/>
                    <a:gd name="T65" fmla="*/ 565 h 3420"/>
                    <a:gd name="T66" fmla="*/ 1359 w 3420"/>
                    <a:gd name="T67" fmla="*/ 568 h 3420"/>
                    <a:gd name="T68" fmla="*/ 1406 w 3420"/>
                    <a:gd name="T69" fmla="*/ 615 h 3420"/>
                    <a:gd name="T70" fmla="*/ 1435 w 3420"/>
                    <a:gd name="T71" fmla="*/ 587 h 3420"/>
                    <a:gd name="T72" fmla="*/ 1442 w 3420"/>
                    <a:gd name="T73" fmla="*/ 583 h 3420"/>
                    <a:gd name="T74" fmla="*/ 1531 w 3420"/>
                    <a:gd name="T75" fmla="*/ 543 h 3420"/>
                    <a:gd name="T76" fmla="*/ 1484 w 3420"/>
                    <a:gd name="T77" fmla="*/ 541 h 3420"/>
                    <a:gd name="T78" fmla="*/ 1389 w 3420"/>
                    <a:gd name="T79" fmla="*/ 562 h 3420"/>
                    <a:gd name="T80" fmla="*/ 1363 w 3420"/>
                    <a:gd name="T81" fmla="*/ 554 h 3420"/>
                    <a:gd name="T82" fmla="*/ 1343 w 3420"/>
                    <a:gd name="T83" fmla="*/ 541 h 3420"/>
                    <a:gd name="T84" fmla="*/ 1341 w 3420"/>
                    <a:gd name="T85" fmla="*/ 517 h 3420"/>
                    <a:gd name="T86" fmla="*/ 1320 w 3420"/>
                    <a:gd name="T87" fmla="*/ 497 h 3420"/>
                    <a:gd name="T88" fmla="*/ 1394 w 3420"/>
                    <a:gd name="T89" fmla="*/ 484 h 3420"/>
                    <a:gd name="T90" fmla="*/ 1395 w 3420"/>
                    <a:gd name="T91" fmla="*/ 457 h 3420"/>
                    <a:gd name="T92" fmla="*/ 1440 w 3420"/>
                    <a:gd name="T93" fmla="*/ 466 h 3420"/>
                    <a:gd name="T94" fmla="*/ 1449 w 3420"/>
                    <a:gd name="T95" fmla="*/ 438 h 3420"/>
                    <a:gd name="T96" fmla="*/ 1495 w 3420"/>
                    <a:gd name="T97" fmla="*/ 431 h 3420"/>
                    <a:gd name="T98" fmla="*/ 1516 w 3420"/>
                    <a:gd name="T99" fmla="*/ 437 h 3420"/>
                    <a:gd name="T100" fmla="*/ 1560 w 3420"/>
                    <a:gd name="T101" fmla="*/ 427 h 3420"/>
                    <a:gd name="T102" fmla="*/ 1286 w 3420"/>
                    <a:gd name="T103" fmla="*/ 178 h 3420"/>
                    <a:gd name="T104" fmla="*/ 564 w 3420"/>
                    <a:gd name="T105" fmla="*/ 607 h 3420"/>
                    <a:gd name="T106" fmla="*/ 664 w 3420"/>
                    <a:gd name="T107" fmla="*/ 2908 h 3420"/>
                    <a:gd name="T108" fmla="*/ 1535 w 3420"/>
                    <a:gd name="T109" fmla="*/ 3291 h 3420"/>
                    <a:gd name="T110" fmla="*/ 2564 w 3420"/>
                    <a:gd name="T111" fmla="*/ 3052 h 3420"/>
                    <a:gd name="T112" fmla="*/ 3166 w 3420"/>
                    <a:gd name="T113" fmla="*/ 1070 h 3420"/>
                    <a:gd name="T114" fmla="*/ 2141 w 3420"/>
                    <a:gd name="T115" fmla="*/ 179 h 3420"/>
                    <a:gd name="T116" fmla="*/ 2328 w 3420"/>
                    <a:gd name="T117" fmla="*/ 115 h 3420"/>
                    <a:gd name="T118" fmla="*/ 2989 w 3420"/>
                    <a:gd name="T119" fmla="*/ 2845 h 3420"/>
                    <a:gd name="T120" fmla="*/ 200 w 3420"/>
                    <a:gd name="T121" fmla="*/ 2514 h 3420"/>
                    <a:gd name="T122" fmla="*/ 1496 w 3420"/>
                    <a:gd name="T123" fmla="*/ 14 h 3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20" h="3420">
                      <a:moveTo>
                        <a:pt x="1591" y="420"/>
                      </a:moveTo>
                      <a:lnTo>
                        <a:pt x="1595" y="421"/>
                      </a:lnTo>
                      <a:lnTo>
                        <a:pt x="1601" y="422"/>
                      </a:lnTo>
                      <a:lnTo>
                        <a:pt x="1605" y="424"/>
                      </a:lnTo>
                      <a:lnTo>
                        <a:pt x="1607" y="426"/>
                      </a:lnTo>
                      <a:lnTo>
                        <a:pt x="1610" y="426"/>
                      </a:lnTo>
                      <a:lnTo>
                        <a:pt x="1614" y="427"/>
                      </a:lnTo>
                      <a:lnTo>
                        <a:pt x="1617" y="427"/>
                      </a:lnTo>
                      <a:lnTo>
                        <a:pt x="1622" y="427"/>
                      </a:lnTo>
                      <a:lnTo>
                        <a:pt x="1625" y="429"/>
                      </a:lnTo>
                      <a:lnTo>
                        <a:pt x="1628" y="429"/>
                      </a:lnTo>
                      <a:lnTo>
                        <a:pt x="1630" y="430"/>
                      </a:lnTo>
                      <a:lnTo>
                        <a:pt x="1633" y="430"/>
                      </a:lnTo>
                      <a:lnTo>
                        <a:pt x="1636" y="431"/>
                      </a:lnTo>
                      <a:lnTo>
                        <a:pt x="1642" y="431"/>
                      </a:lnTo>
                      <a:lnTo>
                        <a:pt x="1648" y="433"/>
                      </a:lnTo>
                      <a:lnTo>
                        <a:pt x="1653" y="435"/>
                      </a:lnTo>
                      <a:lnTo>
                        <a:pt x="1656" y="435"/>
                      </a:lnTo>
                      <a:lnTo>
                        <a:pt x="1657" y="436"/>
                      </a:lnTo>
                      <a:lnTo>
                        <a:pt x="1657" y="438"/>
                      </a:lnTo>
                      <a:lnTo>
                        <a:pt x="1655" y="440"/>
                      </a:lnTo>
                      <a:lnTo>
                        <a:pt x="1653" y="441"/>
                      </a:lnTo>
                      <a:lnTo>
                        <a:pt x="1651" y="442"/>
                      </a:lnTo>
                      <a:lnTo>
                        <a:pt x="1649" y="443"/>
                      </a:lnTo>
                      <a:lnTo>
                        <a:pt x="1647" y="444"/>
                      </a:lnTo>
                      <a:lnTo>
                        <a:pt x="1646" y="445"/>
                      </a:lnTo>
                      <a:lnTo>
                        <a:pt x="1645" y="445"/>
                      </a:lnTo>
                      <a:lnTo>
                        <a:pt x="1644" y="446"/>
                      </a:lnTo>
                      <a:lnTo>
                        <a:pt x="1642" y="447"/>
                      </a:lnTo>
                      <a:lnTo>
                        <a:pt x="1640" y="448"/>
                      </a:lnTo>
                      <a:lnTo>
                        <a:pt x="1639" y="448"/>
                      </a:lnTo>
                      <a:lnTo>
                        <a:pt x="1638" y="448"/>
                      </a:lnTo>
                      <a:lnTo>
                        <a:pt x="1637" y="448"/>
                      </a:lnTo>
                      <a:lnTo>
                        <a:pt x="1637" y="449"/>
                      </a:lnTo>
                      <a:lnTo>
                        <a:pt x="1638" y="451"/>
                      </a:lnTo>
                      <a:lnTo>
                        <a:pt x="1640" y="451"/>
                      </a:lnTo>
                      <a:lnTo>
                        <a:pt x="1641" y="451"/>
                      </a:lnTo>
                      <a:lnTo>
                        <a:pt x="1644" y="451"/>
                      </a:lnTo>
                      <a:lnTo>
                        <a:pt x="1645" y="451"/>
                      </a:lnTo>
                      <a:lnTo>
                        <a:pt x="1647" y="451"/>
                      </a:lnTo>
                      <a:lnTo>
                        <a:pt x="1648" y="451"/>
                      </a:lnTo>
                      <a:lnTo>
                        <a:pt x="1648" y="451"/>
                      </a:lnTo>
                      <a:lnTo>
                        <a:pt x="1648" y="451"/>
                      </a:lnTo>
                      <a:lnTo>
                        <a:pt x="1649" y="451"/>
                      </a:lnTo>
                      <a:lnTo>
                        <a:pt x="1650" y="448"/>
                      </a:lnTo>
                      <a:lnTo>
                        <a:pt x="1653" y="447"/>
                      </a:lnTo>
                      <a:lnTo>
                        <a:pt x="1656" y="447"/>
                      </a:lnTo>
                      <a:lnTo>
                        <a:pt x="1658" y="446"/>
                      </a:lnTo>
                      <a:lnTo>
                        <a:pt x="1660" y="445"/>
                      </a:lnTo>
                      <a:lnTo>
                        <a:pt x="1662" y="444"/>
                      </a:lnTo>
                      <a:lnTo>
                        <a:pt x="1663" y="442"/>
                      </a:lnTo>
                      <a:lnTo>
                        <a:pt x="1666" y="441"/>
                      </a:lnTo>
                      <a:lnTo>
                        <a:pt x="1669" y="441"/>
                      </a:lnTo>
                      <a:lnTo>
                        <a:pt x="1672" y="442"/>
                      </a:lnTo>
                      <a:lnTo>
                        <a:pt x="1675" y="444"/>
                      </a:lnTo>
                      <a:lnTo>
                        <a:pt x="1678" y="445"/>
                      </a:lnTo>
                      <a:lnTo>
                        <a:pt x="1679" y="445"/>
                      </a:lnTo>
                      <a:lnTo>
                        <a:pt x="1679" y="445"/>
                      </a:lnTo>
                      <a:lnTo>
                        <a:pt x="1679" y="444"/>
                      </a:lnTo>
                      <a:lnTo>
                        <a:pt x="1679" y="443"/>
                      </a:lnTo>
                      <a:lnTo>
                        <a:pt x="1678" y="442"/>
                      </a:lnTo>
                      <a:lnTo>
                        <a:pt x="1678" y="441"/>
                      </a:lnTo>
                      <a:lnTo>
                        <a:pt x="1678" y="440"/>
                      </a:lnTo>
                      <a:lnTo>
                        <a:pt x="1678" y="437"/>
                      </a:lnTo>
                      <a:lnTo>
                        <a:pt x="1678" y="437"/>
                      </a:lnTo>
                      <a:lnTo>
                        <a:pt x="1680" y="436"/>
                      </a:lnTo>
                      <a:lnTo>
                        <a:pt x="1681" y="437"/>
                      </a:lnTo>
                      <a:lnTo>
                        <a:pt x="1683" y="437"/>
                      </a:lnTo>
                      <a:lnTo>
                        <a:pt x="1685" y="438"/>
                      </a:lnTo>
                      <a:lnTo>
                        <a:pt x="1688" y="440"/>
                      </a:lnTo>
                      <a:lnTo>
                        <a:pt x="1689" y="442"/>
                      </a:lnTo>
                      <a:lnTo>
                        <a:pt x="1689" y="442"/>
                      </a:lnTo>
                      <a:lnTo>
                        <a:pt x="1690" y="443"/>
                      </a:lnTo>
                      <a:lnTo>
                        <a:pt x="1690" y="444"/>
                      </a:lnTo>
                      <a:lnTo>
                        <a:pt x="1692" y="444"/>
                      </a:lnTo>
                      <a:lnTo>
                        <a:pt x="1693" y="444"/>
                      </a:lnTo>
                      <a:lnTo>
                        <a:pt x="1695" y="442"/>
                      </a:lnTo>
                      <a:lnTo>
                        <a:pt x="1697" y="442"/>
                      </a:lnTo>
                      <a:lnTo>
                        <a:pt x="1702" y="442"/>
                      </a:lnTo>
                      <a:lnTo>
                        <a:pt x="1704" y="442"/>
                      </a:lnTo>
                      <a:lnTo>
                        <a:pt x="1705" y="443"/>
                      </a:lnTo>
                      <a:lnTo>
                        <a:pt x="1704" y="444"/>
                      </a:lnTo>
                      <a:lnTo>
                        <a:pt x="1703" y="445"/>
                      </a:lnTo>
                      <a:lnTo>
                        <a:pt x="1703" y="446"/>
                      </a:lnTo>
                      <a:lnTo>
                        <a:pt x="1702" y="447"/>
                      </a:lnTo>
                      <a:lnTo>
                        <a:pt x="1702" y="448"/>
                      </a:lnTo>
                      <a:lnTo>
                        <a:pt x="1704" y="451"/>
                      </a:lnTo>
                      <a:lnTo>
                        <a:pt x="1706" y="452"/>
                      </a:lnTo>
                      <a:lnTo>
                        <a:pt x="1708" y="453"/>
                      </a:lnTo>
                      <a:lnTo>
                        <a:pt x="1711" y="455"/>
                      </a:lnTo>
                      <a:lnTo>
                        <a:pt x="1712" y="456"/>
                      </a:lnTo>
                      <a:lnTo>
                        <a:pt x="1713" y="459"/>
                      </a:lnTo>
                      <a:lnTo>
                        <a:pt x="1713" y="460"/>
                      </a:lnTo>
                      <a:lnTo>
                        <a:pt x="1713" y="462"/>
                      </a:lnTo>
                      <a:lnTo>
                        <a:pt x="1713" y="462"/>
                      </a:lnTo>
                      <a:lnTo>
                        <a:pt x="1715" y="464"/>
                      </a:lnTo>
                      <a:lnTo>
                        <a:pt x="1718" y="465"/>
                      </a:lnTo>
                      <a:lnTo>
                        <a:pt x="1723" y="466"/>
                      </a:lnTo>
                      <a:lnTo>
                        <a:pt x="1726" y="466"/>
                      </a:lnTo>
                      <a:lnTo>
                        <a:pt x="1728" y="466"/>
                      </a:lnTo>
                      <a:lnTo>
                        <a:pt x="1730" y="466"/>
                      </a:lnTo>
                      <a:lnTo>
                        <a:pt x="1733" y="467"/>
                      </a:lnTo>
                      <a:lnTo>
                        <a:pt x="1734" y="468"/>
                      </a:lnTo>
                      <a:lnTo>
                        <a:pt x="1736" y="470"/>
                      </a:lnTo>
                      <a:lnTo>
                        <a:pt x="1739" y="471"/>
                      </a:lnTo>
                      <a:lnTo>
                        <a:pt x="1741" y="473"/>
                      </a:lnTo>
                      <a:lnTo>
                        <a:pt x="1744" y="474"/>
                      </a:lnTo>
                      <a:lnTo>
                        <a:pt x="1745" y="477"/>
                      </a:lnTo>
                      <a:lnTo>
                        <a:pt x="1746" y="477"/>
                      </a:lnTo>
                      <a:lnTo>
                        <a:pt x="1746" y="478"/>
                      </a:lnTo>
                      <a:lnTo>
                        <a:pt x="1747" y="479"/>
                      </a:lnTo>
                      <a:lnTo>
                        <a:pt x="1748" y="480"/>
                      </a:lnTo>
                      <a:lnTo>
                        <a:pt x="1749" y="481"/>
                      </a:lnTo>
                      <a:lnTo>
                        <a:pt x="1749" y="483"/>
                      </a:lnTo>
                      <a:lnTo>
                        <a:pt x="1747" y="484"/>
                      </a:lnTo>
                      <a:lnTo>
                        <a:pt x="1745" y="485"/>
                      </a:lnTo>
                      <a:lnTo>
                        <a:pt x="1744" y="485"/>
                      </a:lnTo>
                      <a:lnTo>
                        <a:pt x="1743" y="486"/>
                      </a:lnTo>
                      <a:lnTo>
                        <a:pt x="1740" y="487"/>
                      </a:lnTo>
                      <a:lnTo>
                        <a:pt x="1738" y="488"/>
                      </a:lnTo>
                      <a:lnTo>
                        <a:pt x="1736" y="490"/>
                      </a:lnTo>
                      <a:lnTo>
                        <a:pt x="1735" y="491"/>
                      </a:lnTo>
                      <a:lnTo>
                        <a:pt x="1733" y="492"/>
                      </a:lnTo>
                      <a:lnTo>
                        <a:pt x="1732" y="492"/>
                      </a:lnTo>
                      <a:lnTo>
                        <a:pt x="1729" y="492"/>
                      </a:lnTo>
                      <a:lnTo>
                        <a:pt x="1728" y="494"/>
                      </a:lnTo>
                      <a:lnTo>
                        <a:pt x="1726" y="495"/>
                      </a:lnTo>
                      <a:lnTo>
                        <a:pt x="1723" y="497"/>
                      </a:lnTo>
                      <a:lnTo>
                        <a:pt x="1718" y="499"/>
                      </a:lnTo>
                      <a:lnTo>
                        <a:pt x="1715" y="501"/>
                      </a:lnTo>
                      <a:lnTo>
                        <a:pt x="1713" y="501"/>
                      </a:lnTo>
                      <a:lnTo>
                        <a:pt x="1711" y="502"/>
                      </a:lnTo>
                      <a:lnTo>
                        <a:pt x="1710" y="502"/>
                      </a:lnTo>
                      <a:lnTo>
                        <a:pt x="1708" y="505"/>
                      </a:lnTo>
                      <a:lnTo>
                        <a:pt x="1706" y="506"/>
                      </a:lnTo>
                      <a:lnTo>
                        <a:pt x="1703" y="506"/>
                      </a:lnTo>
                      <a:lnTo>
                        <a:pt x="1700" y="505"/>
                      </a:lnTo>
                      <a:lnTo>
                        <a:pt x="1697" y="505"/>
                      </a:lnTo>
                      <a:lnTo>
                        <a:pt x="1694" y="505"/>
                      </a:lnTo>
                      <a:lnTo>
                        <a:pt x="1693" y="506"/>
                      </a:lnTo>
                      <a:lnTo>
                        <a:pt x="1693" y="510"/>
                      </a:lnTo>
                      <a:lnTo>
                        <a:pt x="1691" y="510"/>
                      </a:lnTo>
                      <a:lnTo>
                        <a:pt x="1689" y="511"/>
                      </a:lnTo>
                      <a:lnTo>
                        <a:pt x="1685" y="510"/>
                      </a:lnTo>
                      <a:lnTo>
                        <a:pt x="1682" y="510"/>
                      </a:lnTo>
                      <a:lnTo>
                        <a:pt x="1680" y="510"/>
                      </a:lnTo>
                      <a:lnTo>
                        <a:pt x="1660" y="510"/>
                      </a:lnTo>
                      <a:lnTo>
                        <a:pt x="1659" y="510"/>
                      </a:lnTo>
                      <a:lnTo>
                        <a:pt x="1658" y="510"/>
                      </a:lnTo>
                      <a:lnTo>
                        <a:pt x="1655" y="510"/>
                      </a:lnTo>
                      <a:lnTo>
                        <a:pt x="1652" y="510"/>
                      </a:lnTo>
                      <a:lnTo>
                        <a:pt x="1649" y="510"/>
                      </a:lnTo>
                      <a:lnTo>
                        <a:pt x="1648" y="511"/>
                      </a:lnTo>
                      <a:lnTo>
                        <a:pt x="1647" y="512"/>
                      </a:lnTo>
                      <a:lnTo>
                        <a:pt x="1649" y="512"/>
                      </a:lnTo>
                      <a:lnTo>
                        <a:pt x="1651" y="513"/>
                      </a:lnTo>
                      <a:lnTo>
                        <a:pt x="1653" y="513"/>
                      </a:lnTo>
                      <a:lnTo>
                        <a:pt x="1656" y="514"/>
                      </a:lnTo>
                      <a:lnTo>
                        <a:pt x="1658" y="514"/>
                      </a:lnTo>
                      <a:lnTo>
                        <a:pt x="1660" y="514"/>
                      </a:lnTo>
                      <a:lnTo>
                        <a:pt x="1662" y="514"/>
                      </a:lnTo>
                      <a:lnTo>
                        <a:pt x="1663" y="516"/>
                      </a:lnTo>
                      <a:lnTo>
                        <a:pt x="1664" y="517"/>
                      </a:lnTo>
                      <a:lnTo>
                        <a:pt x="1664" y="518"/>
                      </a:lnTo>
                      <a:lnTo>
                        <a:pt x="1663" y="519"/>
                      </a:lnTo>
                      <a:lnTo>
                        <a:pt x="1662" y="520"/>
                      </a:lnTo>
                      <a:lnTo>
                        <a:pt x="1662" y="521"/>
                      </a:lnTo>
                      <a:lnTo>
                        <a:pt x="1662" y="525"/>
                      </a:lnTo>
                      <a:lnTo>
                        <a:pt x="1675" y="523"/>
                      </a:lnTo>
                      <a:lnTo>
                        <a:pt x="1686" y="521"/>
                      </a:lnTo>
                      <a:lnTo>
                        <a:pt x="1689" y="519"/>
                      </a:lnTo>
                      <a:lnTo>
                        <a:pt x="1692" y="518"/>
                      </a:lnTo>
                      <a:lnTo>
                        <a:pt x="1694" y="516"/>
                      </a:lnTo>
                      <a:lnTo>
                        <a:pt x="1697" y="514"/>
                      </a:lnTo>
                      <a:lnTo>
                        <a:pt x="1702" y="514"/>
                      </a:lnTo>
                      <a:lnTo>
                        <a:pt x="1705" y="516"/>
                      </a:lnTo>
                      <a:lnTo>
                        <a:pt x="1707" y="517"/>
                      </a:lnTo>
                      <a:lnTo>
                        <a:pt x="1708" y="517"/>
                      </a:lnTo>
                      <a:lnTo>
                        <a:pt x="1708" y="519"/>
                      </a:lnTo>
                      <a:lnTo>
                        <a:pt x="1708" y="521"/>
                      </a:lnTo>
                      <a:lnTo>
                        <a:pt x="1704" y="524"/>
                      </a:lnTo>
                      <a:lnTo>
                        <a:pt x="1699" y="528"/>
                      </a:lnTo>
                      <a:lnTo>
                        <a:pt x="1693" y="530"/>
                      </a:lnTo>
                      <a:lnTo>
                        <a:pt x="1681" y="539"/>
                      </a:lnTo>
                      <a:lnTo>
                        <a:pt x="1671" y="547"/>
                      </a:lnTo>
                      <a:lnTo>
                        <a:pt x="1662" y="551"/>
                      </a:lnTo>
                      <a:lnTo>
                        <a:pt x="1653" y="554"/>
                      </a:lnTo>
                      <a:lnTo>
                        <a:pt x="1647" y="558"/>
                      </a:lnTo>
                      <a:lnTo>
                        <a:pt x="1644" y="561"/>
                      </a:lnTo>
                      <a:lnTo>
                        <a:pt x="1641" y="563"/>
                      </a:lnTo>
                      <a:lnTo>
                        <a:pt x="1640" y="565"/>
                      </a:lnTo>
                      <a:lnTo>
                        <a:pt x="1638" y="567"/>
                      </a:lnTo>
                      <a:lnTo>
                        <a:pt x="1638" y="568"/>
                      </a:lnTo>
                      <a:lnTo>
                        <a:pt x="1638" y="569"/>
                      </a:lnTo>
                      <a:lnTo>
                        <a:pt x="1639" y="572"/>
                      </a:lnTo>
                      <a:lnTo>
                        <a:pt x="1638" y="573"/>
                      </a:lnTo>
                      <a:lnTo>
                        <a:pt x="1638" y="573"/>
                      </a:lnTo>
                      <a:lnTo>
                        <a:pt x="1636" y="574"/>
                      </a:lnTo>
                      <a:lnTo>
                        <a:pt x="1634" y="573"/>
                      </a:lnTo>
                      <a:lnTo>
                        <a:pt x="1631" y="572"/>
                      </a:lnTo>
                      <a:lnTo>
                        <a:pt x="1629" y="569"/>
                      </a:lnTo>
                      <a:lnTo>
                        <a:pt x="1627" y="569"/>
                      </a:lnTo>
                      <a:lnTo>
                        <a:pt x="1625" y="571"/>
                      </a:lnTo>
                      <a:lnTo>
                        <a:pt x="1624" y="572"/>
                      </a:lnTo>
                      <a:lnTo>
                        <a:pt x="1623" y="574"/>
                      </a:lnTo>
                      <a:lnTo>
                        <a:pt x="1624" y="575"/>
                      </a:lnTo>
                      <a:lnTo>
                        <a:pt x="1626" y="577"/>
                      </a:lnTo>
                      <a:lnTo>
                        <a:pt x="1628" y="578"/>
                      </a:lnTo>
                      <a:lnTo>
                        <a:pt x="1631" y="580"/>
                      </a:lnTo>
                      <a:lnTo>
                        <a:pt x="1633" y="582"/>
                      </a:lnTo>
                      <a:lnTo>
                        <a:pt x="1633" y="583"/>
                      </a:lnTo>
                      <a:lnTo>
                        <a:pt x="1633" y="584"/>
                      </a:lnTo>
                      <a:lnTo>
                        <a:pt x="1631" y="585"/>
                      </a:lnTo>
                      <a:lnTo>
                        <a:pt x="1629" y="585"/>
                      </a:lnTo>
                      <a:lnTo>
                        <a:pt x="1628" y="586"/>
                      </a:lnTo>
                      <a:lnTo>
                        <a:pt x="1627" y="587"/>
                      </a:lnTo>
                      <a:lnTo>
                        <a:pt x="1626" y="588"/>
                      </a:lnTo>
                      <a:lnTo>
                        <a:pt x="1626" y="590"/>
                      </a:lnTo>
                      <a:lnTo>
                        <a:pt x="1626" y="591"/>
                      </a:lnTo>
                      <a:lnTo>
                        <a:pt x="1625" y="594"/>
                      </a:lnTo>
                      <a:lnTo>
                        <a:pt x="1623" y="594"/>
                      </a:lnTo>
                      <a:lnTo>
                        <a:pt x="1619" y="595"/>
                      </a:lnTo>
                      <a:lnTo>
                        <a:pt x="1618" y="596"/>
                      </a:lnTo>
                      <a:lnTo>
                        <a:pt x="1616" y="596"/>
                      </a:lnTo>
                      <a:lnTo>
                        <a:pt x="1614" y="597"/>
                      </a:lnTo>
                      <a:lnTo>
                        <a:pt x="1613" y="598"/>
                      </a:lnTo>
                      <a:lnTo>
                        <a:pt x="1612" y="599"/>
                      </a:lnTo>
                      <a:lnTo>
                        <a:pt x="1612" y="600"/>
                      </a:lnTo>
                      <a:lnTo>
                        <a:pt x="1612" y="603"/>
                      </a:lnTo>
                      <a:lnTo>
                        <a:pt x="1612" y="603"/>
                      </a:lnTo>
                      <a:lnTo>
                        <a:pt x="1610" y="604"/>
                      </a:lnTo>
                      <a:lnTo>
                        <a:pt x="1610" y="605"/>
                      </a:lnTo>
                      <a:lnTo>
                        <a:pt x="1610" y="606"/>
                      </a:lnTo>
                      <a:lnTo>
                        <a:pt x="1609" y="608"/>
                      </a:lnTo>
                      <a:lnTo>
                        <a:pt x="1609" y="609"/>
                      </a:lnTo>
                      <a:lnTo>
                        <a:pt x="1607" y="609"/>
                      </a:lnTo>
                      <a:lnTo>
                        <a:pt x="1604" y="609"/>
                      </a:lnTo>
                      <a:lnTo>
                        <a:pt x="1601" y="608"/>
                      </a:lnTo>
                      <a:lnTo>
                        <a:pt x="1597" y="608"/>
                      </a:lnTo>
                      <a:lnTo>
                        <a:pt x="1594" y="609"/>
                      </a:lnTo>
                      <a:lnTo>
                        <a:pt x="1592" y="610"/>
                      </a:lnTo>
                      <a:lnTo>
                        <a:pt x="1590" y="611"/>
                      </a:lnTo>
                      <a:lnTo>
                        <a:pt x="1585" y="611"/>
                      </a:lnTo>
                      <a:lnTo>
                        <a:pt x="1580" y="612"/>
                      </a:lnTo>
                      <a:lnTo>
                        <a:pt x="1575" y="617"/>
                      </a:lnTo>
                      <a:lnTo>
                        <a:pt x="1571" y="619"/>
                      </a:lnTo>
                      <a:lnTo>
                        <a:pt x="1564" y="620"/>
                      </a:lnTo>
                      <a:lnTo>
                        <a:pt x="1560" y="619"/>
                      </a:lnTo>
                      <a:lnTo>
                        <a:pt x="1558" y="619"/>
                      </a:lnTo>
                      <a:lnTo>
                        <a:pt x="1557" y="619"/>
                      </a:lnTo>
                      <a:lnTo>
                        <a:pt x="1555" y="620"/>
                      </a:lnTo>
                      <a:lnTo>
                        <a:pt x="1554" y="620"/>
                      </a:lnTo>
                      <a:lnTo>
                        <a:pt x="1553" y="621"/>
                      </a:lnTo>
                      <a:lnTo>
                        <a:pt x="1552" y="622"/>
                      </a:lnTo>
                      <a:lnTo>
                        <a:pt x="1551" y="623"/>
                      </a:lnTo>
                      <a:lnTo>
                        <a:pt x="1549" y="625"/>
                      </a:lnTo>
                      <a:lnTo>
                        <a:pt x="1547" y="625"/>
                      </a:lnTo>
                      <a:lnTo>
                        <a:pt x="1542" y="625"/>
                      </a:lnTo>
                      <a:lnTo>
                        <a:pt x="1539" y="623"/>
                      </a:lnTo>
                      <a:lnTo>
                        <a:pt x="1537" y="623"/>
                      </a:lnTo>
                      <a:lnTo>
                        <a:pt x="1533" y="625"/>
                      </a:lnTo>
                      <a:lnTo>
                        <a:pt x="1531" y="627"/>
                      </a:lnTo>
                      <a:lnTo>
                        <a:pt x="1530" y="627"/>
                      </a:lnTo>
                      <a:lnTo>
                        <a:pt x="1530" y="628"/>
                      </a:lnTo>
                      <a:lnTo>
                        <a:pt x="1531" y="629"/>
                      </a:lnTo>
                      <a:lnTo>
                        <a:pt x="1533" y="630"/>
                      </a:lnTo>
                      <a:lnTo>
                        <a:pt x="1536" y="631"/>
                      </a:lnTo>
                      <a:lnTo>
                        <a:pt x="1543" y="630"/>
                      </a:lnTo>
                      <a:lnTo>
                        <a:pt x="1552" y="629"/>
                      </a:lnTo>
                      <a:lnTo>
                        <a:pt x="1562" y="629"/>
                      </a:lnTo>
                      <a:lnTo>
                        <a:pt x="1565" y="629"/>
                      </a:lnTo>
                      <a:lnTo>
                        <a:pt x="1568" y="630"/>
                      </a:lnTo>
                      <a:lnTo>
                        <a:pt x="1570" y="632"/>
                      </a:lnTo>
                      <a:lnTo>
                        <a:pt x="1570" y="634"/>
                      </a:lnTo>
                      <a:lnTo>
                        <a:pt x="1570" y="637"/>
                      </a:lnTo>
                      <a:lnTo>
                        <a:pt x="1568" y="638"/>
                      </a:lnTo>
                      <a:lnTo>
                        <a:pt x="1565" y="639"/>
                      </a:lnTo>
                      <a:lnTo>
                        <a:pt x="1562" y="640"/>
                      </a:lnTo>
                      <a:lnTo>
                        <a:pt x="1558" y="639"/>
                      </a:lnTo>
                      <a:lnTo>
                        <a:pt x="1553" y="638"/>
                      </a:lnTo>
                      <a:lnTo>
                        <a:pt x="1549" y="636"/>
                      </a:lnTo>
                      <a:lnTo>
                        <a:pt x="1547" y="636"/>
                      </a:lnTo>
                      <a:lnTo>
                        <a:pt x="1546" y="637"/>
                      </a:lnTo>
                      <a:lnTo>
                        <a:pt x="1546" y="638"/>
                      </a:lnTo>
                      <a:lnTo>
                        <a:pt x="1546" y="639"/>
                      </a:lnTo>
                      <a:lnTo>
                        <a:pt x="1547" y="640"/>
                      </a:lnTo>
                      <a:lnTo>
                        <a:pt x="1549" y="641"/>
                      </a:lnTo>
                      <a:lnTo>
                        <a:pt x="1551" y="642"/>
                      </a:lnTo>
                      <a:lnTo>
                        <a:pt x="1553" y="642"/>
                      </a:lnTo>
                      <a:lnTo>
                        <a:pt x="1554" y="643"/>
                      </a:lnTo>
                      <a:lnTo>
                        <a:pt x="1555" y="644"/>
                      </a:lnTo>
                      <a:lnTo>
                        <a:pt x="1558" y="645"/>
                      </a:lnTo>
                      <a:lnTo>
                        <a:pt x="1560" y="647"/>
                      </a:lnTo>
                      <a:lnTo>
                        <a:pt x="1563" y="649"/>
                      </a:lnTo>
                      <a:lnTo>
                        <a:pt x="1565" y="651"/>
                      </a:lnTo>
                      <a:lnTo>
                        <a:pt x="1566" y="653"/>
                      </a:lnTo>
                      <a:lnTo>
                        <a:pt x="1565" y="655"/>
                      </a:lnTo>
                      <a:lnTo>
                        <a:pt x="1565" y="658"/>
                      </a:lnTo>
                      <a:lnTo>
                        <a:pt x="1565" y="660"/>
                      </a:lnTo>
                      <a:lnTo>
                        <a:pt x="1565" y="662"/>
                      </a:lnTo>
                      <a:lnTo>
                        <a:pt x="1564" y="665"/>
                      </a:lnTo>
                      <a:lnTo>
                        <a:pt x="1562" y="666"/>
                      </a:lnTo>
                      <a:lnTo>
                        <a:pt x="1560" y="667"/>
                      </a:lnTo>
                      <a:lnTo>
                        <a:pt x="1558" y="669"/>
                      </a:lnTo>
                      <a:lnTo>
                        <a:pt x="1558" y="670"/>
                      </a:lnTo>
                      <a:lnTo>
                        <a:pt x="1558" y="670"/>
                      </a:lnTo>
                      <a:lnTo>
                        <a:pt x="1560" y="671"/>
                      </a:lnTo>
                      <a:lnTo>
                        <a:pt x="1562" y="672"/>
                      </a:lnTo>
                      <a:lnTo>
                        <a:pt x="1564" y="673"/>
                      </a:lnTo>
                      <a:lnTo>
                        <a:pt x="1566" y="673"/>
                      </a:lnTo>
                      <a:lnTo>
                        <a:pt x="1568" y="675"/>
                      </a:lnTo>
                      <a:lnTo>
                        <a:pt x="1568" y="676"/>
                      </a:lnTo>
                      <a:lnTo>
                        <a:pt x="1566" y="677"/>
                      </a:lnTo>
                      <a:lnTo>
                        <a:pt x="1564" y="678"/>
                      </a:lnTo>
                      <a:lnTo>
                        <a:pt x="1562" y="680"/>
                      </a:lnTo>
                      <a:lnTo>
                        <a:pt x="1560" y="682"/>
                      </a:lnTo>
                      <a:lnTo>
                        <a:pt x="1560" y="683"/>
                      </a:lnTo>
                      <a:lnTo>
                        <a:pt x="1560" y="684"/>
                      </a:lnTo>
                      <a:lnTo>
                        <a:pt x="1560" y="686"/>
                      </a:lnTo>
                      <a:lnTo>
                        <a:pt x="1559" y="687"/>
                      </a:lnTo>
                      <a:lnTo>
                        <a:pt x="1558" y="688"/>
                      </a:lnTo>
                      <a:lnTo>
                        <a:pt x="1552" y="691"/>
                      </a:lnTo>
                      <a:lnTo>
                        <a:pt x="1547" y="693"/>
                      </a:lnTo>
                      <a:lnTo>
                        <a:pt x="1540" y="695"/>
                      </a:lnTo>
                      <a:lnTo>
                        <a:pt x="1536" y="695"/>
                      </a:lnTo>
                      <a:lnTo>
                        <a:pt x="1532" y="694"/>
                      </a:lnTo>
                      <a:lnTo>
                        <a:pt x="1528" y="692"/>
                      </a:lnTo>
                      <a:lnTo>
                        <a:pt x="1525" y="691"/>
                      </a:lnTo>
                      <a:lnTo>
                        <a:pt x="1520" y="691"/>
                      </a:lnTo>
                      <a:lnTo>
                        <a:pt x="1516" y="692"/>
                      </a:lnTo>
                      <a:lnTo>
                        <a:pt x="1511" y="693"/>
                      </a:lnTo>
                      <a:lnTo>
                        <a:pt x="1510" y="695"/>
                      </a:lnTo>
                      <a:lnTo>
                        <a:pt x="1510" y="697"/>
                      </a:lnTo>
                      <a:lnTo>
                        <a:pt x="1511" y="699"/>
                      </a:lnTo>
                      <a:lnTo>
                        <a:pt x="1514" y="702"/>
                      </a:lnTo>
                      <a:lnTo>
                        <a:pt x="1516" y="704"/>
                      </a:lnTo>
                      <a:lnTo>
                        <a:pt x="1519" y="709"/>
                      </a:lnTo>
                      <a:lnTo>
                        <a:pt x="1519" y="715"/>
                      </a:lnTo>
                      <a:lnTo>
                        <a:pt x="1516" y="721"/>
                      </a:lnTo>
                      <a:lnTo>
                        <a:pt x="1511" y="726"/>
                      </a:lnTo>
                      <a:lnTo>
                        <a:pt x="1505" y="728"/>
                      </a:lnTo>
                      <a:lnTo>
                        <a:pt x="1496" y="728"/>
                      </a:lnTo>
                      <a:lnTo>
                        <a:pt x="1487" y="728"/>
                      </a:lnTo>
                      <a:lnTo>
                        <a:pt x="1479" y="728"/>
                      </a:lnTo>
                      <a:lnTo>
                        <a:pt x="1473" y="727"/>
                      </a:lnTo>
                      <a:lnTo>
                        <a:pt x="1465" y="726"/>
                      </a:lnTo>
                      <a:lnTo>
                        <a:pt x="1463" y="726"/>
                      </a:lnTo>
                      <a:lnTo>
                        <a:pt x="1461" y="727"/>
                      </a:lnTo>
                      <a:lnTo>
                        <a:pt x="1460" y="729"/>
                      </a:lnTo>
                      <a:lnTo>
                        <a:pt x="1459" y="730"/>
                      </a:lnTo>
                      <a:lnTo>
                        <a:pt x="1460" y="732"/>
                      </a:lnTo>
                      <a:lnTo>
                        <a:pt x="1461" y="732"/>
                      </a:lnTo>
                      <a:lnTo>
                        <a:pt x="1462" y="732"/>
                      </a:lnTo>
                      <a:lnTo>
                        <a:pt x="1464" y="732"/>
                      </a:lnTo>
                      <a:lnTo>
                        <a:pt x="1466" y="731"/>
                      </a:lnTo>
                      <a:lnTo>
                        <a:pt x="1467" y="730"/>
                      </a:lnTo>
                      <a:lnTo>
                        <a:pt x="1479" y="729"/>
                      </a:lnTo>
                      <a:lnTo>
                        <a:pt x="1492" y="731"/>
                      </a:lnTo>
                      <a:lnTo>
                        <a:pt x="1500" y="735"/>
                      </a:lnTo>
                      <a:lnTo>
                        <a:pt x="1504" y="739"/>
                      </a:lnTo>
                      <a:lnTo>
                        <a:pt x="1504" y="748"/>
                      </a:lnTo>
                      <a:lnTo>
                        <a:pt x="1507" y="752"/>
                      </a:lnTo>
                      <a:lnTo>
                        <a:pt x="1508" y="752"/>
                      </a:lnTo>
                      <a:lnTo>
                        <a:pt x="1509" y="752"/>
                      </a:lnTo>
                      <a:lnTo>
                        <a:pt x="1510" y="750"/>
                      </a:lnTo>
                      <a:lnTo>
                        <a:pt x="1511" y="749"/>
                      </a:lnTo>
                      <a:lnTo>
                        <a:pt x="1511" y="747"/>
                      </a:lnTo>
                      <a:lnTo>
                        <a:pt x="1511" y="745"/>
                      </a:lnTo>
                      <a:lnTo>
                        <a:pt x="1511" y="743"/>
                      </a:lnTo>
                      <a:lnTo>
                        <a:pt x="1514" y="742"/>
                      </a:lnTo>
                      <a:lnTo>
                        <a:pt x="1516" y="741"/>
                      </a:lnTo>
                      <a:lnTo>
                        <a:pt x="1519" y="741"/>
                      </a:lnTo>
                      <a:lnTo>
                        <a:pt x="1522" y="741"/>
                      </a:lnTo>
                      <a:lnTo>
                        <a:pt x="1528" y="746"/>
                      </a:lnTo>
                      <a:lnTo>
                        <a:pt x="1530" y="751"/>
                      </a:lnTo>
                      <a:lnTo>
                        <a:pt x="1530" y="757"/>
                      </a:lnTo>
                      <a:lnTo>
                        <a:pt x="1527" y="761"/>
                      </a:lnTo>
                      <a:lnTo>
                        <a:pt x="1520" y="764"/>
                      </a:lnTo>
                      <a:lnTo>
                        <a:pt x="1511" y="767"/>
                      </a:lnTo>
                      <a:lnTo>
                        <a:pt x="1503" y="770"/>
                      </a:lnTo>
                      <a:lnTo>
                        <a:pt x="1496" y="774"/>
                      </a:lnTo>
                      <a:lnTo>
                        <a:pt x="1493" y="778"/>
                      </a:lnTo>
                      <a:lnTo>
                        <a:pt x="1486" y="782"/>
                      </a:lnTo>
                      <a:lnTo>
                        <a:pt x="1479" y="785"/>
                      </a:lnTo>
                      <a:lnTo>
                        <a:pt x="1474" y="785"/>
                      </a:lnTo>
                      <a:lnTo>
                        <a:pt x="1473" y="784"/>
                      </a:lnTo>
                      <a:lnTo>
                        <a:pt x="1472" y="783"/>
                      </a:lnTo>
                      <a:lnTo>
                        <a:pt x="1473" y="781"/>
                      </a:lnTo>
                      <a:lnTo>
                        <a:pt x="1473" y="780"/>
                      </a:lnTo>
                      <a:lnTo>
                        <a:pt x="1474" y="778"/>
                      </a:lnTo>
                      <a:lnTo>
                        <a:pt x="1475" y="776"/>
                      </a:lnTo>
                      <a:lnTo>
                        <a:pt x="1475" y="774"/>
                      </a:lnTo>
                      <a:lnTo>
                        <a:pt x="1474" y="773"/>
                      </a:lnTo>
                      <a:lnTo>
                        <a:pt x="1472" y="772"/>
                      </a:lnTo>
                      <a:lnTo>
                        <a:pt x="1467" y="772"/>
                      </a:lnTo>
                      <a:lnTo>
                        <a:pt x="1463" y="771"/>
                      </a:lnTo>
                      <a:lnTo>
                        <a:pt x="1460" y="770"/>
                      </a:lnTo>
                      <a:lnTo>
                        <a:pt x="1456" y="768"/>
                      </a:lnTo>
                      <a:lnTo>
                        <a:pt x="1455" y="767"/>
                      </a:lnTo>
                      <a:lnTo>
                        <a:pt x="1454" y="765"/>
                      </a:lnTo>
                      <a:lnTo>
                        <a:pt x="1452" y="765"/>
                      </a:lnTo>
                      <a:lnTo>
                        <a:pt x="1450" y="765"/>
                      </a:lnTo>
                      <a:lnTo>
                        <a:pt x="1448" y="768"/>
                      </a:lnTo>
                      <a:lnTo>
                        <a:pt x="1446" y="769"/>
                      </a:lnTo>
                      <a:lnTo>
                        <a:pt x="1444" y="769"/>
                      </a:lnTo>
                      <a:lnTo>
                        <a:pt x="1442" y="769"/>
                      </a:lnTo>
                      <a:lnTo>
                        <a:pt x="1440" y="768"/>
                      </a:lnTo>
                      <a:lnTo>
                        <a:pt x="1437" y="767"/>
                      </a:lnTo>
                      <a:lnTo>
                        <a:pt x="1434" y="767"/>
                      </a:lnTo>
                      <a:lnTo>
                        <a:pt x="1433" y="767"/>
                      </a:lnTo>
                      <a:lnTo>
                        <a:pt x="1431" y="768"/>
                      </a:lnTo>
                      <a:lnTo>
                        <a:pt x="1430" y="770"/>
                      </a:lnTo>
                      <a:lnTo>
                        <a:pt x="1430" y="772"/>
                      </a:lnTo>
                      <a:lnTo>
                        <a:pt x="1429" y="773"/>
                      </a:lnTo>
                      <a:lnTo>
                        <a:pt x="1427" y="774"/>
                      </a:lnTo>
                      <a:lnTo>
                        <a:pt x="1426" y="774"/>
                      </a:lnTo>
                      <a:lnTo>
                        <a:pt x="1423" y="773"/>
                      </a:lnTo>
                      <a:lnTo>
                        <a:pt x="1421" y="771"/>
                      </a:lnTo>
                      <a:lnTo>
                        <a:pt x="1420" y="770"/>
                      </a:lnTo>
                      <a:lnTo>
                        <a:pt x="1419" y="768"/>
                      </a:lnTo>
                      <a:lnTo>
                        <a:pt x="1419" y="765"/>
                      </a:lnTo>
                      <a:lnTo>
                        <a:pt x="1418" y="764"/>
                      </a:lnTo>
                      <a:lnTo>
                        <a:pt x="1417" y="763"/>
                      </a:lnTo>
                      <a:lnTo>
                        <a:pt x="1415" y="763"/>
                      </a:lnTo>
                      <a:lnTo>
                        <a:pt x="1413" y="764"/>
                      </a:lnTo>
                      <a:lnTo>
                        <a:pt x="1412" y="765"/>
                      </a:lnTo>
                      <a:lnTo>
                        <a:pt x="1410" y="765"/>
                      </a:lnTo>
                      <a:lnTo>
                        <a:pt x="1409" y="769"/>
                      </a:lnTo>
                      <a:lnTo>
                        <a:pt x="1408" y="771"/>
                      </a:lnTo>
                      <a:lnTo>
                        <a:pt x="1408" y="773"/>
                      </a:lnTo>
                      <a:lnTo>
                        <a:pt x="1406" y="776"/>
                      </a:lnTo>
                      <a:lnTo>
                        <a:pt x="1404" y="780"/>
                      </a:lnTo>
                      <a:lnTo>
                        <a:pt x="1398" y="781"/>
                      </a:lnTo>
                      <a:lnTo>
                        <a:pt x="1393" y="780"/>
                      </a:lnTo>
                      <a:lnTo>
                        <a:pt x="1387" y="779"/>
                      </a:lnTo>
                      <a:lnTo>
                        <a:pt x="1374" y="772"/>
                      </a:lnTo>
                      <a:lnTo>
                        <a:pt x="1369" y="772"/>
                      </a:lnTo>
                      <a:lnTo>
                        <a:pt x="1367" y="773"/>
                      </a:lnTo>
                      <a:lnTo>
                        <a:pt x="1365" y="775"/>
                      </a:lnTo>
                      <a:lnTo>
                        <a:pt x="1362" y="776"/>
                      </a:lnTo>
                      <a:lnTo>
                        <a:pt x="1358" y="776"/>
                      </a:lnTo>
                      <a:lnTo>
                        <a:pt x="1353" y="776"/>
                      </a:lnTo>
                      <a:lnTo>
                        <a:pt x="1348" y="774"/>
                      </a:lnTo>
                      <a:lnTo>
                        <a:pt x="1345" y="773"/>
                      </a:lnTo>
                      <a:lnTo>
                        <a:pt x="1342" y="772"/>
                      </a:lnTo>
                      <a:lnTo>
                        <a:pt x="1336" y="774"/>
                      </a:lnTo>
                      <a:lnTo>
                        <a:pt x="1334" y="775"/>
                      </a:lnTo>
                      <a:lnTo>
                        <a:pt x="1332" y="778"/>
                      </a:lnTo>
                      <a:lnTo>
                        <a:pt x="1331" y="781"/>
                      </a:lnTo>
                      <a:lnTo>
                        <a:pt x="1329" y="783"/>
                      </a:lnTo>
                      <a:lnTo>
                        <a:pt x="1328" y="786"/>
                      </a:lnTo>
                      <a:lnTo>
                        <a:pt x="1325" y="789"/>
                      </a:lnTo>
                      <a:lnTo>
                        <a:pt x="1323" y="790"/>
                      </a:lnTo>
                      <a:lnTo>
                        <a:pt x="1319" y="790"/>
                      </a:lnTo>
                      <a:lnTo>
                        <a:pt x="1314" y="789"/>
                      </a:lnTo>
                      <a:lnTo>
                        <a:pt x="1309" y="789"/>
                      </a:lnTo>
                      <a:lnTo>
                        <a:pt x="1303" y="792"/>
                      </a:lnTo>
                      <a:lnTo>
                        <a:pt x="1301" y="794"/>
                      </a:lnTo>
                      <a:lnTo>
                        <a:pt x="1300" y="796"/>
                      </a:lnTo>
                      <a:lnTo>
                        <a:pt x="1300" y="798"/>
                      </a:lnTo>
                      <a:lnTo>
                        <a:pt x="1301" y="800"/>
                      </a:lnTo>
                      <a:lnTo>
                        <a:pt x="1303" y="801"/>
                      </a:lnTo>
                      <a:lnTo>
                        <a:pt x="1307" y="802"/>
                      </a:lnTo>
                      <a:lnTo>
                        <a:pt x="1310" y="803"/>
                      </a:lnTo>
                      <a:lnTo>
                        <a:pt x="1312" y="804"/>
                      </a:lnTo>
                      <a:lnTo>
                        <a:pt x="1314" y="805"/>
                      </a:lnTo>
                      <a:lnTo>
                        <a:pt x="1318" y="806"/>
                      </a:lnTo>
                      <a:lnTo>
                        <a:pt x="1320" y="807"/>
                      </a:lnTo>
                      <a:lnTo>
                        <a:pt x="1323" y="808"/>
                      </a:lnTo>
                      <a:lnTo>
                        <a:pt x="1325" y="809"/>
                      </a:lnTo>
                      <a:lnTo>
                        <a:pt x="1326" y="811"/>
                      </a:lnTo>
                      <a:lnTo>
                        <a:pt x="1326" y="813"/>
                      </a:lnTo>
                      <a:lnTo>
                        <a:pt x="1325" y="814"/>
                      </a:lnTo>
                      <a:lnTo>
                        <a:pt x="1323" y="816"/>
                      </a:lnTo>
                      <a:lnTo>
                        <a:pt x="1323" y="817"/>
                      </a:lnTo>
                      <a:lnTo>
                        <a:pt x="1323" y="818"/>
                      </a:lnTo>
                      <a:lnTo>
                        <a:pt x="1324" y="818"/>
                      </a:lnTo>
                      <a:lnTo>
                        <a:pt x="1326" y="818"/>
                      </a:lnTo>
                      <a:lnTo>
                        <a:pt x="1330" y="818"/>
                      </a:lnTo>
                      <a:lnTo>
                        <a:pt x="1333" y="818"/>
                      </a:lnTo>
                      <a:lnTo>
                        <a:pt x="1335" y="819"/>
                      </a:lnTo>
                      <a:lnTo>
                        <a:pt x="1337" y="820"/>
                      </a:lnTo>
                      <a:lnTo>
                        <a:pt x="1341" y="820"/>
                      </a:lnTo>
                      <a:lnTo>
                        <a:pt x="1344" y="819"/>
                      </a:lnTo>
                      <a:lnTo>
                        <a:pt x="1347" y="818"/>
                      </a:lnTo>
                      <a:lnTo>
                        <a:pt x="1351" y="817"/>
                      </a:lnTo>
                      <a:lnTo>
                        <a:pt x="1354" y="816"/>
                      </a:lnTo>
                      <a:lnTo>
                        <a:pt x="1356" y="816"/>
                      </a:lnTo>
                      <a:lnTo>
                        <a:pt x="1359" y="816"/>
                      </a:lnTo>
                      <a:lnTo>
                        <a:pt x="1363" y="817"/>
                      </a:lnTo>
                      <a:lnTo>
                        <a:pt x="1365" y="818"/>
                      </a:lnTo>
                      <a:lnTo>
                        <a:pt x="1367" y="818"/>
                      </a:lnTo>
                      <a:lnTo>
                        <a:pt x="1368" y="820"/>
                      </a:lnTo>
                      <a:lnTo>
                        <a:pt x="1370" y="822"/>
                      </a:lnTo>
                      <a:lnTo>
                        <a:pt x="1372" y="823"/>
                      </a:lnTo>
                      <a:lnTo>
                        <a:pt x="1373" y="824"/>
                      </a:lnTo>
                      <a:lnTo>
                        <a:pt x="1375" y="824"/>
                      </a:lnTo>
                      <a:lnTo>
                        <a:pt x="1378" y="823"/>
                      </a:lnTo>
                      <a:lnTo>
                        <a:pt x="1383" y="823"/>
                      </a:lnTo>
                      <a:lnTo>
                        <a:pt x="1386" y="822"/>
                      </a:lnTo>
                      <a:lnTo>
                        <a:pt x="1390" y="820"/>
                      </a:lnTo>
                      <a:lnTo>
                        <a:pt x="1394" y="818"/>
                      </a:lnTo>
                      <a:lnTo>
                        <a:pt x="1402" y="813"/>
                      </a:lnTo>
                      <a:lnTo>
                        <a:pt x="1412" y="806"/>
                      </a:lnTo>
                      <a:lnTo>
                        <a:pt x="1423" y="801"/>
                      </a:lnTo>
                      <a:lnTo>
                        <a:pt x="1434" y="801"/>
                      </a:lnTo>
                      <a:lnTo>
                        <a:pt x="1445" y="803"/>
                      </a:lnTo>
                      <a:lnTo>
                        <a:pt x="1456" y="805"/>
                      </a:lnTo>
                      <a:lnTo>
                        <a:pt x="1467" y="805"/>
                      </a:lnTo>
                      <a:lnTo>
                        <a:pt x="1478" y="806"/>
                      </a:lnTo>
                      <a:lnTo>
                        <a:pt x="1485" y="809"/>
                      </a:lnTo>
                      <a:lnTo>
                        <a:pt x="1487" y="813"/>
                      </a:lnTo>
                      <a:lnTo>
                        <a:pt x="1489" y="816"/>
                      </a:lnTo>
                      <a:lnTo>
                        <a:pt x="1492" y="819"/>
                      </a:lnTo>
                      <a:lnTo>
                        <a:pt x="1492" y="823"/>
                      </a:lnTo>
                      <a:lnTo>
                        <a:pt x="1492" y="825"/>
                      </a:lnTo>
                      <a:lnTo>
                        <a:pt x="1489" y="828"/>
                      </a:lnTo>
                      <a:lnTo>
                        <a:pt x="1487" y="830"/>
                      </a:lnTo>
                      <a:lnTo>
                        <a:pt x="1486" y="833"/>
                      </a:lnTo>
                      <a:lnTo>
                        <a:pt x="1485" y="834"/>
                      </a:lnTo>
                      <a:lnTo>
                        <a:pt x="1485" y="836"/>
                      </a:lnTo>
                      <a:lnTo>
                        <a:pt x="1487" y="836"/>
                      </a:lnTo>
                      <a:lnTo>
                        <a:pt x="1488" y="837"/>
                      </a:lnTo>
                      <a:lnTo>
                        <a:pt x="1490" y="837"/>
                      </a:lnTo>
                      <a:lnTo>
                        <a:pt x="1493" y="837"/>
                      </a:lnTo>
                      <a:lnTo>
                        <a:pt x="1494" y="838"/>
                      </a:lnTo>
                      <a:lnTo>
                        <a:pt x="1495" y="840"/>
                      </a:lnTo>
                      <a:lnTo>
                        <a:pt x="1497" y="841"/>
                      </a:lnTo>
                      <a:lnTo>
                        <a:pt x="1498" y="844"/>
                      </a:lnTo>
                      <a:lnTo>
                        <a:pt x="1499" y="846"/>
                      </a:lnTo>
                      <a:lnTo>
                        <a:pt x="1500" y="847"/>
                      </a:lnTo>
                      <a:lnTo>
                        <a:pt x="1496" y="852"/>
                      </a:lnTo>
                      <a:lnTo>
                        <a:pt x="1489" y="856"/>
                      </a:lnTo>
                      <a:lnTo>
                        <a:pt x="1482" y="859"/>
                      </a:lnTo>
                      <a:lnTo>
                        <a:pt x="1474" y="860"/>
                      </a:lnTo>
                      <a:lnTo>
                        <a:pt x="1465" y="862"/>
                      </a:lnTo>
                      <a:lnTo>
                        <a:pt x="1455" y="865"/>
                      </a:lnTo>
                      <a:lnTo>
                        <a:pt x="1446" y="865"/>
                      </a:lnTo>
                      <a:lnTo>
                        <a:pt x="1439" y="860"/>
                      </a:lnTo>
                      <a:lnTo>
                        <a:pt x="1438" y="859"/>
                      </a:lnTo>
                      <a:lnTo>
                        <a:pt x="1437" y="857"/>
                      </a:lnTo>
                      <a:lnTo>
                        <a:pt x="1435" y="856"/>
                      </a:lnTo>
                      <a:lnTo>
                        <a:pt x="1434" y="855"/>
                      </a:lnTo>
                      <a:lnTo>
                        <a:pt x="1433" y="855"/>
                      </a:lnTo>
                      <a:lnTo>
                        <a:pt x="1433" y="855"/>
                      </a:lnTo>
                      <a:lnTo>
                        <a:pt x="1432" y="857"/>
                      </a:lnTo>
                      <a:lnTo>
                        <a:pt x="1432" y="860"/>
                      </a:lnTo>
                      <a:lnTo>
                        <a:pt x="1430" y="863"/>
                      </a:lnTo>
                      <a:lnTo>
                        <a:pt x="1426" y="866"/>
                      </a:lnTo>
                      <a:lnTo>
                        <a:pt x="1419" y="867"/>
                      </a:lnTo>
                      <a:lnTo>
                        <a:pt x="1412" y="867"/>
                      </a:lnTo>
                      <a:lnTo>
                        <a:pt x="1398" y="868"/>
                      </a:lnTo>
                      <a:lnTo>
                        <a:pt x="1383" y="869"/>
                      </a:lnTo>
                      <a:lnTo>
                        <a:pt x="1361" y="870"/>
                      </a:lnTo>
                      <a:lnTo>
                        <a:pt x="1341" y="869"/>
                      </a:lnTo>
                      <a:lnTo>
                        <a:pt x="1337" y="868"/>
                      </a:lnTo>
                      <a:lnTo>
                        <a:pt x="1335" y="868"/>
                      </a:lnTo>
                      <a:lnTo>
                        <a:pt x="1335" y="867"/>
                      </a:lnTo>
                      <a:lnTo>
                        <a:pt x="1335" y="866"/>
                      </a:lnTo>
                      <a:lnTo>
                        <a:pt x="1335" y="865"/>
                      </a:lnTo>
                      <a:lnTo>
                        <a:pt x="1335" y="863"/>
                      </a:lnTo>
                      <a:lnTo>
                        <a:pt x="1335" y="862"/>
                      </a:lnTo>
                      <a:lnTo>
                        <a:pt x="1334" y="860"/>
                      </a:lnTo>
                      <a:lnTo>
                        <a:pt x="1332" y="858"/>
                      </a:lnTo>
                      <a:lnTo>
                        <a:pt x="1329" y="858"/>
                      </a:lnTo>
                      <a:lnTo>
                        <a:pt x="1326" y="858"/>
                      </a:lnTo>
                      <a:lnTo>
                        <a:pt x="1323" y="858"/>
                      </a:lnTo>
                      <a:lnTo>
                        <a:pt x="1321" y="858"/>
                      </a:lnTo>
                      <a:lnTo>
                        <a:pt x="1317" y="860"/>
                      </a:lnTo>
                      <a:lnTo>
                        <a:pt x="1313" y="861"/>
                      </a:lnTo>
                      <a:lnTo>
                        <a:pt x="1311" y="863"/>
                      </a:lnTo>
                      <a:lnTo>
                        <a:pt x="1308" y="867"/>
                      </a:lnTo>
                      <a:lnTo>
                        <a:pt x="1306" y="869"/>
                      </a:lnTo>
                      <a:lnTo>
                        <a:pt x="1304" y="869"/>
                      </a:lnTo>
                      <a:lnTo>
                        <a:pt x="1302" y="869"/>
                      </a:lnTo>
                      <a:lnTo>
                        <a:pt x="1301" y="868"/>
                      </a:lnTo>
                      <a:lnTo>
                        <a:pt x="1299" y="867"/>
                      </a:lnTo>
                      <a:lnTo>
                        <a:pt x="1297" y="867"/>
                      </a:lnTo>
                      <a:lnTo>
                        <a:pt x="1295" y="867"/>
                      </a:lnTo>
                      <a:lnTo>
                        <a:pt x="1292" y="867"/>
                      </a:lnTo>
                      <a:lnTo>
                        <a:pt x="1290" y="867"/>
                      </a:lnTo>
                      <a:lnTo>
                        <a:pt x="1289" y="867"/>
                      </a:lnTo>
                      <a:lnTo>
                        <a:pt x="1287" y="867"/>
                      </a:lnTo>
                      <a:lnTo>
                        <a:pt x="1286" y="865"/>
                      </a:lnTo>
                      <a:lnTo>
                        <a:pt x="1284" y="861"/>
                      </a:lnTo>
                      <a:lnTo>
                        <a:pt x="1281" y="858"/>
                      </a:lnTo>
                      <a:lnTo>
                        <a:pt x="1279" y="854"/>
                      </a:lnTo>
                      <a:lnTo>
                        <a:pt x="1277" y="842"/>
                      </a:lnTo>
                      <a:lnTo>
                        <a:pt x="1277" y="829"/>
                      </a:lnTo>
                      <a:lnTo>
                        <a:pt x="1279" y="822"/>
                      </a:lnTo>
                      <a:lnTo>
                        <a:pt x="1281" y="815"/>
                      </a:lnTo>
                      <a:lnTo>
                        <a:pt x="1281" y="808"/>
                      </a:lnTo>
                      <a:lnTo>
                        <a:pt x="1277" y="803"/>
                      </a:lnTo>
                      <a:lnTo>
                        <a:pt x="1274" y="800"/>
                      </a:lnTo>
                      <a:lnTo>
                        <a:pt x="1271" y="797"/>
                      </a:lnTo>
                      <a:lnTo>
                        <a:pt x="1270" y="794"/>
                      </a:lnTo>
                      <a:lnTo>
                        <a:pt x="1269" y="791"/>
                      </a:lnTo>
                      <a:lnTo>
                        <a:pt x="1268" y="787"/>
                      </a:lnTo>
                      <a:lnTo>
                        <a:pt x="1264" y="785"/>
                      </a:lnTo>
                      <a:lnTo>
                        <a:pt x="1258" y="786"/>
                      </a:lnTo>
                      <a:lnTo>
                        <a:pt x="1252" y="790"/>
                      </a:lnTo>
                      <a:lnTo>
                        <a:pt x="1246" y="792"/>
                      </a:lnTo>
                      <a:lnTo>
                        <a:pt x="1243" y="793"/>
                      </a:lnTo>
                      <a:lnTo>
                        <a:pt x="1239" y="793"/>
                      </a:lnTo>
                      <a:lnTo>
                        <a:pt x="1237" y="792"/>
                      </a:lnTo>
                      <a:lnTo>
                        <a:pt x="1235" y="791"/>
                      </a:lnTo>
                      <a:lnTo>
                        <a:pt x="1233" y="790"/>
                      </a:lnTo>
                      <a:lnTo>
                        <a:pt x="1231" y="787"/>
                      </a:lnTo>
                      <a:lnTo>
                        <a:pt x="1228" y="786"/>
                      </a:lnTo>
                      <a:lnTo>
                        <a:pt x="1227" y="785"/>
                      </a:lnTo>
                      <a:lnTo>
                        <a:pt x="1225" y="784"/>
                      </a:lnTo>
                      <a:lnTo>
                        <a:pt x="1223" y="783"/>
                      </a:lnTo>
                      <a:lnTo>
                        <a:pt x="1220" y="782"/>
                      </a:lnTo>
                      <a:lnTo>
                        <a:pt x="1217" y="780"/>
                      </a:lnTo>
                      <a:lnTo>
                        <a:pt x="1216" y="778"/>
                      </a:lnTo>
                      <a:lnTo>
                        <a:pt x="1215" y="774"/>
                      </a:lnTo>
                      <a:lnTo>
                        <a:pt x="1214" y="772"/>
                      </a:lnTo>
                      <a:lnTo>
                        <a:pt x="1214" y="770"/>
                      </a:lnTo>
                      <a:lnTo>
                        <a:pt x="1213" y="769"/>
                      </a:lnTo>
                      <a:lnTo>
                        <a:pt x="1212" y="768"/>
                      </a:lnTo>
                      <a:lnTo>
                        <a:pt x="1211" y="767"/>
                      </a:lnTo>
                      <a:lnTo>
                        <a:pt x="1209" y="765"/>
                      </a:lnTo>
                      <a:lnTo>
                        <a:pt x="1208" y="763"/>
                      </a:lnTo>
                      <a:lnTo>
                        <a:pt x="1206" y="760"/>
                      </a:lnTo>
                      <a:lnTo>
                        <a:pt x="1208" y="758"/>
                      </a:lnTo>
                      <a:lnTo>
                        <a:pt x="1210" y="756"/>
                      </a:lnTo>
                      <a:lnTo>
                        <a:pt x="1213" y="753"/>
                      </a:lnTo>
                      <a:lnTo>
                        <a:pt x="1217" y="752"/>
                      </a:lnTo>
                      <a:lnTo>
                        <a:pt x="1223" y="752"/>
                      </a:lnTo>
                      <a:lnTo>
                        <a:pt x="1225" y="752"/>
                      </a:lnTo>
                      <a:lnTo>
                        <a:pt x="1228" y="752"/>
                      </a:lnTo>
                      <a:lnTo>
                        <a:pt x="1231" y="753"/>
                      </a:lnTo>
                      <a:lnTo>
                        <a:pt x="1233" y="753"/>
                      </a:lnTo>
                      <a:lnTo>
                        <a:pt x="1236" y="753"/>
                      </a:lnTo>
                      <a:lnTo>
                        <a:pt x="1239" y="752"/>
                      </a:lnTo>
                      <a:lnTo>
                        <a:pt x="1243" y="752"/>
                      </a:lnTo>
                      <a:lnTo>
                        <a:pt x="1245" y="751"/>
                      </a:lnTo>
                      <a:lnTo>
                        <a:pt x="1247" y="751"/>
                      </a:lnTo>
                      <a:lnTo>
                        <a:pt x="1249" y="751"/>
                      </a:lnTo>
                      <a:lnTo>
                        <a:pt x="1251" y="752"/>
                      </a:lnTo>
                      <a:lnTo>
                        <a:pt x="1255" y="754"/>
                      </a:lnTo>
                      <a:lnTo>
                        <a:pt x="1258" y="757"/>
                      </a:lnTo>
                      <a:lnTo>
                        <a:pt x="1259" y="759"/>
                      </a:lnTo>
                      <a:lnTo>
                        <a:pt x="1259" y="762"/>
                      </a:lnTo>
                      <a:lnTo>
                        <a:pt x="1259" y="764"/>
                      </a:lnTo>
                      <a:lnTo>
                        <a:pt x="1259" y="768"/>
                      </a:lnTo>
                      <a:lnTo>
                        <a:pt x="1259" y="769"/>
                      </a:lnTo>
                      <a:lnTo>
                        <a:pt x="1260" y="770"/>
                      </a:lnTo>
                      <a:lnTo>
                        <a:pt x="1262" y="770"/>
                      </a:lnTo>
                      <a:lnTo>
                        <a:pt x="1264" y="770"/>
                      </a:lnTo>
                      <a:lnTo>
                        <a:pt x="1265" y="770"/>
                      </a:lnTo>
                      <a:lnTo>
                        <a:pt x="1267" y="770"/>
                      </a:lnTo>
                      <a:lnTo>
                        <a:pt x="1268" y="770"/>
                      </a:lnTo>
                      <a:lnTo>
                        <a:pt x="1274" y="769"/>
                      </a:lnTo>
                      <a:lnTo>
                        <a:pt x="1278" y="768"/>
                      </a:lnTo>
                      <a:lnTo>
                        <a:pt x="1282" y="767"/>
                      </a:lnTo>
                      <a:lnTo>
                        <a:pt x="1286" y="765"/>
                      </a:lnTo>
                      <a:lnTo>
                        <a:pt x="1290" y="764"/>
                      </a:lnTo>
                      <a:lnTo>
                        <a:pt x="1293" y="762"/>
                      </a:lnTo>
                      <a:lnTo>
                        <a:pt x="1297" y="761"/>
                      </a:lnTo>
                      <a:lnTo>
                        <a:pt x="1300" y="760"/>
                      </a:lnTo>
                      <a:lnTo>
                        <a:pt x="1303" y="761"/>
                      </a:lnTo>
                      <a:lnTo>
                        <a:pt x="1307" y="761"/>
                      </a:lnTo>
                      <a:lnTo>
                        <a:pt x="1309" y="762"/>
                      </a:lnTo>
                      <a:lnTo>
                        <a:pt x="1311" y="764"/>
                      </a:lnTo>
                      <a:lnTo>
                        <a:pt x="1312" y="765"/>
                      </a:lnTo>
                      <a:lnTo>
                        <a:pt x="1315" y="767"/>
                      </a:lnTo>
                      <a:lnTo>
                        <a:pt x="1319" y="767"/>
                      </a:lnTo>
                      <a:lnTo>
                        <a:pt x="1321" y="765"/>
                      </a:lnTo>
                      <a:lnTo>
                        <a:pt x="1323" y="764"/>
                      </a:lnTo>
                      <a:lnTo>
                        <a:pt x="1325" y="763"/>
                      </a:lnTo>
                      <a:lnTo>
                        <a:pt x="1326" y="761"/>
                      </a:lnTo>
                      <a:lnTo>
                        <a:pt x="1326" y="759"/>
                      </a:lnTo>
                      <a:lnTo>
                        <a:pt x="1326" y="757"/>
                      </a:lnTo>
                      <a:lnTo>
                        <a:pt x="1328" y="754"/>
                      </a:lnTo>
                      <a:lnTo>
                        <a:pt x="1330" y="752"/>
                      </a:lnTo>
                      <a:lnTo>
                        <a:pt x="1332" y="751"/>
                      </a:lnTo>
                      <a:lnTo>
                        <a:pt x="1334" y="750"/>
                      </a:lnTo>
                      <a:lnTo>
                        <a:pt x="1336" y="749"/>
                      </a:lnTo>
                      <a:lnTo>
                        <a:pt x="1339" y="748"/>
                      </a:lnTo>
                      <a:lnTo>
                        <a:pt x="1341" y="746"/>
                      </a:lnTo>
                      <a:lnTo>
                        <a:pt x="1342" y="743"/>
                      </a:lnTo>
                      <a:lnTo>
                        <a:pt x="1343" y="742"/>
                      </a:lnTo>
                      <a:lnTo>
                        <a:pt x="1344" y="740"/>
                      </a:lnTo>
                      <a:lnTo>
                        <a:pt x="1347" y="739"/>
                      </a:lnTo>
                      <a:lnTo>
                        <a:pt x="1351" y="737"/>
                      </a:lnTo>
                      <a:lnTo>
                        <a:pt x="1354" y="736"/>
                      </a:lnTo>
                      <a:lnTo>
                        <a:pt x="1355" y="734"/>
                      </a:lnTo>
                      <a:lnTo>
                        <a:pt x="1356" y="731"/>
                      </a:lnTo>
                      <a:lnTo>
                        <a:pt x="1357" y="729"/>
                      </a:lnTo>
                      <a:lnTo>
                        <a:pt x="1356" y="726"/>
                      </a:lnTo>
                      <a:lnTo>
                        <a:pt x="1354" y="724"/>
                      </a:lnTo>
                      <a:lnTo>
                        <a:pt x="1352" y="721"/>
                      </a:lnTo>
                      <a:lnTo>
                        <a:pt x="1350" y="720"/>
                      </a:lnTo>
                      <a:lnTo>
                        <a:pt x="1348" y="718"/>
                      </a:lnTo>
                      <a:lnTo>
                        <a:pt x="1346" y="717"/>
                      </a:lnTo>
                      <a:lnTo>
                        <a:pt x="1346" y="715"/>
                      </a:lnTo>
                      <a:lnTo>
                        <a:pt x="1346" y="713"/>
                      </a:lnTo>
                      <a:lnTo>
                        <a:pt x="1347" y="710"/>
                      </a:lnTo>
                      <a:lnTo>
                        <a:pt x="1350" y="708"/>
                      </a:lnTo>
                      <a:lnTo>
                        <a:pt x="1358" y="704"/>
                      </a:lnTo>
                      <a:lnTo>
                        <a:pt x="1369" y="702"/>
                      </a:lnTo>
                      <a:lnTo>
                        <a:pt x="1380" y="704"/>
                      </a:lnTo>
                      <a:lnTo>
                        <a:pt x="1384" y="707"/>
                      </a:lnTo>
                      <a:lnTo>
                        <a:pt x="1386" y="709"/>
                      </a:lnTo>
                      <a:lnTo>
                        <a:pt x="1388" y="713"/>
                      </a:lnTo>
                      <a:lnTo>
                        <a:pt x="1390" y="716"/>
                      </a:lnTo>
                      <a:lnTo>
                        <a:pt x="1394" y="719"/>
                      </a:lnTo>
                      <a:lnTo>
                        <a:pt x="1398" y="726"/>
                      </a:lnTo>
                      <a:lnTo>
                        <a:pt x="1407" y="729"/>
                      </a:lnTo>
                      <a:lnTo>
                        <a:pt x="1417" y="728"/>
                      </a:lnTo>
                      <a:lnTo>
                        <a:pt x="1418" y="727"/>
                      </a:lnTo>
                      <a:lnTo>
                        <a:pt x="1420" y="726"/>
                      </a:lnTo>
                      <a:lnTo>
                        <a:pt x="1422" y="725"/>
                      </a:lnTo>
                      <a:lnTo>
                        <a:pt x="1423" y="724"/>
                      </a:lnTo>
                      <a:lnTo>
                        <a:pt x="1426" y="721"/>
                      </a:lnTo>
                      <a:lnTo>
                        <a:pt x="1427" y="720"/>
                      </a:lnTo>
                      <a:lnTo>
                        <a:pt x="1427" y="719"/>
                      </a:lnTo>
                      <a:lnTo>
                        <a:pt x="1426" y="718"/>
                      </a:lnTo>
                      <a:lnTo>
                        <a:pt x="1423" y="717"/>
                      </a:lnTo>
                      <a:lnTo>
                        <a:pt x="1419" y="717"/>
                      </a:lnTo>
                      <a:lnTo>
                        <a:pt x="1416" y="717"/>
                      </a:lnTo>
                      <a:lnTo>
                        <a:pt x="1412" y="716"/>
                      </a:lnTo>
                      <a:lnTo>
                        <a:pt x="1410" y="715"/>
                      </a:lnTo>
                      <a:lnTo>
                        <a:pt x="1408" y="713"/>
                      </a:lnTo>
                      <a:lnTo>
                        <a:pt x="1406" y="710"/>
                      </a:lnTo>
                      <a:lnTo>
                        <a:pt x="1404" y="709"/>
                      </a:lnTo>
                      <a:lnTo>
                        <a:pt x="1402" y="707"/>
                      </a:lnTo>
                      <a:lnTo>
                        <a:pt x="1399" y="706"/>
                      </a:lnTo>
                      <a:lnTo>
                        <a:pt x="1398" y="702"/>
                      </a:lnTo>
                      <a:lnTo>
                        <a:pt x="1400" y="697"/>
                      </a:lnTo>
                      <a:lnTo>
                        <a:pt x="1406" y="693"/>
                      </a:lnTo>
                      <a:lnTo>
                        <a:pt x="1408" y="688"/>
                      </a:lnTo>
                      <a:lnTo>
                        <a:pt x="1409" y="686"/>
                      </a:lnTo>
                      <a:lnTo>
                        <a:pt x="1408" y="685"/>
                      </a:lnTo>
                      <a:lnTo>
                        <a:pt x="1407" y="684"/>
                      </a:lnTo>
                      <a:lnTo>
                        <a:pt x="1405" y="684"/>
                      </a:lnTo>
                      <a:lnTo>
                        <a:pt x="1402" y="684"/>
                      </a:lnTo>
                      <a:lnTo>
                        <a:pt x="1399" y="684"/>
                      </a:lnTo>
                      <a:lnTo>
                        <a:pt x="1396" y="684"/>
                      </a:lnTo>
                      <a:lnTo>
                        <a:pt x="1394" y="685"/>
                      </a:lnTo>
                      <a:lnTo>
                        <a:pt x="1391" y="685"/>
                      </a:lnTo>
                      <a:lnTo>
                        <a:pt x="1390" y="684"/>
                      </a:lnTo>
                      <a:lnTo>
                        <a:pt x="1388" y="684"/>
                      </a:lnTo>
                      <a:lnTo>
                        <a:pt x="1387" y="684"/>
                      </a:lnTo>
                      <a:lnTo>
                        <a:pt x="1385" y="683"/>
                      </a:lnTo>
                      <a:lnTo>
                        <a:pt x="1383" y="684"/>
                      </a:lnTo>
                      <a:lnTo>
                        <a:pt x="1382" y="685"/>
                      </a:lnTo>
                      <a:lnTo>
                        <a:pt x="1379" y="686"/>
                      </a:lnTo>
                      <a:lnTo>
                        <a:pt x="1378" y="686"/>
                      </a:lnTo>
                      <a:lnTo>
                        <a:pt x="1374" y="686"/>
                      </a:lnTo>
                      <a:lnTo>
                        <a:pt x="1369" y="684"/>
                      </a:lnTo>
                      <a:lnTo>
                        <a:pt x="1367" y="683"/>
                      </a:lnTo>
                      <a:lnTo>
                        <a:pt x="1365" y="680"/>
                      </a:lnTo>
                      <a:lnTo>
                        <a:pt x="1364" y="677"/>
                      </a:lnTo>
                      <a:lnTo>
                        <a:pt x="1364" y="675"/>
                      </a:lnTo>
                      <a:lnTo>
                        <a:pt x="1364" y="673"/>
                      </a:lnTo>
                      <a:lnTo>
                        <a:pt x="1365" y="671"/>
                      </a:lnTo>
                      <a:lnTo>
                        <a:pt x="1365" y="669"/>
                      </a:lnTo>
                      <a:lnTo>
                        <a:pt x="1365" y="666"/>
                      </a:lnTo>
                      <a:lnTo>
                        <a:pt x="1365" y="665"/>
                      </a:lnTo>
                      <a:lnTo>
                        <a:pt x="1364" y="663"/>
                      </a:lnTo>
                      <a:lnTo>
                        <a:pt x="1364" y="661"/>
                      </a:lnTo>
                      <a:lnTo>
                        <a:pt x="1365" y="660"/>
                      </a:lnTo>
                      <a:lnTo>
                        <a:pt x="1365" y="659"/>
                      </a:lnTo>
                      <a:lnTo>
                        <a:pt x="1367" y="658"/>
                      </a:lnTo>
                      <a:lnTo>
                        <a:pt x="1369" y="658"/>
                      </a:lnTo>
                      <a:lnTo>
                        <a:pt x="1373" y="658"/>
                      </a:lnTo>
                      <a:lnTo>
                        <a:pt x="1375" y="658"/>
                      </a:lnTo>
                      <a:lnTo>
                        <a:pt x="1378" y="658"/>
                      </a:lnTo>
                      <a:lnTo>
                        <a:pt x="1379" y="655"/>
                      </a:lnTo>
                      <a:lnTo>
                        <a:pt x="1379" y="653"/>
                      </a:lnTo>
                      <a:lnTo>
                        <a:pt x="1379" y="652"/>
                      </a:lnTo>
                      <a:lnTo>
                        <a:pt x="1378" y="650"/>
                      </a:lnTo>
                      <a:lnTo>
                        <a:pt x="1378" y="649"/>
                      </a:lnTo>
                      <a:lnTo>
                        <a:pt x="1380" y="647"/>
                      </a:lnTo>
                      <a:lnTo>
                        <a:pt x="1382" y="645"/>
                      </a:lnTo>
                      <a:lnTo>
                        <a:pt x="1384" y="644"/>
                      </a:lnTo>
                      <a:lnTo>
                        <a:pt x="1387" y="644"/>
                      </a:lnTo>
                      <a:lnTo>
                        <a:pt x="1389" y="645"/>
                      </a:lnTo>
                      <a:lnTo>
                        <a:pt x="1391" y="647"/>
                      </a:lnTo>
                      <a:lnTo>
                        <a:pt x="1394" y="649"/>
                      </a:lnTo>
                      <a:lnTo>
                        <a:pt x="1396" y="650"/>
                      </a:lnTo>
                      <a:lnTo>
                        <a:pt x="1398" y="651"/>
                      </a:lnTo>
                      <a:lnTo>
                        <a:pt x="1404" y="652"/>
                      </a:lnTo>
                      <a:lnTo>
                        <a:pt x="1410" y="653"/>
                      </a:lnTo>
                      <a:lnTo>
                        <a:pt x="1415" y="653"/>
                      </a:lnTo>
                      <a:lnTo>
                        <a:pt x="1426" y="655"/>
                      </a:lnTo>
                      <a:lnTo>
                        <a:pt x="1437" y="655"/>
                      </a:lnTo>
                      <a:lnTo>
                        <a:pt x="1440" y="654"/>
                      </a:lnTo>
                      <a:lnTo>
                        <a:pt x="1441" y="652"/>
                      </a:lnTo>
                      <a:lnTo>
                        <a:pt x="1441" y="651"/>
                      </a:lnTo>
                      <a:lnTo>
                        <a:pt x="1440" y="649"/>
                      </a:lnTo>
                      <a:lnTo>
                        <a:pt x="1438" y="648"/>
                      </a:lnTo>
                      <a:lnTo>
                        <a:pt x="1434" y="647"/>
                      </a:lnTo>
                      <a:lnTo>
                        <a:pt x="1427" y="645"/>
                      </a:lnTo>
                      <a:lnTo>
                        <a:pt x="1418" y="645"/>
                      </a:lnTo>
                      <a:lnTo>
                        <a:pt x="1408" y="647"/>
                      </a:lnTo>
                      <a:lnTo>
                        <a:pt x="1408" y="647"/>
                      </a:lnTo>
                      <a:lnTo>
                        <a:pt x="1407" y="647"/>
                      </a:lnTo>
                      <a:lnTo>
                        <a:pt x="1405" y="648"/>
                      </a:lnTo>
                      <a:lnTo>
                        <a:pt x="1404" y="648"/>
                      </a:lnTo>
                      <a:lnTo>
                        <a:pt x="1402" y="648"/>
                      </a:lnTo>
                      <a:lnTo>
                        <a:pt x="1401" y="648"/>
                      </a:lnTo>
                      <a:lnTo>
                        <a:pt x="1401" y="647"/>
                      </a:lnTo>
                      <a:lnTo>
                        <a:pt x="1404" y="643"/>
                      </a:lnTo>
                      <a:lnTo>
                        <a:pt x="1404" y="641"/>
                      </a:lnTo>
                      <a:lnTo>
                        <a:pt x="1404" y="639"/>
                      </a:lnTo>
                      <a:lnTo>
                        <a:pt x="1404" y="636"/>
                      </a:lnTo>
                      <a:lnTo>
                        <a:pt x="1401" y="636"/>
                      </a:lnTo>
                      <a:lnTo>
                        <a:pt x="1399" y="637"/>
                      </a:lnTo>
                      <a:lnTo>
                        <a:pt x="1397" y="638"/>
                      </a:lnTo>
                      <a:lnTo>
                        <a:pt x="1396" y="640"/>
                      </a:lnTo>
                      <a:lnTo>
                        <a:pt x="1394" y="641"/>
                      </a:lnTo>
                      <a:lnTo>
                        <a:pt x="1391" y="641"/>
                      </a:lnTo>
                      <a:lnTo>
                        <a:pt x="1388" y="640"/>
                      </a:lnTo>
                      <a:lnTo>
                        <a:pt x="1385" y="640"/>
                      </a:lnTo>
                      <a:lnTo>
                        <a:pt x="1383" y="640"/>
                      </a:lnTo>
                      <a:lnTo>
                        <a:pt x="1378" y="642"/>
                      </a:lnTo>
                      <a:lnTo>
                        <a:pt x="1375" y="645"/>
                      </a:lnTo>
                      <a:lnTo>
                        <a:pt x="1374" y="648"/>
                      </a:lnTo>
                      <a:lnTo>
                        <a:pt x="1373" y="650"/>
                      </a:lnTo>
                      <a:lnTo>
                        <a:pt x="1372" y="653"/>
                      </a:lnTo>
                      <a:lnTo>
                        <a:pt x="1369" y="651"/>
                      </a:lnTo>
                      <a:lnTo>
                        <a:pt x="1368" y="650"/>
                      </a:lnTo>
                      <a:lnTo>
                        <a:pt x="1367" y="648"/>
                      </a:lnTo>
                      <a:lnTo>
                        <a:pt x="1366" y="645"/>
                      </a:lnTo>
                      <a:lnTo>
                        <a:pt x="1365" y="644"/>
                      </a:lnTo>
                      <a:lnTo>
                        <a:pt x="1362" y="645"/>
                      </a:lnTo>
                      <a:lnTo>
                        <a:pt x="1359" y="649"/>
                      </a:lnTo>
                      <a:lnTo>
                        <a:pt x="1358" y="654"/>
                      </a:lnTo>
                      <a:lnTo>
                        <a:pt x="1358" y="659"/>
                      </a:lnTo>
                      <a:lnTo>
                        <a:pt x="1358" y="662"/>
                      </a:lnTo>
                      <a:lnTo>
                        <a:pt x="1359" y="664"/>
                      </a:lnTo>
                      <a:lnTo>
                        <a:pt x="1359" y="666"/>
                      </a:lnTo>
                      <a:lnTo>
                        <a:pt x="1359" y="669"/>
                      </a:lnTo>
                      <a:lnTo>
                        <a:pt x="1358" y="671"/>
                      </a:lnTo>
                      <a:lnTo>
                        <a:pt x="1356" y="673"/>
                      </a:lnTo>
                      <a:lnTo>
                        <a:pt x="1354" y="675"/>
                      </a:lnTo>
                      <a:lnTo>
                        <a:pt x="1352" y="677"/>
                      </a:lnTo>
                      <a:lnTo>
                        <a:pt x="1348" y="678"/>
                      </a:lnTo>
                      <a:lnTo>
                        <a:pt x="1345" y="680"/>
                      </a:lnTo>
                      <a:lnTo>
                        <a:pt x="1343" y="680"/>
                      </a:lnTo>
                      <a:lnTo>
                        <a:pt x="1342" y="680"/>
                      </a:lnTo>
                      <a:lnTo>
                        <a:pt x="1341" y="678"/>
                      </a:lnTo>
                      <a:lnTo>
                        <a:pt x="1340" y="677"/>
                      </a:lnTo>
                      <a:lnTo>
                        <a:pt x="1339" y="675"/>
                      </a:lnTo>
                      <a:lnTo>
                        <a:pt x="1337" y="674"/>
                      </a:lnTo>
                      <a:lnTo>
                        <a:pt x="1336" y="673"/>
                      </a:lnTo>
                      <a:lnTo>
                        <a:pt x="1334" y="673"/>
                      </a:lnTo>
                      <a:lnTo>
                        <a:pt x="1333" y="674"/>
                      </a:lnTo>
                      <a:lnTo>
                        <a:pt x="1334" y="676"/>
                      </a:lnTo>
                      <a:lnTo>
                        <a:pt x="1334" y="678"/>
                      </a:lnTo>
                      <a:lnTo>
                        <a:pt x="1334" y="681"/>
                      </a:lnTo>
                      <a:lnTo>
                        <a:pt x="1334" y="682"/>
                      </a:lnTo>
                      <a:lnTo>
                        <a:pt x="1331" y="682"/>
                      </a:lnTo>
                      <a:lnTo>
                        <a:pt x="1328" y="682"/>
                      </a:lnTo>
                      <a:lnTo>
                        <a:pt x="1324" y="681"/>
                      </a:lnTo>
                      <a:lnTo>
                        <a:pt x="1322" y="678"/>
                      </a:lnTo>
                      <a:lnTo>
                        <a:pt x="1321" y="677"/>
                      </a:lnTo>
                      <a:lnTo>
                        <a:pt x="1320" y="676"/>
                      </a:lnTo>
                      <a:lnTo>
                        <a:pt x="1319" y="676"/>
                      </a:lnTo>
                      <a:lnTo>
                        <a:pt x="1318" y="677"/>
                      </a:lnTo>
                      <a:lnTo>
                        <a:pt x="1318" y="678"/>
                      </a:lnTo>
                      <a:lnTo>
                        <a:pt x="1317" y="681"/>
                      </a:lnTo>
                      <a:lnTo>
                        <a:pt x="1317" y="682"/>
                      </a:lnTo>
                      <a:lnTo>
                        <a:pt x="1315" y="684"/>
                      </a:lnTo>
                      <a:lnTo>
                        <a:pt x="1313" y="686"/>
                      </a:lnTo>
                      <a:lnTo>
                        <a:pt x="1312" y="687"/>
                      </a:lnTo>
                      <a:lnTo>
                        <a:pt x="1309" y="688"/>
                      </a:lnTo>
                      <a:lnTo>
                        <a:pt x="1306" y="688"/>
                      </a:lnTo>
                      <a:lnTo>
                        <a:pt x="1299" y="688"/>
                      </a:lnTo>
                      <a:lnTo>
                        <a:pt x="1290" y="687"/>
                      </a:lnTo>
                      <a:lnTo>
                        <a:pt x="1282" y="686"/>
                      </a:lnTo>
                      <a:lnTo>
                        <a:pt x="1277" y="684"/>
                      </a:lnTo>
                      <a:lnTo>
                        <a:pt x="1275" y="680"/>
                      </a:lnTo>
                      <a:lnTo>
                        <a:pt x="1277" y="677"/>
                      </a:lnTo>
                      <a:lnTo>
                        <a:pt x="1279" y="676"/>
                      </a:lnTo>
                      <a:lnTo>
                        <a:pt x="1281" y="675"/>
                      </a:lnTo>
                      <a:lnTo>
                        <a:pt x="1285" y="674"/>
                      </a:lnTo>
                      <a:lnTo>
                        <a:pt x="1287" y="672"/>
                      </a:lnTo>
                      <a:lnTo>
                        <a:pt x="1289" y="671"/>
                      </a:lnTo>
                      <a:lnTo>
                        <a:pt x="1290" y="669"/>
                      </a:lnTo>
                      <a:lnTo>
                        <a:pt x="1290" y="666"/>
                      </a:lnTo>
                      <a:lnTo>
                        <a:pt x="1289" y="666"/>
                      </a:lnTo>
                      <a:lnTo>
                        <a:pt x="1288" y="667"/>
                      </a:lnTo>
                      <a:lnTo>
                        <a:pt x="1287" y="667"/>
                      </a:lnTo>
                      <a:lnTo>
                        <a:pt x="1286" y="669"/>
                      </a:lnTo>
                      <a:lnTo>
                        <a:pt x="1284" y="669"/>
                      </a:lnTo>
                      <a:lnTo>
                        <a:pt x="1282" y="669"/>
                      </a:lnTo>
                      <a:lnTo>
                        <a:pt x="1281" y="669"/>
                      </a:lnTo>
                      <a:lnTo>
                        <a:pt x="1280" y="667"/>
                      </a:lnTo>
                      <a:lnTo>
                        <a:pt x="1279" y="666"/>
                      </a:lnTo>
                      <a:lnTo>
                        <a:pt x="1268" y="666"/>
                      </a:lnTo>
                      <a:lnTo>
                        <a:pt x="1267" y="664"/>
                      </a:lnTo>
                      <a:lnTo>
                        <a:pt x="1267" y="663"/>
                      </a:lnTo>
                      <a:lnTo>
                        <a:pt x="1267" y="661"/>
                      </a:lnTo>
                      <a:lnTo>
                        <a:pt x="1269" y="660"/>
                      </a:lnTo>
                      <a:lnTo>
                        <a:pt x="1270" y="658"/>
                      </a:lnTo>
                      <a:lnTo>
                        <a:pt x="1271" y="655"/>
                      </a:lnTo>
                      <a:lnTo>
                        <a:pt x="1273" y="654"/>
                      </a:lnTo>
                      <a:lnTo>
                        <a:pt x="1273" y="652"/>
                      </a:lnTo>
                      <a:lnTo>
                        <a:pt x="1270" y="651"/>
                      </a:lnTo>
                      <a:lnTo>
                        <a:pt x="1268" y="650"/>
                      </a:lnTo>
                      <a:lnTo>
                        <a:pt x="1267" y="649"/>
                      </a:lnTo>
                      <a:lnTo>
                        <a:pt x="1266" y="647"/>
                      </a:lnTo>
                      <a:lnTo>
                        <a:pt x="1267" y="645"/>
                      </a:lnTo>
                      <a:lnTo>
                        <a:pt x="1269" y="643"/>
                      </a:lnTo>
                      <a:lnTo>
                        <a:pt x="1270" y="642"/>
                      </a:lnTo>
                      <a:lnTo>
                        <a:pt x="1273" y="640"/>
                      </a:lnTo>
                      <a:lnTo>
                        <a:pt x="1279" y="637"/>
                      </a:lnTo>
                      <a:lnTo>
                        <a:pt x="1285" y="634"/>
                      </a:lnTo>
                      <a:lnTo>
                        <a:pt x="1292" y="633"/>
                      </a:lnTo>
                      <a:lnTo>
                        <a:pt x="1297" y="632"/>
                      </a:lnTo>
                      <a:lnTo>
                        <a:pt x="1299" y="631"/>
                      </a:lnTo>
                      <a:lnTo>
                        <a:pt x="1301" y="630"/>
                      </a:lnTo>
                      <a:lnTo>
                        <a:pt x="1301" y="629"/>
                      </a:lnTo>
                      <a:lnTo>
                        <a:pt x="1300" y="627"/>
                      </a:lnTo>
                      <a:lnTo>
                        <a:pt x="1299" y="626"/>
                      </a:lnTo>
                      <a:lnTo>
                        <a:pt x="1297" y="625"/>
                      </a:lnTo>
                      <a:lnTo>
                        <a:pt x="1295" y="623"/>
                      </a:lnTo>
                      <a:lnTo>
                        <a:pt x="1292" y="622"/>
                      </a:lnTo>
                      <a:lnTo>
                        <a:pt x="1282" y="620"/>
                      </a:lnTo>
                      <a:lnTo>
                        <a:pt x="1274" y="622"/>
                      </a:lnTo>
                      <a:lnTo>
                        <a:pt x="1262" y="627"/>
                      </a:lnTo>
                      <a:lnTo>
                        <a:pt x="1248" y="627"/>
                      </a:lnTo>
                      <a:lnTo>
                        <a:pt x="1247" y="626"/>
                      </a:lnTo>
                      <a:lnTo>
                        <a:pt x="1246" y="625"/>
                      </a:lnTo>
                      <a:lnTo>
                        <a:pt x="1246" y="625"/>
                      </a:lnTo>
                      <a:lnTo>
                        <a:pt x="1246" y="623"/>
                      </a:lnTo>
                      <a:lnTo>
                        <a:pt x="1246" y="622"/>
                      </a:lnTo>
                      <a:lnTo>
                        <a:pt x="1248" y="621"/>
                      </a:lnTo>
                      <a:lnTo>
                        <a:pt x="1251" y="620"/>
                      </a:lnTo>
                      <a:lnTo>
                        <a:pt x="1254" y="620"/>
                      </a:lnTo>
                      <a:lnTo>
                        <a:pt x="1257" y="619"/>
                      </a:lnTo>
                      <a:lnTo>
                        <a:pt x="1259" y="618"/>
                      </a:lnTo>
                      <a:lnTo>
                        <a:pt x="1262" y="617"/>
                      </a:lnTo>
                      <a:lnTo>
                        <a:pt x="1263" y="615"/>
                      </a:lnTo>
                      <a:lnTo>
                        <a:pt x="1264" y="614"/>
                      </a:lnTo>
                      <a:lnTo>
                        <a:pt x="1265" y="612"/>
                      </a:lnTo>
                      <a:lnTo>
                        <a:pt x="1264" y="611"/>
                      </a:lnTo>
                      <a:lnTo>
                        <a:pt x="1262" y="611"/>
                      </a:lnTo>
                      <a:lnTo>
                        <a:pt x="1258" y="612"/>
                      </a:lnTo>
                      <a:lnTo>
                        <a:pt x="1255" y="614"/>
                      </a:lnTo>
                      <a:lnTo>
                        <a:pt x="1252" y="614"/>
                      </a:lnTo>
                      <a:lnTo>
                        <a:pt x="1248" y="614"/>
                      </a:lnTo>
                      <a:lnTo>
                        <a:pt x="1246" y="614"/>
                      </a:lnTo>
                      <a:lnTo>
                        <a:pt x="1243" y="612"/>
                      </a:lnTo>
                      <a:lnTo>
                        <a:pt x="1241" y="611"/>
                      </a:lnTo>
                      <a:lnTo>
                        <a:pt x="1238" y="610"/>
                      </a:lnTo>
                      <a:lnTo>
                        <a:pt x="1237" y="609"/>
                      </a:lnTo>
                      <a:lnTo>
                        <a:pt x="1237" y="607"/>
                      </a:lnTo>
                      <a:lnTo>
                        <a:pt x="1238" y="605"/>
                      </a:lnTo>
                      <a:lnTo>
                        <a:pt x="1239" y="604"/>
                      </a:lnTo>
                      <a:lnTo>
                        <a:pt x="1241" y="601"/>
                      </a:lnTo>
                      <a:lnTo>
                        <a:pt x="1242" y="600"/>
                      </a:lnTo>
                      <a:lnTo>
                        <a:pt x="1242" y="598"/>
                      </a:lnTo>
                      <a:lnTo>
                        <a:pt x="1242" y="597"/>
                      </a:lnTo>
                      <a:lnTo>
                        <a:pt x="1242" y="595"/>
                      </a:lnTo>
                      <a:lnTo>
                        <a:pt x="1242" y="594"/>
                      </a:lnTo>
                      <a:lnTo>
                        <a:pt x="1243" y="591"/>
                      </a:lnTo>
                      <a:lnTo>
                        <a:pt x="1244" y="590"/>
                      </a:lnTo>
                      <a:lnTo>
                        <a:pt x="1246" y="589"/>
                      </a:lnTo>
                      <a:lnTo>
                        <a:pt x="1248" y="589"/>
                      </a:lnTo>
                      <a:lnTo>
                        <a:pt x="1251" y="589"/>
                      </a:lnTo>
                      <a:lnTo>
                        <a:pt x="1253" y="589"/>
                      </a:lnTo>
                      <a:lnTo>
                        <a:pt x="1255" y="588"/>
                      </a:lnTo>
                      <a:lnTo>
                        <a:pt x="1257" y="588"/>
                      </a:lnTo>
                      <a:lnTo>
                        <a:pt x="1257" y="587"/>
                      </a:lnTo>
                      <a:lnTo>
                        <a:pt x="1258" y="586"/>
                      </a:lnTo>
                      <a:lnTo>
                        <a:pt x="1257" y="585"/>
                      </a:lnTo>
                      <a:lnTo>
                        <a:pt x="1255" y="584"/>
                      </a:lnTo>
                      <a:lnTo>
                        <a:pt x="1253" y="583"/>
                      </a:lnTo>
                      <a:lnTo>
                        <a:pt x="1251" y="583"/>
                      </a:lnTo>
                      <a:lnTo>
                        <a:pt x="1248" y="582"/>
                      </a:lnTo>
                      <a:lnTo>
                        <a:pt x="1248" y="580"/>
                      </a:lnTo>
                      <a:lnTo>
                        <a:pt x="1248" y="579"/>
                      </a:lnTo>
                      <a:lnTo>
                        <a:pt x="1248" y="577"/>
                      </a:lnTo>
                      <a:lnTo>
                        <a:pt x="1249" y="576"/>
                      </a:lnTo>
                      <a:lnTo>
                        <a:pt x="1248" y="574"/>
                      </a:lnTo>
                      <a:lnTo>
                        <a:pt x="1248" y="572"/>
                      </a:lnTo>
                      <a:lnTo>
                        <a:pt x="1247" y="571"/>
                      </a:lnTo>
                      <a:lnTo>
                        <a:pt x="1247" y="568"/>
                      </a:lnTo>
                      <a:lnTo>
                        <a:pt x="1248" y="566"/>
                      </a:lnTo>
                      <a:lnTo>
                        <a:pt x="1251" y="565"/>
                      </a:lnTo>
                      <a:lnTo>
                        <a:pt x="1253" y="565"/>
                      </a:lnTo>
                      <a:lnTo>
                        <a:pt x="1256" y="565"/>
                      </a:lnTo>
                      <a:lnTo>
                        <a:pt x="1258" y="566"/>
                      </a:lnTo>
                      <a:lnTo>
                        <a:pt x="1260" y="566"/>
                      </a:lnTo>
                      <a:lnTo>
                        <a:pt x="1263" y="567"/>
                      </a:lnTo>
                      <a:lnTo>
                        <a:pt x="1265" y="566"/>
                      </a:lnTo>
                      <a:lnTo>
                        <a:pt x="1266" y="565"/>
                      </a:lnTo>
                      <a:lnTo>
                        <a:pt x="1267" y="564"/>
                      </a:lnTo>
                      <a:lnTo>
                        <a:pt x="1266" y="562"/>
                      </a:lnTo>
                      <a:lnTo>
                        <a:pt x="1265" y="562"/>
                      </a:lnTo>
                      <a:lnTo>
                        <a:pt x="1263" y="561"/>
                      </a:lnTo>
                      <a:lnTo>
                        <a:pt x="1259" y="561"/>
                      </a:lnTo>
                      <a:lnTo>
                        <a:pt x="1258" y="558"/>
                      </a:lnTo>
                      <a:lnTo>
                        <a:pt x="1258" y="556"/>
                      </a:lnTo>
                      <a:lnTo>
                        <a:pt x="1258" y="554"/>
                      </a:lnTo>
                      <a:lnTo>
                        <a:pt x="1259" y="552"/>
                      </a:lnTo>
                      <a:lnTo>
                        <a:pt x="1262" y="549"/>
                      </a:lnTo>
                      <a:lnTo>
                        <a:pt x="1265" y="547"/>
                      </a:lnTo>
                      <a:lnTo>
                        <a:pt x="1268" y="545"/>
                      </a:lnTo>
                      <a:lnTo>
                        <a:pt x="1271" y="545"/>
                      </a:lnTo>
                      <a:lnTo>
                        <a:pt x="1275" y="545"/>
                      </a:lnTo>
                      <a:lnTo>
                        <a:pt x="1278" y="545"/>
                      </a:lnTo>
                      <a:lnTo>
                        <a:pt x="1280" y="545"/>
                      </a:lnTo>
                      <a:lnTo>
                        <a:pt x="1281" y="545"/>
                      </a:lnTo>
                      <a:lnTo>
                        <a:pt x="1281" y="544"/>
                      </a:lnTo>
                      <a:lnTo>
                        <a:pt x="1281" y="543"/>
                      </a:lnTo>
                      <a:lnTo>
                        <a:pt x="1281" y="542"/>
                      </a:lnTo>
                      <a:lnTo>
                        <a:pt x="1281" y="541"/>
                      </a:lnTo>
                      <a:lnTo>
                        <a:pt x="1284" y="540"/>
                      </a:lnTo>
                      <a:lnTo>
                        <a:pt x="1286" y="539"/>
                      </a:lnTo>
                      <a:lnTo>
                        <a:pt x="1288" y="539"/>
                      </a:lnTo>
                      <a:lnTo>
                        <a:pt x="1291" y="539"/>
                      </a:lnTo>
                      <a:lnTo>
                        <a:pt x="1292" y="539"/>
                      </a:lnTo>
                      <a:lnTo>
                        <a:pt x="1292" y="536"/>
                      </a:lnTo>
                      <a:lnTo>
                        <a:pt x="1289" y="534"/>
                      </a:lnTo>
                      <a:lnTo>
                        <a:pt x="1284" y="534"/>
                      </a:lnTo>
                      <a:lnTo>
                        <a:pt x="1278" y="534"/>
                      </a:lnTo>
                      <a:lnTo>
                        <a:pt x="1273" y="534"/>
                      </a:lnTo>
                      <a:lnTo>
                        <a:pt x="1268" y="534"/>
                      </a:lnTo>
                      <a:lnTo>
                        <a:pt x="1267" y="533"/>
                      </a:lnTo>
                      <a:lnTo>
                        <a:pt x="1266" y="533"/>
                      </a:lnTo>
                      <a:lnTo>
                        <a:pt x="1266" y="531"/>
                      </a:lnTo>
                      <a:lnTo>
                        <a:pt x="1267" y="530"/>
                      </a:lnTo>
                      <a:lnTo>
                        <a:pt x="1268" y="529"/>
                      </a:lnTo>
                      <a:lnTo>
                        <a:pt x="1270" y="528"/>
                      </a:lnTo>
                      <a:lnTo>
                        <a:pt x="1273" y="527"/>
                      </a:lnTo>
                      <a:lnTo>
                        <a:pt x="1275" y="525"/>
                      </a:lnTo>
                      <a:lnTo>
                        <a:pt x="1278" y="525"/>
                      </a:lnTo>
                      <a:lnTo>
                        <a:pt x="1281" y="525"/>
                      </a:lnTo>
                      <a:lnTo>
                        <a:pt x="1284" y="525"/>
                      </a:lnTo>
                      <a:lnTo>
                        <a:pt x="1292" y="523"/>
                      </a:lnTo>
                      <a:lnTo>
                        <a:pt x="1299" y="524"/>
                      </a:lnTo>
                      <a:lnTo>
                        <a:pt x="1306" y="528"/>
                      </a:lnTo>
                      <a:lnTo>
                        <a:pt x="1308" y="530"/>
                      </a:lnTo>
                      <a:lnTo>
                        <a:pt x="1309" y="532"/>
                      </a:lnTo>
                      <a:lnTo>
                        <a:pt x="1309" y="534"/>
                      </a:lnTo>
                      <a:lnTo>
                        <a:pt x="1309" y="536"/>
                      </a:lnTo>
                      <a:lnTo>
                        <a:pt x="1308" y="540"/>
                      </a:lnTo>
                      <a:lnTo>
                        <a:pt x="1308" y="543"/>
                      </a:lnTo>
                      <a:lnTo>
                        <a:pt x="1310" y="545"/>
                      </a:lnTo>
                      <a:lnTo>
                        <a:pt x="1312" y="547"/>
                      </a:lnTo>
                      <a:lnTo>
                        <a:pt x="1314" y="550"/>
                      </a:lnTo>
                      <a:lnTo>
                        <a:pt x="1317" y="552"/>
                      </a:lnTo>
                      <a:lnTo>
                        <a:pt x="1319" y="554"/>
                      </a:lnTo>
                      <a:lnTo>
                        <a:pt x="1320" y="555"/>
                      </a:lnTo>
                      <a:lnTo>
                        <a:pt x="1320" y="557"/>
                      </a:lnTo>
                      <a:lnTo>
                        <a:pt x="1321" y="560"/>
                      </a:lnTo>
                      <a:lnTo>
                        <a:pt x="1322" y="561"/>
                      </a:lnTo>
                      <a:lnTo>
                        <a:pt x="1323" y="563"/>
                      </a:lnTo>
                      <a:lnTo>
                        <a:pt x="1325" y="564"/>
                      </a:lnTo>
                      <a:lnTo>
                        <a:pt x="1328" y="565"/>
                      </a:lnTo>
                      <a:lnTo>
                        <a:pt x="1329" y="565"/>
                      </a:lnTo>
                      <a:lnTo>
                        <a:pt x="1331" y="564"/>
                      </a:lnTo>
                      <a:lnTo>
                        <a:pt x="1333" y="564"/>
                      </a:lnTo>
                      <a:lnTo>
                        <a:pt x="1334" y="564"/>
                      </a:lnTo>
                      <a:lnTo>
                        <a:pt x="1336" y="565"/>
                      </a:lnTo>
                      <a:lnTo>
                        <a:pt x="1345" y="565"/>
                      </a:lnTo>
                      <a:lnTo>
                        <a:pt x="1346" y="565"/>
                      </a:lnTo>
                      <a:lnTo>
                        <a:pt x="1348" y="566"/>
                      </a:lnTo>
                      <a:lnTo>
                        <a:pt x="1350" y="567"/>
                      </a:lnTo>
                      <a:lnTo>
                        <a:pt x="1350" y="569"/>
                      </a:lnTo>
                      <a:lnTo>
                        <a:pt x="1350" y="572"/>
                      </a:lnTo>
                      <a:lnTo>
                        <a:pt x="1348" y="573"/>
                      </a:lnTo>
                      <a:lnTo>
                        <a:pt x="1347" y="574"/>
                      </a:lnTo>
                      <a:lnTo>
                        <a:pt x="1346" y="576"/>
                      </a:lnTo>
                      <a:lnTo>
                        <a:pt x="1345" y="578"/>
                      </a:lnTo>
                      <a:lnTo>
                        <a:pt x="1345" y="580"/>
                      </a:lnTo>
                      <a:lnTo>
                        <a:pt x="1345" y="582"/>
                      </a:lnTo>
                      <a:lnTo>
                        <a:pt x="1347" y="584"/>
                      </a:lnTo>
                      <a:lnTo>
                        <a:pt x="1350" y="585"/>
                      </a:lnTo>
                      <a:lnTo>
                        <a:pt x="1352" y="587"/>
                      </a:lnTo>
                      <a:lnTo>
                        <a:pt x="1354" y="588"/>
                      </a:lnTo>
                      <a:lnTo>
                        <a:pt x="1356" y="588"/>
                      </a:lnTo>
                      <a:lnTo>
                        <a:pt x="1358" y="588"/>
                      </a:lnTo>
                      <a:lnTo>
                        <a:pt x="1358" y="587"/>
                      </a:lnTo>
                      <a:lnTo>
                        <a:pt x="1358" y="585"/>
                      </a:lnTo>
                      <a:lnTo>
                        <a:pt x="1358" y="583"/>
                      </a:lnTo>
                      <a:lnTo>
                        <a:pt x="1355" y="580"/>
                      </a:lnTo>
                      <a:lnTo>
                        <a:pt x="1354" y="578"/>
                      </a:lnTo>
                      <a:lnTo>
                        <a:pt x="1353" y="575"/>
                      </a:lnTo>
                      <a:lnTo>
                        <a:pt x="1354" y="572"/>
                      </a:lnTo>
                      <a:lnTo>
                        <a:pt x="1356" y="569"/>
                      </a:lnTo>
                      <a:lnTo>
                        <a:pt x="1359" y="568"/>
                      </a:lnTo>
                      <a:lnTo>
                        <a:pt x="1363" y="568"/>
                      </a:lnTo>
                      <a:lnTo>
                        <a:pt x="1365" y="569"/>
                      </a:lnTo>
                      <a:lnTo>
                        <a:pt x="1367" y="571"/>
                      </a:lnTo>
                      <a:lnTo>
                        <a:pt x="1368" y="573"/>
                      </a:lnTo>
                      <a:lnTo>
                        <a:pt x="1369" y="574"/>
                      </a:lnTo>
                      <a:lnTo>
                        <a:pt x="1369" y="576"/>
                      </a:lnTo>
                      <a:lnTo>
                        <a:pt x="1369" y="579"/>
                      </a:lnTo>
                      <a:lnTo>
                        <a:pt x="1370" y="580"/>
                      </a:lnTo>
                      <a:lnTo>
                        <a:pt x="1369" y="583"/>
                      </a:lnTo>
                      <a:lnTo>
                        <a:pt x="1368" y="584"/>
                      </a:lnTo>
                      <a:lnTo>
                        <a:pt x="1367" y="585"/>
                      </a:lnTo>
                      <a:lnTo>
                        <a:pt x="1368" y="586"/>
                      </a:lnTo>
                      <a:lnTo>
                        <a:pt x="1369" y="587"/>
                      </a:lnTo>
                      <a:lnTo>
                        <a:pt x="1370" y="587"/>
                      </a:lnTo>
                      <a:lnTo>
                        <a:pt x="1370" y="588"/>
                      </a:lnTo>
                      <a:lnTo>
                        <a:pt x="1372" y="589"/>
                      </a:lnTo>
                      <a:lnTo>
                        <a:pt x="1370" y="593"/>
                      </a:lnTo>
                      <a:lnTo>
                        <a:pt x="1370" y="598"/>
                      </a:lnTo>
                      <a:lnTo>
                        <a:pt x="1369" y="604"/>
                      </a:lnTo>
                      <a:lnTo>
                        <a:pt x="1370" y="607"/>
                      </a:lnTo>
                      <a:lnTo>
                        <a:pt x="1374" y="609"/>
                      </a:lnTo>
                      <a:lnTo>
                        <a:pt x="1380" y="610"/>
                      </a:lnTo>
                      <a:lnTo>
                        <a:pt x="1388" y="610"/>
                      </a:lnTo>
                      <a:lnTo>
                        <a:pt x="1396" y="611"/>
                      </a:lnTo>
                      <a:lnTo>
                        <a:pt x="1397" y="612"/>
                      </a:lnTo>
                      <a:lnTo>
                        <a:pt x="1398" y="612"/>
                      </a:lnTo>
                      <a:lnTo>
                        <a:pt x="1400" y="614"/>
                      </a:lnTo>
                      <a:lnTo>
                        <a:pt x="1402" y="615"/>
                      </a:lnTo>
                      <a:lnTo>
                        <a:pt x="1404" y="615"/>
                      </a:lnTo>
                      <a:lnTo>
                        <a:pt x="1406" y="616"/>
                      </a:lnTo>
                      <a:lnTo>
                        <a:pt x="1406" y="615"/>
                      </a:lnTo>
                      <a:lnTo>
                        <a:pt x="1406" y="615"/>
                      </a:lnTo>
                      <a:lnTo>
                        <a:pt x="1404" y="614"/>
                      </a:lnTo>
                      <a:lnTo>
                        <a:pt x="1402" y="611"/>
                      </a:lnTo>
                      <a:lnTo>
                        <a:pt x="1400" y="610"/>
                      </a:lnTo>
                      <a:lnTo>
                        <a:pt x="1398" y="608"/>
                      </a:lnTo>
                      <a:lnTo>
                        <a:pt x="1398" y="607"/>
                      </a:lnTo>
                      <a:lnTo>
                        <a:pt x="1396" y="605"/>
                      </a:lnTo>
                      <a:lnTo>
                        <a:pt x="1395" y="604"/>
                      </a:lnTo>
                      <a:lnTo>
                        <a:pt x="1394" y="601"/>
                      </a:lnTo>
                      <a:lnTo>
                        <a:pt x="1391" y="600"/>
                      </a:lnTo>
                      <a:lnTo>
                        <a:pt x="1389" y="600"/>
                      </a:lnTo>
                      <a:lnTo>
                        <a:pt x="1386" y="599"/>
                      </a:lnTo>
                      <a:lnTo>
                        <a:pt x="1384" y="597"/>
                      </a:lnTo>
                      <a:lnTo>
                        <a:pt x="1383" y="596"/>
                      </a:lnTo>
                      <a:lnTo>
                        <a:pt x="1382" y="594"/>
                      </a:lnTo>
                      <a:lnTo>
                        <a:pt x="1382" y="591"/>
                      </a:lnTo>
                      <a:lnTo>
                        <a:pt x="1383" y="589"/>
                      </a:lnTo>
                      <a:lnTo>
                        <a:pt x="1383" y="587"/>
                      </a:lnTo>
                      <a:lnTo>
                        <a:pt x="1383" y="586"/>
                      </a:lnTo>
                      <a:lnTo>
                        <a:pt x="1382" y="584"/>
                      </a:lnTo>
                      <a:lnTo>
                        <a:pt x="1382" y="582"/>
                      </a:lnTo>
                      <a:lnTo>
                        <a:pt x="1382" y="579"/>
                      </a:lnTo>
                      <a:lnTo>
                        <a:pt x="1383" y="577"/>
                      </a:lnTo>
                      <a:lnTo>
                        <a:pt x="1383" y="576"/>
                      </a:lnTo>
                      <a:lnTo>
                        <a:pt x="1385" y="574"/>
                      </a:lnTo>
                      <a:lnTo>
                        <a:pt x="1386" y="574"/>
                      </a:lnTo>
                      <a:lnTo>
                        <a:pt x="1389" y="574"/>
                      </a:lnTo>
                      <a:lnTo>
                        <a:pt x="1400" y="574"/>
                      </a:lnTo>
                      <a:lnTo>
                        <a:pt x="1412" y="575"/>
                      </a:lnTo>
                      <a:lnTo>
                        <a:pt x="1423" y="578"/>
                      </a:lnTo>
                      <a:lnTo>
                        <a:pt x="1429" y="580"/>
                      </a:lnTo>
                      <a:lnTo>
                        <a:pt x="1432" y="584"/>
                      </a:lnTo>
                      <a:lnTo>
                        <a:pt x="1435" y="587"/>
                      </a:lnTo>
                      <a:lnTo>
                        <a:pt x="1439" y="590"/>
                      </a:lnTo>
                      <a:lnTo>
                        <a:pt x="1441" y="594"/>
                      </a:lnTo>
                      <a:lnTo>
                        <a:pt x="1443" y="596"/>
                      </a:lnTo>
                      <a:lnTo>
                        <a:pt x="1444" y="597"/>
                      </a:lnTo>
                      <a:lnTo>
                        <a:pt x="1444" y="599"/>
                      </a:lnTo>
                      <a:lnTo>
                        <a:pt x="1445" y="600"/>
                      </a:lnTo>
                      <a:lnTo>
                        <a:pt x="1448" y="603"/>
                      </a:lnTo>
                      <a:lnTo>
                        <a:pt x="1450" y="605"/>
                      </a:lnTo>
                      <a:lnTo>
                        <a:pt x="1452" y="605"/>
                      </a:lnTo>
                      <a:lnTo>
                        <a:pt x="1454" y="606"/>
                      </a:lnTo>
                      <a:lnTo>
                        <a:pt x="1456" y="607"/>
                      </a:lnTo>
                      <a:lnTo>
                        <a:pt x="1459" y="608"/>
                      </a:lnTo>
                      <a:lnTo>
                        <a:pt x="1461" y="609"/>
                      </a:lnTo>
                      <a:lnTo>
                        <a:pt x="1464" y="609"/>
                      </a:lnTo>
                      <a:lnTo>
                        <a:pt x="1466" y="609"/>
                      </a:lnTo>
                      <a:lnTo>
                        <a:pt x="1467" y="609"/>
                      </a:lnTo>
                      <a:lnTo>
                        <a:pt x="1467" y="609"/>
                      </a:lnTo>
                      <a:lnTo>
                        <a:pt x="1466" y="608"/>
                      </a:lnTo>
                      <a:lnTo>
                        <a:pt x="1465" y="607"/>
                      </a:lnTo>
                      <a:lnTo>
                        <a:pt x="1463" y="606"/>
                      </a:lnTo>
                      <a:lnTo>
                        <a:pt x="1461" y="606"/>
                      </a:lnTo>
                      <a:lnTo>
                        <a:pt x="1459" y="605"/>
                      </a:lnTo>
                      <a:lnTo>
                        <a:pt x="1456" y="603"/>
                      </a:lnTo>
                      <a:lnTo>
                        <a:pt x="1455" y="601"/>
                      </a:lnTo>
                      <a:lnTo>
                        <a:pt x="1454" y="599"/>
                      </a:lnTo>
                      <a:lnTo>
                        <a:pt x="1453" y="597"/>
                      </a:lnTo>
                      <a:lnTo>
                        <a:pt x="1452" y="596"/>
                      </a:lnTo>
                      <a:lnTo>
                        <a:pt x="1450" y="593"/>
                      </a:lnTo>
                      <a:lnTo>
                        <a:pt x="1448" y="590"/>
                      </a:lnTo>
                      <a:lnTo>
                        <a:pt x="1445" y="587"/>
                      </a:lnTo>
                      <a:lnTo>
                        <a:pt x="1443" y="585"/>
                      </a:lnTo>
                      <a:lnTo>
                        <a:pt x="1442" y="583"/>
                      </a:lnTo>
                      <a:lnTo>
                        <a:pt x="1440" y="582"/>
                      </a:lnTo>
                      <a:lnTo>
                        <a:pt x="1438" y="579"/>
                      </a:lnTo>
                      <a:lnTo>
                        <a:pt x="1437" y="578"/>
                      </a:lnTo>
                      <a:lnTo>
                        <a:pt x="1437" y="576"/>
                      </a:lnTo>
                      <a:lnTo>
                        <a:pt x="1438" y="575"/>
                      </a:lnTo>
                      <a:lnTo>
                        <a:pt x="1440" y="573"/>
                      </a:lnTo>
                      <a:lnTo>
                        <a:pt x="1443" y="572"/>
                      </a:lnTo>
                      <a:lnTo>
                        <a:pt x="1448" y="569"/>
                      </a:lnTo>
                      <a:lnTo>
                        <a:pt x="1453" y="567"/>
                      </a:lnTo>
                      <a:lnTo>
                        <a:pt x="1459" y="565"/>
                      </a:lnTo>
                      <a:lnTo>
                        <a:pt x="1462" y="565"/>
                      </a:lnTo>
                      <a:lnTo>
                        <a:pt x="1466" y="565"/>
                      </a:lnTo>
                      <a:lnTo>
                        <a:pt x="1471" y="564"/>
                      </a:lnTo>
                      <a:lnTo>
                        <a:pt x="1474" y="563"/>
                      </a:lnTo>
                      <a:lnTo>
                        <a:pt x="1477" y="561"/>
                      </a:lnTo>
                      <a:lnTo>
                        <a:pt x="1481" y="558"/>
                      </a:lnTo>
                      <a:lnTo>
                        <a:pt x="1483" y="556"/>
                      </a:lnTo>
                      <a:lnTo>
                        <a:pt x="1485" y="555"/>
                      </a:lnTo>
                      <a:lnTo>
                        <a:pt x="1487" y="554"/>
                      </a:lnTo>
                      <a:lnTo>
                        <a:pt x="1489" y="553"/>
                      </a:lnTo>
                      <a:lnTo>
                        <a:pt x="1492" y="552"/>
                      </a:lnTo>
                      <a:lnTo>
                        <a:pt x="1502" y="547"/>
                      </a:lnTo>
                      <a:lnTo>
                        <a:pt x="1510" y="546"/>
                      </a:lnTo>
                      <a:lnTo>
                        <a:pt x="1520" y="547"/>
                      </a:lnTo>
                      <a:lnTo>
                        <a:pt x="1521" y="547"/>
                      </a:lnTo>
                      <a:lnTo>
                        <a:pt x="1524" y="546"/>
                      </a:lnTo>
                      <a:lnTo>
                        <a:pt x="1526" y="546"/>
                      </a:lnTo>
                      <a:lnTo>
                        <a:pt x="1529" y="545"/>
                      </a:lnTo>
                      <a:lnTo>
                        <a:pt x="1531" y="545"/>
                      </a:lnTo>
                      <a:lnTo>
                        <a:pt x="1532" y="544"/>
                      </a:lnTo>
                      <a:lnTo>
                        <a:pt x="1532" y="543"/>
                      </a:lnTo>
                      <a:lnTo>
                        <a:pt x="1531" y="543"/>
                      </a:lnTo>
                      <a:lnTo>
                        <a:pt x="1525" y="541"/>
                      </a:lnTo>
                      <a:lnTo>
                        <a:pt x="1517" y="541"/>
                      </a:lnTo>
                      <a:lnTo>
                        <a:pt x="1509" y="541"/>
                      </a:lnTo>
                      <a:lnTo>
                        <a:pt x="1492" y="541"/>
                      </a:lnTo>
                      <a:lnTo>
                        <a:pt x="1489" y="539"/>
                      </a:lnTo>
                      <a:lnTo>
                        <a:pt x="1490" y="535"/>
                      </a:lnTo>
                      <a:lnTo>
                        <a:pt x="1494" y="531"/>
                      </a:lnTo>
                      <a:lnTo>
                        <a:pt x="1499" y="527"/>
                      </a:lnTo>
                      <a:lnTo>
                        <a:pt x="1504" y="523"/>
                      </a:lnTo>
                      <a:lnTo>
                        <a:pt x="1507" y="521"/>
                      </a:lnTo>
                      <a:lnTo>
                        <a:pt x="1509" y="520"/>
                      </a:lnTo>
                      <a:lnTo>
                        <a:pt x="1513" y="519"/>
                      </a:lnTo>
                      <a:lnTo>
                        <a:pt x="1515" y="518"/>
                      </a:lnTo>
                      <a:lnTo>
                        <a:pt x="1516" y="517"/>
                      </a:lnTo>
                      <a:lnTo>
                        <a:pt x="1518" y="514"/>
                      </a:lnTo>
                      <a:lnTo>
                        <a:pt x="1518" y="514"/>
                      </a:lnTo>
                      <a:lnTo>
                        <a:pt x="1518" y="513"/>
                      </a:lnTo>
                      <a:lnTo>
                        <a:pt x="1517" y="512"/>
                      </a:lnTo>
                      <a:lnTo>
                        <a:pt x="1516" y="512"/>
                      </a:lnTo>
                      <a:lnTo>
                        <a:pt x="1514" y="512"/>
                      </a:lnTo>
                      <a:lnTo>
                        <a:pt x="1508" y="512"/>
                      </a:lnTo>
                      <a:lnTo>
                        <a:pt x="1504" y="514"/>
                      </a:lnTo>
                      <a:lnTo>
                        <a:pt x="1499" y="517"/>
                      </a:lnTo>
                      <a:lnTo>
                        <a:pt x="1496" y="519"/>
                      </a:lnTo>
                      <a:lnTo>
                        <a:pt x="1492" y="521"/>
                      </a:lnTo>
                      <a:lnTo>
                        <a:pt x="1487" y="524"/>
                      </a:lnTo>
                      <a:lnTo>
                        <a:pt x="1485" y="528"/>
                      </a:lnTo>
                      <a:lnTo>
                        <a:pt x="1483" y="531"/>
                      </a:lnTo>
                      <a:lnTo>
                        <a:pt x="1483" y="536"/>
                      </a:lnTo>
                      <a:lnTo>
                        <a:pt x="1483" y="538"/>
                      </a:lnTo>
                      <a:lnTo>
                        <a:pt x="1484" y="540"/>
                      </a:lnTo>
                      <a:lnTo>
                        <a:pt x="1484" y="541"/>
                      </a:lnTo>
                      <a:lnTo>
                        <a:pt x="1483" y="543"/>
                      </a:lnTo>
                      <a:lnTo>
                        <a:pt x="1481" y="544"/>
                      </a:lnTo>
                      <a:lnTo>
                        <a:pt x="1478" y="546"/>
                      </a:lnTo>
                      <a:lnTo>
                        <a:pt x="1477" y="547"/>
                      </a:lnTo>
                      <a:lnTo>
                        <a:pt x="1476" y="550"/>
                      </a:lnTo>
                      <a:lnTo>
                        <a:pt x="1472" y="553"/>
                      </a:lnTo>
                      <a:lnTo>
                        <a:pt x="1464" y="555"/>
                      </a:lnTo>
                      <a:lnTo>
                        <a:pt x="1456" y="557"/>
                      </a:lnTo>
                      <a:lnTo>
                        <a:pt x="1448" y="558"/>
                      </a:lnTo>
                      <a:lnTo>
                        <a:pt x="1444" y="560"/>
                      </a:lnTo>
                      <a:lnTo>
                        <a:pt x="1441" y="562"/>
                      </a:lnTo>
                      <a:lnTo>
                        <a:pt x="1437" y="562"/>
                      </a:lnTo>
                      <a:lnTo>
                        <a:pt x="1432" y="563"/>
                      </a:lnTo>
                      <a:lnTo>
                        <a:pt x="1431" y="562"/>
                      </a:lnTo>
                      <a:lnTo>
                        <a:pt x="1430" y="561"/>
                      </a:lnTo>
                      <a:lnTo>
                        <a:pt x="1430" y="558"/>
                      </a:lnTo>
                      <a:lnTo>
                        <a:pt x="1431" y="557"/>
                      </a:lnTo>
                      <a:lnTo>
                        <a:pt x="1431" y="556"/>
                      </a:lnTo>
                      <a:lnTo>
                        <a:pt x="1431" y="555"/>
                      </a:lnTo>
                      <a:lnTo>
                        <a:pt x="1430" y="554"/>
                      </a:lnTo>
                      <a:lnTo>
                        <a:pt x="1428" y="553"/>
                      </a:lnTo>
                      <a:lnTo>
                        <a:pt x="1426" y="554"/>
                      </a:lnTo>
                      <a:lnTo>
                        <a:pt x="1423" y="555"/>
                      </a:lnTo>
                      <a:lnTo>
                        <a:pt x="1420" y="557"/>
                      </a:lnTo>
                      <a:lnTo>
                        <a:pt x="1418" y="560"/>
                      </a:lnTo>
                      <a:lnTo>
                        <a:pt x="1417" y="562"/>
                      </a:lnTo>
                      <a:lnTo>
                        <a:pt x="1415" y="563"/>
                      </a:lnTo>
                      <a:lnTo>
                        <a:pt x="1410" y="564"/>
                      </a:lnTo>
                      <a:lnTo>
                        <a:pt x="1402" y="565"/>
                      </a:lnTo>
                      <a:lnTo>
                        <a:pt x="1396" y="565"/>
                      </a:lnTo>
                      <a:lnTo>
                        <a:pt x="1391" y="563"/>
                      </a:lnTo>
                      <a:lnTo>
                        <a:pt x="1389" y="562"/>
                      </a:lnTo>
                      <a:lnTo>
                        <a:pt x="1389" y="560"/>
                      </a:lnTo>
                      <a:lnTo>
                        <a:pt x="1389" y="558"/>
                      </a:lnTo>
                      <a:lnTo>
                        <a:pt x="1390" y="556"/>
                      </a:lnTo>
                      <a:lnTo>
                        <a:pt x="1390" y="555"/>
                      </a:lnTo>
                      <a:lnTo>
                        <a:pt x="1391" y="554"/>
                      </a:lnTo>
                      <a:lnTo>
                        <a:pt x="1391" y="552"/>
                      </a:lnTo>
                      <a:lnTo>
                        <a:pt x="1393" y="550"/>
                      </a:lnTo>
                      <a:lnTo>
                        <a:pt x="1395" y="547"/>
                      </a:lnTo>
                      <a:lnTo>
                        <a:pt x="1397" y="546"/>
                      </a:lnTo>
                      <a:lnTo>
                        <a:pt x="1399" y="545"/>
                      </a:lnTo>
                      <a:lnTo>
                        <a:pt x="1415" y="540"/>
                      </a:lnTo>
                      <a:lnTo>
                        <a:pt x="1430" y="536"/>
                      </a:lnTo>
                      <a:lnTo>
                        <a:pt x="1433" y="535"/>
                      </a:lnTo>
                      <a:lnTo>
                        <a:pt x="1434" y="534"/>
                      </a:lnTo>
                      <a:lnTo>
                        <a:pt x="1434" y="534"/>
                      </a:lnTo>
                      <a:lnTo>
                        <a:pt x="1433" y="533"/>
                      </a:lnTo>
                      <a:lnTo>
                        <a:pt x="1432" y="533"/>
                      </a:lnTo>
                      <a:lnTo>
                        <a:pt x="1430" y="533"/>
                      </a:lnTo>
                      <a:lnTo>
                        <a:pt x="1428" y="533"/>
                      </a:lnTo>
                      <a:lnTo>
                        <a:pt x="1426" y="534"/>
                      </a:lnTo>
                      <a:lnTo>
                        <a:pt x="1423" y="534"/>
                      </a:lnTo>
                      <a:lnTo>
                        <a:pt x="1421" y="534"/>
                      </a:lnTo>
                      <a:lnTo>
                        <a:pt x="1410" y="535"/>
                      </a:lnTo>
                      <a:lnTo>
                        <a:pt x="1399" y="539"/>
                      </a:lnTo>
                      <a:lnTo>
                        <a:pt x="1389" y="543"/>
                      </a:lnTo>
                      <a:lnTo>
                        <a:pt x="1385" y="544"/>
                      </a:lnTo>
                      <a:lnTo>
                        <a:pt x="1383" y="546"/>
                      </a:lnTo>
                      <a:lnTo>
                        <a:pt x="1380" y="549"/>
                      </a:lnTo>
                      <a:lnTo>
                        <a:pt x="1378" y="551"/>
                      </a:lnTo>
                      <a:lnTo>
                        <a:pt x="1376" y="554"/>
                      </a:lnTo>
                      <a:lnTo>
                        <a:pt x="1369" y="555"/>
                      </a:lnTo>
                      <a:lnTo>
                        <a:pt x="1363" y="554"/>
                      </a:lnTo>
                      <a:lnTo>
                        <a:pt x="1356" y="552"/>
                      </a:lnTo>
                      <a:lnTo>
                        <a:pt x="1352" y="550"/>
                      </a:lnTo>
                      <a:lnTo>
                        <a:pt x="1348" y="549"/>
                      </a:lnTo>
                      <a:lnTo>
                        <a:pt x="1346" y="547"/>
                      </a:lnTo>
                      <a:lnTo>
                        <a:pt x="1346" y="546"/>
                      </a:lnTo>
                      <a:lnTo>
                        <a:pt x="1347" y="545"/>
                      </a:lnTo>
                      <a:lnTo>
                        <a:pt x="1350" y="544"/>
                      </a:lnTo>
                      <a:lnTo>
                        <a:pt x="1354" y="543"/>
                      </a:lnTo>
                      <a:lnTo>
                        <a:pt x="1365" y="540"/>
                      </a:lnTo>
                      <a:lnTo>
                        <a:pt x="1376" y="540"/>
                      </a:lnTo>
                      <a:lnTo>
                        <a:pt x="1387" y="539"/>
                      </a:lnTo>
                      <a:lnTo>
                        <a:pt x="1398" y="532"/>
                      </a:lnTo>
                      <a:lnTo>
                        <a:pt x="1408" y="525"/>
                      </a:lnTo>
                      <a:lnTo>
                        <a:pt x="1410" y="524"/>
                      </a:lnTo>
                      <a:lnTo>
                        <a:pt x="1410" y="524"/>
                      </a:lnTo>
                      <a:lnTo>
                        <a:pt x="1410" y="523"/>
                      </a:lnTo>
                      <a:lnTo>
                        <a:pt x="1408" y="523"/>
                      </a:lnTo>
                      <a:lnTo>
                        <a:pt x="1406" y="523"/>
                      </a:lnTo>
                      <a:lnTo>
                        <a:pt x="1404" y="524"/>
                      </a:lnTo>
                      <a:lnTo>
                        <a:pt x="1401" y="524"/>
                      </a:lnTo>
                      <a:lnTo>
                        <a:pt x="1399" y="525"/>
                      </a:lnTo>
                      <a:lnTo>
                        <a:pt x="1396" y="528"/>
                      </a:lnTo>
                      <a:lnTo>
                        <a:pt x="1391" y="530"/>
                      </a:lnTo>
                      <a:lnTo>
                        <a:pt x="1387" y="532"/>
                      </a:lnTo>
                      <a:lnTo>
                        <a:pt x="1383" y="534"/>
                      </a:lnTo>
                      <a:lnTo>
                        <a:pt x="1372" y="536"/>
                      </a:lnTo>
                      <a:lnTo>
                        <a:pt x="1361" y="539"/>
                      </a:lnTo>
                      <a:lnTo>
                        <a:pt x="1356" y="539"/>
                      </a:lnTo>
                      <a:lnTo>
                        <a:pt x="1353" y="540"/>
                      </a:lnTo>
                      <a:lnTo>
                        <a:pt x="1350" y="541"/>
                      </a:lnTo>
                      <a:lnTo>
                        <a:pt x="1346" y="541"/>
                      </a:lnTo>
                      <a:lnTo>
                        <a:pt x="1343" y="541"/>
                      </a:lnTo>
                      <a:lnTo>
                        <a:pt x="1340" y="541"/>
                      </a:lnTo>
                      <a:lnTo>
                        <a:pt x="1337" y="540"/>
                      </a:lnTo>
                      <a:lnTo>
                        <a:pt x="1335" y="540"/>
                      </a:lnTo>
                      <a:lnTo>
                        <a:pt x="1333" y="539"/>
                      </a:lnTo>
                      <a:lnTo>
                        <a:pt x="1333" y="538"/>
                      </a:lnTo>
                      <a:lnTo>
                        <a:pt x="1333" y="535"/>
                      </a:lnTo>
                      <a:lnTo>
                        <a:pt x="1334" y="534"/>
                      </a:lnTo>
                      <a:lnTo>
                        <a:pt x="1335" y="533"/>
                      </a:lnTo>
                      <a:lnTo>
                        <a:pt x="1336" y="532"/>
                      </a:lnTo>
                      <a:lnTo>
                        <a:pt x="1337" y="531"/>
                      </a:lnTo>
                      <a:lnTo>
                        <a:pt x="1339" y="530"/>
                      </a:lnTo>
                      <a:lnTo>
                        <a:pt x="1340" y="530"/>
                      </a:lnTo>
                      <a:lnTo>
                        <a:pt x="1342" y="529"/>
                      </a:lnTo>
                      <a:lnTo>
                        <a:pt x="1342" y="529"/>
                      </a:lnTo>
                      <a:lnTo>
                        <a:pt x="1343" y="528"/>
                      </a:lnTo>
                      <a:lnTo>
                        <a:pt x="1343" y="527"/>
                      </a:lnTo>
                      <a:lnTo>
                        <a:pt x="1343" y="525"/>
                      </a:lnTo>
                      <a:lnTo>
                        <a:pt x="1342" y="524"/>
                      </a:lnTo>
                      <a:lnTo>
                        <a:pt x="1341" y="524"/>
                      </a:lnTo>
                      <a:lnTo>
                        <a:pt x="1341" y="523"/>
                      </a:lnTo>
                      <a:lnTo>
                        <a:pt x="1341" y="521"/>
                      </a:lnTo>
                      <a:lnTo>
                        <a:pt x="1343" y="519"/>
                      </a:lnTo>
                      <a:lnTo>
                        <a:pt x="1345" y="519"/>
                      </a:lnTo>
                      <a:lnTo>
                        <a:pt x="1351" y="517"/>
                      </a:lnTo>
                      <a:lnTo>
                        <a:pt x="1356" y="513"/>
                      </a:lnTo>
                      <a:lnTo>
                        <a:pt x="1361" y="510"/>
                      </a:lnTo>
                      <a:lnTo>
                        <a:pt x="1356" y="510"/>
                      </a:lnTo>
                      <a:lnTo>
                        <a:pt x="1353" y="511"/>
                      </a:lnTo>
                      <a:lnTo>
                        <a:pt x="1350" y="512"/>
                      </a:lnTo>
                      <a:lnTo>
                        <a:pt x="1346" y="513"/>
                      </a:lnTo>
                      <a:lnTo>
                        <a:pt x="1345" y="514"/>
                      </a:lnTo>
                      <a:lnTo>
                        <a:pt x="1341" y="517"/>
                      </a:lnTo>
                      <a:lnTo>
                        <a:pt x="1336" y="518"/>
                      </a:lnTo>
                      <a:lnTo>
                        <a:pt x="1332" y="519"/>
                      </a:lnTo>
                      <a:lnTo>
                        <a:pt x="1330" y="518"/>
                      </a:lnTo>
                      <a:lnTo>
                        <a:pt x="1330" y="518"/>
                      </a:lnTo>
                      <a:lnTo>
                        <a:pt x="1329" y="517"/>
                      </a:lnTo>
                      <a:lnTo>
                        <a:pt x="1330" y="516"/>
                      </a:lnTo>
                      <a:lnTo>
                        <a:pt x="1330" y="514"/>
                      </a:lnTo>
                      <a:lnTo>
                        <a:pt x="1330" y="514"/>
                      </a:lnTo>
                      <a:lnTo>
                        <a:pt x="1331" y="513"/>
                      </a:lnTo>
                      <a:lnTo>
                        <a:pt x="1332" y="512"/>
                      </a:lnTo>
                      <a:lnTo>
                        <a:pt x="1333" y="511"/>
                      </a:lnTo>
                      <a:lnTo>
                        <a:pt x="1334" y="510"/>
                      </a:lnTo>
                      <a:lnTo>
                        <a:pt x="1335" y="509"/>
                      </a:lnTo>
                      <a:lnTo>
                        <a:pt x="1336" y="508"/>
                      </a:lnTo>
                      <a:lnTo>
                        <a:pt x="1336" y="508"/>
                      </a:lnTo>
                      <a:lnTo>
                        <a:pt x="1336" y="507"/>
                      </a:lnTo>
                      <a:lnTo>
                        <a:pt x="1334" y="507"/>
                      </a:lnTo>
                      <a:lnTo>
                        <a:pt x="1332" y="508"/>
                      </a:lnTo>
                      <a:lnTo>
                        <a:pt x="1329" y="508"/>
                      </a:lnTo>
                      <a:lnTo>
                        <a:pt x="1324" y="509"/>
                      </a:lnTo>
                      <a:lnTo>
                        <a:pt x="1319" y="509"/>
                      </a:lnTo>
                      <a:lnTo>
                        <a:pt x="1314" y="510"/>
                      </a:lnTo>
                      <a:lnTo>
                        <a:pt x="1312" y="509"/>
                      </a:lnTo>
                      <a:lnTo>
                        <a:pt x="1311" y="508"/>
                      </a:lnTo>
                      <a:lnTo>
                        <a:pt x="1311" y="507"/>
                      </a:lnTo>
                      <a:lnTo>
                        <a:pt x="1311" y="505"/>
                      </a:lnTo>
                      <a:lnTo>
                        <a:pt x="1312" y="503"/>
                      </a:lnTo>
                      <a:lnTo>
                        <a:pt x="1314" y="502"/>
                      </a:lnTo>
                      <a:lnTo>
                        <a:pt x="1317" y="501"/>
                      </a:lnTo>
                      <a:lnTo>
                        <a:pt x="1318" y="500"/>
                      </a:lnTo>
                      <a:lnTo>
                        <a:pt x="1319" y="499"/>
                      </a:lnTo>
                      <a:lnTo>
                        <a:pt x="1320" y="497"/>
                      </a:lnTo>
                      <a:lnTo>
                        <a:pt x="1322" y="495"/>
                      </a:lnTo>
                      <a:lnTo>
                        <a:pt x="1324" y="494"/>
                      </a:lnTo>
                      <a:lnTo>
                        <a:pt x="1329" y="492"/>
                      </a:lnTo>
                      <a:lnTo>
                        <a:pt x="1331" y="492"/>
                      </a:lnTo>
                      <a:lnTo>
                        <a:pt x="1334" y="492"/>
                      </a:lnTo>
                      <a:lnTo>
                        <a:pt x="1336" y="492"/>
                      </a:lnTo>
                      <a:lnTo>
                        <a:pt x="1339" y="492"/>
                      </a:lnTo>
                      <a:lnTo>
                        <a:pt x="1340" y="491"/>
                      </a:lnTo>
                      <a:lnTo>
                        <a:pt x="1341" y="489"/>
                      </a:lnTo>
                      <a:lnTo>
                        <a:pt x="1341" y="488"/>
                      </a:lnTo>
                      <a:lnTo>
                        <a:pt x="1343" y="486"/>
                      </a:lnTo>
                      <a:lnTo>
                        <a:pt x="1345" y="485"/>
                      </a:lnTo>
                      <a:lnTo>
                        <a:pt x="1347" y="484"/>
                      </a:lnTo>
                      <a:lnTo>
                        <a:pt x="1351" y="484"/>
                      </a:lnTo>
                      <a:lnTo>
                        <a:pt x="1354" y="484"/>
                      </a:lnTo>
                      <a:lnTo>
                        <a:pt x="1356" y="481"/>
                      </a:lnTo>
                      <a:lnTo>
                        <a:pt x="1361" y="479"/>
                      </a:lnTo>
                      <a:lnTo>
                        <a:pt x="1365" y="479"/>
                      </a:lnTo>
                      <a:lnTo>
                        <a:pt x="1367" y="479"/>
                      </a:lnTo>
                      <a:lnTo>
                        <a:pt x="1369" y="480"/>
                      </a:lnTo>
                      <a:lnTo>
                        <a:pt x="1372" y="480"/>
                      </a:lnTo>
                      <a:lnTo>
                        <a:pt x="1374" y="481"/>
                      </a:lnTo>
                      <a:lnTo>
                        <a:pt x="1376" y="481"/>
                      </a:lnTo>
                      <a:lnTo>
                        <a:pt x="1377" y="483"/>
                      </a:lnTo>
                      <a:lnTo>
                        <a:pt x="1378" y="481"/>
                      </a:lnTo>
                      <a:lnTo>
                        <a:pt x="1380" y="481"/>
                      </a:lnTo>
                      <a:lnTo>
                        <a:pt x="1383" y="481"/>
                      </a:lnTo>
                      <a:lnTo>
                        <a:pt x="1385" y="481"/>
                      </a:lnTo>
                      <a:lnTo>
                        <a:pt x="1387" y="481"/>
                      </a:lnTo>
                      <a:lnTo>
                        <a:pt x="1389" y="484"/>
                      </a:lnTo>
                      <a:lnTo>
                        <a:pt x="1391" y="484"/>
                      </a:lnTo>
                      <a:lnTo>
                        <a:pt x="1394" y="484"/>
                      </a:lnTo>
                      <a:lnTo>
                        <a:pt x="1396" y="483"/>
                      </a:lnTo>
                      <a:lnTo>
                        <a:pt x="1397" y="483"/>
                      </a:lnTo>
                      <a:lnTo>
                        <a:pt x="1397" y="483"/>
                      </a:lnTo>
                      <a:lnTo>
                        <a:pt x="1396" y="481"/>
                      </a:lnTo>
                      <a:lnTo>
                        <a:pt x="1394" y="479"/>
                      </a:lnTo>
                      <a:lnTo>
                        <a:pt x="1393" y="478"/>
                      </a:lnTo>
                      <a:lnTo>
                        <a:pt x="1389" y="477"/>
                      </a:lnTo>
                      <a:lnTo>
                        <a:pt x="1387" y="477"/>
                      </a:lnTo>
                      <a:lnTo>
                        <a:pt x="1385" y="476"/>
                      </a:lnTo>
                      <a:lnTo>
                        <a:pt x="1383" y="475"/>
                      </a:lnTo>
                      <a:lnTo>
                        <a:pt x="1382" y="474"/>
                      </a:lnTo>
                      <a:lnTo>
                        <a:pt x="1383" y="473"/>
                      </a:lnTo>
                      <a:lnTo>
                        <a:pt x="1383" y="471"/>
                      </a:lnTo>
                      <a:lnTo>
                        <a:pt x="1384" y="470"/>
                      </a:lnTo>
                      <a:lnTo>
                        <a:pt x="1386" y="470"/>
                      </a:lnTo>
                      <a:lnTo>
                        <a:pt x="1387" y="470"/>
                      </a:lnTo>
                      <a:lnTo>
                        <a:pt x="1389" y="470"/>
                      </a:lnTo>
                      <a:lnTo>
                        <a:pt x="1390" y="469"/>
                      </a:lnTo>
                      <a:lnTo>
                        <a:pt x="1391" y="469"/>
                      </a:lnTo>
                      <a:lnTo>
                        <a:pt x="1391" y="468"/>
                      </a:lnTo>
                      <a:lnTo>
                        <a:pt x="1391" y="467"/>
                      </a:lnTo>
                      <a:lnTo>
                        <a:pt x="1391" y="466"/>
                      </a:lnTo>
                      <a:lnTo>
                        <a:pt x="1391" y="466"/>
                      </a:lnTo>
                      <a:lnTo>
                        <a:pt x="1389" y="464"/>
                      </a:lnTo>
                      <a:lnTo>
                        <a:pt x="1387" y="463"/>
                      </a:lnTo>
                      <a:lnTo>
                        <a:pt x="1386" y="462"/>
                      </a:lnTo>
                      <a:lnTo>
                        <a:pt x="1385" y="460"/>
                      </a:lnTo>
                      <a:lnTo>
                        <a:pt x="1384" y="459"/>
                      </a:lnTo>
                      <a:lnTo>
                        <a:pt x="1385" y="458"/>
                      </a:lnTo>
                      <a:lnTo>
                        <a:pt x="1387" y="457"/>
                      </a:lnTo>
                      <a:lnTo>
                        <a:pt x="1391" y="457"/>
                      </a:lnTo>
                      <a:lnTo>
                        <a:pt x="1395" y="457"/>
                      </a:lnTo>
                      <a:lnTo>
                        <a:pt x="1399" y="457"/>
                      </a:lnTo>
                      <a:lnTo>
                        <a:pt x="1402" y="457"/>
                      </a:lnTo>
                      <a:lnTo>
                        <a:pt x="1406" y="459"/>
                      </a:lnTo>
                      <a:lnTo>
                        <a:pt x="1408" y="459"/>
                      </a:lnTo>
                      <a:lnTo>
                        <a:pt x="1409" y="462"/>
                      </a:lnTo>
                      <a:lnTo>
                        <a:pt x="1411" y="463"/>
                      </a:lnTo>
                      <a:lnTo>
                        <a:pt x="1412" y="464"/>
                      </a:lnTo>
                      <a:lnTo>
                        <a:pt x="1417" y="466"/>
                      </a:lnTo>
                      <a:lnTo>
                        <a:pt x="1420" y="468"/>
                      </a:lnTo>
                      <a:lnTo>
                        <a:pt x="1423" y="470"/>
                      </a:lnTo>
                      <a:lnTo>
                        <a:pt x="1426" y="469"/>
                      </a:lnTo>
                      <a:lnTo>
                        <a:pt x="1428" y="468"/>
                      </a:lnTo>
                      <a:lnTo>
                        <a:pt x="1430" y="468"/>
                      </a:lnTo>
                      <a:lnTo>
                        <a:pt x="1434" y="470"/>
                      </a:lnTo>
                      <a:lnTo>
                        <a:pt x="1437" y="473"/>
                      </a:lnTo>
                      <a:lnTo>
                        <a:pt x="1439" y="475"/>
                      </a:lnTo>
                      <a:lnTo>
                        <a:pt x="1443" y="476"/>
                      </a:lnTo>
                      <a:lnTo>
                        <a:pt x="1446" y="477"/>
                      </a:lnTo>
                      <a:lnTo>
                        <a:pt x="1451" y="478"/>
                      </a:lnTo>
                      <a:lnTo>
                        <a:pt x="1454" y="479"/>
                      </a:lnTo>
                      <a:lnTo>
                        <a:pt x="1456" y="479"/>
                      </a:lnTo>
                      <a:lnTo>
                        <a:pt x="1457" y="478"/>
                      </a:lnTo>
                      <a:lnTo>
                        <a:pt x="1459" y="477"/>
                      </a:lnTo>
                      <a:lnTo>
                        <a:pt x="1457" y="477"/>
                      </a:lnTo>
                      <a:lnTo>
                        <a:pt x="1456" y="476"/>
                      </a:lnTo>
                      <a:lnTo>
                        <a:pt x="1454" y="475"/>
                      </a:lnTo>
                      <a:lnTo>
                        <a:pt x="1453" y="475"/>
                      </a:lnTo>
                      <a:lnTo>
                        <a:pt x="1452" y="475"/>
                      </a:lnTo>
                      <a:lnTo>
                        <a:pt x="1450" y="473"/>
                      </a:lnTo>
                      <a:lnTo>
                        <a:pt x="1446" y="470"/>
                      </a:lnTo>
                      <a:lnTo>
                        <a:pt x="1443" y="468"/>
                      </a:lnTo>
                      <a:lnTo>
                        <a:pt x="1440" y="466"/>
                      </a:lnTo>
                      <a:lnTo>
                        <a:pt x="1437" y="464"/>
                      </a:lnTo>
                      <a:lnTo>
                        <a:pt x="1434" y="460"/>
                      </a:lnTo>
                      <a:lnTo>
                        <a:pt x="1433" y="458"/>
                      </a:lnTo>
                      <a:lnTo>
                        <a:pt x="1432" y="457"/>
                      </a:lnTo>
                      <a:lnTo>
                        <a:pt x="1433" y="456"/>
                      </a:lnTo>
                      <a:lnTo>
                        <a:pt x="1434" y="455"/>
                      </a:lnTo>
                      <a:lnTo>
                        <a:pt x="1435" y="454"/>
                      </a:lnTo>
                      <a:lnTo>
                        <a:pt x="1437" y="454"/>
                      </a:lnTo>
                      <a:lnTo>
                        <a:pt x="1437" y="453"/>
                      </a:lnTo>
                      <a:lnTo>
                        <a:pt x="1438" y="451"/>
                      </a:lnTo>
                      <a:lnTo>
                        <a:pt x="1439" y="451"/>
                      </a:lnTo>
                      <a:lnTo>
                        <a:pt x="1439" y="449"/>
                      </a:lnTo>
                      <a:lnTo>
                        <a:pt x="1439" y="448"/>
                      </a:lnTo>
                      <a:lnTo>
                        <a:pt x="1439" y="447"/>
                      </a:lnTo>
                      <a:lnTo>
                        <a:pt x="1439" y="447"/>
                      </a:lnTo>
                      <a:lnTo>
                        <a:pt x="1439" y="446"/>
                      </a:lnTo>
                      <a:lnTo>
                        <a:pt x="1440" y="446"/>
                      </a:lnTo>
                      <a:lnTo>
                        <a:pt x="1441" y="446"/>
                      </a:lnTo>
                      <a:lnTo>
                        <a:pt x="1443" y="447"/>
                      </a:lnTo>
                      <a:lnTo>
                        <a:pt x="1445" y="449"/>
                      </a:lnTo>
                      <a:lnTo>
                        <a:pt x="1448" y="451"/>
                      </a:lnTo>
                      <a:lnTo>
                        <a:pt x="1451" y="452"/>
                      </a:lnTo>
                      <a:lnTo>
                        <a:pt x="1453" y="453"/>
                      </a:lnTo>
                      <a:lnTo>
                        <a:pt x="1456" y="453"/>
                      </a:lnTo>
                      <a:lnTo>
                        <a:pt x="1456" y="452"/>
                      </a:lnTo>
                      <a:lnTo>
                        <a:pt x="1455" y="451"/>
                      </a:lnTo>
                      <a:lnTo>
                        <a:pt x="1454" y="448"/>
                      </a:lnTo>
                      <a:lnTo>
                        <a:pt x="1453" y="445"/>
                      </a:lnTo>
                      <a:lnTo>
                        <a:pt x="1452" y="443"/>
                      </a:lnTo>
                      <a:lnTo>
                        <a:pt x="1451" y="441"/>
                      </a:lnTo>
                      <a:lnTo>
                        <a:pt x="1450" y="440"/>
                      </a:lnTo>
                      <a:lnTo>
                        <a:pt x="1449" y="438"/>
                      </a:lnTo>
                      <a:lnTo>
                        <a:pt x="1449" y="437"/>
                      </a:lnTo>
                      <a:lnTo>
                        <a:pt x="1448" y="436"/>
                      </a:lnTo>
                      <a:lnTo>
                        <a:pt x="1449" y="435"/>
                      </a:lnTo>
                      <a:lnTo>
                        <a:pt x="1450" y="434"/>
                      </a:lnTo>
                      <a:lnTo>
                        <a:pt x="1451" y="434"/>
                      </a:lnTo>
                      <a:lnTo>
                        <a:pt x="1454" y="435"/>
                      </a:lnTo>
                      <a:lnTo>
                        <a:pt x="1455" y="435"/>
                      </a:lnTo>
                      <a:lnTo>
                        <a:pt x="1456" y="435"/>
                      </a:lnTo>
                      <a:lnTo>
                        <a:pt x="1457" y="436"/>
                      </a:lnTo>
                      <a:lnTo>
                        <a:pt x="1460" y="437"/>
                      </a:lnTo>
                      <a:lnTo>
                        <a:pt x="1462" y="438"/>
                      </a:lnTo>
                      <a:lnTo>
                        <a:pt x="1463" y="438"/>
                      </a:lnTo>
                      <a:lnTo>
                        <a:pt x="1465" y="440"/>
                      </a:lnTo>
                      <a:lnTo>
                        <a:pt x="1465" y="440"/>
                      </a:lnTo>
                      <a:lnTo>
                        <a:pt x="1465" y="440"/>
                      </a:lnTo>
                      <a:lnTo>
                        <a:pt x="1465" y="437"/>
                      </a:lnTo>
                      <a:lnTo>
                        <a:pt x="1464" y="436"/>
                      </a:lnTo>
                      <a:lnTo>
                        <a:pt x="1463" y="435"/>
                      </a:lnTo>
                      <a:lnTo>
                        <a:pt x="1463" y="434"/>
                      </a:lnTo>
                      <a:lnTo>
                        <a:pt x="1463" y="432"/>
                      </a:lnTo>
                      <a:lnTo>
                        <a:pt x="1463" y="431"/>
                      </a:lnTo>
                      <a:lnTo>
                        <a:pt x="1465" y="430"/>
                      </a:lnTo>
                      <a:lnTo>
                        <a:pt x="1467" y="429"/>
                      </a:lnTo>
                      <a:lnTo>
                        <a:pt x="1471" y="429"/>
                      </a:lnTo>
                      <a:lnTo>
                        <a:pt x="1474" y="429"/>
                      </a:lnTo>
                      <a:lnTo>
                        <a:pt x="1478" y="429"/>
                      </a:lnTo>
                      <a:lnTo>
                        <a:pt x="1482" y="430"/>
                      </a:lnTo>
                      <a:lnTo>
                        <a:pt x="1485" y="431"/>
                      </a:lnTo>
                      <a:lnTo>
                        <a:pt x="1487" y="433"/>
                      </a:lnTo>
                      <a:lnTo>
                        <a:pt x="1490" y="433"/>
                      </a:lnTo>
                      <a:lnTo>
                        <a:pt x="1494" y="433"/>
                      </a:lnTo>
                      <a:lnTo>
                        <a:pt x="1495" y="431"/>
                      </a:lnTo>
                      <a:lnTo>
                        <a:pt x="1496" y="431"/>
                      </a:lnTo>
                      <a:lnTo>
                        <a:pt x="1497" y="431"/>
                      </a:lnTo>
                      <a:lnTo>
                        <a:pt x="1498" y="431"/>
                      </a:lnTo>
                      <a:lnTo>
                        <a:pt x="1503" y="431"/>
                      </a:lnTo>
                      <a:lnTo>
                        <a:pt x="1504" y="432"/>
                      </a:lnTo>
                      <a:lnTo>
                        <a:pt x="1505" y="433"/>
                      </a:lnTo>
                      <a:lnTo>
                        <a:pt x="1506" y="434"/>
                      </a:lnTo>
                      <a:lnTo>
                        <a:pt x="1507" y="435"/>
                      </a:lnTo>
                      <a:lnTo>
                        <a:pt x="1510" y="437"/>
                      </a:lnTo>
                      <a:lnTo>
                        <a:pt x="1514" y="441"/>
                      </a:lnTo>
                      <a:lnTo>
                        <a:pt x="1517" y="443"/>
                      </a:lnTo>
                      <a:lnTo>
                        <a:pt x="1520" y="445"/>
                      </a:lnTo>
                      <a:lnTo>
                        <a:pt x="1522" y="447"/>
                      </a:lnTo>
                      <a:lnTo>
                        <a:pt x="1525" y="451"/>
                      </a:lnTo>
                      <a:lnTo>
                        <a:pt x="1526" y="452"/>
                      </a:lnTo>
                      <a:lnTo>
                        <a:pt x="1527" y="453"/>
                      </a:lnTo>
                      <a:lnTo>
                        <a:pt x="1527" y="454"/>
                      </a:lnTo>
                      <a:lnTo>
                        <a:pt x="1529" y="454"/>
                      </a:lnTo>
                      <a:lnTo>
                        <a:pt x="1531" y="455"/>
                      </a:lnTo>
                      <a:lnTo>
                        <a:pt x="1532" y="454"/>
                      </a:lnTo>
                      <a:lnTo>
                        <a:pt x="1533" y="454"/>
                      </a:lnTo>
                      <a:lnTo>
                        <a:pt x="1533" y="453"/>
                      </a:lnTo>
                      <a:lnTo>
                        <a:pt x="1533" y="452"/>
                      </a:lnTo>
                      <a:lnTo>
                        <a:pt x="1533" y="451"/>
                      </a:lnTo>
                      <a:lnTo>
                        <a:pt x="1532" y="448"/>
                      </a:lnTo>
                      <a:lnTo>
                        <a:pt x="1531" y="446"/>
                      </a:lnTo>
                      <a:lnTo>
                        <a:pt x="1529" y="443"/>
                      </a:lnTo>
                      <a:lnTo>
                        <a:pt x="1527" y="442"/>
                      </a:lnTo>
                      <a:lnTo>
                        <a:pt x="1525" y="440"/>
                      </a:lnTo>
                      <a:lnTo>
                        <a:pt x="1522" y="440"/>
                      </a:lnTo>
                      <a:lnTo>
                        <a:pt x="1519" y="438"/>
                      </a:lnTo>
                      <a:lnTo>
                        <a:pt x="1516" y="437"/>
                      </a:lnTo>
                      <a:lnTo>
                        <a:pt x="1514" y="435"/>
                      </a:lnTo>
                      <a:lnTo>
                        <a:pt x="1511" y="434"/>
                      </a:lnTo>
                      <a:lnTo>
                        <a:pt x="1510" y="433"/>
                      </a:lnTo>
                      <a:lnTo>
                        <a:pt x="1509" y="433"/>
                      </a:lnTo>
                      <a:lnTo>
                        <a:pt x="1507" y="433"/>
                      </a:lnTo>
                      <a:lnTo>
                        <a:pt x="1505" y="431"/>
                      </a:lnTo>
                      <a:lnTo>
                        <a:pt x="1503" y="429"/>
                      </a:lnTo>
                      <a:lnTo>
                        <a:pt x="1503" y="426"/>
                      </a:lnTo>
                      <a:lnTo>
                        <a:pt x="1504" y="425"/>
                      </a:lnTo>
                      <a:lnTo>
                        <a:pt x="1507" y="425"/>
                      </a:lnTo>
                      <a:lnTo>
                        <a:pt x="1509" y="425"/>
                      </a:lnTo>
                      <a:lnTo>
                        <a:pt x="1511" y="425"/>
                      </a:lnTo>
                      <a:lnTo>
                        <a:pt x="1514" y="426"/>
                      </a:lnTo>
                      <a:lnTo>
                        <a:pt x="1517" y="425"/>
                      </a:lnTo>
                      <a:lnTo>
                        <a:pt x="1521" y="425"/>
                      </a:lnTo>
                      <a:lnTo>
                        <a:pt x="1525" y="424"/>
                      </a:lnTo>
                      <a:lnTo>
                        <a:pt x="1529" y="424"/>
                      </a:lnTo>
                      <a:lnTo>
                        <a:pt x="1538" y="424"/>
                      </a:lnTo>
                      <a:lnTo>
                        <a:pt x="1544" y="426"/>
                      </a:lnTo>
                      <a:lnTo>
                        <a:pt x="1551" y="431"/>
                      </a:lnTo>
                      <a:lnTo>
                        <a:pt x="1551" y="432"/>
                      </a:lnTo>
                      <a:lnTo>
                        <a:pt x="1553" y="433"/>
                      </a:lnTo>
                      <a:lnTo>
                        <a:pt x="1555" y="435"/>
                      </a:lnTo>
                      <a:lnTo>
                        <a:pt x="1558" y="436"/>
                      </a:lnTo>
                      <a:lnTo>
                        <a:pt x="1561" y="437"/>
                      </a:lnTo>
                      <a:lnTo>
                        <a:pt x="1563" y="438"/>
                      </a:lnTo>
                      <a:lnTo>
                        <a:pt x="1566" y="440"/>
                      </a:lnTo>
                      <a:lnTo>
                        <a:pt x="1568" y="440"/>
                      </a:lnTo>
                      <a:lnTo>
                        <a:pt x="1560" y="433"/>
                      </a:lnTo>
                      <a:lnTo>
                        <a:pt x="1558" y="431"/>
                      </a:lnTo>
                      <a:lnTo>
                        <a:pt x="1559" y="429"/>
                      </a:lnTo>
                      <a:lnTo>
                        <a:pt x="1560" y="427"/>
                      </a:lnTo>
                      <a:lnTo>
                        <a:pt x="1562" y="426"/>
                      </a:lnTo>
                      <a:lnTo>
                        <a:pt x="1565" y="425"/>
                      </a:lnTo>
                      <a:lnTo>
                        <a:pt x="1568" y="424"/>
                      </a:lnTo>
                      <a:lnTo>
                        <a:pt x="1572" y="422"/>
                      </a:lnTo>
                      <a:lnTo>
                        <a:pt x="1576" y="422"/>
                      </a:lnTo>
                      <a:lnTo>
                        <a:pt x="1581" y="424"/>
                      </a:lnTo>
                      <a:lnTo>
                        <a:pt x="1583" y="424"/>
                      </a:lnTo>
                      <a:lnTo>
                        <a:pt x="1585" y="425"/>
                      </a:lnTo>
                      <a:lnTo>
                        <a:pt x="1587" y="426"/>
                      </a:lnTo>
                      <a:lnTo>
                        <a:pt x="1588" y="425"/>
                      </a:lnTo>
                      <a:lnTo>
                        <a:pt x="1588" y="424"/>
                      </a:lnTo>
                      <a:lnTo>
                        <a:pt x="1588" y="423"/>
                      </a:lnTo>
                      <a:lnTo>
                        <a:pt x="1588" y="422"/>
                      </a:lnTo>
                      <a:lnTo>
                        <a:pt x="1587" y="422"/>
                      </a:lnTo>
                      <a:lnTo>
                        <a:pt x="1591" y="420"/>
                      </a:lnTo>
                      <a:close/>
                      <a:moveTo>
                        <a:pt x="1715" y="120"/>
                      </a:moveTo>
                      <a:lnTo>
                        <a:pt x="1712" y="120"/>
                      </a:lnTo>
                      <a:lnTo>
                        <a:pt x="1638" y="120"/>
                      </a:lnTo>
                      <a:lnTo>
                        <a:pt x="1590" y="124"/>
                      </a:lnTo>
                      <a:lnTo>
                        <a:pt x="1541" y="129"/>
                      </a:lnTo>
                      <a:lnTo>
                        <a:pt x="1541" y="129"/>
                      </a:lnTo>
                      <a:lnTo>
                        <a:pt x="1541" y="129"/>
                      </a:lnTo>
                      <a:lnTo>
                        <a:pt x="1540" y="129"/>
                      </a:lnTo>
                      <a:lnTo>
                        <a:pt x="1537" y="129"/>
                      </a:lnTo>
                      <a:lnTo>
                        <a:pt x="1532" y="129"/>
                      </a:lnTo>
                      <a:lnTo>
                        <a:pt x="1477" y="136"/>
                      </a:lnTo>
                      <a:lnTo>
                        <a:pt x="1423" y="145"/>
                      </a:lnTo>
                      <a:lnTo>
                        <a:pt x="1375" y="154"/>
                      </a:lnTo>
                      <a:lnTo>
                        <a:pt x="1329" y="167"/>
                      </a:lnTo>
                      <a:lnTo>
                        <a:pt x="1322" y="167"/>
                      </a:lnTo>
                      <a:lnTo>
                        <a:pt x="1304" y="172"/>
                      </a:lnTo>
                      <a:lnTo>
                        <a:pt x="1286" y="178"/>
                      </a:lnTo>
                      <a:lnTo>
                        <a:pt x="1284" y="178"/>
                      </a:lnTo>
                      <a:lnTo>
                        <a:pt x="1281" y="178"/>
                      </a:lnTo>
                      <a:lnTo>
                        <a:pt x="1279" y="179"/>
                      </a:lnTo>
                      <a:lnTo>
                        <a:pt x="1277" y="180"/>
                      </a:lnTo>
                      <a:lnTo>
                        <a:pt x="1247" y="187"/>
                      </a:lnTo>
                      <a:lnTo>
                        <a:pt x="1215" y="197"/>
                      </a:lnTo>
                      <a:lnTo>
                        <a:pt x="1175" y="212"/>
                      </a:lnTo>
                      <a:lnTo>
                        <a:pt x="1132" y="228"/>
                      </a:lnTo>
                      <a:lnTo>
                        <a:pt x="1066" y="256"/>
                      </a:lnTo>
                      <a:lnTo>
                        <a:pt x="1001" y="287"/>
                      </a:lnTo>
                      <a:lnTo>
                        <a:pt x="938" y="321"/>
                      </a:lnTo>
                      <a:lnTo>
                        <a:pt x="876" y="357"/>
                      </a:lnTo>
                      <a:lnTo>
                        <a:pt x="874" y="357"/>
                      </a:lnTo>
                      <a:lnTo>
                        <a:pt x="841" y="378"/>
                      </a:lnTo>
                      <a:lnTo>
                        <a:pt x="808" y="401"/>
                      </a:lnTo>
                      <a:lnTo>
                        <a:pt x="806" y="401"/>
                      </a:lnTo>
                      <a:lnTo>
                        <a:pt x="775" y="424"/>
                      </a:lnTo>
                      <a:lnTo>
                        <a:pt x="744" y="446"/>
                      </a:lnTo>
                      <a:lnTo>
                        <a:pt x="743" y="447"/>
                      </a:lnTo>
                      <a:lnTo>
                        <a:pt x="742" y="447"/>
                      </a:lnTo>
                      <a:lnTo>
                        <a:pt x="742" y="448"/>
                      </a:lnTo>
                      <a:lnTo>
                        <a:pt x="712" y="471"/>
                      </a:lnTo>
                      <a:lnTo>
                        <a:pt x="684" y="495"/>
                      </a:lnTo>
                      <a:lnTo>
                        <a:pt x="682" y="496"/>
                      </a:lnTo>
                      <a:lnTo>
                        <a:pt x="681" y="497"/>
                      </a:lnTo>
                      <a:lnTo>
                        <a:pt x="680" y="498"/>
                      </a:lnTo>
                      <a:lnTo>
                        <a:pt x="679" y="499"/>
                      </a:lnTo>
                      <a:lnTo>
                        <a:pt x="651" y="523"/>
                      </a:lnTo>
                      <a:lnTo>
                        <a:pt x="622" y="550"/>
                      </a:lnTo>
                      <a:lnTo>
                        <a:pt x="622" y="552"/>
                      </a:lnTo>
                      <a:lnTo>
                        <a:pt x="620" y="552"/>
                      </a:lnTo>
                      <a:lnTo>
                        <a:pt x="564" y="607"/>
                      </a:lnTo>
                      <a:lnTo>
                        <a:pt x="511" y="664"/>
                      </a:lnTo>
                      <a:lnTo>
                        <a:pt x="461" y="725"/>
                      </a:lnTo>
                      <a:lnTo>
                        <a:pt x="415" y="786"/>
                      </a:lnTo>
                      <a:lnTo>
                        <a:pt x="371" y="852"/>
                      </a:lnTo>
                      <a:lnTo>
                        <a:pt x="330" y="920"/>
                      </a:lnTo>
                      <a:lnTo>
                        <a:pt x="303" y="969"/>
                      </a:lnTo>
                      <a:lnTo>
                        <a:pt x="277" y="1019"/>
                      </a:lnTo>
                      <a:lnTo>
                        <a:pt x="254" y="1070"/>
                      </a:lnTo>
                      <a:lnTo>
                        <a:pt x="252" y="1070"/>
                      </a:lnTo>
                      <a:lnTo>
                        <a:pt x="218" y="1156"/>
                      </a:lnTo>
                      <a:lnTo>
                        <a:pt x="188" y="1244"/>
                      </a:lnTo>
                      <a:lnTo>
                        <a:pt x="164" y="1334"/>
                      </a:lnTo>
                      <a:lnTo>
                        <a:pt x="145" y="1425"/>
                      </a:lnTo>
                      <a:lnTo>
                        <a:pt x="132" y="1518"/>
                      </a:lnTo>
                      <a:lnTo>
                        <a:pt x="123" y="1613"/>
                      </a:lnTo>
                      <a:lnTo>
                        <a:pt x="121" y="1710"/>
                      </a:lnTo>
                      <a:lnTo>
                        <a:pt x="121" y="1778"/>
                      </a:lnTo>
                      <a:lnTo>
                        <a:pt x="128" y="1875"/>
                      </a:lnTo>
                      <a:lnTo>
                        <a:pt x="141" y="1971"/>
                      </a:lnTo>
                      <a:lnTo>
                        <a:pt x="158" y="2065"/>
                      </a:lnTo>
                      <a:lnTo>
                        <a:pt x="183" y="2156"/>
                      </a:lnTo>
                      <a:lnTo>
                        <a:pt x="211" y="2245"/>
                      </a:lnTo>
                      <a:lnTo>
                        <a:pt x="245" y="2332"/>
                      </a:lnTo>
                      <a:lnTo>
                        <a:pt x="285" y="2417"/>
                      </a:lnTo>
                      <a:lnTo>
                        <a:pt x="329" y="2498"/>
                      </a:lnTo>
                      <a:lnTo>
                        <a:pt x="376" y="2576"/>
                      </a:lnTo>
                      <a:lnTo>
                        <a:pt x="429" y="2652"/>
                      </a:lnTo>
                      <a:lnTo>
                        <a:pt x="486" y="2725"/>
                      </a:lnTo>
                      <a:lnTo>
                        <a:pt x="547" y="2794"/>
                      </a:lnTo>
                      <a:lnTo>
                        <a:pt x="611" y="2859"/>
                      </a:lnTo>
                      <a:lnTo>
                        <a:pt x="637" y="2885"/>
                      </a:lnTo>
                      <a:lnTo>
                        <a:pt x="664" y="2908"/>
                      </a:lnTo>
                      <a:lnTo>
                        <a:pt x="664" y="2908"/>
                      </a:lnTo>
                      <a:lnTo>
                        <a:pt x="664" y="2909"/>
                      </a:lnTo>
                      <a:lnTo>
                        <a:pt x="665" y="2910"/>
                      </a:lnTo>
                      <a:lnTo>
                        <a:pt x="666" y="2910"/>
                      </a:lnTo>
                      <a:lnTo>
                        <a:pt x="692" y="2933"/>
                      </a:lnTo>
                      <a:lnTo>
                        <a:pt x="721" y="2956"/>
                      </a:lnTo>
                      <a:lnTo>
                        <a:pt x="750" y="2978"/>
                      </a:lnTo>
                      <a:lnTo>
                        <a:pt x="779" y="3000"/>
                      </a:lnTo>
                      <a:lnTo>
                        <a:pt x="809" y="3021"/>
                      </a:lnTo>
                      <a:lnTo>
                        <a:pt x="841" y="3041"/>
                      </a:lnTo>
                      <a:lnTo>
                        <a:pt x="841" y="3043"/>
                      </a:lnTo>
                      <a:lnTo>
                        <a:pt x="842" y="3043"/>
                      </a:lnTo>
                      <a:lnTo>
                        <a:pt x="843" y="3044"/>
                      </a:lnTo>
                      <a:lnTo>
                        <a:pt x="845" y="3045"/>
                      </a:lnTo>
                      <a:lnTo>
                        <a:pt x="845" y="3045"/>
                      </a:lnTo>
                      <a:lnTo>
                        <a:pt x="845" y="3045"/>
                      </a:lnTo>
                      <a:lnTo>
                        <a:pt x="845" y="3047"/>
                      </a:lnTo>
                      <a:lnTo>
                        <a:pt x="846" y="3047"/>
                      </a:lnTo>
                      <a:lnTo>
                        <a:pt x="848" y="3048"/>
                      </a:lnTo>
                      <a:lnTo>
                        <a:pt x="850" y="3049"/>
                      </a:lnTo>
                      <a:lnTo>
                        <a:pt x="852" y="3050"/>
                      </a:lnTo>
                      <a:lnTo>
                        <a:pt x="856" y="3052"/>
                      </a:lnTo>
                      <a:lnTo>
                        <a:pt x="861" y="3054"/>
                      </a:lnTo>
                      <a:lnTo>
                        <a:pt x="941" y="3102"/>
                      </a:lnTo>
                      <a:lnTo>
                        <a:pt x="1024" y="3144"/>
                      </a:lnTo>
                      <a:lnTo>
                        <a:pt x="1110" y="3183"/>
                      </a:lnTo>
                      <a:lnTo>
                        <a:pt x="1198" y="3216"/>
                      </a:lnTo>
                      <a:lnTo>
                        <a:pt x="1202" y="3216"/>
                      </a:lnTo>
                      <a:lnTo>
                        <a:pt x="1282" y="3242"/>
                      </a:lnTo>
                      <a:lnTo>
                        <a:pt x="1365" y="3262"/>
                      </a:lnTo>
                      <a:lnTo>
                        <a:pt x="1449" y="3279"/>
                      </a:lnTo>
                      <a:lnTo>
                        <a:pt x="1535" y="3291"/>
                      </a:lnTo>
                      <a:lnTo>
                        <a:pt x="1535" y="3291"/>
                      </a:lnTo>
                      <a:lnTo>
                        <a:pt x="1536" y="3291"/>
                      </a:lnTo>
                      <a:lnTo>
                        <a:pt x="1537" y="3291"/>
                      </a:lnTo>
                      <a:lnTo>
                        <a:pt x="1538" y="3291"/>
                      </a:lnTo>
                      <a:lnTo>
                        <a:pt x="1541" y="3291"/>
                      </a:lnTo>
                      <a:lnTo>
                        <a:pt x="1597" y="3296"/>
                      </a:lnTo>
                      <a:lnTo>
                        <a:pt x="1653" y="3299"/>
                      </a:lnTo>
                      <a:lnTo>
                        <a:pt x="1710" y="3300"/>
                      </a:lnTo>
                      <a:lnTo>
                        <a:pt x="1795" y="3298"/>
                      </a:lnTo>
                      <a:lnTo>
                        <a:pt x="1881" y="3291"/>
                      </a:lnTo>
                      <a:lnTo>
                        <a:pt x="1881" y="3291"/>
                      </a:lnTo>
                      <a:lnTo>
                        <a:pt x="1881" y="3291"/>
                      </a:lnTo>
                      <a:lnTo>
                        <a:pt x="1882" y="3291"/>
                      </a:lnTo>
                      <a:lnTo>
                        <a:pt x="1886" y="3291"/>
                      </a:lnTo>
                      <a:lnTo>
                        <a:pt x="1890" y="3291"/>
                      </a:lnTo>
                      <a:lnTo>
                        <a:pt x="1911" y="3288"/>
                      </a:lnTo>
                      <a:lnTo>
                        <a:pt x="1931" y="3284"/>
                      </a:lnTo>
                      <a:lnTo>
                        <a:pt x="2006" y="3273"/>
                      </a:lnTo>
                      <a:lnTo>
                        <a:pt x="2079" y="3258"/>
                      </a:lnTo>
                      <a:lnTo>
                        <a:pt x="2151" y="3239"/>
                      </a:lnTo>
                      <a:lnTo>
                        <a:pt x="2220" y="3216"/>
                      </a:lnTo>
                      <a:lnTo>
                        <a:pt x="2225" y="3216"/>
                      </a:lnTo>
                      <a:lnTo>
                        <a:pt x="2313" y="3183"/>
                      </a:lnTo>
                      <a:lnTo>
                        <a:pt x="2398" y="3144"/>
                      </a:lnTo>
                      <a:lnTo>
                        <a:pt x="2480" y="3102"/>
                      </a:lnTo>
                      <a:lnTo>
                        <a:pt x="2559" y="3054"/>
                      </a:lnTo>
                      <a:lnTo>
                        <a:pt x="2559" y="3054"/>
                      </a:lnTo>
                      <a:lnTo>
                        <a:pt x="2559" y="3054"/>
                      </a:lnTo>
                      <a:lnTo>
                        <a:pt x="2561" y="3054"/>
                      </a:lnTo>
                      <a:lnTo>
                        <a:pt x="2561" y="3054"/>
                      </a:lnTo>
                      <a:lnTo>
                        <a:pt x="2563" y="3053"/>
                      </a:lnTo>
                      <a:lnTo>
                        <a:pt x="2564" y="3052"/>
                      </a:lnTo>
                      <a:lnTo>
                        <a:pt x="2567" y="3051"/>
                      </a:lnTo>
                      <a:lnTo>
                        <a:pt x="2570" y="3049"/>
                      </a:lnTo>
                      <a:lnTo>
                        <a:pt x="2575" y="3045"/>
                      </a:lnTo>
                      <a:lnTo>
                        <a:pt x="2637" y="3004"/>
                      </a:lnTo>
                      <a:lnTo>
                        <a:pt x="2696" y="2958"/>
                      </a:lnTo>
                      <a:lnTo>
                        <a:pt x="2754" y="2911"/>
                      </a:lnTo>
                      <a:lnTo>
                        <a:pt x="2809" y="2859"/>
                      </a:lnTo>
                      <a:lnTo>
                        <a:pt x="2863" y="2805"/>
                      </a:lnTo>
                      <a:lnTo>
                        <a:pt x="2914" y="2750"/>
                      </a:lnTo>
                      <a:lnTo>
                        <a:pt x="2947" y="2711"/>
                      </a:lnTo>
                      <a:lnTo>
                        <a:pt x="2979" y="2671"/>
                      </a:lnTo>
                      <a:lnTo>
                        <a:pt x="3009" y="2629"/>
                      </a:lnTo>
                      <a:lnTo>
                        <a:pt x="3060" y="2551"/>
                      </a:lnTo>
                      <a:lnTo>
                        <a:pt x="3108" y="2470"/>
                      </a:lnTo>
                      <a:lnTo>
                        <a:pt x="3151" y="2386"/>
                      </a:lnTo>
                      <a:lnTo>
                        <a:pt x="3188" y="2299"/>
                      </a:lnTo>
                      <a:lnTo>
                        <a:pt x="3220" y="2211"/>
                      </a:lnTo>
                      <a:lnTo>
                        <a:pt x="3248" y="2120"/>
                      </a:lnTo>
                      <a:lnTo>
                        <a:pt x="3270" y="2025"/>
                      </a:lnTo>
                      <a:lnTo>
                        <a:pt x="3283" y="1945"/>
                      </a:lnTo>
                      <a:lnTo>
                        <a:pt x="3294" y="1862"/>
                      </a:lnTo>
                      <a:lnTo>
                        <a:pt x="3299" y="1778"/>
                      </a:lnTo>
                      <a:lnTo>
                        <a:pt x="3300" y="1745"/>
                      </a:lnTo>
                      <a:lnTo>
                        <a:pt x="3301" y="1710"/>
                      </a:lnTo>
                      <a:lnTo>
                        <a:pt x="3299" y="1613"/>
                      </a:lnTo>
                      <a:lnTo>
                        <a:pt x="3290" y="1518"/>
                      </a:lnTo>
                      <a:lnTo>
                        <a:pt x="3276" y="1425"/>
                      </a:lnTo>
                      <a:lnTo>
                        <a:pt x="3256" y="1334"/>
                      </a:lnTo>
                      <a:lnTo>
                        <a:pt x="3232" y="1244"/>
                      </a:lnTo>
                      <a:lnTo>
                        <a:pt x="3202" y="1156"/>
                      </a:lnTo>
                      <a:lnTo>
                        <a:pt x="3168" y="1070"/>
                      </a:lnTo>
                      <a:lnTo>
                        <a:pt x="3166" y="1070"/>
                      </a:lnTo>
                      <a:lnTo>
                        <a:pt x="3136" y="1007"/>
                      </a:lnTo>
                      <a:lnTo>
                        <a:pt x="3104" y="944"/>
                      </a:lnTo>
                      <a:lnTo>
                        <a:pt x="3068" y="883"/>
                      </a:lnTo>
                      <a:lnTo>
                        <a:pt x="3031" y="824"/>
                      </a:lnTo>
                      <a:lnTo>
                        <a:pt x="2980" y="752"/>
                      </a:lnTo>
                      <a:lnTo>
                        <a:pt x="2926" y="685"/>
                      </a:lnTo>
                      <a:lnTo>
                        <a:pt x="2869" y="620"/>
                      </a:lnTo>
                      <a:lnTo>
                        <a:pt x="2851" y="603"/>
                      </a:lnTo>
                      <a:lnTo>
                        <a:pt x="2834" y="585"/>
                      </a:lnTo>
                      <a:lnTo>
                        <a:pt x="2801" y="552"/>
                      </a:lnTo>
                      <a:lnTo>
                        <a:pt x="2798" y="552"/>
                      </a:lnTo>
                      <a:lnTo>
                        <a:pt x="2798" y="550"/>
                      </a:lnTo>
                      <a:lnTo>
                        <a:pt x="2771" y="523"/>
                      </a:lnTo>
                      <a:lnTo>
                        <a:pt x="2741" y="499"/>
                      </a:lnTo>
                      <a:lnTo>
                        <a:pt x="2740" y="498"/>
                      </a:lnTo>
                      <a:lnTo>
                        <a:pt x="2740" y="497"/>
                      </a:lnTo>
                      <a:lnTo>
                        <a:pt x="2739" y="497"/>
                      </a:lnTo>
                      <a:lnTo>
                        <a:pt x="2739" y="497"/>
                      </a:lnTo>
                      <a:lnTo>
                        <a:pt x="2709" y="473"/>
                      </a:lnTo>
                      <a:lnTo>
                        <a:pt x="2678" y="448"/>
                      </a:lnTo>
                      <a:lnTo>
                        <a:pt x="2678" y="446"/>
                      </a:lnTo>
                      <a:lnTo>
                        <a:pt x="2645" y="424"/>
                      </a:lnTo>
                      <a:lnTo>
                        <a:pt x="2614" y="401"/>
                      </a:lnTo>
                      <a:lnTo>
                        <a:pt x="2612" y="401"/>
                      </a:lnTo>
                      <a:lnTo>
                        <a:pt x="2579" y="378"/>
                      </a:lnTo>
                      <a:lnTo>
                        <a:pt x="2546" y="357"/>
                      </a:lnTo>
                      <a:lnTo>
                        <a:pt x="2463" y="309"/>
                      </a:lnTo>
                      <a:lnTo>
                        <a:pt x="2377" y="266"/>
                      </a:lnTo>
                      <a:lnTo>
                        <a:pt x="2289" y="228"/>
                      </a:lnTo>
                      <a:lnTo>
                        <a:pt x="2216" y="201"/>
                      </a:lnTo>
                      <a:lnTo>
                        <a:pt x="2143" y="180"/>
                      </a:lnTo>
                      <a:lnTo>
                        <a:pt x="2141" y="179"/>
                      </a:lnTo>
                      <a:lnTo>
                        <a:pt x="2139" y="178"/>
                      </a:lnTo>
                      <a:lnTo>
                        <a:pt x="2137" y="178"/>
                      </a:lnTo>
                      <a:lnTo>
                        <a:pt x="2135" y="178"/>
                      </a:lnTo>
                      <a:lnTo>
                        <a:pt x="2098" y="167"/>
                      </a:lnTo>
                      <a:lnTo>
                        <a:pt x="2092" y="167"/>
                      </a:lnTo>
                      <a:lnTo>
                        <a:pt x="2045" y="154"/>
                      </a:lnTo>
                      <a:lnTo>
                        <a:pt x="1999" y="147"/>
                      </a:lnTo>
                      <a:lnTo>
                        <a:pt x="1999" y="147"/>
                      </a:lnTo>
                      <a:lnTo>
                        <a:pt x="1999" y="147"/>
                      </a:lnTo>
                      <a:lnTo>
                        <a:pt x="1998" y="146"/>
                      </a:lnTo>
                      <a:lnTo>
                        <a:pt x="1997" y="145"/>
                      </a:lnTo>
                      <a:lnTo>
                        <a:pt x="1943" y="136"/>
                      </a:lnTo>
                      <a:lnTo>
                        <a:pt x="1888" y="129"/>
                      </a:lnTo>
                      <a:lnTo>
                        <a:pt x="1888" y="129"/>
                      </a:lnTo>
                      <a:lnTo>
                        <a:pt x="1887" y="129"/>
                      </a:lnTo>
                      <a:lnTo>
                        <a:pt x="1885" y="129"/>
                      </a:lnTo>
                      <a:lnTo>
                        <a:pt x="1881" y="129"/>
                      </a:lnTo>
                      <a:lnTo>
                        <a:pt x="1877" y="129"/>
                      </a:lnTo>
                      <a:lnTo>
                        <a:pt x="1831" y="124"/>
                      </a:lnTo>
                      <a:lnTo>
                        <a:pt x="1782" y="120"/>
                      </a:lnTo>
                      <a:lnTo>
                        <a:pt x="1719" y="120"/>
                      </a:lnTo>
                      <a:lnTo>
                        <a:pt x="1718" y="120"/>
                      </a:lnTo>
                      <a:lnTo>
                        <a:pt x="1718" y="120"/>
                      </a:lnTo>
                      <a:lnTo>
                        <a:pt x="1717" y="120"/>
                      </a:lnTo>
                      <a:lnTo>
                        <a:pt x="1715" y="120"/>
                      </a:lnTo>
                      <a:close/>
                      <a:moveTo>
                        <a:pt x="1710" y="0"/>
                      </a:moveTo>
                      <a:lnTo>
                        <a:pt x="1819" y="4"/>
                      </a:lnTo>
                      <a:lnTo>
                        <a:pt x="1924" y="14"/>
                      </a:lnTo>
                      <a:lnTo>
                        <a:pt x="2029" y="30"/>
                      </a:lnTo>
                      <a:lnTo>
                        <a:pt x="2131" y="52"/>
                      </a:lnTo>
                      <a:lnTo>
                        <a:pt x="2230" y="81"/>
                      </a:lnTo>
                      <a:lnTo>
                        <a:pt x="2328" y="115"/>
                      </a:lnTo>
                      <a:lnTo>
                        <a:pt x="2422" y="156"/>
                      </a:lnTo>
                      <a:lnTo>
                        <a:pt x="2513" y="201"/>
                      </a:lnTo>
                      <a:lnTo>
                        <a:pt x="2602" y="251"/>
                      </a:lnTo>
                      <a:lnTo>
                        <a:pt x="2687" y="306"/>
                      </a:lnTo>
                      <a:lnTo>
                        <a:pt x="2768" y="367"/>
                      </a:lnTo>
                      <a:lnTo>
                        <a:pt x="2846" y="432"/>
                      </a:lnTo>
                      <a:lnTo>
                        <a:pt x="2919" y="501"/>
                      </a:lnTo>
                      <a:lnTo>
                        <a:pt x="2989" y="575"/>
                      </a:lnTo>
                      <a:lnTo>
                        <a:pt x="3054" y="652"/>
                      </a:lnTo>
                      <a:lnTo>
                        <a:pt x="3113" y="734"/>
                      </a:lnTo>
                      <a:lnTo>
                        <a:pt x="3169" y="818"/>
                      </a:lnTo>
                      <a:lnTo>
                        <a:pt x="3220" y="906"/>
                      </a:lnTo>
                      <a:lnTo>
                        <a:pt x="3265" y="998"/>
                      </a:lnTo>
                      <a:lnTo>
                        <a:pt x="3305" y="1092"/>
                      </a:lnTo>
                      <a:lnTo>
                        <a:pt x="3339" y="1189"/>
                      </a:lnTo>
                      <a:lnTo>
                        <a:pt x="3368" y="1289"/>
                      </a:lnTo>
                      <a:lnTo>
                        <a:pt x="3391" y="1392"/>
                      </a:lnTo>
                      <a:lnTo>
                        <a:pt x="3407" y="1495"/>
                      </a:lnTo>
                      <a:lnTo>
                        <a:pt x="3417" y="1602"/>
                      </a:lnTo>
                      <a:lnTo>
                        <a:pt x="3420" y="1710"/>
                      </a:lnTo>
                      <a:lnTo>
                        <a:pt x="3417" y="1818"/>
                      </a:lnTo>
                      <a:lnTo>
                        <a:pt x="3407" y="1925"/>
                      </a:lnTo>
                      <a:lnTo>
                        <a:pt x="3391" y="2029"/>
                      </a:lnTo>
                      <a:lnTo>
                        <a:pt x="3368" y="2131"/>
                      </a:lnTo>
                      <a:lnTo>
                        <a:pt x="3339" y="2231"/>
                      </a:lnTo>
                      <a:lnTo>
                        <a:pt x="3305" y="2328"/>
                      </a:lnTo>
                      <a:lnTo>
                        <a:pt x="3265" y="2422"/>
                      </a:lnTo>
                      <a:lnTo>
                        <a:pt x="3220" y="2514"/>
                      </a:lnTo>
                      <a:lnTo>
                        <a:pt x="3169" y="2602"/>
                      </a:lnTo>
                      <a:lnTo>
                        <a:pt x="3113" y="2687"/>
                      </a:lnTo>
                      <a:lnTo>
                        <a:pt x="3054" y="2768"/>
                      </a:lnTo>
                      <a:lnTo>
                        <a:pt x="2989" y="2845"/>
                      </a:lnTo>
                      <a:lnTo>
                        <a:pt x="2919" y="2919"/>
                      </a:lnTo>
                      <a:lnTo>
                        <a:pt x="2846" y="2988"/>
                      </a:lnTo>
                      <a:lnTo>
                        <a:pt x="2768" y="3053"/>
                      </a:lnTo>
                      <a:lnTo>
                        <a:pt x="2687" y="3114"/>
                      </a:lnTo>
                      <a:lnTo>
                        <a:pt x="2602" y="3169"/>
                      </a:lnTo>
                      <a:lnTo>
                        <a:pt x="2513" y="3219"/>
                      </a:lnTo>
                      <a:lnTo>
                        <a:pt x="2422" y="3266"/>
                      </a:lnTo>
                      <a:lnTo>
                        <a:pt x="2328" y="3305"/>
                      </a:lnTo>
                      <a:lnTo>
                        <a:pt x="2230" y="3339"/>
                      </a:lnTo>
                      <a:lnTo>
                        <a:pt x="2131" y="3368"/>
                      </a:lnTo>
                      <a:lnTo>
                        <a:pt x="2029" y="3390"/>
                      </a:lnTo>
                      <a:lnTo>
                        <a:pt x="1924" y="3407"/>
                      </a:lnTo>
                      <a:lnTo>
                        <a:pt x="1819" y="3416"/>
                      </a:lnTo>
                      <a:lnTo>
                        <a:pt x="1710" y="3420"/>
                      </a:lnTo>
                      <a:lnTo>
                        <a:pt x="1602" y="3416"/>
                      </a:lnTo>
                      <a:lnTo>
                        <a:pt x="1496" y="3407"/>
                      </a:lnTo>
                      <a:lnTo>
                        <a:pt x="1391" y="3390"/>
                      </a:lnTo>
                      <a:lnTo>
                        <a:pt x="1289" y="3368"/>
                      </a:lnTo>
                      <a:lnTo>
                        <a:pt x="1190" y="3339"/>
                      </a:lnTo>
                      <a:lnTo>
                        <a:pt x="1092" y="3305"/>
                      </a:lnTo>
                      <a:lnTo>
                        <a:pt x="998" y="3266"/>
                      </a:lnTo>
                      <a:lnTo>
                        <a:pt x="907" y="3219"/>
                      </a:lnTo>
                      <a:lnTo>
                        <a:pt x="818" y="3169"/>
                      </a:lnTo>
                      <a:lnTo>
                        <a:pt x="733" y="3114"/>
                      </a:lnTo>
                      <a:lnTo>
                        <a:pt x="653" y="3053"/>
                      </a:lnTo>
                      <a:lnTo>
                        <a:pt x="575" y="2988"/>
                      </a:lnTo>
                      <a:lnTo>
                        <a:pt x="501" y="2919"/>
                      </a:lnTo>
                      <a:lnTo>
                        <a:pt x="431" y="2845"/>
                      </a:lnTo>
                      <a:lnTo>
                        <a:pt x="366" y="2768"/>
                      </a:lnTo>
                      <a:lnTo>
                        <a:pt x="307" y="2687"/>
                      </a:lnTo>
                      <a:lnTo>
                        <a:pt x="251" y="2602"/>
                      </a:lnTo>
                      <a:lnTo>
                        <a:pt x="200" y="2514"/>
                      </a:lnTo>
                      <a:lnTo>
                        <a:pt x="155" y="2422"/>
                      </a:lnTo>
                      <a:lnTo>
                        <a:pt x="115" y="2328"/>
                      </a:lnTo>
                      <a:lnTo>
                        <a:pt x="81" y="2231"/>
                      </a:lnTo>
                      <a:lnTo>
                        <a:pt x="53" y="2131"/>
                      </a:lnTo>
                      <a:lnTo>
                        <a:pt x="30" y="2029"/>
                      </a:lnTo>
                      <a:lnTo>
                        <a:pt x="13" y="1925"/>
                      </a:lnTo>
                      <a:lnTo>
                        <a:pt x="3" y="1818"/>
                      </a:lnTo>
                      <a:lnTo>
                        <a:pt x="0" y="1710"/>
                      </a:lnTo>
                      <a:lnTo>
                        <a:pt x="3" y="1602"/>
                      </a:lnTo>
                      <a:lnTo>
                        <a:pt x="13" y="1495"/>
                      </a:lnTo>
                      <a:lnTo>
                        <a:pt x="30" y="1392"/>
                      </a:lnTo>
                      <a:lnTo>
                        <a:pt x="53" y="1289"/>
                      </a:lnTo>
                      <a:lnTo>
                        <a:pt x="81" y="1189"/>
                      </a:lnTo>
                      <a:lnTo>
                        <a:pt x="115" y="1092"/>
                      </a:lnTo>
                      <a:lnTo>
                        <a:pt x="155" y="998"/>
                      </a:lnTo>
                      <a:lnTo>
                        <a:pt x="200" y="906"/>
                      </a:lnTo>
                      <a:lnTo>
                        <a:pt x="251" y="818"/>
                      </a:lnTo>
                      <a:lnTo>
                        <a:pt x="307" y="734"/>
                      </a:lnTo>
                      <a:lnTo>
                        <a:pt x="366" y="652"/>
                      </a:lnTo>
                      <a:lnTo>
                        <a:pt x="431" y="575"/>
                      </a:lnTo>
                      <a:lnTo>
                        <a:pt x="501" y="501"/>
                      </a:lnTo>
                      <a:lnTo>
                        <a:pt x="575" y="432"/>
                      </a:lnTo>
                      <a:lnTo>
                        <a:pt x="653" y="367"/>
                      </a:lnTo>
                      <a:lnTo>
                        <a:pt x="733" y="306"/>
                      </a:lnTo>
                      <a:lnTo>
                        <a:pt x="818" y="251"/>
                      </a:lnTo>
                      <a:lnTo>
                        <a:pt x="907" y="201"/>
                      </a:lnTo>
                      <a:lnTo>
                        <a:pt x="998" y="156"/>
                      </a:lnTo>
                      <a:lnTo>
                        <a:pt x="1092" y="115"/>
                      </a:lnTo>
                      <a:lnTo>
                        <a:pt x="1190" y="81"/>
                      </a:lnTo>
                      <a:lnTo>
                        <a:pt x="1289" y="52"/>
                      </a:lnTo>
                      <a:lnTo>
                        <a:pt x="1391" y="30"/>
                      </a:lnTo>
                      <a:lnTo>
                        <a:pt x="1496" y="14"/>
                      </a:lnTo>
                      <a:lnTo>
                        <a:pt x="1602" y="4"/>
                      </a:lnTo>
                      <a:lnTo>
                        <a:pt x="1710"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42" name="Freeform 39"/>
                <p:cNvSpPr>
                  <a:spLocks/>
                </p:cNvSpPr>
                <p:nvPr/>
              </p:nvSpPr>
              <p:spPr bwMode="auto">
                <a:xfrm>
                  <a:off x="5791" y="865"/>
                  <a:ext cx="220" cy="220"/>
                </a:xfrm>
                <a:custGeom>
                  <a:avLst/>
                  <a:gdLst>
                    <a:gd name="T0" fmla="*/ 0 w 2203"/>
                    <a:gd name="T1" fmla="*/ 0 h 2202"/>
                    <a:gd name="T2" fmla="*/ 1855 w 2203"/>
                    <a:gd name="T3" fmla="*/ 497 h 2202"/>
                    <a:gd name="T4" fmla="*/ 1422 w 2203"/>
                    <a:gd name="T5" fmla="*/ 929 h 2202"/>
                    <a:gd name="T6" fmla="*/ 1521 w 2203"/>
                    <a:gd name="T7" fmla="*/ 1030 h 2202"/>
                    <a:gd name="T8" fmla="*/ 2203 w 2203"/>
                    <a:gd name="T9" fmla="*/ 1711 h 2202"/>
                    <a:gd name="T10" fmla="*/ 1711 w 2203"/>
                    <a:gd name="T11" fmla="*/ 2202 h 2202"/>
                    <a:gd name="T12" fmla="*/ 1029 w 2203"/>
                    <a:gd name="T13" fmla="*/ 1521 h 2202"/>
                    <a:gd name="T14" fmla="*/ 930 w 2203"/>
                    <a:gd name="T15" fmla="*/ 1421 h 2202"/>
                    <a:gd name="T16" fmla="*/ 497 w 2203"/>
                    <a:gd name="T17" fmla="*/ 1855 h 2202"/>
                    <a:gd name="T18" fmla="*/ 0 w 2203"/>
                    <a:gd name="T19" fmla="*/ 0 h 2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3" h="2202">
                      <a:moveTo>
                        <a:pt x="0" y="0"/>
                      </a:moveTo>
                      <a:lnTo>
                        <a:pt x="1855" y="497"/>
                      </a:lnTo>
                      <a:lnTo>
                        <a:pt x="1422" y="929"/>
                      </a:lnTo>
                      <a:lnTo>
                        <a:pt x="1521" y="1030"/>
                      </a:lnTo>
                      <a:lnTo>
                        <a:pt x="2203" y="1711"/>
                      </a:lnTo>
                      <a:lnTo>
                        <a:pt x="1711" y="2202"/>
                      </a:lnTo>
                      <a:lnTo>
                        <a:pt x="1029" y="1521"/>
                      </a:lnTo>
                      <a:lnTo>
                        <a:pt x="930" y="1421"/>
                      </a:lnTo>
                      <a:lnTo>
                        <a:pt x="497" y="1855"/>
                      </a:lnTo>
                      <a:lnTo>
                        <a:pt x="0" y="0"/>
                      </a:lnTo>
                      <a:close/>
                    </a:path>
                  </a:pathLst>
                </a:custGeom>
                <a:grpFill/>
                <a:ln w="190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grpSp>
      </p:grpSp>
      <p:grpSp>
        <p:nvGrpSpPr>
          <p:cNvPr id="148" name="Group 147"/>
          <p:cNvGrpSpPr/>
          <p:nvPr/>
        </p:nvGrpSpPr>
        <p:grpSpPr>
          <a:xfrm>
            <a:off x="9377082" y="1493977"/>
            <a:ext cx="2603757" cy="4520890"/>
            <a:chOff x="9377082" y="1493977"/>
            <a:chExt cx="2603757" cy="4520890"/>
          </a:xfrm>
        </p:grpSpPr>
        <p:sp>
          <p:nvSpPr>
            <p:cNvPr id="149" name="Text Placeholder 12"/>
            <p:cNvSpPr txBox="1">
              <a:spLocks/>
            </p:cNvSpPr>
            <p:nvPr/>
          </p:nvSpPr>
          <p:spPr>
            <a:xfrm>
              <a:off x="10189392" y="4527800"/>
              <a:ext cx="1013706"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90000"/>
                </a:lnSpc>
                <a:spcBef>
                  <a:spcPts val="0"/>
                </a:spcBef>
                <a:spcAft>
                  <a:spcPts val="900"/>
                </a:spcAft>
                <a:buClrTx/>
                <a:buSzPct val="90000"/>
                <a:buFont typeface="Arial" pitchFamily="34" charset="0"/>
                <a:buNone/>
                <a:tabLst/>
                <a:defRPr/>
              </a:pPr>
              <a:r>
                <a:rPr kumimoji="0" lang="en-US" sz="2400" b="1" i="0" u="none" strike="noStrike" kern="1200" cap="none" spc="0" normalizeH="0" baseline="0" noProof="0" dirty="0">
                  <a:ln>
                    <a:noFill/>
                  </a:ln>
                  <a:solidFill>
                    <a:srgbClr val="442359"/>
                  </a:solidFill>
                  <a:effectLst/>
                  <a:uLnTx/>
                  <a:uFillTx/>
                  <a:latin typeface="Segoe UI" pitchFamily="34" charset="0"/>
                  <a:ea typeface="Segoe UI" pitchFamily="34" charset="0"/>
                  <a:cs typeface="Segoe UI" pitchFamily="34" charset="0"/>
                </a:rPr>
                <a:t>Data</a:t>
              </a:r>
            </a:p>
          </p:txBody>
        </p:sp>
        <p:sp>
          <p:nvSpPr>
            <p:cNvPr id="150" name="Text Placeholder 12"/>
            <p:cNvSpPr txBox="1">
              <a:spLocks/>
            </p:cNvSpPr>
            <p:nvPr/>
          </p:nvSpPr>
          <p:spPr>
            <a:xfrm>
              <a:off x="9377082" y="5128470"/>
              <a:ext cx="2603757" cy="886397"/>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43295" rtl="0" eaLnBrk="1" fontAlgn="auto" latinLnBrk="0" hangingPunct="1">
                <a:lnSpc>
                  <a:spcPct val="90000"/>
                </a:lnSpc>
                <a:spcBef>
                  <a:spcPts val="0"/>
                </a:spcBef>
                <a:spcAft>
                  <a:spcPts val="1224"/>
                </a:spcAft>
                <a:buClrTx/>
                <a:buSzPct val="90000"/>
                <a:buFont typeface="Arial" pitchFamily="34" charset="0"/>
                <a:buNone/>
                <a:tabLst/>
                <a:defRPr/>
              </a:pPr>
              <a:r>
                <a:rPr kumimoji="0" lang="en-US" sz="1600" b="0" i="0" u="none" strike="noStrike" kern="1200" cap="none" spc="0" normalizeH="0" baseline="0" noProof="0" dirty="0" smtClean="0">
                  <a:ln>
                    <a:noFill/>
                  </a:ln>
                  <a:solidFill>
                    <a:srgbClr val="969696">
                      <a:lumMod val="50000"/>
                    </a:srgbClr>
                  </a:solidFill>
                  <a:effectLst/>
                  <a:uLnTx/>
                  <a:uFillTx/>
                  <a:latin typeface="Segoe UI" pitchFamily="34" charset="0"/>
                  <a:ea typeface="Segoe UI" pitchFamily="34" charset="0"/>
                  <a:cs typeface="Segoe UI" pitchFamily="34" charset="0"/>
                </a:rPr>
                <a:t>Users need to be productive while </a:t>
              </a:r>
              <a:r>
                <a:rPr kumimoji="0" lang="en-US" sz="1600" b="1" i="0" u="none" strike="noStrike" kern="1200" cap="none" spc="0" normalizeH="0" baseline="0" noProof="0" dirty="0" smtClean="0">
                  <a:ln>
                    <a:noFill/>
                  </a:ln>
                  <a:solidFill>
                    <a:srgbClr val="969696">
                      <a:lumMod val="50000"/>
                    </a:srgbClr>
                  </a:solidFill>
                  <a:effectLst/>
                  <a:uLnTx/>
                  <a:uFillTx/>
                  <a:latin typeface="Segoe UI" pitchFamily="34" charset="0"/>
                  <a:ea typeface="Segoe UI" pitchFamily="34" charset="0"/>
                  <a:cs typeface="Segoe UI" pitchFamily="34" charset="0"/>
                </a:rPr>
                <a:t>maintaining compliance and reducing risk.</a:t>
              </a:r>
              <a:endParaRPr kumimoji="0" lang="en-US" sz="1600" b="1" i="0" u="none" strike="noStrike" kern="1200" cap="none" spc="0" normalizeH="0" baseline="0" noProof="0" dirty="0">
                <a:ln>
                  <a:noFill/>
                </a:ln>
                <a:solidFill>
                  <a:srgbClr val="969696">
                    <a:lumMod val="50000"/>
                  </a:srgbClr>
                </a:solidFill>
                <a:effectLst/>
                <a:uLnTx/>
                <a:uFillTx/>
                <a:latin typeface="Segoe UI" pitchFamily="34" charset="0"/>
                <a:ea typeface="Segoe UI" pitchFamily="34" charset="0"/>
                <a:cs typeface="Segoe UI" pitchFamily="34" charset="0"/>
              </a:endParaRPr>
            </a:p>
          </p:txBody>
        </p:sp>
        <p:sp>
          <p:nvSpPr>
            <p:cNvPr id="151" name="Freeform 331"/>
            <p:cNvSpPr>
              <a:spLocks noChangeAspect="1" noEditPoints="1"/>
            </p:cNvSpPr>
            <p:nvPr/>
          </p:nvSpPr>
          <p:spPr bwMode="auto">
            <a:xfrm>
              <a:off x="10003498" y="2357157"/>
              <a:ext cx="792531" cy="777292"/>
            </a:xfrm>
            <a:custGeom>
              <a:avLst/>
              <a:gdLst>
                <a:gd name="T0" fmla="*/ 39 w 88"/>
                <a:gd name="T1" fmla="*/ 46 h 86"/>
                <a:gd name="T2" fmla="*/ 79 w 88"/>
                <a:gd name="T3" fmla="*/ 46 h 86"/>
                <a:gd name="T4" fmla="*/ 39 w 88"/>
                <a:gd name="T5" fmla="*/ 86 h 86"/>
                <a:gd name="T6" fmla="*/ 0 w 88"/>
                <a:gd name="T7" fmla="*/ 46 h 86"/>
                <a:gd name="T8" fmla="*/ 39 w 88"/>
                <a:gd name="T9" fmla="*/ 7 h 86"/>
                <a:gd name="T10" fmla="*/ 39 w 88"/>
                <a:gd name="T11" fmla="*/ 46 h 86"/>
                <a:gd name="T12" fmla="*/ 48 w 88"/>
                <a:gd name="T13" fmla="*/ 40 h 86"/>
                <a:gd name="T14" fmla="*/ 88 w 88"/>
                <a:gd name="T15" fmla="*/ 40 h 86"/>
                <a:gd name="T16" fmla="*/ 48 w 88"/>
                <a:gd name="T17" fmla="*/ 0 h 86"/>
                <a:gd name="T18" fmla="*/ 48 w 88"/>
                <a:gd name="T19" fmla="*/ 4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6">
                  <a:moveTo>
                    <a:pt x="39" y="46"/>
                  </a:moveTo>
                  <a:cubicBezTo>
                    <a:pt x="79" y="46"/>
                    <a:pt x="79" y="46"/>
                    <a:pt x="79" y="46"/>
                  </a:cubicBezTo>
                  <a:cubicBezTo>
                    <a:pt x="79" y="68"/>
                    <a:pt x="61" y="86"/>
                    <a:pt x="39" y="86"/>
                  </a:cubicBezTo>
                  <a:cubicBezTo>
                    <a:pt x="18" y="86"/>
                    <a:pt x="0" y="68"/>
                    <a:pt x="0" y="46"/>
                  </a:cubicBezTo>
                  <a:cubicBezTo>
                    <a:pt x="0" y="25"/>
                    <a:pt x="18" y="7"/>
                    <a:pt x="39" y="7"/>
                  </a:cubicBezTo>
                  <a:lnTo>
                    <a:pt x="39" y="46"/>
                  </a:lnTo>
                  <a:close/>
                  <a:moveTo>
                    <a:pt x="48" y="40"/>
                  </a:moveTo>
                  <a:cubicBezTo>
                    <a:pt x="88" y="40"/>
                    <a:pt x="88" y="40"/>
                    <a:pt x="88" y="40"/>
                  </a:cubicBezTo>
                  <a:cubicBezTo>
                    <a:pt x="88" y="18"/>
                    <a:pt x="70" y="0"/>
                    <a:pt x="48" y="0"/>
                  </a:cubicBezTo>
                  <a:lnTo>
                    <a:pt x="48" y="40"/>
                  </a:lnTo>
                  <a:close/>
                </a:path>
              </a:pathLst>
            </a:custGeom>
            <a:solidFill>
              <a:srgbClr val="442359"/>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52" name="Freeform 346"/>
            <p:cNvSpPr>
              <a:spLocks noChangeAspect="1" noEditPoints="1"/>
            </p:cNvSpPr>
            <p:nvPr/>
          </p:nvSpPr>
          <p:spPr bwMode="auto">
            <a:xfrm>
              <a:off x="10978938" y="2441397"/>
              <a:ext cx="810401" cy="462802"/>
            </a:xfrm>
            <a:custGeom>
              <a:avLst/>
              <a:gdLst>
                <a:gd name="T0" fmla="*/ 0 w 319"/>
                <a:gd name="T1" fmla="*/ 122 h 198"/>
                <a:gd name="T2" fmla="*/ 50 w 319"/>
                <a:gd name="T3" fmla="*/ 122 h 198"/>
                <a:gd name="T4" fmla="*/ 50 w 319"/>
                <a:gd name="T5" fmla="*/ 198 h 198"/>
                <a:gd name="T6" fmla="*/ 0 w 319"/>
                <a:gd name="T7" fmla="*/ 198 h 198"/>
                <a:gd name="T8" fmla="*/ 0 w 319"/>
                <a:gd name="T9" fmla="*/ 122 h 198"/>
                <a:gd name="T10" fmla="*/ 69 w 319"/>
                <a:gd name="T11" fmla="*/ 198 h 198"/>
                <a:gd name="T12" fmla="*/ 119 w 319"/>
                <a:gd name="T13" fmla="*/ 198 h 198"/>
                <a:gd name="T14" fmla="*/ 119 w 319"/>
                <a:gd name="T15" fmla="*/ 28 h 198"/>
                <a:gd name="T16" fmla="*/ 69 w 319"/>
                <a:gd name="T17" fmla="*/ 28 h 198"/>
                <a:gd name="T18" fmla="*/ 69 w 319"/>
                <a:gd name="T19" fmla="*/ 198 h 198"/>
                <a:gd name="T20" fmla="*/ 135 w 319"/>
                <a:gd name="T21" fmla="*/ 198 h 198"/>
                <a:gd name="T22" fmla="*/ 185 w 319"/>
                <a:gd name="T23" fmla="*/ 198 h 198"/>
                <a:gd name="T24" fmla="*/ 185 w 319"/>
                <a:gd name="T25" fmla="*/ 59 h 198"/>
                <a:gd name="T26" fmla="*/ 135 w 319"/>
                <a:gd name="T27" fmla="*/ 59 h 198"/>
                <a:gd name="T28" fmla="*/ 135 w 319"/>
                <a:gd name="T29" fmla="*/ 198 h 198"/>
                <a:gd name="T30" fmla="*/ 201 w 319"/>
                <a:gd name="T31" fmla="*/ 198 h 198"/>
                <a:gd name="T32" fmla="*/ 251 w 319"/>
                <a:gd name="T33" fmla="*/ 198 h 198"/>
                <a:gd name="T34" fmla="*/ 251 w 319"/>
                <a:gd name="T35" fmla="*/ 151 h 198"/>
                <a:gd name="T36" fmla="*/ 201 w 319"/>
                <a:gd name="T37" fmla="*/ 151 h 198"/>
                <a:gd name="T38" fmla="*/ 201 w 319"/>
                <a:gd name="T39" fmla="*/ 198 h 198"/>
                <a:gd name="T40" fmla="*/ 270 w 319"/>
                <a:gd name="T41" fmla="*/ 198 h 198"/>
                <a:gd name="T42" fmla="*/ 319 w 319"/>
                <a:gd name="T43" fmla="*/ 198 h 198"/>
                <a:gd name="T44" fmla="*/ 319 w 319"/>
                <a:gd name="T45" fmla="*/ 0 h 198"/>
                <a:gd name="T46" fmla="*/ 270 w 319"/>
                <a:gd name="T47" fmla="*/ 0 h 198"/>
                <a:gd name="T48" fmla="*/ 270 w 319"/>
                <a:gd name="T4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198">
                  <a:moveTo>
                    <a:pt x="0" y="122"/>
                  </a:moveTo>
                  <a:lnTo>
                    <a:pt x="50" y="122"/>
                  </a:lnTo>
                  <a:lnTo>
                    <a:pt x="50" y="198"/>
                  </a:lnTo>
                  <a:lnTo>
                    <a:pt x="0" y="198"/>
                  </a:lnTo>
                  <a:lnTo>
                    <a:pt x="0" y="122"/>
                  </a:lnTo>
                  <a:close/>
                  <a:moveTo>
                    <a:pt x="69" y="198"/>
                  </a:moveTo>
                  <a:lnTo>
                    <a:pt x="119" y="198"/>
                  </a:lnTo>
                  <a:lnTo>
                    <a:pt x="119" y="28"/>
                  </a:lnTo>
                  <a:lnTo>
                    <a:pt x="69" y="28"/>
                  </a:lnTo>
                  <a:lnTo>
                    <a:pt x="69" y="198"/>
                  </a:lnTo>
                  <a:close/>
                  <a:moveTo>
                    <a:pt x="135" y="198"/>
                  </a:moveTo>
                  <a:lnTo>
                    <a:pt x="185" y="198"/>
                  </a:lnTo>
                  <a:lnTo>
                    <a:pt x="185" y="59"/>
                  </a:lnTo>
                  <a:lnTo>
                    <a:pt x="135" y="59"/>
                  </a:lnTo>
                  <a:lnTo>
                    <a:pt x="135" y="198"/>
                  </a:lnTo>
                  <a:close/>
                  <a:moveTo>
                    <a:pt x="201" y="198"/>
                  </a:moveTo>
                  <a:lnTo>
                    <a:pt x="251" y="198"/>
                  </a:lnTo>
                  <a:lnTo>
                    <a:pt x="251" y="151"/>
                  </a:lnTo>
                  <a:lnTo>
                    <a:pt x="201" y="151"/>
                  </a:lnTo>
                  <a:lnTo>
                    <a:pt x="201" y="198"/>
                  </a:lnTo>
                  <a:close/>
                  <a:moveTo>
                    <a:pt x="270" y="198"/>
                  </a:moveTo>
                  <a:lnTo>
                    <a:pt x="319" y="198"/>
                  </a:lnTo>
                  <a:lnTo>
                    <a:pt x="319" y="0"/>
                  </a:lnTo>
                  <a:lnTo>
                    <a:pt x="270" y="0"/>
                  </a:lnTo>
                  <a:lnTo>
                    <a:pt x="270" y="198"/>
                  </a:lnTo>
                  <a:close/>
                </a:path>
              </a:pathLst>
            </a:custGeom>
            <a:solidFill>
              <a:srgbClr val="442359"/>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53" name="Freeform 37"/>
            <p:cNvSpPr>
              <a:spLocks noEditPoints="1"/>
            </p:cNvSpPr>
            <p:nvPr/>
          </p:nvSpPr>
          <p:spPr bwMode="auto">
            <a:xfrm>
              <a:off x="10764801" y="1524029"/>
              <a:ext cx="1024538" cy="679243"/>
            </a:xfrm>
            <a:custGeom>
              <a:avLst/>
              <a:gdLst>
                <a:gd name="T0" fmla="*/ 1070 w 1214"/>
                <a:gd name="T1" fmla="*/ 106 h 852"/>
                <a:gd name="T2" fmla="*/ 787 w 1214"/>
                <a:gd name="T3" fmla="*/ 621 h 852"/>
                <a:gd name="T4" fmla="*/ 753 w 1214"/>
                <a:gd name="T5" fmla="*/ 538 h 852"/>
                <a:gd name="T6" fmla="*/ 825 w 1214"/>
                <a:gd name="T7" fmla="*/ 533 h 852"/>
                <a:gd name="T8" fmla="*/ 782 w 1214"/>
                <a:gd name="T9" fmla="*/ 550 h 852"/>
                <a:gd name="T10" fmla="*/ 1214 w 1214"/>
                <a:gd name="T11" fmla="*/ 117 h 852"/>
                <a:gd name="T12" fmla="*/ 523 w 1214"/>
                <a:gd name="T13" fmla="*/ 0 h 852"/>
                <a:gd name="T14" fmla="*/ 0 w 1214"/>
                <a:gd name="T15" fmla="*/ 523 h 852"/>
                <a:gd name="T16" fmla="*/ 218 w 1214"/>
                <a:gd name="T17" fmla="*/ 803 h 852"/>
                <a:gd name="T18" fmla="*/ 1214 w 1214"/>
                <a:gd name="T19" fmla="*/ 803 h 852"/>
                <a:gd name="T20" fmla="*/ 607 w 1214"/>
                <a:gd name="T21" fmla="*/ 207 h 852"/>
                <a:gd name="T22" fmla="*/ 1118 w 1214"/>
                <a:gd name="T23" fmla="*/ 100 h 852"/>
                <a:gd name="T24" fmla="*/ 1154 w 1214"/>
                <a:gd name="T25" fmla="*/ 100 h 852"/>
                <a:gd name="T26" fmla="*/ 1143 w 1214"/>
                <a:gd name="T27" fmla="*/ 136 h 852"/>
                <a:gd name="T28" fmla="*/ 1119 w 1214"/>
                <a:gd name="T29" fmla="*/ 135 h 852"/>
                <a:gd name="T30" fmla="*/ 1125 w 1214"/>
                <a:gd name="T31" fmla="*/ 118 h 852"/>
                <a:gd name="T32" fmla="*/ 1040 w 1214"/>
                <a:gd name="T33" fmla="*/ 100 h 852"/>
                <a:gd name="T34" fmla="*/ 1040 w 1214"/>
                <a:gd name="T35" fmla="*/ 136 h 852"/>
                <a:gd name="T36" fmla="*/ 1015 w 1214"/>
                <a:gd name="T37" fmla="*/ 128 h 852"/>
                <a:gd name="T38" fmla="*/ 971 w 1214"/>
                <a:gd name="T39" fmla="*/ 128 h 852"/>
                <a:gd name="T40" fmla="*/ 607 w 1214"/>
                <a:gd name="T41" fmla="*/ 397 h 852"/>
                <a:gd name="T42" fmla="*/ 607 w 1214"/>
                <a:gd name="T43" fmla="*/ 484 h 852"/>
                <a:gd name="T44" fmla="*/ 27 w 1214"/>
                <a:gd name="T45" fmla="*/ 523 h 852"/>
                <a:gd name="T46" fmla="*/ 523 w 1214"/>
                <a:gd name="T47" fmla="*/ 26 h 852"/>
                <a:gd name="T48" fmla="*/ 523 w 1214"/>
                <a:gd name="T49" fmla="*/ 580 h 852"/>
                <a:gd name="T50" fmla="*/ 1165 w 1214"/>
                <a:gd name="T51" fmla="*/ 256 h 852"/>
                <a:gd name="T52" fmla="*/ 268 w 1214"/>
                <a:gd name="T53" fmla="*/ 803 h 852"/>
                <a:gd name="T54" fmla="*/ 523 w 1214"/>
                <a:gd name="T55" fmla="*/ 606 h 852"/>
                <a:gd name="T56" fmla="*/ 613 w 1214"/>
                <a:gd name="T57" fmla="*/ 504 h 852"/>
                <a:gd name="T58" fmla="*/ 657 w 1214"/>
                <a:gd name="T59" fmla="*/ 460 h 852"/>
                <a:gd name="T60" fmla="*/ 657 w 1214"/>
                <a:gd name="T61" fmla="*/ 398 h 852"/>
                <a:gd name="T62" fmla="*/ 613 w 1214"/>
                <a:gd name="T63" fmla="*/ 354 h 852"/>
                <a:gd name="T64" fmla="*/ 1164 w 1214"/>
                <a:gd name="T65" fmla="*/ 256 h 852"/>
                <a:gd name="T66" fmla="*/ 697 w 1214"/>
                <a:gd name="T67" fmla="*/ 610 h 852"/>
                <a:gd name="T68" fmla="*/ 763 w 1214"/>
                <a:gd name="T69" fmla="*/ 678 h 852"/>
                <a:gd name="T70" fmla="*/ 861 w 1214"/>
                <a:gd name="T71" fmla="*/ 678 h 852"/>
                <a:gd name="T72" fmla="*/ 927 w 1214"/>
                <a:gd name="T73" fmla="*/ 610 h 852"/>
                <a:gd name="T74" fmla="*/ 927 w 1214"/>
                <a:gd name="T75" fmla="*/ 516 h 852"/>
                <a:gd name="T76" fmla="*/ 860 w 1214"/>
                <a:gd name="T77" fmla="*/ 448 h 852"/>
                <a:gd name="T78" fmla="*/ 763 w 1214"/>
                <a:gd name="T79" fmla="*/ 448 h 852"/>
                <a:gd name="T80" fmla="*/ 697 w 1214"/>
                <a:gd name="T81" fmla="*/ 516 h 852"/>
                <a:gd name="T82" fmla="*/ 848 w 1214"/>
                <a:gd name="T83" fmla="*/ 478 h 852"/>
                <a:gd name="T84" fmla="*/ 727 w 1214"/>
                <a:gd name="T85" fmla="*/ 527 h 852"/>
                <a:gd name="T86" fmla="*/ 296 w 1214"/>
                <a:gd name="T87" fmla="*/ 265 h 852"/>
                <a:gd name="T88" fmla="*/ 488 w 1214"/>
                <a:gd name="T89" fmla="*/ 279 h 852"/>
                <a:gd name="T90" fmla="*/ 362 w 1214"/>
                <a:gd name="T91" fmla="*/ 231 h 852"/>
                <a:gd name="T92" fmla="*/ 223 w 1214"/>
                <a:gd name="T93" fmla="*/ 330 h 852"/>
                <a:gd name="T94" fmla="*/ 218 w 1214"/>
                <a:gd name="T95" fmla="*/ 383 h 852"/>
                <a:gd name="T96" fmla="*/ 86 w 1214"/>
                <a:gd name="T97" fmla="*/ 503 h 852"/>
                <a:gd name="T98" fmla="*/ 123 w 1214"/>
                <a:gd name="T99" fmla="*/ 465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4" h="852">
                  <a:moveTo>
                    <a:pt x="1046" y="130"/>
                  </a:moveTo>
                  <a:cubicBezTo>
                    <a:pt x="1070" y="130"/>
                    <a:pt x="1070" y="130"/>
                    <a:pt x="1070" y="130"/>
                  </a:cubicBezTo>
                  <a:cubicBezTo>
                    <a:pt x="1070" y="106"/>
                    <a:pt x="1070" y="106"/>
                    <a:pt x="1070" y="106"/>
                  </a:cubicBezTo>
                  <a:cubicBezTo>
                    <a:pt x="1046" y="106"/>
                    <a:pt x="1046" y="106"/>
                    <a:pt x="1046" y="106"/>
                  </a:cubicBezTo>
                  <a:lnTo>
                    <a:pt x="1046" y="130"/>
                  </a:lnTo>
                  <a:close/>
                  <a:moveTo>
                    <a:pt x="787" y="621"/>
                  </a:moveTo>
                  <a:cubicBezTo>
                    <a:pt x="819" y="635"/>
                    <a:pt x="856" y="620"/>
                    <a:pt x="870" y="588"/>
                  </a:cubicBezTo>
                  <a:cubicBezTo>
                    <a:pt x="884" y="556"/>
                    <a:pt x="869" y="518"/>
                    <a:pt x="837" y="505"/>
                  </a:cubicBezTo>
                  <a:cubicBezTo>
                    <a:pt x="804" y="491"/>
                    <a:pt x="767" y="506"/>
                    <a:pt x="753" y="538"/>
                  </a:cubicBezTo>
                  <a:cubicBezTo>
                    <a:pt x="740" y="571"/>
                    <a:pt x="755" y="608"/>
                    <a:pt x="787" y="621"/>
                  </a:cubicBezTo>
                  <a:close/>
                  <a:moveTo>
                    <a:pt x="782" y="550"/>
                  </a:moveTo>
                  <a:cubicBezTo>
                    <a:pt x="789" y="534"/>
                    <a:pt x="808" y="526"/>
                    <a:pt x="825" y="533"/>
                  </a:cubicBezTo>
                  <a:cubicBezTo>
                    <a:pt x="841" y="540"/>
                    <a:pt x="849" y="559"/>
                    <a:pt x="842" y="576"/>
                  </a:cubicBezTo>
                  <a:cubicBezTo>
                    <a:pt x="835" y="592"/>
                    <a:pt x="816" y="600"/>
                    <a:pt x="799" y="593"/>
                  </a:cubicBezTo>
                  <a:cubicBezTo>
                    <a:pt x="782" y="586"/>
                    <a:pt x="775" y="567"/>
                    <a:pt x="782" y="550"/>
                  </a:cubicBezTo>
                  <a:close/>
                  <a:moveTo>
                    <a:pt x="1175" y="166"/>
                  </a:moveTo>
                  <a:cubicBezTo>
                    <a:pt x="1191" y="166"/>
                    <a:pt x="1204" y="173"/>
                    <a:pt x="1214" y="183"/>
                  </a:cubicBezTo>
                  <a:cubicBezTo>
                    <a:pt x="1214" y="117"/>
                    <a:pt x="1214" y="117"/>
                    <a:pt x="1214" y="117"/>
                  </a:cubicBezTo>
                  <a:cubicBezTo>
                    <a:pt x="1214" y="90"/>
                    <a:pt x="1192" y="68"/>
                    <a:pt x="1164" y="68"/>
                  </a:cubicBezTo>
                  <a:cubicBezTo>
                    <a:pt x="606" y="68"/>
                    <a:pt x="606" y="68"/>
                    <a:pt x="606" y="68"/>
                  </a:cubicBezTo>
                  <a:cubicBezTo>
                    <a:pt x="598" y="29"/>
                    <a:pt x="564" y="0"/>
                    <a:pt x="523" y="0"/>
                  </a:cubicBezTo>
                  <a:cubicBezTo>
                    <a:pt x="84" y="0"/>
                    <a:pt x="84" y="0"/>
                    <a:pt x="84" y="0"/>
                  </a:cubicBezTo>
                  <a:cubicBezTo>
                    <a:pt x="38" y="0"/>
                    <a:pt x="0" y="37"/>
                    <a:pt x="0" y="83"/>
                  </a:cubicBezTo>
                  <a:cubicBezTo>
                    <a:pt x="0" y="523"/>
                    <a:pt x="0" y="523"/>
                    <a:pt x="0" y="523"/>
                  </a:cubicBezTo>
                  <a:cubicBezTo>
                    <a:pt x="0" y="569"/>
                    <a:pt x="38" y="606"/>
                    <a:pt x="84" y="606"/>
                  </a:cubicBezTo>
                  <a:cubicBezTo>
                    <a:pt x="218" y="606"/>
                    <a:pt x="218" y="606"/>
                    <a:pt x="218" y="606"/>
                  </a:cubicBezTo>
                  <a:cubicBezTo>
                    <a:pt x="218" y="803"/>
                    <a:pt x="218" y="803"/>
                    <a:pt x="218" y="803"/>
                  </a:cubicBezTo>
                  <a:cubicBezTo>
                    <a:pt x="218" y="830"/>
                    <a:pt x="240" y="852"/>
                    <a:pt x="268" y="852"/>
                  </a:cubicBezTo>
                  <a:cubicBezTo>
                    <a:pt x="1164" y="852"/>
                    <a:pt x="1164" y="852"/>
                    <a:pt x="1164" y="852"/>
                  </a:cubicBezTo>
                  <a:cubicBezTo>
                    <a:pt x="1192" y="852"/>
                    <a:pt x="1214" y="830"/>
                    <a:pt x="1214" y="803"/>
                  </a:cubicBezTo>
                  <a:cubicBezTo>
                    <a:pt x="1214" y="256"/>
                    <a:pt x="1214" y="256"/>
                    <a:pt x="1214" y="256"/>
                  </a:cubicBezTo>
                  <a:cubicBezTo>
                    <a:pt x="1214" y="229"/>
                    <a:pt x="1192" y="207"/>
                    <a:pt x="1164" y="207"/>
                  </a:cubicBezTo>
                  <a:cubicBezTo>
                    <a:pt x="607" y="207"/>
                    <a:pt x="607" y="207"/>
                    <a:pt x="607" y="207"/>
                  </a:cubicBezTo>
                  <a:cubicBezTo>
                    <a:pt x="607" y="166"/>
                    <a:pt x="607" y="166"/>
                    <a:pt x="607" y="166"/>
                  </a:cubicBezTo>
                  <a:lnTo>
                    <a:pt x="1175" y="166"/>
                  </a:lnTo>
                  <a:close/>
                  <a:moveTo>
                    <a:pt x="1118" y="100"/>
                  </a:moveTo>
                  <a:cubicBezTo>
                    <a:pt x="1131" y="112"/>
                    <a:pt x="1131" y="112"/>
                    <a:pt x="1131" y="112"/>
                  </a:cubicBezTo>
                  <a:cubicBezTo>
                    <a:pt x="1143" y="100"/>
                    <a:pt x="1143" y="100"/>
                    <a:pt x="1143" y="100"/>
                  </a:cubicBezTo>
                  <a:cubicBezTo>
                    <a:pt x="1154" y="100"/>
                    <a:pt x="1154" y="100"/>
                    <a:pt x="1154" y="100"/>
                  </a:cubicBezTo>
                  <a:cubicBezTo>
                    <a:pt x="1136" y="118"/>
                    <a:pt x="1136" y="118"/>
                    <a:pt x="1136" y="118"/>
                  </a:cubicBezTo>
                  <a:cubicBezTo>
                    <a:pt x="1154" y="136"/>
                    <a:pt x="1154" y="136"/>
                    <a:pt x="1154" y="136"/>
                  </a:cubicBezTo>
                  <a:cubicBezTo>
                    <a:pt x="1143" y="136"/>
                    <a:pt x="1143" y="136"/>
                    <a:pt x="1143" y="136"/>
                  </a:cubicBezTo>
                  <a:cubicBezTo>
                    <a:pt x="1136" y="129"/>
                    <a:pt x="1136" y="129"/>
                    <a:pt x="1136" y="129"/>
                  </a:cubicBezTo>
                  <a:cubicBezTo>
                    <a:pt x="1131" y="124"/>
                    <a:pt x="1131" y="124"/>
                    <a:pt x="1131" y="124"/>
                  </a:cubicBezTo>
                  <a:cubicBezTo>
                    <a:pt x="1119" y="135"/>
                    <a:pt x="1119" y="135"/>
                    <a:pt x="1119" y="135"/>
                  </a:cubicBezTo>
                  <a:cubicBezTo>
                    <a:pt x="1118" y="136"/>
                    <a:pt x="1118" y="136"/>
                    <a:pt x="1118" y="136"/>
                  </a:cubicBezTo>
                  <a:cubicBezTo>
                    <a:pt x="1107" y="136"/>
                    <a:pt x="1107" y="136"/>
                    <a:pt x="1107" y="136"/>
                  </a:cubicBezTo>
                  <a:cubicBezTo>
                    <a:pt x="1125" y="118"/>
                    <a:pt x="1125" y="118"/>
                    <a:pt x="1125" y="118"/>
                  </a:cubicBezTo>
                  <a:cubicBezTo>
                    <a:pt x="1107" y="100"/>
                    <a:pt x="1107" y="100"/>
                    <a:pt x="1107" y="100"/>
                  </a:cubicBezTo>
                  <a:lnTo>
                    <a:pt x="1118" y="100"/>
                  </a:lnTo>
                  <a:close/>
                  <a:moveTo>
                    <a:pt x="1040" y="100"/>
                  </a:moveTo>
                  <a:cubicBezTo>
                    <a:pt x="1076" y="100"/>
                    <a:pt x="1076" y="100"/>
                    <a:pt x="1076" y="100"/>
                  </a:cubicBezTo>
                  <a:cubicBezTo>
                    <a:pt x="1076" y="136"/>
                    <a:pt x="1076" y="136"/>
                    <a:pt x="1076" y="136"/>
                  </a:cubicBezTo>
                  <a:cubicBezTo>
                    <a:pt x="1040" y="136"/>
                    <a:pt x="1040" y="136"/>
                    <a:pt x="1040" y="136"/>
                  </a:cubicBezTo>
                  <a:lnTo>
                    <a:pt x="1040" y="100"/>
                  </a:lnTo>
                  <a:close/>
                  <a:moveTo>
                    <a:pt x="971" y="128"/>
                  </a:moveTo>
                  <a:cubicBezTo>
                    <a:pt x="1015" y="128"/>
                    <a:pt x="1015" y="128"/>
                    <a:pt x="1015" y="128"/>
                  </a:cubicBezTo>
                  <a:cubicBezTo>
                    <a:pt x="1015" y="137"/>
                    <a:pt x="1015" y="137"/>
                    <a:pt x="1015" y="137"/>
                  </a:cubicBezTo>
                  <a:cubicBezTo>
                    <a:pt x="971" y="137"/>
                    <a:pt x="971" y="137"/>
                    <a:pt x="971" y="137"/>
                  </a:cubicBezTo>
                  <a:lnTo>
                    <a:pt x="971" y="128"/>
                  </a:lnTo>
                  <a:close/>
                  <a:moveTo>
                    <a:pt x="607" y="461"/>
                  </a:moveTo>
                  <a:cubicBezTo>
                    <a:pt x="612" y="457"/>
                    <a:pt x="617" y="452"/>
                    <a:pt x="619" y="445"/>
                  </a:cubicBezTo>
                  <a:cubicBezTo>
                    <a:pt x="627" y="428"/>
                    <a:pt x="621" y="408"/>
                    <a:pt x="607" y="397"/>
                  </a:cubicBezTo>
                  <a:cubicBezTo>
                    <a:pt x="607" y="374"/>
                    <a:pt x="607" y="374"/>
                    <a:pt x="607" y="374"/>
                  </a:cubicBezTo>
                  <a:cubicBezTo>
                    <a:pt x="636" y="388"/>
                    <a:pt x="650" y="423"/>
                    <a:pt x="637" y="453"/>
                  </a:cubicBezTo>
                  <a:cubicBezTo>
                    <a:pt x="631" y="467"/>
                    <a:pt x="620" y="478"/>
                    <a:pt x="607" y="484"/>
                  </a:cubicBezTo>
                  <a:lnTo>
                    <a:pt x="607" y="461"/>
                  </a:lnTo>
                  <a:close/>
                  <a:moveTo>
                    <a:pt x="84" y="580"/>
                  </a:moveTo>
                  <a:cubicBezTo>
                    <a:pt x="52" y="580"/>
                    <a:pt x="27" y="554"/>
                    <a:pt x="27" y="523"/>
                  </a:cubicBezTo>
                  <a:cubicBezTo>
                    <a:pt x="27" y="83"/>
                    <a:pt x="27" y="83"/>
                    <a:pt x="27" y="83"/>
                  </a:cubicBezTo>
                  <a:cubicBezTo>
                    <a:pt x="27" y="52"/>
                    <a:pt x="52" y="26"/>
                    <a:pt x="84" y="26"/>
                  </a:cubicBezTo>
                  <a:cubicBezTo>
                    <a:pt x="523" y="26"/>
                    <a:pt x="523" y="26"/>
                    <a:pt x="523" y="26"/>
                  </a:cubicBezTo>
                  <a:cubicBezTo>
                    <a:pt x="555" y="26"/>
                    <a:pt x="581" y="52"/>
                    <a:pt x="581" y="83"/>
                  </a:cubicBezTo>
                  <a:cubicBezTo>
                    <a:pt x="581" y="523"/>
                    <a:pt x="581" y="523"/>
                    <a:pt x="581" y="523"/>
                  </a:cubicBezTo>
                  <a:cubicBezTo>
                    <a:pt x="581" y="554"/>
                    <a:pt x="555" y="580"/>
                    <a:pt x="523" y="580"/>
                  </a:cubicBezTo>
                  <a:lnTo>
                    <a:pt x="84" y="580"/>
                  </a:lnTo>
                  <a:close/>
                  <a:moveTo>
                    <a:pt x="1164" y="256"/>
                  </a:moveTo>
                  <a:cubicBezTo>
                    <a:pt x="1165" y="256"/>
                    <a:pt x="1165" y="256"/>
                    <a:pt x="1165" y="256"/>
                  </a:cubicBezTo>
                  <a:cubicBezTo>
                    <a:pt x="1165" y="803"/>
                    <a:pt x="1165" y="803"/>
                    <a:pt x="1165" y="803"/>
                  </a:cubicBezTo>
                  <a:cubicBezTo>
                    <a:pt x="1165" y="803"/>
                    <a:pt x="1164" y="803"/>
                    <a:pt x="1164" y="803"/>
                  </a:cubicBezTo>
                  <a:cubicBezTo>
                    <a:pt x="268" y="803"/>
                    <a:pt x="268" y="803"/>
                    <a:pt x="268" y="803"/>
                  </a:cubicBezTo>
                  <a:cubicBezTo>
                    <a:pt x="267" y="803"/>
                    <a:pt x="267" y="803"/>
                    <a:pt x="267" y="803"/>
                  </a:cubicBezTo>
                  <a:cubicBezTo>
                    <a:pt x="267" y="606"/>
                    <a:pt x="267" y="606"/>
                    <a:pt x="267" y="606"/>
                  </a:cubicBezTo>
                  <a:cubicBezTo>
                    <a:pt x="523" y="606"/>
                    <a:pt x="523" y="606"/>
                    <a:pt x="523" y="606"/>
                  </a:cubicBezTo>
                  <a:cubicBezTo>
                    <a:pt x="570" y="606"/>
                    <a:pt x="607" y="569"/>
                    <a:pt x="607" y="523"/>
                  </a:cubicBezTo>
                  <a:cubicBezTo>
                    <a:pt x="607" y="508"/>
                    <a:pt x="607" y="508"/>
                    <a:pt x="607" y="508"/>
                  </a:cubicBezTo>
                  <a:cubicBezTo>
                    <a:pt x="609" y="506"/>
                    <a:pt x="611" y="505"/>
                    <a:pt x="613" y="504"/>
                  </a:cubicBezTo>
                  <a:cubicBezTo>
                    <a:pt x="623" y="500"/>
                    <a:pt x="634" y="502"/>
                    <a:pt x="642" y="508"/>
                  </a:cubicBezTo>
                  <a:cubicBezTo>
                    <a:pt x="649" y="503"/>
                    <a:pt x="656" y="497"/>
                    <a:pt x="661" y="489"/>
                  </a:cubicBezTo>
                  <a:cubicBezTo>
                    <a:pt x="655" y="481"/>
                    <a:pt x="652" y="470"/>
                    <a:pt x="657" y="460"/>
                  </a:cubicBezTo>
                  <a:cubicBezTo>
                    <a:pt x="661" y="450"/>
                    <a:pt x="670" y="443"/>
                    <a:pt x="680" y="442"/>
                  </a:cubicBezTo>
                  <a:cubicBezTo>
                    <a:pt x="681" y="433"/>
                    <a:pt x="681" y="425"/>
                    <a:pt x="680" y="416"/>
                  </a:cubicBezTo>
                  <a:cubicBezTo>
                    <a:pt x="670" y="415"/>
                    <a:pt x="661" y="408"/>
                    <a:pt x="657" y="398"/>
                  </a:cubicBezTo>
                  <a:cubicBezTo>
                    <a:pt x="652" y="388"/>
                    <a:pt x="655" y="377"/>
                    <a:pt x="661" y="369"/>
                  </a:cubicBezTo>
                  <a:cubicBezTo>
                    <a:pt x="656" y="362"/>
                    <a:pt x="649" y="355"/>
                    <a:pt x="642" y="350"/>
                  </a:cubicBezTo>
                  <a:cubicBezTo>
                    <a:pt x="634" y="356"/>
                    <a:pt x="623" y="358"/>
                    <a:pt x="613" y="354"/>
                  </a:cubicBezTo>
                  <a:cubicBezTo>
                    <a:pt x="611" y="353"/>
                    <a:pt x="609" y="352"/>
                    <a:pt x="607" y="350"/>
                  </a:cubicBezTo>
                  <a:cubicBezTo>
                    <a:pt x="607" y="256"/>
                    <a:pt x="607" y="256"/>
                    <a:pt x="607" y="256"/>
                  </a:cubicBezTo>
                  <a:lnTo>
                    <a:pt x="1164" y="256"/>
                  </a:lnTo>
                  <a:close/>
                  <a:moveTo>
                    <a:pt x="660" y="543"/>
                  </a:moveTo>
                  <a:cubicBezTo>
                    <a:pt x="659" y="556"/>
                    <a:pt x="659" y="570"/>
                    <a:pt x="660" y="583"/>
                  </a:cubicBezTo>
                  <a:cubicBezTo>
                    <a:pt x="676" y="585"/>
                    <a:pt x="690" y="595"/>
                    <a:pt x="697" y="610"/>
                  </a:cubicBezTo>
                  <a:cubicBezTo>
                    <a:pt x="703" y="626"/>
                    <a:pt x="700" y="643"/>
                    <a:pt x="690" y="655"/>
                  </a:cubicBezTo>
                  <a:cubicBezTo>
                    <a:pt x="698" y="666"/>
                    <a:pt x="707" y="675"/>
                    <a:pt x="718" y="684"/>
                  </a:cubicBezTo>
                  <a:cubicBezTo>
                    <a:pt x="731" y="674"/>
                    <a:pt x="748" y="671"/>
                    <a:pt x="763" y="678"/>
                  </a:cubicBezTo>
                  <a:cubicBezTo>
                    <a:pt x="779" y="684"/>
                    <a:pt x="788" y="699"/>
                    <a:pt x="790" y="714"/>
                  </a:cubicBezTo>
                  <a:cubicBezTo>
                    <a:pt x="805" y="716"/>
                    <a:pt x="819" y="716"/>
                    <a:pt x="834" y="714"/>
                  </a:cubicBezTo>
                  <a:cubicBezTo>
                    <a:pt x="835" y="699"/>
                    <a:pt x="845" y="684"/>
                    <a:pt x="861" y="678"/>
                  </a:cubicBezTo>
                  <a:cubicBezTo>
                    <a:pt x="876" y="671"/>
                    <a:pt x="893" y="674"/>
                    <a:pt x="905" y="684"/>
                  </a:cubicBezTo>
                  <a:cubicBezTo>
                    <a:pt x="916" y="676"/>
                    <a:pt x="926" y="666"/>
                    <a:pt x="934" y="655"/>
                  </a:cubicBezTo>
                  <a:cubicBezTo>
                    <a:pt x="924" y="643"/>
                    <a:pt x="921" y="626"/>
                    <a:pt x="927" y="610"/>
                  </a:cubicBezTo>
                  <a:cubicBezTo>
                    <a:pt x="933" y="595"/>
                    <a:pt x="948" y="585"/>
                    <a:pt x="963" y="583"/>
                  </a:cubicBezTo>
                  <a:cubicBezTo>
                    <a:pt x="965" y="570"/>
                    <a:pt x="965" y="556"/>
                    <a:pt x="963" y="543"/>
                  </a:cubicBezTo>
                  <a:cubicBezTo>
                    <a:pt x="948" y="541"/>
                    <a:pt x="933" y="531"/>
                    <a:pt x="927" y="516"/>
                  </a:cubicBezTo>
                  <a:cubicBezTo>
                    <a:pt x="921" y="500"/>
                    <a:pt x="924" y="483"/>
                    <a:pt x="934" y="471"/>
                  </a:cubicBezTo>
                  <a:cubicBezTo>
                    <a:pt x="926" y="461"/>
                    <a:pt x="916" y="451"/>
                    <a:pt x="905" y="442"/>
                  </a:cubicBezTo>
                  <a:cubicBezTo>
                    <a:pt x="893" y="452"/>
                    <a:pt x="876" y="455"/>
                    <a:pt x="860" y="448"/>
                  </a:cubicBezTo>
                  <a:cubicBezTo>
                    <a:pt x="845" y="442"/>
                    <a:pt x="835" y="428"/>
                    <a:pt x="834" y="412"/>
                  </a:cubicBezTo>
                  <a:cubicBezTo>
                    <a:pt x="819" y="410"/>
                    <a:pt x="804" y="410"/>
                    <a:pt x="790" y="412"/>
                  </a:cubicBezTo>
                  <a:cubicBezTo>
                    <a:pt x="788" y="428"/>
                    <a:pt x="778" y="442"/>
                    <a:pt x="763" y="448"/>
                  </a:cubicBezTo>
                  <a:cubicBezTo>
                    <a:pt x="748" y="455"/>
                    <a:pt x="731" y="452"/>
                    <a:pt x="718" y="442"/>
                  </a:cubicBezTo>
                  <a:cubicBezTo>
                    <a:pt x="708" y="451"/>
                    <a:pt x="698" y="460"/>
                    <a:pt x="690" y="471"/>
                  </a:cubicBezTo>
                  <a:cubicBezTo>
                    <a:pt x="700" y="483"/>
                    <a:pt x="703" y="500"/>
                    <a:pt x="697" y="516"/>
                  </a:cubicBezTo>
                  <a:cubicBezTo>
                    <a:pt x="690" y="531"/>
                    <a:pt x="676" y="541"/>
                    <a:pt x="660" y="543"/>
                  </a:cubicBezTo>
                  <a:close/>
                  <a:moveTo>
                    <a:pt x="727" y="527"/>
                  </a:moveTo>
                  <a:cubicBezTo>
                    <a:pt x="747" y="480"/>
                    <a:pt x="801" y="458"/>
                    <a:pt x="848" y="478"/>
                  </a:cubicBezTo>
                  <a:cubicBezTo>
                    <a:pt x="895" y="498"/>
                    <a:pt x="917" y="552"/>
                    <a:pt x="897" y="599"/>
                  </a:cubicBezTo>
                  <a:cubicBezTo>
                    <a:pt x="877" y="646"/>
                    <a:pt x="823" y="668"/>
                    <a:pt x="776" y="648"/>
                  </a:cubicBezTo>
                  <a:cubicBezTo>
                    <a:pt x="729" y="628"/>
                    <a:pt x="707" y="574"/>
                    <a:pt x="727" y="527"/>
                  </a:cubicBezTo>
                  <a:close/>
                  <a:moveTo>
                    <a:pt x="218" y="383"/>
                  </a:moveTo>
                  <a:cubicBezTo>
                    <a:pt x="264" y="453"/>
                    <a:pt x="264" y="453"/>
                    <a:pt x="264" y="453"/>
                  </a:cubicBezTo>
                  <a:cubicBezTo>
                    <a:pt x="296" y="265"/>
                    <a:pt x="296" y="265"/>
                    <a:pt x="296" y="265"/>
                  </a:cubicBezTo>
                  <a:cubicBezTo>
                    <a:pt x="379" y="265"/>
                    <a:pt x="379" y="265"/>
                    <a:pt x="379" y="265"/>
                  </a:cubicBezTo>
                  <a:cubicBezTo>
                    <a:pt x="439" y="185"/>
                    <a:pt x="439" y="185"/>
                    <a:pt x="439" y="185"/>
                  </a:cubicBezTo>
                  <a:cubicBezTo>
                    <a:pt x="488" y="279"/>
                    <a:pt x="488" y="279"/>
                    <a:pt x="488" y="279"/>
                  </a:cubicBezTo>
                  <a:cubicBezTo>
                    <a:pt x="518" y="264"/>
                    <a:pt x="518" y="264"/>
                    <a:pt x="518" y="264"/>
                  </a:cubicBezTo>
                  <a:cubicBezTo>
                    <a:pt x="444" y="121"/>
                    <a:pt x="444" y="121"/>
                    <a:pt x="444" y="121"/>
                  </a:cubicBezTo>
                  <a:cubicBezTo>
                    <a:pt x="362" y="231"/>
                    <a:pt x="362" y="231"/>
                    <a:pt x="362" y="231"/>
                  </a:cubicBezTo>
                  <a:cubicBezTo>
                    <a:pt x="267" y="231"/>
                    <a:pt x="267" y="231"/>
                    <a:pt x="267" y="231"/>
                  </a:cubicBezTo>
                  <a:cubicBezTo>
                    <a:pt x="245" y="363"/>
                    <a:pt x="245" y="363"/>
                    <a:pt x="245" y="363"/>
                  </a:cubicBezTo>
                  <a:cubicBezTo>
                    <a:pt x="223" y="330"/>
                    <a:pt x="223" y="330"/>
                    <a:pt x="223" y="330"/>
                  </a:cubicBezTo>
                  <a:cubicBezTo>
                    <a:pt x="137" y="416"/>
                    <a:pt x="137" y="416"/>
                    <a:pt x="137" y="416"/>
                  </a:cubicBezTo>
                  <a:cubicBezTo>
                    <a:pt x="161" y="440"/>
                    <a:pt x="161" y="440"/>
                    <a:pt x="161" y="440"/>
                  </a:cubicBezTo>
                  <a:lnTo>
                    <a:pt x="218" y="383"/>
                  </a:lnTo>
                  <a:close/>
                  <a:moveTo>
                    <a:pt x="123" y="103"/>
                  </a:moveTo>
                  <a:cubicBezTo>
                    <a:pt x="86" y="103"/>
                    <a:pt x="86" y="103"/>
                    <a:pt x="86" y="103"/>
                  </a:cubicBezTo>
                  <a:cubicBezTo>
                    <a:pt x="86" y="503"/>
                    <a:pt x="86" y="503"/>
                    <a:pt x="86" y="503"/>
                  </a:cubicBezTo>
                  <a:cubicBezTo>
                    <a:pt x="522" y="503"/>
                    <a:pt x="522" y="503"/>
                    <a:pt x="522" y="503"/>
                  </a:cubicBezTo>
                  <a:cubicBezTo>
                    <a:pt x="522" y="465"/>
                    <a:pt x="522" y="465"/>
                    <a:pt x="522" y="465"/>
                  </a:cubicBezTo>
                  <a:cubicBezTo>
                    <a:pt x="123" y="465"/>
                    <a:pt x="123" y="465"/>
                    <a:pt x="123" y="465"/>
                  </a:cubicBezTo>
                  <a:lnTo>
                    <a:pt x="123" y="103"/>
                  </a:lnTo>
                  <a:close/>
                </a:path>
              </a:pathLst>
            </a:custGeom>
            <a:solidFill>
              <a:srgbClr val="442359"/>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pic>
          <p:nvPicPr>
            <p:cNvPr id="154" name="Picture 15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65892" y="1493977"/>
              <a:ext cx="484577" cy="733242"/>
            </a:xfrm>
            <a:prstGeom prst="rect">
              <a:avLst/>
            </a:prstGeom>
          </p:spPr>
        </p:pic>
        <p:pic>
          <p:nvPicPr>
            <p:cNvPr id="155" name="Picture 15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77687" y="3219801"/>
              <a:ext cx="1072122" cy="714748"/>
            </a:xfrm>
            <a:prstGeom prst="rect">
              <a:avLst/>
            </a:prstGeom>
          </p:spPr>
        </p:pic>
      </p:grpSp>
      <p:grpSp>
        <p:nvGrpSpPr>
          <p:cNvPr id="156" name="Group 155"/>
          <p:cNvGrpSpPr/>
          <p:nvPr/>
        </p:nvGrpSpPr>
        <p:grpSpPr>
          <a:xfrm>
            <a:off x="443020" y="1542030"/>
            <a:ext cx="2384070" cy="4472837"/>
            <a:chOff x="443020" y="1542030"/>
            <a:chExt cx="2384070" cy="4472837"/>
          </a:xfrm>
        </p:grpSpPr>
        <p:sp>
          <p:nvSpPr>
            <p:cNvPr id="157" name="Text Placeholder 12"/>
            <p:cNvSpPr txBox="1">
              <a:spLocks/>
            </p:cNvSpPr>
            <p:nvPr/>
          </p:nvSpPr>
          <p:spPr>
            <a:xfrm>
              <a:off x="443020" y="5128470"/>
              <a:ext cx="2384070" cy="88639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3" rtl="0" eaLnBrk="1" fontAlgn="auto" latinLnBrk="0" hangingPunct="1">
                <a:lnSpc>
                  <a:spcPct val="90000"/>
                </a:lnSpc>
                <a:spcBef>
                  <a:spcPts val="0"/>
                </a:spcBef>
                <a:spcAft>
                  <a:spcPts val="900"/>
                </a:spcAft>
                <a:buClrTx/>
                <a:buSzPct val="90000"/>
                <a:buFont typeface="Arial" pitchFamily="34" charset="0"/>
                <a:buNone/>
                <a:tabLst/>
                <a:defRPr/>
              </a:pPr>
              <a:r>
                <a:rPr kumimoji="0" lang="en-US" sz="1600" b="0" i="0" u="none" strike="noStrike" kern="1200" cap="none" spc="0" normalizeH="0" baseline="0" noProof="0" dirty="0">
                  <a:ln>
                    <a:noFill/>
                  </a:ln>
                  <a:solidFill>
                    <a:srgbClr val="969696">
                      <a:lumMod val="50000"/>
                    </a:srgbClr>
                  </a:solidFill>
                  <a:effectLst/>
                  <a:uLnTx/>
                  <a:uFillTx/>
                  <a:latin typeface="Segoe UI" pitchFamily="34" charset="0"/>
                  <a:ea typeface="Segoe UI" pitchFamily="34" charset="0"/>
                  <a:cs typeface="Segoe UI" pitchFamily="34" charset="0"/>
                </a:rPr>
                <a:t>Users</a:t>
              </a:r>
              <a:r>
                <a:rPr kumimoji="0" lang="en-US" sz="1600" b="0" i="0" u="none" strike="noStrike" kern="1200" cap="none" spc="0" normalizeH="0" baseline="0" noProof="0" dirty="0" smtClean="0">
                  <a:ln>
                    <a:noFill/>
                  </a:ln>
                  <a:solidFill>
                    <a:srgbClr val="00187B"/>
                  </a:solidFill>
                  <a:effectLst/>
                  <a:uLnTx/>
                  <a:uFillTx/>
                  <a:latin typeface="Segoe UI" pitchFamily="34" charset="0"/>
                  <a:ea typeface="Segoe UI" pitchFamily="34" charset="0"/>
                  <a:cs typeface="Segoe UI" pitchFamily="34" charset="0"/>
                </a:rPr>
                <a:t> </a:t>
              </a:r>
              <a:r>
                <a:rPr kumimoji="0" lang="en-US" sz="1600" b="0" i="0" u="none" strike="noStrike" kern="1200" cap="none" spc="0" normalizeH="0" baseline="0" noProof="0" dirty="0" smtClean="0">
                  <a:ln>
                    <a:noFill/>
                  </a:ln>
                  <a:solidFill>
                    <a:srgbClr val="969696">
                      <a:lumMod val="50000"/>
                    </a:srgbClr>
                  </a:solidFill>
                  <a:effectLst/>
                  <a:uLnTx/>
                  <a:uFillTx/>
                  <a:latin typeface="Segoe UI" pitchFamily="34" charset="0"/>
                  <a:ea typeface="Segoe UI" pitchFamily="34" charset="0"/>
                  <a:cs typeface="Segoe UI" pitchFamily="34" charset="0"/>
                </a:rPr>
                <a:t>expect to be able to </a:t>
              </a:r>
              <a:r>
                <a:rPr kumimoji="0" lang="en-US" sz="1600" b="1" i="0" u="none" strike="noStrike" kern="1200" cap="none" spc="0" normalizeH="0" baseline="0" noProof="0" dirty="0" smtClean="0">
                  <a:ln>
                    <a:noFill/>
                  </a:ln>
                  <a:solidFill>
                    <a:srgbClr val="969696">
                      <a:lumMod val="50000"/>
                    </a:srgbClr>
                  </a:solidFill>
                  <a:effectLst/>
                  <a:uLnTx/>
                  <a:uFillTx/>
                  <a:latin typeface="Segoe UI" pitchFamily="34" charset="0"/>
                  <a:ea typeface="Segoe UI" pitchFamily="34" charset="0"/>
                  <a:cs typeface="Segoe UI" pitchFamily="34" charset="0"/>
                </a:rPr>
                <a:t>work in any location </a:t>
              </a:r>
              <a:r>
                <a:rPr kumimoji="0" lang="en-US" sz="1600" b="0" i="0" u="none" strike="noStrike" kern="1200" cap="none" spc="0" normalizeH="0" baseline="0" noProof="0" dirty="0" smtClean="0">
                  <a:ln>
                    <a:noFill/>
                  </a:ln>
                  <a:solidFill>
                    <a:srgbClr val="969696">
                      <a:lumMod val="50000"/>
                    </a:srgbClr>
                  </a:solidFill>
                  <a:effectLst/>
                  <a:uLnTx/>
                  <a:uFillTx/>
                  <a:latin typeface="Segoe UI" pitchFamily="34" charset="0"/>
                  <a:ea typeface="Segoe UI" pitchFamily="34" charset="0"/>
                  <a:cs typeface="Segoe UI" pitchFamily="34" charset="0"/>
                </a:rPr>
                <a:t>and have access to all their work resources.</a:t>
              </a:r>
              <a:endParaRPr kumimoji="0" lang="en-US" sz="1600" b="0" i="0" u="none" strike="noStrike" kern="1200" cap="none" spc="0" normalizeH="0" baseline="0" noProof="0" dirty="0">
                <a:ln>
                  <a:noFill/>
                </a:ln>
                <a:solidFill>
                  <a:srgbClr val="969696">
                    <a:lumMod val="50000"/>
                  </a:srgbClr>
                </a:solidFill>
                <a:effectLst/>
                <a:uLnTx/>
                <a:uFillTx/>
                <a:latin typeface="Segoe UI" pitchFamily="34" charset="0"/>
                <a:ea typeface="Segoe UI" pitchFamily="34" charset="0"/>
                <a:cs typeface="Segoe UI" pitchFamily="34" charset="0"/>
              </a:endParaRPr>
            </a:p>
          </p:txBody>
        </p:sp>
        <p:sp>
          <p:nvSpPr>
            <p:cNvPr id="158" name="Text Placeholder 12"/>
            <p:cNvSpPr txBox="1">
              <a:spLocks/>
            </p:cNvSpPr>
            <p:nvPr/>
          </p:nvSpPr>
          <p:spPr>
            <a:xfrm>
              <a:off x="1098248" y="4527800"/>
              <a:ext cx="930174"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90000"/>
                </a:lnSpc>
                <a:spcBef>
                  <a:spcPts val="0"/>
                </a:spcBef>
                <a:spcAft>
                  <a:spcPts val="900"/>
                </a:spcAft>
                <a:buClrTx/>
                <a:buSzPct val="90000"/>
                <a:buFont typeface="Arial" pitchFamily="34" charset="0"/>
                <a:buNone/>
                <a:tabLst/>
                <a:defRPr/>
              </a:pPr>
              <a:r>
                <a:rPr kumimoji="0" lang="en-US" sz="2400" b="1" i="0" u="none" strike="noStrike" kern="1200" cap="none" spc="0" normalizeH="0" baseline="0" noProof="0" dirty="0">
                  <a:ln>
                    <a:noFill/>
                  </a:ln>
                  <a:solidFill>
                    <a:srgbClr val="00187B"/>
                  </a:solidFill>
                  <a:effectLst/>
                  <a:uLnTx/>
                  <a:uFillTx/>
                  <a:latin typeface="Segoe UI" pitchFamily="34" charset="0"/>
                  <a:ea typeface="Segoe UI" pitchFamily="34" charset="0"/>
                  <a:cs typeface="Segoe UI" pitchFamily="34" charset="0"/>
                </a:rPr>
                <a:t>Users</a:t>
              </a:r>
            </a:p>
          </p:txBody>
        </p:sp>
        <p:sp>
          <p:nvSpPr>
            <p:cNvPr id="159" name="Freeform 5"/>
            <p:cNvSpPr>
              <a:spLocks noEditPoints="1"/>
            </p:cNvSpPr>
            <p:nvPr/>
          </p:nvSpPr>
          <p:spPr bwMode="auto">
            <a:xfrm>
              <a:off x="735012" y="1542030"/>
              <a:ext cx="1627187" cy="244259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rgbClr val="0018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grpSp>
        <p:nvGrpSpPr>
          <p:cNvPr id="160" name="Group 159"/>
          <p:cNvGrpSpPr/>
          <p:nvPr/>
        </p:nvGrpSpPr>
        <p:grpSpPr>
          <a:xfrm>
            <a:off x="2438600" y="2344805"/>
            <a:ext cx="908202" cy="995918"/>
            <a:chOff x="2438600" y="2344805"/>
            <a:chExt cx="908202" cy="995918"/>
          </a:xfrm>
        </p:grpSpPr>
        <p:sp>
          <p:nvSpPr>
            <p:cNvPr id="161" name="Left-Right Arrow 160"/>
            <p:cNvSpPr/>
            <p:nvPr/>
          </p:nvSpPr>
          <p:spPr bwMode="auto">
            <a:xfrm rot="20751099">
              <a:off x="2438600" y="2344805"/>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62" name="Left-Right Arrow 161"/>
            <p:cNvSpPr/>
            <p:nvPr/>
          </p:nvSpPr>
          <p:spPr bwMode="auto">
            <a:xfrm>
              <a:off x="2472154" y="2727456"/>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63" name="Left-Right Arrow 162"/>
            <p:cNvSpPr/>
            <p:nvPr/>
          </p:nvSpPr>
          <p:spPr bwMode="auto">
            <a:xfrm rot="772051">
              <a:off x="2458387" y="3098879"/>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grpSp>
        <p:nvGrpSpPr>
          <p:cNvPr id="164" name="Group 163"/>
          <p:cNvGrpSpPr/>
          <p:nvPr/>
        </p:nvGrpSpPr>
        <p:grpSpPr>
          <a:xfrm>
            <a:off x="5364615" y="2322919"/>
            <a:ext cx="1199027" cy="1020103"/>
            <a:chOff x="5499184" y="2265769"/>
            <a:chExt cx="957967" cy="1020103"/>
          </a:xfrm>
        </p:grpSpPr>
        <p:sp>
          <p:nvSpPr>
            <p:cNvPr id="165" name="Left-Right Arrow 164"/>
            <p:cNvSpPr/>
            <p:nvPr/>
          </p:nvSpPr>
          <p:spPr bwMode="auto">
            <a:xfrm rot="20751099">
              <a:off x="5499184" y="2265769"/>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66" name="Left-Right Arrow 165"/>
            <p:cNvSpPr/>
            <p:nvPr/>
          </p:nvSpPr>
          <p:spPr bwMode="auto">
            <a:xfrm rot="20610885">
              <a:off x="5547900" y="2578570"/>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67" name="Left-Right Arrow 166"/>
            <p:cNvSpPr/>
            <p:nvPr/>
          </p:nvSpPr>
          <p:spPr bwMode="auto">
            <a:xfrm rot="668595">
              <a:off x="5548192" y="3026960"/>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68" name="Left-Right Arrow 167"/>
            <p:cNvSpPr/>
            <p:nvPr/>
          </p:nvSpPr>
          <p:spPr bwMode="auto">
            <a:xfrm rot="2249269">
              <a:off x="5510157" y="2373128"/>
              <a:ext cx="946994"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69" name="Left-Right Arrow 168"/>
            <p:cNvSpPr/>
            <p:nvPr/>
          </p:nvSpPr>
          <p:spPr bwMode="auto">
            <a:xfrm rot="20312622">
              <a:off x="5533564" y="3044028"/>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grpSp>
        <p:nvGrpSpPr>
          <p:cNvPr id="170" name="Group 169"/>
          <p:cNvGrpSpPr/>
          <p:nvPr/>
        </p:nvGrpSpPr>
        <p:grpSpPr>
          <a:xfrm>
            <a:off x="8617504" y="2076063"/>
            <a:ext cx="1156082" cy="1459400"/>
            <a:chOff x="8617504" y="2076063"/>
            <a:chExt cx="1156082" cy="1459400"/>
          </a:xfrm>
        </p:grpSpPr>
        <p:grpSp>
          <p:nvGrpSpPr>
            <p:cNvPr id="171" name="Group 170"/>
            <p:cNvGrpSpPr/>
            <p:nvPr/>
          </p:nvGrpSpPr>
          <p:grpSpPr>
            <a:xfrm>
              <a:off x="8626065" y="2076063"/>
              <a:ext cx="1113051" cy="677203"/>
              <a:chOff x="5533564" y="2627719"/>
              <a:chExt cx="889276" cy="677203"/>
            </a:xfrm>
          </p:grpSpPr>
          <p:sp>
            <p:nvSpPr>
              <p:cNvPr id="177" name="Left-Right Arrow 176"/>
              <p:cNvSpPr/>
              <p:nvPr/>
            </p:nvSpPr>
            <p:spPr bwMode="auto">
              <a:xfrm rot="1109394">
                <a:off x="5537234" y="2627719"/>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78" name="Left-Right Arrow 177"/>
              <p:cNvSpPr/>
              <p:nvPr/>
            </p:nvSpPr>
            <p:spPr bwMode="auto">
              <a:xfrm rot="20610885">
                <a:off x="5547900" y="2645245"/>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79" name="Left-Right Arrow 178"/>
              <p:cNvSpPr/>
              <p:nvPr/>
            </p:nvSpPr>
            <p:spPr bwMode="auto">
              <a:xfrm rot="668595">
                <a:off x="5548192" y="3026960"/>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80" name="Left-Right Arrow 179"/>
              <p:cNvSpPr/>
              <p:nvPr/>
            </p:nvSpPr>
            <p:spPr bwMode="auto">
              <a:xfrm rot="20675659">
                <a:off x="5533564" y="3063078"/>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grpSp>
          <p:nvGrpSpPr>
            <p:cNvPr id="172" name="Group 171"/>
            <p:cNvGrpSpPr/>
            <p:nvPr/>
          </p:nvGrpSpPr>
          <p:grpSpPr>
            <a:xfrm>
              <a:off x="8617504" y="2848735"/>
              <a:ext cx="1156082" cy="686728"/>
              <a:chOff x="5499184" y="2618194"/>
              <a:chExt cx="923656" cy="686728"/>
            </a:xfrm>
          </p:grpSpPr>
          <p:sp>
            <p:nvSpPr>
              <p:cNvPr id="173" name="Left-Right Arrow 172"/>
              <p:cNvSpPr/>
              <p:nvPr/>
            </p:nvSpPr>
            <p:spPr bwMode="auto">
              <a:xfrm rot="20751099">
                <a:off x="5499184" y="2618194"/>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74" name="Left-Right Arrow 173"/>
              <p:cNvSpPr/>
              <p:nvPr/>
            </p:nvSpPr>
            <p:spPr bwMode="auto">
              <a:xfrm rot="668595">
                <a:off x="5548192" y="3026960"/>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75" name="Left-Right Arrow 174"/>
              <p:cNvSpPr/>
              <p:nvPr/>
            </p:nvSpPr>
            <p:spPr bwMode="auto">
              <a:xfrm rot="20675659">
                <a:off x="5533564" y="3063078"/>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76" name="Left-Right Arrow 175"/>
              <p:cNvSpPr/>
              <p:nvPr/>
            </p:nvSpPr>
            <p:spPr bwMode="auto">
              <a:xfrm rot="690585">
                <a:off x="5537633" y="2645244"/>
                <a:ext cx="874648" cy="241844"/>
              </a:xfrm>
              <a:prstGeom prst="leftRightArrow">
                <a:avLst/>
              </a:prstGeom>
              <a:solidFill>
                <a:srgbClr val="FFFFFF"/>
              </a:solidFill>
              <a:ln w="25400" cap="flat" cmpd="sng" algn="ctr">
                <a:solidFill>
                  <a:srgbClr val="0070C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grpSp>
      <p:grpSp>
        <p:nvGrpSpPr>
          <p:cNvPr id="181" name="Group 180"/>
          <p:cNvGrpSpPr/>
          <p:nvPr/>
        </p:nvGrpSpPr>
        <p:grpSpPr>
          <a:xfrm>
            <a:off x="3146698" y="1467374"/>
            <a:ext cx="2776436" cy="4325893"/>
            <a:chOff x="3146698" y="1467374"/>
            <a:chExt cx="2776436" cy="4325893"/>
          </a:xfrm>
        </p:grpSpPr>
        <p:grpSp>
          <p:nvGrpSpPr>
            <p:cNvPr id="182" name="Group 181"/>
            <p:cNvGrpSpPr/>
            <p:nvPr/>
          </p:nvGrpSpPr>
          <p:grpSpPr>
            <a:xfrm>
              <a:off x="3146698" y="1467374"/>
              <a:ext cx="2776436" cy="4325893"/>
              <a:chOff x="3146698" y="1467374"/>
              <a:chExt cx="2776436" cy="4325893"/>
            </a:xfrm>
          </p:grpSpPr>
          <p:sp>
            <p:nvSpPr>
              <p:cNvPr id="186" name="Text Placeholder 12"/>
              <p:cNvSpPr txBox="1">
                <a:spLocks/>
              </p:cNvSpPr>
              <p:nvPr/>
            </p:nvSpPr>
            <p:spPr>
              <a:xfrm>
                <a:off x="3146698" y="5128470"/>
                <a:ext cx="2776436" cy="664797"/>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43295" rtl="0" eaLnBrk="1" fontAlgn="auto" latinLnBrk="0" hangingPunct="1">
                  <a:lnSpc>
                    <a:spcPct val="90000"/>
                  </a:lnSpc>
                  <a:spcBef>
                    <a:spcPts val="0"/>
                  </a:spcBef>
                  <a:spcAft>
                    <a:spcPts val="1224"/>
                  </a:spcAft>
                  <a:buClrTx/>
                  <a:buSzPct val="90000"/>
                  <a:buFont typeface="Arial" pitchFamily="34" charset="0"/>
                  <a:buNone/>
                  <a:tabLst/>
                  <a:defRPr/>
                </a:pPr>
                <a:r>
                  <a:rPr kumimoji="0" lang="en-US" sz="1600" b="0" i="0" u="none" strike="noStrike" kern="1200" cap="none" spc="0" normalizeH="0" baseline="0" noProof="0" dirty="0" smtClean="0">
                    <a:ln>
                      <a:noFill/>
                    </a:ln>
                    <a:solidFill>
                      <a:srgbClr val="969696">
                        <a:lumMod val="50000"/>
                      </a:srgbClr>
                    </a:solidFill>
                    <a:effectLst/>
                    <a:uLnTx/>
                    <a:uFillTx/>
                    <a:latin typeface="Segoe UI" pitchFamily="34" charset="0"/>
                    <a:ea typeface="Segoe UI" pitchFamily="34" charset="0"/>
                    <a:cs typeface="Segoe UI" pitchFamily="34" charset="0"/>
                  </a:rPr>
                  <a:t>The </a:t>
                </a:r>
                <a:r>
                  <a:rPr kumimoji="0" lang="en-US" sz="1600" b="1" i="0" u="none" strike="noStrike" kern="1200" cap="none" spc="0" normalizeH="0" baseline="0" noProof="0" dirty="0" smtClean="0">
                    <a:ln>
                      <a:noFill/>
                    </a:ln>
                    <a:solidFill>
                      <a:srgbClr val="969696">
                        <a:lumMod val="50000"/>
                      </a:srgbClr>
                    </a:solidFill>
                    <a:effectLst/>
                    <a:uLnTx/>
                    <a:uFillTx/>
                    <a:latin typeface="Segoe UI" pitchFamily="34" charset="0"/>
                    <a:ea typeface="Segoe UI" pitchFamily="34" charset="0"/>
                    <a:cs typeface="Segoe UI" pitchFamily="34" charset="0"/>
                  </a:rPr>
                  <a:t>explosion of </a:t>
                </a:r>
                <a:r>
                  <a:rPr kumimoji="0" lang="en-US" sz="1600" b="1" i="0" u="none" strike="noStrike" kern="1200" cap="none" spc="0" normalizeH="0" baseline="0" noProof="0" dirty="0">
                    <a:ln>
                      <a:noFill/>
                    </a:ln>
                    <a:solidFill>
                      <a:srgbClr val="969696">
                        <a:lumMod val="50000"/>
                      </a:srgbClr>
                    </a:solidFill>
                    <a:effectLst/>
                    <a:uLnTx/>
                    <a:uFillTx/>
                    <a:latin typeface="Segoe UI" pitchFamily="34" charset="0"/>
                    <a:ea typeface="Segoe UI" pitchFamily="34" charset="0"/>
                    <a:cs typeface="Segoe UI" pitchFamily="34" charset="0"/>
                  </a:rPr>
                  <a:t>devices</a:t>
                </a:r>
                <a:r>
                  <a:rPr kumimoji="0" lang="en-US" sz="1600" b="1" i="0" u="none" strike="noStrike" kern="1200" cap="none" spc="0" normalizeH="0" baseline="0" noProof="0" dirty="0" smtClean="0">
                    <a:ln>
                      <a:noFill/>
                    </a:ln>
                    <a:solidFill>
                      <a:srgbClr val="969696">
                        <a:lumMod val="50000"/>
                      </a:srgbClr>
                    </a:solidFill>
                    <a:effectLst/>
                    <a:uLnTx/>
                    <a:uFillTx/>
                    <a:latin typeface="Segoe UI" pitchFamily="34" charset="0"/>
                    <a:ea typeface="Segoe UI" pitchFamily="34" charset="0"/>
                    <a:cs typeface="Segoe UI" pitchFamily="34" charset="0"/>
                  </a:rPr>
                  <a:t> </a:t>
                </a:r>
                <a:r>
                  <a:rPr kumimoji="0" lang="en-US" sz="1600" b="0" i="0" u="none" strike="noStrike" kern="1200" cap="none" spc="0" normalizeH="0" baseline="0" noProof="0" dirty="0" smtClean="0">
                    <a:ln>
                      <a:noFill/>
                    </a:ln>
                    <a:solidFill>
                      <a:srgbClr val="969696">
                        <a:lumMod val="50000"/>
                      </a:srgbClr>
                    </a:solidFill>
                    <a:effectLst/>
                    <a:uLnTx/>
                    <a:uFillTx/>
                    <a:latin typeface="Segoe UI" pitchFamily="34" charset="0"/>
                    <a:ea typeface="Segoe UI" pitchFamily="34" charset="0"/>
                    <a:cs typeface="Segoe UI" pitchFamily="34" charset="0"/>
                  </a:rPr>
                  <a:t>is eroding the standards-based approach to corporate IT.</a:t>
                </a:r>
                <a:endParaRPr kumimoji="0" lang="en-US" sz="1600" b="0" i="0" u="none" strike="noStrike" kern="1200" cap="none" spc="0" normalizeH="0" baseline="0" noProof="0" dirty="0">
                  <a:ln>
                    <a:noFill/>
                  </a:ln>
                  <a:solidFill>
                    <a:srgbClr val="969696">
                      <a:lumMod val="50000"/>
                    </a:srgbClr>
                  </a:solidFill>
                  <a:effectLst/>
                  <a:uLnTx/>
                  <a:uFillTx/>
                  <a:latin typeface="Segoe UI" pitchFamily="34" charset="0"/>
                  <a:ea typeface="Segoe UI" pitchFamily="34" charset="0"/>
                  <a:cs typeface="Segoe UI" pitchFamily="34" charset="0"/>
                </a:endParaRPr>
              </a:p>
            </p:txBody>
          </p:sp>
          <p:sp>
            <p:nvSpPr>
              <p:cNvPr id="187" name="Text Placeholder 12"/>
              <p:cNvSpPr txBox="1">
                <a:spLocks/>
              </p:cNvSpPr>
              <p:nvPr/>
            </p:nvSpPr>
            <p:spPr>
              <a:xfrm>
                <a:off x="3841788" y="4526994"/>
                <a:ext cx="1135845"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90000"/>
                  </a:lnSpc>
                  <a:spcBef>
                    <a:spcPts val="0"/>
                  </a:spcBef>
                  <a:spcAft>
                    <a:spcPts val="900"/>
                  </a:spcAft>
                  <a:buClrTx/>
                  <a:buSzPct val="90000"/>
                  <a:buFont typeface="Arial" pitchFamily="34" charset="0"/>
                  <a:buNone/>
                  <a:tabLst/>
                  <a:defRPr/>
                </a:pPr>
                <a:r>
                  <a:rPr kumimoji="0" lang="en-US" sz="2400" b="1" i="0" u="none" strike="noStrike" kern="1200" cap="none" spc="0" normalizeH="0" baseline="0" noProof="0" dirty="0">
                    <a:ln>
                      <a:noFill/>
                    </a:ln>
                    <a:solidFill>
                      <a:srgbClr val="3D5800"/>
                    </a:solidFill>
                    <a:effectLst/>
                    <a:uLnTx/>
                    <a:uFillTx/>
                    <a:latin typeface="Segoe UI" pitchFamily="34" charset="0"/>
                    <a:ea typeface="Segoe UI" pitchFamily="34" charset="0"/>
                    <a:cs typeface="Segoe UI" pitchFamily="34" charset="0"/>
                  </a:rPr>
                  <a:t>Devices</a:t>
                </a:r>
                <a:endParaRPr kumimoji="0" lang="en-US" sz="2000" b="1" i="0" u="none" strike="noStrike" kern="1200" cap="none" spc="0" normalizeH="0" baseline="0" noProof="0" dirty="0">
                  <a:ln>
                    <a:noFill/>
                  </a:ln>
                  <a:solidFill>
                    <a:srgbClr val="3D5800"/>
                  </a:solidFill>
                  <a:effectLst/>
                  <a:uLnTx/>
                  <a:uFillTx/>
                  <a:latin typeface="Segoe UI" pitchFamily="34" charset="0"/>
                  <a:ea typeface="Segoe UI" pitchFamily="34" charset="0"/>
                  <a:cs typeface="Segoe UI" pitchFamily="34" charset="0"/>
                </a:endParaRPr>
              </a:p>
            </p:txBody>
          </p:sp>
          <p:sp>
            <p:nvSpPr>
              <p:cNvPr id="188" name="Freeform 24"/>
              <p:cNvSpPr>
                <a:spLocks noChangeAspect="1"/>
              </p:cNvSpPr>
              <p:nvPr/>
            </p:nvSpPr>
            <p:spPr bwMode="auto">
              <a:xfrm>
                <a:off x="3439936" y="2935259"/>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89" name="Freeform 25"/>
              <p:cNvSpPr>
                <a:spLocks noChangeAspect="1"/>
              </p:cNvSpPr>
              <p:nvPr/>
            </p:nvSpPr>
            <p:spPr bwMode="auto">
              <a:xfrm>
                <a:off x="3493556" y="2473258"/>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90" name="Freeform 26"/>
              <p:cNvSpPr>
                <a:spLocks noChangeAspect="1"/>
              </p:cNvSpPr>
              <p:nvPr/>
            </p:nvSpPr>
            <p:spPr bwMode="auto">
              <a:xfrm>
                <a:off x="3493556" y="2473258"/>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pic>
            <p:nvPicPr>
              <p:cNvPr id="191" name="Picture 19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94145" y="3300476"/>
                <a:ext cx="1216247" cy="811685"/>
              </a:xfrm>
              <a:prstGeom prst="rect">
                <a:avLst/>
              </a:prstGeom>
            </p:spPr>
          </p:pic>
          <p:pic>
            <p:nvPicPr>
              <p:cNvPr id="192" name="Picture 19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10331" y="2469871"/>
                <a:ext cx="416193" cy="769125"/>
              </a:xfrm>
              <a:prstGeom prst="rect">
                <a:avLst/>
              </a:prstGeom>
            </p:spPr>
          </p:pic>
          <p:pic>
            <p:nvPicPr>
              <p:cNvPr id="193" name="Picture 19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02268" y="1467374"/>
                <a:ext cx="957572" cy="957572"/>
              </a:xfrm>
              <a:prstGeom prst="rect">
                <a:avLst/>
              </a:prstGeom>
            </p:spPr>
          </p:pic>
          <p:pic>
            <p:nvPicPr>
              <p:cNvPr id="194" name="Picture 19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31697" y="1527079"/>
                <a:ext cx="607745" cy="788132"/>
              </a:xfrm>
              <a:prstGeom prst="rect">
                <a:avLst/>
              </a:prstGeom>
            </p:spPr>
          </p:pic>
        </p:grpSp>
        <p:grpSp>
          <p:nvGrpSpPr>
            <p:cNvPr id="183" name="Group 182"/>
            <p:cNvGrpSpPr>
              <a:grpSpLocks noChangeAspect="1"/>
            </p:cNvGrpSpPr>
            <p:nvPr/>
          </p:nvGrpSpPr>
          <p:grpSpPr bwMode="auto">
            <a:xfrm>
              <a:off x="3525260" y="2488797"/>
              <a:ext cx="835378" cy="714548"/>
              <a:chOff x="1063" y="2798"/>
              <a:chExt cx="961" cy="822"/>
            </a:xfrm>
          </p:grpSpPr>
          <p:sp>
            <p:nvSpPr>
              <p:cNvPr id="184" name="Freeform 6"/>
              <p:cNvSpPr>
                <a:spLocks noEditPoints="1"/>
              </p:cNvSpPr>
              <p:nvPr/>
            </p:nvSpPr>
            <p:spPr bwMode="auto">
              <a:xfrm>
                <a:off x="1063" y="2798"/>
                <a:ext cx="961" cy="822"/>
              </a:xfrm>
              <a:custGeom>
                <a:avLst/>
                <a:gdLst>
                  <a:gd name="T0" fmla="*/ 265 w 3843"/>
                  <a:gd name="T1" fmla="*/ 229 h 3287"/>
                  <a:gd name="T2" fmla="*/ 225 w 3843"/>
                  <a:gd name="T3" fmla="*/ 311 h 3287"/>
                  <a:gd name="T4" fmla="*/ 225 w 3843"/>
                  <a:gd name="T5" fmla="*/ 679 h 3287"/>
                  <a:gd name="T6" fmla="*/ 225 w 3843"/>
                  <a:gd name="T7" fmla="*/ 1741 h 3287"/>
                  <a:gd name="T8" fmla="*/ 227 w 3843"/>
                  <a:gd name="T9" fmla="*/ 2520 h 3287"/>
                  <a:gd name="T10" fmla="*/ 331 w 3843"/>
                  <a:gd name="T11" fmla="*/ 2598 h 3287"/>
                  <a:gd name="T12" fmla="*/ 403 w 3843"/>
                  <a:gd name="T13" fmla="*/ 2598 h 3287"/>
                  <a:gd name="T14" fmla="*/ 907 w 3843"/>
                  <a:gd name="T15" fmla="*/ 2598 h 3287"/>
                  <a:gd name="T16" fmla="*/ 1618 w 3843"/>
                  <a:gd name="T17" fmla="*/ 2598 h 3287"/>
                  <a:gd name="T18" fmla="*/ 2427 w 3843"/>
                  <a:gd name="T19" fmla="*/ 2598 h 3287"/>
                  <a:gd name="T20" fmla="*/ 3542 w 3843"/>
                  <a:gd name="T21" fmla="*/ 2596 h 3287"/>
                  <a:gd name="T22" fmla="*/ 3621 w 3843"/>
                  <a:gd name="T23" fmla="*/ 2495 h 3287"/>
                  <a:gd name="T24" fmla="*/ 3621 w 3843"/>
                  <a:gd name="T25" fmla="*/ 2223 h 3287"/>
                  <a:gd name="T26" fmla="*/ 3621 w 3843"/>
                  <a:gd name="T27" fmla="*/ 1873 h 3287"/>
                  <a:gd name="T28" fmla="*/ 3621 w 3843"/>
                  <a:gd name="T29" fmla="*/ 479 h 3287"/>
                  <a:gd name="T30" fmla="*/ 3563 w 3843"/>
                  <a:gd name="T31" fmla="*/ 218 h 3287"/>
                  <a:gd name="T32" fmla="*/ 3007 w 3843"/>
                  <a:gd name="T33" fmla="*/ 208 h 3287"/>
                  <a:gd name="T34" fmla="*/ 1722 w 3843"/>
                  <a:gd name="T35" fmla="*/ 208 h 3287"/>
                  <a:gd name="T36" fmla="*/ 131 w 3843"/>
                  <a:gd name="T37" fmla="*/ 0 h 3287"/>
                  <a:gd name="T38" fmla="*/ 456 w 3843"/>
                  <a:gd name="T39" fmla="*/ 0 h 3287"/>
                  <a:gd name="T40" fmla="*/ 1886 w 3843"/>
                  <a:gd name="T41" fmla="*/ 0 h 3287"/>
                  <a:gd name="T42" fmla="*/ 3774 w 3843"/>
                  <a:gd name="T43" fmla="*/ 11 h 3287"/>
                  <a:gd name="T44" fmla="*/ 3843 w 3843"/>
                  <a:gd name="T45" fmla="*/ 117 h 3287"/>
                  <a:gd name="T46" fmla="*/ 3843 w 3843"/>
                  <a:gd name="T47" fmla="*/ 127 h 3287"/>
                  <a:gd name="T48" fmla="*/ 3843 w 3843"/>
                  <a:gd name="T49" fmla="*/ 270 h 3287"/>
                  <a:gd name="T50" fmla="*/ 3843 w 3843"/>
                  <a:gd name="T51" fmla="*/ 633 h 3287"/>
                  <a:gd name="T52" fmla="*/ 3843 w 3843"/>
                  <a:gd name="T53" fmla="*/ 1340 h 3287"/>
                  <a:gd name="T54" fmla="*/ 3843 w 3843"/>
                  <a:gd name="T55" fmla="*/ 2007 h 3287"/>
                  <a:gd name="T56" fmla="*/ 3830 w 3843"/>
                  <a:gd name="T57" fmla="*/ 2743 h 3287"/>
                  <a:gd name="T58" fmla="*/ 3720 w 3843"/>
                  <a:gd name="T59" fmla="*/ 2811 h 3287"/>
                  <a:gd name="T60" fmla="*/ 3701 w 3843"/>
                  <a:gd name="T61" fmla="*/ 2811 h 3287"/>
                  <a:gd name="T62" fmla="*/ 3489 w 3843"/>
                  <a:gd name="T63" fmla="*/ 2811 h 3287"/>
                  <a:gd name="T64" fmla="*/ 3118 w 3843"/>
                  <a:gd name="T65" fmla="*/ 2811 h 3287"/>
                  <a:gd name="T66" fmla="*/ 2608 w 3843"/>
                  <a:gd name="T67" fmla="*/ 2815 h 3287"/>
                  <a:gd name="T68" fmla="*/ 2622 w 3843"/>
                  <a:gd name="T69" fmla="*/ 2938 h 3287"/>
                  <a:gd name="T70" fmla="*/ 2694 w 3843"/>
                  <a:gd name="T71" fmla="*/ 3043 h 3287"/>
                  <a:gd name="T72" fmla="*/ 2816 w 3843"/>
                  <a:gd name="T73" fmla="*/ 3066 h 3287"/>
                  <a:gd name="T74" fmla="*/ 2836 w 3843"/>
                  <a:gd name="T75" fmla="*/ 3067 h 3287"/>
                  <a:gd name="T76" fmla="*/ 2919 w 3843"/>
                  <a:gd name="T77" fmla="*/ 3153 h 3287"/>
                  <a:gd name="T78" fmla="*/ 2916 w 3843"/>
                  <a:gd name="T79" fmla="*/ 3224 h 3287"/>
                  <a:gd name="T80" fmla="*/ 2836 w 3843"/>
                  <a:gd name="T81" fmla="*/ 3287 h 3287"/>
                  <a:gd name="T82" fmla="*/ 2209 w 3843"/>
                  <a:gd name="T83" fmla="*/ 3287 h 3287"/>
                  <a:gd name="T84" fmla="*/ 1031 w 3843"/>
                  <a:gd name="T85" fmla="*/ 3285 h 3287"/>
                  <a:gd name="T86" fmla="*/ 971 w 3843"/>
                  <a:gd name="T87" fmla="*/ 3201 h 3287"/>
                  <a:gd name="T88" fmla="*/ 981 w 3843"/>
                  <a:gd name="T89" fmla="*/ 3110 h 3287"/>
                  <a:gd name="T90" fmla="*/ 1093 w 3843"/>
                  <a:gd name="T91" fmla="*/ 3062 h 3287"/>
                  <a:gd name="T92" fmla="*/ 1222 w 3843"/>
                  <a:gd name="T93" fmla="*/ 3039 h 3287"/>
                  <a:gd name="T94" fmla="*/ 1293 w 3843"/>
                  <a:gd name="T95" fmla="*/ 2938 h 3287"/>
                  <a:gd name="T96" fmla="*/ 1310 w 3843"/>
                  <a:gd name="T97" fmla="*/ 2815 h 3287"/>
                  <a:gd name="T98" fmla="*/ 1291 w 3843"/>
                  <a:gd name="T99" fmla="*/ 2811 h 3287"/>
                  <a:gd name="T100" fmla="*/ 1162 w 3843"/>
                  <a:gd name="T101" fmla="*/ 2811 h 3287"/>
                  <a:gd name="T102" fmla="*/ 812 w 3843"/>
                  <a:gd name="T103" fmla="*/ 2811 h 3287"/>
                  <a:gd name="T104" fmla="*/ 100 w 3843"/>
                  <a:gd name="T105" fmla="*/ 2808 h 3287"/>
                  <a:gd name="T106" fmla="*/ 0 w 3843"/>
                  <a:gd name="T107" fmla="*/ 2689 h 3287"/>
                  <a:gd name="T108" fmla="*/ 0 w 3843"/>
                  <a:gd name="T109" fmla="*/ 2682 h 3287"/>
                  <a:gd name="T110" fmla="*/ 0 w 3843"/>
                  <a:gd name="T111" fmla="*/ 2563 h 3287"/>
                  <a:gd name="T112" fmla="*/ 0 w 3843"/>
                  <a:gd name="T113" fmla="*/ 2234 h 3287"/>
                  <a:gd name="T114" fmla="*/ 0 w 3843"/>
                  <a:gd name="T115" fmla="*/ 1533 h 3287"/>
                  <a:gd name="T116" fmla="*/ 0 w 3843"/>
                  <a:gd name="T117" fmla="*/ 949 h 3287"/>
                  <a:gd name="T118" fmla="*/ 3 w 3843"/>
                  <a:gd name="T119" fmla="*/ 89 h 3287"/>
                  <a:gd name="T120" fmla="*/ 131 w 3843"/>
                  <a:gd name="T121" fmla="*/ 0 h 3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43" h="3287">
                    <a:moveTo>
                      <a:pt x="915" y="208"/>
                    </a:moveTo>
                    <a:lnTo>
                      <a:pt x="729" y="208"/>
                    </a:lnTo>
                    <a:lnTo>
                      <a:pt x="331" y="208"/>
                    </a:lnTo>
                    <a:lnTo>
                      <a:pt x="306" y="211"/>
                    </a:lnTo>
                    <a:lnTo>
                      <a:pt x="284" y="218"/>
                    </a:lnTo>
                    <a:lnTo>
                      <a:pt x="265" y="229"/>
                    </a:lnTo>
                    <a:lnTo>
                      <a:pt x="248" y="246"/>
                    </a:lnTo>
                    <a:lnTo>
                      <a:pt x="235" y="264"/>
                    </a:lnTo>
                    <a:lnTo>
                      <a:pt x="227" y="286"/>
                    </a:lnTo>
                    <a:lnTo>
                      <a:pt x="225" y="310"/>
                    </a:lnTo>
                    <a:lnTo>
                      <a:pt x="225" y="311"/>
                    </a:lnTo>
                    <a:lnTo>
                      <a:pt x="225" y="311"/>
                    </a:lnTo>
                    <a:lnTo>
                      <a:pt x="225" y="324"/>
                    </a:lnTo>
                    <a:lnTo>
                      <a:pt x="225" y="331"/>
                    </a:lnTo>
                    <a:lnTo>
                      <a:pt x="225" y="339"/>
                    </a:lnTo>
                    <a:lnTo>
                      <a:pt x="225" y="584"/>
                    </a:lnTo>
                    <a:lnTo>
                      <a:pt x="225" y="629"/>
                    </a:lnTo>
                    <a:lnTo>
                      <a:pt x="225" y="679"/>
                    </a:lnTo>
                    <a:lnTo>
                      <a:pt x="225" y="734"/>
                    </a:lnTo>
                    <a:lnTo>
                      <a:pt x="225" y="795"/>
                    </a:lnTo>
                    <a:lnTo>
                      <a:pt x="225" y="861"/>
                    </a:lnTo>
                    <a:lnTo>
                      <a:pt x="225" y="932"/>
                    </a:lnTo>
                    <a:lnTo>
                      <a:pt x="225" y="1615"/>
                    </a:lnTo>
                    <a:lnTo>
                      <a:pt x="225" y="1741"/>
                    </a:lnTo>
                    <a:lnTo>
                      <a:pt x="225" y="1875"/>
                    </a:lnTo>
                    <a:lnTo>
                      <a:pt x="225" y="2018"/>
                    </a:lnTo>
                    <a:lnTo>
                      <a:pt x="225" y="2169"/>
                    </a:lnTo>
                    <a:lnTo>
                      <a:pt x="225" y="2328"/>
                    </a:lnTo>
                    <a:lnTo>
                      <a:pt x="225" y="2495"/>
                    </a:lnTo>
                    <a:lnTo>
                      <a:pt x="227" y="2520"/>
                    </a:lnTo>
                    <a:lnTo>
                      <a:pt x="235" y="2542"/>
                    </a:lnTo>
                    <a:lnTo>
                      <a:pt x="248" y="2561"/>
                    </a:lnTo>
                    <a:lnTo>
                      <a:pt x="265" y="2576"/>
                    </a:lnTo>
                    <a:lnTo>
                      <a:pt x="284" y="2589"/>
                    </a:lnTo>
                    <a:lnTo>
                      <a:pt x="306" y="2596"/>
                    </a:lnTo>
                    <a:lnTo>
                      <a:pt x="331" y="2598"/>
                    </a:lnTo>
                    <a:lnTo>
                      <a:pt x="332" y="2598"/>
                    </a:lnTo>
                    <a:lnTo>
                      <a:pt x="332" y="2598"/>
                    </a:lnTo>
                    <a:lnTo>
                      <a:pt x="333" y="2598"/>
                    </a:lnTo>
                    <a:lnTo>
                      <a:pt x="336" y="2598"/>
                    </a:lnTo>
                    <a:lnTo>
                      <a:pt x="388" y="2598"/>
                    </a:lnTo>
                    <a:lnTo>
                      <a:pt x="403" y="2598"/>
                    </a:lnTo>
                    <a:lnTo>
                      <a:pt x="421" y="2598"/>
                    </a:lnTo>
                    <a:lnTo>
                      <a:pt x="465" y="2598"/>
                    </a:lnTo>
                    <a:lnTo>
                      <a:pt x="492" y="2598"/>
                    </a:lnTo>
                    <a:lnTo>
                      <a:pt x="522" y="2598"/>
                    </a:lnTo>
                    <a:lnTo>
                      <a:pt x="842" y="2598"/>
                    </a:lnTo>
                    <a:lnTo>
                      <a:pt x="907" y="2598"/>
                    </a:lnTo>
                    <a:lnTo>
                      <a:pt x="976" y="2598"/>
                    </a:lnTo>
                    <a:lnTo>
                      <a:pt x="1050" y="2598"/>
                    </a:lnTo>
                    <a:lnTo>
                      <a:pt x="1307" y="2598"/>
                    </a:lnTo>
                    <a:lnTo>
                      <a:pt x="1404" y="2598"/>
                    </a:lnTo>
                    <a:lnTo>
                      <a:pt x="1508" y="2598"/>
                    </a:lnTo>
                    <a:lnTo>
                      <a:pt x="1618" y="2598"/>
                    </a:lnTo>
                    <a:lnTo>
                      <a:pt x="1735" y="2598"/>
                    </a:lnTo>
                    <a:lnTo>
                      <a:pt x="1860" y="2598"/>
                    </a:lnTo>
                    <a:lnTo>
                      <a:pt x="1990" y="2598"/>
                    </a:lnTo>
                    <a:lnTo>
                      <a:pt x="2128" y="2598"/>
                    </a:lnTo>
                    <a:lnTo>
                      <a:pt x="2273" y="2598"/>
                    </a:lnTo>
                    <a:lnTo>
                      <a:pt x="2427" y="2598"/>
                    </a:lnTo>
                    <a:lnTo>
                      <a:pt x="2588" y="2598"/>
                    </a:lnTo>
                    <a:lnTo>
                      <a:pt x="2758" y="2598"/>
                    </a:lnTo>
                    <a:lnTo>
                      <a:pt x="2935" y="2598"/>
                    </a:lnTo>
                    <a:lnTo>
                      <a:pt x="3120" y="2598"/>
                    </a:lnTo>
                    <a:lnTo>
                      <a:pt x="3519" y="2598"/>
                    </a:lnTo>
                    <a:lnTo>
                      <a:pt x="3542" y="2596"/>
                    </a:lnTo>
                    <a:lnTo>
                      <a:pt x="3563" y="2589"/>
                    </a:lnTo>
                    <a:lnTo>
                      <a:pt x="3583" y="2576"/>
                    </a:lnTo>
                    <a:lnTo>
                      <a:pt x="3598" y="2561"/>
                    </a:lnTo>
                    <a:lnTo>
                      <a:pt x="3611" y="2542"/>
                    </a:lnTo>
                    <a:lnTo>
                      <a:pt x="3619" y="2520"/>
                    </a:lnTo>
                    <a:lnTo>
                      <a:pt x="3621" y="2495"/>
                    </a:lnTo>
                    <a:lnTo>
                      <a:pt x="3621" y="2495"/>
                    </a:lnTo>
                    <a:lnTo>
                      <a:pt x="3621" y="2495"/>
                    </a:lnTo>
                    <a:lnTo>
                      <a:pt x="3621" y="2483"/>
                    </a:lnTo>
                    <a:lnTo>
                      <a:pt x="3621" y="2476"/>
                    </a:lnTo>
                    <a:lnTo>
                      <a:pt x="3621" y="2466"/>
                    </a:lnTo>
                    <a:lnTo>
                      <a:pt x="3621" y="2223"/>
                    </a:lnTo>
                    <a:lnTo>
                      <a:pt x="3621" y="2177"/>
                    </a:lnTo>
                    <a:lnTo>
                      <a:pt x="3621" y="2127"/>
                    </a:lnTo>
                    <a:lnTo>
                      <a:pt x="3621" y="2071"/>
                    </a:lnTo>
                    <a:lnTo>
                      <a:pt x="3621" y="2012"/>
                    </a:lnTo>
                    <a:lnTo>
                      <a:pt x="3621" y="1945"/>
                    </a:lnTo>
                    <a:lnTo>
                      <a:pt x="3621" y="1873"/>
                    </a:lnTo>
                    <a:lnTo>
                      <a:pt x="3621" y="1191"/>
                    </a:lnTo>
                    <a:lnTo>
                      <a:pt x="3621" y="1064"/>
                    </a:lnTo>
                    <a:lnTo>
                      <a:pt x="3621" y="930"/>
                    </a:lnTo>
                    <a:lnTo>
                      <a:pt x="3621" y="788"/>
                    </a:lnTo>
                    <a:lnTo>
                      <a:pt x="3621" y="637"/>
                    </a:lnTo>
                    <a:lnTo>
                      <a:pt x="3621" y="479"/>
                    </a:lnTo>
                    <a:lnTo>
                      <a:pt x="3621" y="310"/>
                    </a:lnTo>
                    <a:lnTo>
                      <a:pt x="3619" y="286"/>
                    </a:lnTo>
                    <a:lnTo>
                      <a:pt x="3611" y="264"/>
                    </a:lnTo>
                    <a:lnTo>
                      <a:pt x="3598" y="246"/>
                    </a:lnTo>
                    <a:lnTo>
                      <a:pt x="3583" y="229"/>
                    </a:lnTo>
                    <a:lnTo>
                      <a:pt x="3563" y="218"/>
                    </a:lnTo>
                    <a:lnTo>
                      <a:pt x="3542" y="211"/>
                    </a:lnTo>
                    <a:lnTo>
                      <a:pt x="3519" y="208"/>
                    </a:lnTo>
                    <a:lnTo>
                      <a:pt x="3519" y="208"/>
                    </a:lnTo>
                    <a:lnTo>
                      <a:pt x="3518" y="208"/>
                    </a:lnTo>
                    <a:lnTo>
                      <a:pt x="3517" y="208"/>
                    </a:lnTo>
                    <a:lnTo>
                      <a:pt x="3007" y="208"/>
                    </a:lnTo>
                    <a:lnTo>
                      <a:pt x="2943" y="208"/>
                    </a:lnTo>
                    <a:lnTo>
                      <a:pt x="2875" y="208"/>
                    </a:lnTo>
                    <a:lnTo>
                      <a:pt x="2800" y="208"/>
                    </a:lnTo>
                    <a:lnTo>
                      <a:pt x="2544" y="208"/>
                    </a:lnTo>
                    <a:lnTo>
                      <a:pt x="2446" y="208"/>
                    </a:lnTo>
                    <a:lnTo>
                      <a:pt x="1722" y="208"/>
                    </a:lnTo>
                    <a:lnTo>
                      <a:pt x="1577" y="208"/>
                    </a:lnTo>
                    <a:lnTo>
                      <a:pt x="1423" y="208"/>
                    </a:lnTo>
                    <a:lnTo>
                      <a:pt x="1262" y="208"/>
                    </a:lnTo>
                    <a:lnTo>
                      <a:pt x="1093" y="208"/>
                    </a:lnTo>
                    <a:lnTo>
                      <a:pt x="915" y="208"/>
                    </a:lnTo>
                    <a:close/>
                    <a:moveTo>
                      <a:pt x="131" y="0"/>
                    </a:moveTo>
                    <a:lnTo>
                      <a:pt x="197" y="0"/>
                    </a:lnTo>
                    <a:lnTo>
                      <a:pt x="214" y="0"/>
                    </a:lnTo>
                    <a:lnTo>
                      <a:pt x="233" y="0"/>
                    </a:lnTo>
                    <a:lnTo>
                      <a:pt x="374" y="0"/>
                    </a:lnTo>
                    <a:lnTo>
                      <a:pt x="412" y="0"/>
                    </a:lnTo>
                    <a:lnTo>
                      <a:pt x="456" y="0"/>
                    </a:lnTo>
                    <a:lnTo>
                      <a:pt x="800" y="0"/>
                    </a:lnTo>
                    <a:lnTo>
                      <a:pt x="874" y="0"/>
                    </a:lnTo>
                    <a:lnTo>
                      <a:pt x="954" y="0"/>
                    </a:lnTo>
                    <a:lnTo>
                      <a:pt x="1727" y="0"/>
                    </a:lnTo>
                    <a:lnTo>
                      <a:pt x="1805" y="0"/>
                    </a:lnTo>
                    <a:lnTo>
                      <a:pt x="1886" y="0"/>
                    </a:lnTo>
                    <a:lnTo>
                      <a:pt x="1997" y="0"/>
                    </a:lnTo>
                    <a:lnTo>
                      <a:pt x="2083" y="0"/>
                    </a:lnTo>
                    <a:lnTo>
                      <a:pt x="2234" y="0"/>
                    </a:lnTo>
                    <a:lnTo>
                      <a:pt x="3720" y="0"/>
                    </a:lnTo>
                    <a:lnTo>
                      <a:pt x="3748" y="2"/>
                    </a:lnTo>
                    <a:lnTo>
                      <a:pt x="3774" y="11"/>
                    </a:lnTo>
                    <a:lnTo>
                      <a:pt x="3796" y="24"/>
                    </a:lnTo>
                    <a:lnTo>
                      <a:pt x="3815" y="43"/>
                    </a:lnTo>
                    <a:lnTo>
                      <a:pt x="3830" y="65"/>
                    </a:lnTo>
                    <a:lnTo>
                      <a:pt x="3839" y="89"/>
                    </a:lnTo>
                    <a:lnTo>
                      <a:pt x="3843" y="117"/>
                    </a:lnTo>
                    <a:lnTo>
                      <a:pt x="3843" y="117"/>
                    </a:lnTo>
                    <a:lnTo>
                      <a:pt x="3843" y="117"/>
                    </a:lnTo>
                    <a:lnTo>
                      <a:pt x="3843" y="119"/>
                    </a:lnTo>
                    <a:lnTo>
                      <a:pt x="3843" y="120"/>
                    </a:lnTo>
                    <a:lnTo>
                      <a:pt x="3843" y="122"/>
                    </a:lnTo>
                    <a:lnTo>
                      <a:pt x="3843" y="124"/>
                    </a:lnTo>
                    <a:lnTo>
                      <a:pt x="3843" y="127"/>
                    </a:lnTo>
                    <a:lnTo>
                      <a:pt x="3843" y="130"/>
                    </a:lnTo>
                    <a:lnTo>
                      <a:pt x="3843" y="136"/>
                    </a:lnTo>
                    <a:lnTo>
                      <a:pt x="3843" y="144"/>
                    </a:lnTo>
                    <a:lnTo>
                      <a:pt x="3843" y="150"/>
                    </a:lnTo>
                    <a:lnTo>
                      <a:pt x="3843" y="243"/>
                    </a:lnTo>
                    <a:lnTo>
                      <a:pt x="3843" y="270"/>
                    </a:lnTo>
                    <a:lnTo>
                      <a:pt x="3843" y="300"/>
                    </a:lnTo>
                    <a:lnTo>
                      <a:pt x="3843" y="335"/>
                    </a:lnTo>
                    <a:lnTo>
                      <a:pt x="3843" y="373"/>
                    </a:lnTo>
                    <a:lnTo>
                      <a:pt x="3843" y="416"/>
                    </a:lnTo>
                    <a:lnTo>
                      <a:pt x="3843" y="571"/>
                    </a:lnTo>
                    <a:lnTo>
                      <a:pt x="3843" y="633"/>
                    </a:lnTo>
                    <a:lnTo>
                      <a:pt x="3843" y="700"/>
                    </a:lnTo>
                    <a:lnTo>
                      <a:pt x="3843" y="774"/>
                    </a:lnTo>
                    <a:lnTo>
                      <a:pt x="3843" y="852"/>
                    </a:lnTo>
                    <a:lnTo>
                      <a:pt x="3843" y="937"/>
                    </a:lnTo>
                    <a:lnTo>
                      <a:pt x="3843" y="1274"/>
                    </a:lnTo>
                    <a:lnTo>
                      <a:pt x="3843" y="1340"/>
                    </a:lnTo>
                    <a:lnTo>
                      <a:pt x="3843" y="1458"/>
                    </a:lnTo>
                    <a:lnTo>
                      <a:pt x="3843" y="1584"/>
                    </a:lnTo>
                    <a:lnTo>
                      <a:pt x="3843" y="1664"/>
                    </a:lnTo>
                    <a:lnTo>
                      <a:pt x="3843" y="1774"/>
                    </a:lnTo>
                    <a:lnTo>
                      <a:pt x="3843" y="1858"/>
                    </a:lnTo>
                    <a:lnTo>
                      <a:pt x="3843" y="2007"/>
                    </a:lnTo>
                    <a:lnTo>
                      <a:pt x="3843" y="2164"/>
                    </a:lnTo>
                    <a:lnTo>
                      <a:pt x="3843" y="2331"/>
                    </a:lnTo>
                    <a:lnTo>
                      <a:pt x="3843" y="2505"/>
                    </a:lnTo>
                    <a:lnTo>
                      <a:pt x="3843" y="2689"/>
                    </a:lnTo>
                    <a:lnTo>
                      <a:pt x="3839" y="2717"/>
                    </a:lnTo>
                    <a:lnTo>
                      <a:pt x="3830" y="2743"/>
                    </a:lnTo>
                    <a:lnTo>
                      <a:pt x="3815" y="2765"/>
                    </a:lnTo>
                    <a:lnTo>
                      <a:pt x="3796" y="2783"/>
                    </a:lnTo>
                    <a:lnTo>
                      <a:pt x="3774" y="2799"/>
                    </a:lnTo>
                    <a:lnTo>
                      <a:pt x="3748" y="2808"/>
                    </a:lnTo>
                    <a:lnTo>
                      <a:pt x="3720" y="2811"/>
                    </a:lnTo>
                    <a:lnTo>
                      <a:pt x="3720" y="2811"/>
                    </a:lnTo>
                    <a:lnTo>
                      <a:pt x="3719" y="2811"/>
                    </a:lnTo>
                    <a:lnTo>
                      <a:pt x="3718" y="2811"/>
                    </a:lnTo>
                    <a:lnTo>
                      <a:pt x="3717" y="2811"/>
                    </a:lnTo>
                    <a:lnTo>
                      <a:pt x="3713" y="2811"/>
                    </a:lnTo>
                    <a:lnTo>
                      <a:pt x="3708" y="2811"/>
                    </a:lnTo>
                    <a:lnTo>
                      <a:pt x="3701" y="2811"/>
                    </a:lnTo>
                    <a:lnTo>
                      <a:pt x="3679" y="2811"/>
                    </a:lnTo>
                    <a:lnTo>
                      <a:pt x="3663" y="2811"/>
                    </a:lnTo>
                    <a:lnTo>
                      <a:pt x="3645" y="2811"/>
                    </a:lnTo>
                    <a:lnTo>
                      <a:pt x="3566" y="2811"/>
                    </a:lnTo>
                    <a:lnTo>
                      <a:pt x="3529" y="2811"/>
                    </a:lnTo>
                    <a:lnTo>
                      <a:pt x="3489" y="2811"/>
                    </a:lnTo>
                    <a:lnTo>
                      <a:pt x="3442" y="2811"/>
                    </a:lnTo>
                    <a:lnTo>
                      <a:pt x="3391" y="2811"/>
                    </a:lnTo>
                    <a:lnTo>
                      <a:pt x="3332" y="2811"/>
                    </a:lnTo>
                    <a:lnTo>
                      <a:pt x="3268" y="2811"/>
                    </a:lnTo>
                    <a:lnTo>
                      <a:pt x="3196" y="2811"/>
                    </a:lnTo>
                    <a:lnTo>
                      <a:pt x="3118" y="2811"/>
                    </a:lnTo>
                    <a:lnTo>
                      <a:pt x="3032" y="2811"/>
                    </a:lnTo>
                    <a:lnTo>
                      <a:pt x="2939" y="2811"/>
                    </a:lnTo>
                    <a:lnTo>
                      <a:pt x="2837" y="2811"/>
                    </a:lnTo>
                    <a:lnTo>
                      <a:pt x="2727" y="2811"/>
                    </a:lnTo>
                    <a:lnTo>
                      <a:pt x="2608" y="2811"/>
                    </a:lnTo>
                    <a:lnTo>
                      <a:pt x="2608" y="2815"/>
                    </a:lnTo>
                    <a:lnTo>
                      <a:pt x="2609" y="2827"/>
                    </a:lnTo>
                    <a:lnTo>
                      <a:pt x="2610" y="2843"/>
                    </a:lnTo>
                    <a:lnTo>
                      <a:pt x="2612" y="2865"/>
                    </a:lnTo>
                    <a:lnTo>
                      <a:pt x="2615" y="2888"/>
                    </a:lnTo>
                    <a:lnTo>
                      <a:pt x="2618" y="2914"/>
                    </a:lnTo>
                    <a:lnTo>
                      <a:pt x="2622" y="2938"/>
                    </a:lnTo>
                    <a:lnTo>
                      <a:pt x="2626" y="2962"/>
                    </a:lnTo>
                    <a:lnTo>
                      <a:pt x="2632" y="2982"/>
                    </a:lnTo>
                    <a:lnTo>
                      <a:pt x="2639" y="2996"/>
                    </a:lnTo>
                    <a:lnTo>
                      <a:pt x="2655" y="3017"/>
                    </a:lnTo>
                    <a:lnTo>
                      <a:pt x="2674" y="3032"/>
                    </a:lnTo>
                    <a:lnTo>
                      <a:pt x="2694" y="3043"/>
                    </a:lnTo>
                    <a:lnTo>
                      <a:pt x="2716" y="3052"/>
                    </a:lnTo>
                    <a:lnTo>
                      <a:pt x="2738" y="3059"/>
                    </a:lnTo>
                    <a:lnTo>
                      <a:pt x="2760" y="3062"/>
                    </a:lnTo>
                    <a:lnTo>
                      <a:pt x="2781" y="3064"/>
                    </a:lnTo>
                    <a:lnTo>
                      <a:pt x="2800" y="3066"/>
                    </a:lnTo>
                    <a:lnTo>
                      <a:pt x="2816" y="3066"/>
                    </a:lnTo>
                    <a:lnTo>
                      <a:pt x="2829" y="3067"/>
                    </a:lnTo>
                    <a:lnTo>
                      <a:pt x="2829" y="3067"/>
                    </a:lnTo>
                    <a:lnTo>
                      <a:pt x="2829" y="3067"/>
                    </a:lnTo>
                    <a:lnTo>
                      <a:pt x="2830" y="3067"/>
                    </a:lnTo>
                    <a:lnTo>
                      <a:pt x="2833" y="3067"/>
                    </a:lnTo>
                    <a:lnTo>
                      <a:pt x="2836" y="3067"/>
                    </a:lnTo>
                    <a:lnTo>
                      <a:pt x="2857" y="3070"/>
                    </a:lnTo>
                    <a:lnTo>
                      <a:pt x="2877" y="3078"/>
                    </a:lnTo>
                    <a:lnTo>
                      <a:pt x="2894" y="3092"/>
                    </a:lnTo>
                    <a:lnTo>
                      <a:pt x="2907" y="3110"/>
                    </a:lnTo>
                    <a:lnTo>
                      <a:pt x="2916" y="3131"/>
                    </a:lnTo>
                    <a:lnTo>
                      <a:pt x="2919" y="3153"/>
                    </a:lnTo>
                    <a:lnTo>
                      <a:pt x="2919" y="3154"/>
                    </a:lnTo>
                    <a:lnTo>
                      <a:pt x="2919" y="3155"/>
                    </a:lnTo>
                    <a:lnTo>
                      <a:pt x="2919" y="3167"/>
                    </a:lnTo>
                    <a:lnTo>
                      <a:pt x="2919" y="3181"/>
                    </a:lnTo>
                    <a:lnTo>
                      <a:pt x="2919" y="3201"/>
                    </a:lnTo>
                    <a:lnTo>
                      <a:pt x="2916" y="3224"/>
                    </a:lnTo>
                    <a:lnTo>
                      <a:pt x="2907" y="3244"/>
                    </a:lnTo>
                    <a:lnTo>
                      <a:pt x="2894" y="3261"/>
                    </a:lnTo>
                    <a:lnTo>
                      <a:pt x="2877" y="3275"/>
                    </a:lnTo>
                    <a:lnTo>
                      <a:pt x="2857" y="3285"/>
                    </a:lnTo>
                    <a:lnTo>
                      <a:pt x="2836" y="3287"/>
                    </a:lnTo>
                    <a:lnTo>
                      <a:pt x="2836" y="3287"/>
                    </a:lnTo>
                    <a:lnTo>
                      <a:pt x="2836" y="3287"/>
                    </a:lnTo>
                    <a:lnTo>
                      <a:pt x="2813" y="3287"/>
                    </a:lnTo>
                    <a:lnTo>
                      <a:pt x="2803" y="3287"/>
                    </a:lnTo>
                    <a:lnTo>
                      <a:pt x="2791" y="3287"/>
                    </a:lnTo>
                    <a:lnTo>
                      <a:pt x="2285" y="3287"/>
                    </a:lnTo>
                    <a:lnTo>
                      <a:pt x="2209" y="3287"/>
                    </a:lnTo>
                    <a:lnTo>
                      <a:pt x="2128" y="3287"/>
                    </a:lnTo>
                    <a:lnTo>
                      <a:pt x="2039" y="3287"/>
                    </a:lnTo>
                    <a:lnTo>
                      <a:pt x="1292" y="3287"/>
                    </a:lnTo>
                    <a:lnTo>
                      <a:pt x="1206" y="3287"/>
                    </a:lnTo>
                    <a:lnTo>
                      <a:pt x="1053" y="3287"/>
                    </a:lnTo>
                    <a:lnTo>
                      <a:pt x="1031" y="3285"/>
                    </a:lnTo>
                    <a:lnTo>
                      <a:pt x="1010" y="3275"/>
                    </a:lnTo>
                    <a:lnTo>
                      <a:pt x="994" y="3261"/>
                    </a:lnTo>
                    <a:lnTo>
                      <a:pt x="981" y="3244"/>
                    </a:lnTo>
                    <a:lnTo>
                      <a:pt x="973" y="3224"/>
                    </a:lnTo>
                    <a:lnTo>
                      <a:pt x="971" y="3201"/>
                    </a:lnTo>
                    <a:lnTo>
                      <a:pt x="971" y="3201"/>
                    </a:lnTo>
                    <a:lnTo>
                      <a:pt x="971" y="3198"/>
                    </a:lnTo>
                    <a:lnTo>
                      <a:pt x="971" y="3187"/>
                    </a:lnTo>
                    <a:lnTo>
                      <a:pt x="971" y="3173"/>
                    </a:lnTo>
                    <a:lnTo>
                      <a:pt x="971" y="3153"/>
                    </a:lnTo>
                    <a:lnTo>
                      <a:pt x="973" y="3131"/>
                    </a:lnTo>
                    <a:lnTo>
                      <a:pt x="981" y="3110"/>
                    </a:lnTo>
                    <a:lnTo>
                      <a:pt x="994" y="3092"/>
                    </a:lnTo>
                    <a:lnTo>
                      <a:pt x="1010" y="3078"/>
                    </a:lnTo>
                    <a:lnTo>
                      <a:pt x="1031" y="3070"/>
                    </a:lnTo>
                    <a:lnTo>
                      <a:pt x="1053" y="3067"/>
                    </a:lnTo>
                    <a:lnTo>
                      <a:pt x="1073" y="3067"/>
                    </a:lnTo>
                    <a:lnTo>
                      <a:pt x="1093" y="3062"/>
                    </a:lnTo>
                    <a:lnTo>
                      <a:pt x="1114" y="3059"/>
                    </a:lnTo>
                    <a:lnTo>
                      <a:pt x="1135" y="3056"/>
                    </a:lnTo>
                    <a:lnTo>
                      <a:pt x="1157" y="3054"/>
                    </a:lnTo>
                    <a:lnTo>
                      <a:pt x="1179" y="3050"/>
                    </a:lnTo>
                    <a:lnTo>
                      <a:pt x="1201" y="3046"/>
                    </a:lnTo>
                    <a:lnTo>
                      <a:pt x="1222" y="3039"/>
                    </a:lnTo>
                    <a:lnTo>
                      <a:pt x="1241" y="3028"/>
                    </a:lnTo>
                    <a:lnTo>
                      <a:pt x="1258" y="3014"/>
                    </a:lnTo>
                    <a:lnTo>
                      <a:pt x="1274" y="2996"/>
                    </a:lnTo>
                    <a:lnTo>
                      <a:pt x="1282" y="2982"/>
                    </a:lnTo>
                    <a:lnTo>
                      <a:pt x="1289" y="2962"/>
                    </a:lnTo>
                    <a:lnTo>
                      <a:pt x="1293" y="2938"/>
                    </a:lnTo>
                    <a:lnTo>
                      <a:pt x="1298" y="2914"/>
                    </a:lnTo>
                    <a:lnTo>
                      <a:pt x="1303" y="2888"/>
                    </a:lnTo>
                    <a:lnTo>
                      <a:pt x="1305" y="2865"/>
                    </a:lnTo>
                    <a:lnTo>
                      <a:pt x="1307" y="2843"/>
                    </a:lnTo>
                    <a:lnTo>
                      <a:pt x="1309" y="2827"/>
                    </a:lnTo>
                    <a:lnTo>
                      <a:pt x="1310" y="2815"/>
                    </a:lnTo>
                    <a:lnTo>
                      <a:pt x="1310" y="2811"/>
                    </a:lnTo>
                    <a:lnTo>
                      <a:pt x="1310" y="2811"/>
                    </a:lnTo>
                    <a:lnTo>
                      <a:pt x="1310" y="2811"/>
                    </a:lnTo>
                    <a:lnTo>
                      <a:pt x="1303" y="2811"/>
                    </a:lnTo>
                    <a:lnTo>
                      <a:pt x="1298" y="2811"/>
                    </a:lnTo>
                    <a:lnTo>
                      <a:pt x="1291" y="2811"/>
                    </a:lnTo>
                    <a:lnTo>
                      <a:pt x="1282" y="2811"/>
                    </a:lnTo>
                    <a:lnTo>
                      <a:pt x="1270" y="2811"/>
                    </a:lnTo>
                    <a:lnTo>
                      <a:pt x="1239" y="2811"/>
                    </a:lnTo>
                    <a:lnTo>
                      <a:pt x="1216" y="2811"/>
                    </a:lnTo>
                    <a:lnTo>
                      <a:pt x="1192" y="2811"/>
                    </a:lnTo>
                    <a:lnTo>
                      <a:pt x="1162" y="2811"/>
                    </a:lnTo>
                    <a:lnTo>
                      <a:pt x="1128" y="2811"/>
                    </a:lnTo>
                    <a:lnTo>
                      <a:pt x="1089" y="2811"/>
                    </a:lnTo>
                    <a:lnTo>
                      <a:pt x="996" y="2811"/>
                    </a:lnTo>
                    <a:lnTo>
                      <a:pt x="941" y="2811"/>
                    </a:lnTo>
                    <a:lnTo>
                      <a:pt x="880" y="2811"/>
                    </a:lnTo>
                    <a:lnTo>
                      <a:pt x="812" y="2811"/>
                    </a:lnTo>
                    <a:lnTo>
                      <a:pt x="738" y="2811"/>
                    </a:lnTo>
                    <a:lnTo>
                      <a:pt x="656" y="2811"/>
                    </a:lnTo>
                    <a:lnTo>
                      <a:pt x="366" y="2811"/>
                    </a:lnTo>
                    <a:lnTo>
                      <a:pt x="252" y="2811"/>
                    </a:lnTo>
                    <a:lnTo>
                      <a:pt x="131" y="2811"/>
                    </a:lnTo>
                    <a:lnTo>
                      <a:pt x="100" y="2808"/>
                    </a:lnTo>
                    <a:lnTo>
                      <a:pt x="73" y="2799"/>
                    </a:lnTo>
                    <a:lnTo>
                      <a:pt x="49" y="2783"/>
                    </a:lnTo>
                    <a:lnTo>
                      <a:pt x="29" y="2765"/>
                    </a:lnTo>
                    <a:lnTo>
                      <a:pt x="13" y="2743"/>
                    </a:lnTo>
                    <a:lnTo>
                      <a:pt x="3" y="2717"/>
                    </a:lnTo>
                    <a:lnTo>
                      <a:pt x="0" y="2689"/>
                    </a:lnTo>
                    <a:lnTo>
                      <a:pt x="0" y="2689"/>
                    </a:lnTo>
                    <a:lnTo>
                      <a:pt x="0" y="2689"/>
                    </a:lnTo>
                    <a:lnTo>
                      <a:pt x="0" y="2688"/>
                    </a:lnTo>
                    <a:lnTo>
                      <a:pt x="0" y="2687"/>
                    </a:lnTo>
                    <a:lnTo>
                      <a:pt x="0" y="2684"/>
                    </a:lnTo>
                    <a:lnTo>
                      <a:pt x="0" y="2682"/>
                    </a:lnTo>
                    <a:lnTo>
                      <a:pt x="0" y="2678"/>
                    </a:lnTo>
                    <a:lnTo>
                      <a:pt x="0" y="2676"/>
                    </a:lnTo>
                    <a:lnTo>
                      <a:pt x="0" y="2670"/>
                    </a:lnTo>
                    <a:lnTo>
                      <a:pt x="0" y="2662"/>
                    </a:lnTo>
                    <a:lnTo>
                      <a:pt x="0" y="2655"/>
                    </a:lnTo>
                    <a:lnTo>
                      <a:pt x="0" y="2563"/>
                    </a:lnTo>
                    <a:lnTo>
                      <a:pt x="0" y="2536"/>
                    </a:lnTo>
                    <a:lnTo>
                      <a:pt x="0" y="2506"/>
                    </a:lnTo>
                    <a:lnTo>
                      <a:pt x="0" y="2471"/>
                    </a:lnTo>
                    <a:lnTo>
                      <a:pt x="0" y="2433"/>
                    </a:lnTo>
                    <a:lnTo>
                      <a:pt x="0" y="2391"/>
                    </a:lnTo>
                    <a:lnTo>
                      <a:pt x="0" y="2234"/>
                    </a:lnTo>
                    <a:lnTo>
                      <a:pt x="0" y="2173"/>
                    </a:lnTo>
                    <a:lnTo>
                      <a:pt x="0" y="2106"/>
                    </a:lnTo>
                    <a:lnTo>
                      <a:pt x="0" y="2033"/>
                    </a:lnTo>
                    <a:lnTo>
                      <a:pt x="0" y="1955"/>
                    </a:lnTo>
                    <a:lnTo>
                      <a:pt x="0" y="1869"/>
                    </a:lnTo>
                    <a:lnTo>
                      <a:pt x="0" y="1533"/>
                    </a:lnTo>
                    <a:lnTo>
                      <a:pt x="0" y="1466"/>
                    </a:lnTo>
                    <a:lnTo>
                      <a:pt x="0" y="1348"/>
                    </a:lnTo>
                    <a:lnTo>
                      <a:pt x="0" y="1223"/>
                    </a:lnTo>
                    <a:lnTo>
                      <a:pt x="0" y="1142"/>
                    </a:lnTo>
                    <a:lnTo>
                      <a:pt x="0" y="1032"/>
                    </a:lnTo>
                    <a:lnTo>
                      <a:pt x="0" y="949"/>
                    </a:lnTo>
                    <a:lnTo>
                      <a:pt x="0" y="799"/>
                    </a:lnTo>
                    <a:lnTo>
                      <a:pt x="0" y="642"/>
                    </a:lnTo>
                    <a:lnTo>
                      <a:pt x="0" y="475"/>
                    </a:lnTo>
                    <a:lnTo>
                      <a:pt x="0" y="300"/>
                    </a:lnTo>
                    <a:lnTo>
                      <a:pt x="0" y="117"/>
                    </a:lnTo>
                    <a:lnTo>
                      <a:pt x="3" y="89"/>
                    </a:lnTo>
                    <a:lnTo>
                      <a:pt x="13" y="65"/>
                    </a:lnTo>
                    <a:lnTo>
                      <a:pt x="29" y="43"/>
                    </a:lnTo>
                    <a:lnTo>
                      <a:pt x="49" y="24"/>
                    </a:lnTo>
                    <a:lnTo>
                      <a:pt x="73" y="11"/>
                    </a:lnTo>
                    <a:lnTo>
                      <a:pt x="100" y="2"/>
                    </a:lnTo>
                    <a:lnTo>
                      <a:pt x="131" y="0"/>
                    </a:lnTo>
                    <a:close/>
                  </a:path>
                </a:pathLst>
              </a:custGeom>
              <a:solidFill>
                <a:srgbClr val="3D58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85" name="Freeform 7"/>
              <p:cNvSpPr>
                <a:spLocks noEditPoints="1"/>
              </p:cNvSpPr>
              <p:nvPr/>
            </p:nvSpPr>
            <p:spPr bwMode="auto">
              <a:xfrm>
                <a:off x="1388" y="2922"/>
                <a:ext cx="288" cy="403"/>
              </a:xfrm>
              <a:custGeom>
                <a:avLst/>
                <a:gdLst>
                  <a:gd name="T0" fmla="*/ 949 w 1154"/>
                  <a:gd name="T1" fmla="*/ 378 h 1612"/>
                  <a:gd name="T2" fmla="*/ 1023 w 1154"/>
                  <a:gd name="T3" fmla="*/ 414 h 1612"/>
                  <a:gd name="T4" fmla="*/ 1080 w 1154"/>
                  <a:gd name="T5" fmla="*/ 463 h 1612"/>
                  <a:gd name="T6" fmla="*/ 1113 w 1154"/>
                  <a:gd name="T7" fmla="*/ 503 h 1612"/>
                  <a:gd name="T8" fmla="*/ 1095 w 1154"/>
                  <a:gd name="T9" fmla="*/ 527 h 1612"/>
                  <a:gd name="T10" fmla="*/ 1035 w 1154"/>
                  <a:gd name="T11" fmla="*/ 586 h 1612"/>
                  <a:gd name="T12" fmla="*/ 956 w 1154"/>
                  <a:gd name="T13" fmla="*/ 696 h 1612"/>
                  <a:gd name="T14" fmla="*/ 923 w 1154"/>
                  <a:gd name="T15" fmla="*/ 803 h 1612"/>
                  <a:gd name="T16" fmla="*/ 920 w 1154"/>
                  <a:gd name="T17" fmla="*/ 919 h 1612"/>
                  <a:gd name="T18" fmla="*/ 953 w 1154"/>
                  <a:gd name="T19" fmla="*/ 1025 h 1612"/>
                  <a:gd name="T20" fmla="*/ 1012 w 1154"/>
                  <a:gd name="T21" fmla="*/ 1103 h 1612"/>
                  <a:gd name="T22" fmla="*/ 1071 w 1154"/>
                  <a:gd name="T23" fmla="*/ 1158 h 1612"/>
                  <a:gd name="T24" fmla="*/ 1125 w 1154"/>
                  <a:gd name="T25" fmla="*/ 1194 h 1612"/>
                  <a:gd name="T26" fmla="*/ 1154 w 1154"/>
                  <a:gd name="T27" fmla="*/ 1209 h 1612"/>
                  <a:gd name="T28" fmla="*/ 1139 w 1154"/>
                  <a:gd name="T29" fmla="*/ 1247 h 1612"/>
                  <a:gd name="T30" fmla="*/ 1106 w 1154"/>
                  <a:gd name="T31" fmla="*/ 1323 h 1612"/>
                  <a:gd name="T32" fmla="*/ 1051 w 1154"/>
                  <a:gd name="T33" fmla="*/ 1427 h 1612"/>
                  <a:gd name="T34" fmla="*/ 954 w 1154"/>
                  <a:gd name="T35" fmla="*/ 1560 h 1612"/>
                  <a:gd name="T36" fmla="*/ 897 w 1154"/>
                  <a:gd name="T37" fmla="*/ 1604 h 1612"/>
                  <a:gd name="T38" fmla="*/ 837 w 1154"/>
                  <a:gd name="T39" fmla="*/ 1610 h 1612"/>
                  <a:gd name="T40" fmla="*/ 784 w 1154"/>
                  <a:gd name="T41" fmla="*/ 1599 h 1612"/>
                  <a:gd name="T42" fmla="*/ 728 w 1154"/>
                  <a:gd name="T43" fmla="*/ 1574 h 1612"/>
                  <a:gd name="T44" fmla="*/ 693 w 1154"/>
                  <a:gd name="T45" fmla="*/ 1552 h 1612"/>
                  <a:gd name="T46" fmla="*/ 634 w 1154"/>
                  <a:gd name="T47" fmla="*/ 1534 h 1612"/>
                  <a:gd name="T48" fmla="*/ 550 w 1154"/>
                  <a:gd name="T49" fmla="*/ 1538 h 1612"/>
                  <a:gd name="T50" fmla="*/ 469 w 1154"/>
                  <a:gd name="T51" fmla="*/ 1566 h 1612"/>
                  <a:gd name="T52" fmla="*/ 419 w 1154"/>
                  <a:gd name="T53" fmla="*/ 1592 h 1612"/>
                  <a:gd name="T54" fmla="*/ 367 w 1154"/>
                  <a:gd name="T55" fmla="*/ 1603 h 1612"/>
                  <a:gd name="T56" fmla="*/ 296 w 1154"/>
                  <a:gd name="T57" fmla="*/ 1580 h 1612"/>
                  <a:gd name="T58" fmla="*/ 232 w 1154"/>
                  <a:gd name="T59" fmla="*/ 1528 h 1612"/>
                  <a:gd name="T60" fmla="*/ 159 w 1154"/>
                  <a:gd name="T61" fmla="*/ 1435 h 1612"/>
                  <a:gd name="T62" fmla="*/ 92 w 1154"/>
                  <a:gd name="T63" fmla="*/ 1315 h 1612"/>
                  <a:gd name="T64" fmla="*/ 39 w 1154"/>
                  <a:gd name="T65" fmla="*/ 1168 h 1612"/>
                  <a:gd name="T66" fmla="*/ 1 w 1154"/>
                  <a:gd name="T67" fmla="*/ 934 h 1612"/>
                  <a:gd name="T68" fmla="*/ 20 w 1154"/>
                  <a:gd name="T69" fmla="*/ 708 h 1612"/>
                  <a:gd name="T70" fmla="*/ 70 w 1154"/>
                  <a:gd name="T71" fmla="*/ 581 h 1612"/>
                  <a:gd name="T72" fmla="*/ 125 w 1154"/>
                  <a:gd name="T73" fmla="*/ 505 h 1612"/>
                  <a:gd name="T74" fmla="*/ 206 w 1154"/>
                  <a:gd name="T75" fmla="*/ 431 h 1612"/>
                  <a:gd name="T76" fmla="*/ 286 w 1154"/>
                  <a:gd name="T77" fmla="*/ 392 h 1612"/>
                  <a:gd name="T78" fmla="*/ 378 w 1154"/>
                  <a:gd name="T79" fmla="*/ 386 h 1612"/>
                  <a:gd name="T80" fmla="*/ 480 w 1154"/>
                  <a:gd name="T81" fmla="*/ 419 h 1612"/>
                  <a:gd name="T82" fmla="*/ 569 w 1154"/>
                  <a:gd name="T83" fmla="*/ 448 h 1612"/>
                  <a:gd name="T84" fmla="*/ 640 w 1154"/>
                  <a:gd name="T85" fmla="*/ 443 h 1612"/>
                  <a:gd name="T86" fmla="*/ 693 w 1154"/>
                  <a:gd name="T87" fmla="*/ 420 h 1612"/>
                  <a:gd name="T88" fmla="*/ 783 w 1154"/>
                  <a:gd name="T89" fmla="*/ 386 h 1612"/>
                  <a:gd name="T90" fmla="*/ 887 w 1154"/>
                  <a:gd name="T91" fmla="*/ 368 h 1612"/>
                  <a:gd name="T92" fmla="*/ 882 w 1154"/>
                  <a:gd name="T93" fmla="*/ 36 h 1612"/>
                  <a:gd name="T94" fmla="*/ 867 w 1154"/>
                  <a:gd name="T95" fmla="*/ 121 h 1612"/>
                  <a:gd name="T96" fmla="*/ 847 w 1154"/>
                  <a:gd name="T97" fmla="*/ 175 h 1612"/>
                  <a:gd name="T98" fmla="*/ 805 w 1154"/>
                  <a:gd name="T99" fmla="*/ 232 h 1612"/>
                  <a:gd name="T100" fmla="*/ 742 w 1154"/>
                  <a:gd name="T101" fmla="*/ 286 h 1612"/>
                  <a:gd name="T102" fmla="*/ 673 w 1154"/>
                  <a:gd name="T103" fmla="*/ 324 h 1612"/>
                  <a:gd name="T104" fmla="*/ 571 w 1154"/>
                  <a:gd name="T105" fmla="*/ 347 h 1612"/>
                  <a:gd name="T106" fmla="*/ 565 w 1154"/>
                  <a:gd name="T107" fmla="*/ 349 h 1612"/>
                  <a:gd name="T108" fmla="*/ 558 w 1154"/>
                  <a:gd name="T109" fmla="*/ 333 h 1612"/>
                  <a:gd name="T110" fmla="*/ 554 w 1154"/>
                  <a:gd name="T111" fmla="*/ 287 h 1612"/>
                  <a:gd name="T112" fmla="*/ 580 w 1154"/>
                  <a:gd name="T113" fmla="*/ 225 h 1612"/>
                  <a:gd name="T114" fmla="*/ 625 w 1154"/>
                  <a:gd name="T115" fmla="*/ 159 h 1612"/>
                  <a:gd name="T116" fmla="*/ 668 w 1154"/>
                  <a:gd name="T117" fmla="*/ 107 h 1612"/>
                  <a:gd name="T118" fmla="*/ 760 w 1154"/>
                  <a:gd name="T119" fmla="*/ 40 h 1612"/>
                  <a:gd name="T120" fmla="*/ 821 w 1154"/>
                  <a:gd name="T121" fmla="*/ 18 h 1612"/>
                  <a:gd name="T122" fmla="*/ 882 w 1154"/>
                  <a:gd name="T123" fmla="*/ 0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54" h="1612">
                    <a:moveTo>
                      <a:pt x="887" y="368"/>
                    </a:moveTo>
                    <a:lnTo>
                      <a:pt x="918" y="372"/>
                    </a:lnTo>
                    <a:lnTo>
                      <a:pt x="949" y="378"/>
                    </a:lnTo>
                    <a:lnTo>
                      <a:pt x="973" y="386"/>
                    </a:lnTo>
                    <a:lnTo>
                      <a:pt x="1000" y="399"/>
                    </a:lnTo>
                    <a:lnTo>
                      <a:pt x="1023" y="414"/>
                    </a:lnTo>
                    <a:lnTo>
                      <a:pt x="1047" y="430"/>
                    </a:lnTo>
                    <a:lnTo>
                      <a:pt x="1064" y="445"/>
                    </a:lnTo>
                    <a:lnTo>
                      <a:pt x="1080" y="463"/>
                    </a:lnTo>
                    <a:lnTo>
                      <a:pt x="1094" y="478"/>
                    </a:lnTo>
                    <a:lnTo>
                      <a:pt x="1105" y="492"/>
                    </a:lnTo>
                    <a:lnTo>
                      <a:pt x="1113" y="503"/>
                    </a:lnTo>
                    <a:lnTo>
                      <a:pt x="1120" y="513"/>
                    </a:lnTo>
                    <a:lnTo>
                      <a:pt x="1108" y="519"/>
                    </a:lnTo>
                    <a:lnTo>
                      <a:pt x="1095" y="527"/>
                    </a:lnTo>
                    <a:lnTo>
                      <a:pt x="1082" y="537"/>
                    </a:lnTo>
                    <a:lnTo>
                      <a:pt x="1065" y="550"/>
                    </a:lnTo>
                    <a:lnTo>
                      <a:pt x="1035" y="586"/>
                    </a:lnTo>
                    <a:lnTo>
                      <a:pt x="1000" y="627"/>
                    </a:lnTo>
                    <a:lnTo>
                      <a:pt x="977" y="659"/>
                    </a:lnTo>
                    <a:lnTo>
                      <a:pt x="956" y="696"/>
                    </a:lnTo>
                    <a:lnTo>
                      <a:pt x="938" y="735"/>
                    </a:lnTo>
                    <a:lnTo>
                      <a:pt x="930" y="768"/>
                    </a:lnTo>
                    <a:lnTo>
                      <a:pt x="923" y="803"/>
                    </a:lnTo>
                    <a:lnTo>
                      <a:pt x="918" y="841"/>
                    </a:lnTo>
                    <a:lnTo>
                      <a:pt x="917" y="880"/>
                    </a:lnTo>
                    <a:lnTo>
                      <a:pt x="920" y="919"/>
                    </a:lnTo>
                    <a:lnTo>
                      <a:pt x="928" y="957"/>
                    </a:lnTo>
                    <a:lnTo>
                      <a:pt x="939" y="992"/>
                    </a:lnTo>
                    <a:lnTo>
                      <a:pt x="953" y="1025"/>
                    </a:lnTo>
                    <a:lnTo>
                      <a:pt x="971" y="1053"/>
                    </a:lnTo>
                    <a:lnTo>
                      <a:pt x="991" y="1080"/>
                    </a:lnTo>
                    <a:lnTo>
                      <a:pt x="1012" y="1103"/>
                    </a:lnTo>
                    <a:lnTo>
                      <a:pt x="1034" y="1122"/>
                    </a:lnTo>
                    <a:lnTo>
                      <a:pt x="1052" y="1141"/>
                    </a:lnTo>
                    <a:lnTo>
                      <a:pt x="1071" y="1158"/>
                    </a:lnTo>
                    <a:lnTo>
                      <a:pt x="1091" y="1172"/>
                    </a:lnTo>
                    <a:lnTo>
                      <a:pt x="1108" y="1182"/>
                    </a:lnTo>
                    <a:lnTo>
                      <a:pt x="1125" y="1194"/>
                    </a:lnTo>
                    <a:lnTo>
                      <a:pt x="1137" y="1201"/>
                    </a:lnTo>
                    <a:lnTo>
                      <a:pt x="1148" y="1205"/>
                    </a:lnTo>
                    <a:lnTo>
                      <a:pt x="1154" y="1209"/>
                    </a:lnTo>
                    <a:lnTo>
                      <a:pt x="1150" y="1218"/>
                    </a:lnTo>
                    <a:lnTo>
                      <a:pt x="1146" y="1230"/>
                    </a:lnTo>
                    <a:lnTo>
                      <a:pt x="1139" y="1247"/>
                    </a:lnTo>
                    <a:lnTo>
                      <a:pt x="1130" y="1268"/>
                    </a:lnTo>
                    <a:lnTo>
                      <a:pt x="1121" y="1293"/>
                    </a:lnTo>
                    <a:lnTo>
                      <a:pt x="1106" y="1323"/>
                    </a:lnTo>
                    <a:lnTo>
                      <a:pt x="1090" y="1357"/>
                    </a:lnTo>
                    <a:lnTo>
                      <a:pt x="1071" y="1393"/>
                    </a:lnTo>
                    <a:lnTo>
                      <a:pt x="1051" y="1427"/>
                    </a:lnTo>
                    <a:lnTo>
                      <a:pt x="1020" y="1477"/>
                    </a:lnTo>
                    <a:lnTo>
                      <a:pt x="987" y="1521"/>
                    </a:lnTo>
                    <a:lnTo>
                      <a:pt x="954" y="1560"/>
                    </a:lnTo>
                    <a:lnTo>
                      <a:pt x="935" y="1577"/>
                    </a:lnTo>
                    <a:lnTo>
                      <a:pt x="916" y="1592"/>
                    </a:lnTo>
                    <a:lnTo>
                      <a:pt x="897" y="1604"/>
                    </a:lnTo>
                    <a:lnTo>
                      <a:pt x="879" y="1611"/>
                    </a:lnTo>
                    <a:lnTo>
                      <a:pt x="860" y="1612"/>
                    </a:lnTo>
                    <a:lnTo>
                      <a:pt x="837" y="1610"/>
                    </a:lnTo>
                    <a:lnTo>
                      <a:pt x="816" y="1606"/>
                    </a:lnTo>
                    <a:lnTo>
                      <a:pt x="798" y="1603"/>
                    </a:lnTo>
                    <a:lnTo>
                      <a:pt x="784" y="1599"/>
                    </a:lnTo>
                    <a:lnTo>
                      <a:pt x="765" y="1591"/>
                    </a:lnTo>
                    <a:lnTo>
                      <a:pt x="746" y="1583"/>
                    </a:lnTo>
                    <a:lnTo>
                      <a:pt x="728" y="1574"/>
                    </a:lnTo>
                    <a:lnTo>
                      <a:pt x="717" y="1567"/>
                    </a:lnTo>
                    <a:lnTo>
                      <a:pt x="705" y="1559"/>
                    </a:lnTo>
                    <a:lnTo>
                      <a:pt x="693" y="1552"/>
                    </a:lnTo>
                    <a:lnTo>
                      <a:pt x="678" y="1548"/>
                    </a:lnTo>
                    <a:lnTo>
                      <a:pt x="659" y="1540"/>
                    </a:lnTo>
                    <a:lnTo>
                      <a:pt x="634" y="1534"/>
                    </a:lnTo>
                    <a:lnTo>
                      <a:pt x="608" y="1534"/>
                    </a:lnTo>
                    <a:lnTo>
                      <a:pt x="578" y="1534"/>
                    </a:lnTo>
                    <a:lnTo>
                      <a:pt x="550" y="1538"/>
                    </a:lnTo>
                    <a:lnTo>
                      <a:pt x="525" y="1544"/>
                    </a:lnTo>
                    <a:lnTo>
                      <a:pt x="494" y="1555"/>
                    </a:lnTo>
                    <a:lnTo>
                      <a:pt x="469" y="1566"/>
                    </a:lnTo>
                    <a:lnTo>
                      <a:pt x="450" y="1575"/>
                    </a:lnTo>
                    <a:lnTo>
                      <a:pt x="434" y="1584"/>
                    </a:lnTo>
                    <a:lnTo>
                      <a:pt x="419" y="1592"/>
                    </a:lnTo>
                    <a:lnTo>
                      <a:pt x="400" y="1598"/>
                    </a:lnTo>
                    <a:lnTo>
                      <a:pt x="384" y="1602"/>
                    </a:lnTo>
                    <a:lnTo>
                      <a:pt x="367" y="1603"/>
                    </a:lnTo>
                    <a:lnTo>
                      <a:pt x="344" y="1599"/>
                    </a:lnTo>
                    <a:lnTo>
                      <a:pt x="319" y="1591"/>
                    </a:lnTo>
                    <a:lnTo>
                      <a:pt x="296" y="1580"/>
                    </a:lnTo>
                    <a:lnTo>
                      <a:pt x="274" y="1568"/>
                    </a:lnTo>
                    <a:lnTo>
                      <a:pt x="252" y="1551"/>
                    </a:lnTo>
                    <a:lnTo>
                      <a:pt x="232" y="1528"/>
                    </a:lnTo>
                    <a:lnTo>
                      <a:pt x="208" y="1502"/>
                    </a:lnTo>
                    <a:lnTo>
                      <a:pt x="183" y="1469"/>
                    </a:lnTo>
                    <a:lnTo>
                      <a:pt x="159" y="1435"/>
                    </a:lnTo>
                    <a:lnTo>
                      <a:pt x="138" y="1399"/>
                    </a:lnTo>
                    <a:lnTo>
                      <a:pt x="114" y="1359"/>
                    </a:lnTo>
                    <a:lnTo>
                      <a:pt x="92" y="1315"/>
                    </a:lnTo>
                    <a:lnTo>
                      <a:pt x="71" y="1268"/>
                    </a:lnTo>
                    <a:lnTo>
                      <a:pt x="54" y="1219"/>
                    </a:lnTo>
                    <a:lnTo>
                      <a:pt x="39" y="1168"/>
                    </a:lnTo>
                    <a:lnTo>
                      <a:pt x="19" y="1090"/>
                    </a:lnTo>
                    <a:lnTo>
                      <a:pt x="6" y="1012"/>
                    </a:lnTo>
                    <a:lnTo>
                      <a:pt x="1" y="934"/>
                    </a:lnTo>
                    <a:lnTo>
                      <a:pt x="0" y="859"/>
                    </a:lnTo>
                    <a:lnTo>
                      <a:pt x="8" y="782"/>
                    </a:lnTo>
                    <a:lnTo>
                      <a:pt x="20" y="708"/>
                    </a:lnTo>
                    <a:lnTo>
                      <a:pt x="33" y="665"/>
                    </a:lnTo>
                    <a:lnTo>
                      <a:pt x="49" y="621"/>
                    </a:lnTo>
                    <a:lnTo>
                      <a:pt x="70" y="581"/>
                    </a:lnTo>
                    <a:lnTo>
                      <a:pt x="86" y="555"/>
                    </a:lnTo>
                    <a:lnTo>
                      <a:pt x="105" y="529"/>
                    </a:lnTo>
                    <a:lnTo>
                      <a:pt x="125" y="505"/>
                    </a:lnTo>
                    <a:lnTo>
                      <a:pt x="148" y="482"/>
                    </a:lnTo>
                    <a:lnTo>
                      <a:pt x="177" y="454"/>
                    </a:lnTo>
                    <a:lnTo>
                      <a:pt x="206" y="431"/>
                    </a:lnTo>
                    <a:lnTo>
                      <a:pt x="237" y="414"/>
                    </a:lnTo>
                    <a:lnTo>
                      <a:pt x="261" y="401"/>
                    </a:lnTo>
                    <a:lnTo>
                      <a:pt x="286" y="392"/>
                    </a:lnTo>
                    <a:lnTo>
                      <a:pt x="310" y="386"/>
                    </a:lnTo>
                    <a:lnTo>
                      <a:pt x="333" y="382"/>
                    </a:lnTo>
                    <a:lnTo>
                      <a:pt x="378" y="386"/>
                    </a:lnTo>
                    <a:lnTo>
                      <a:pt x="420" y="394"/>
                    </a:lnTo>
                    <a:lnTo>
                      <a:pt x="451" y="406"/>
                    </a:lnTo>
                    <a:lnTo>
                      <a:pt x="480" y="419"/>
                    </a:lnTo>
                    <a:lnTo>
                      <a:pt x="509" y="430"/>
                    </a:lnTo>
                    <a:lnTo>
                      <a:pt x="535" y="440"/>
                    </a:lnTo>
                    <a:lnTo>
                      <a:pt x="569" y="448"/>
                    </a:lnTo>
                    <a:lnTo>
                      <a:pt x="605" y="452"/>
                    </a:lnTo>
                    <a:lnTo>
                      <a:pt x="622" y="449"/>
                    </a:lnTo>
                    <a:lnTo>
                      <a:pt x="640" y="443"/>
                    </a:lnTo>
                    <a:lnTo>
                      <a:pt x="656" y="436"/>
                    </a:lnTo>
                    <a:lnTo>
                      <a:pt x="676" y="429"/>
                    </a:lnTo>
                    <a:lnTo>
                      <a:pt x="693" y="420"/>
                    </a:lnTo>
                    <a:lnTo>
                      <a:pt x="711" y="409"/>
                    </a:lnTo>
                    <a:lnTo>
                      <a:pt x="745" y="398"/>
                    </a:lnTo>
                    <a:lnTo>
                      <a:pt x="783" y="386"/>
                    </a:lnTo>
                    <a:lnTo>
                      <a:pt x="815" y="378"/>
                    </a:lnTo>
                    <a:lnTo>
                      <a:pt x="848" y="373"/>
                    </a:lnTo>
                    <a:lnTo>
                      <a:pt x="887" y="368"/>
                    </a:lnTo>
                    <a:close/>
                    <a:moveTo>
                      <a:pt x="882" y="0"/>
                    </a:moveTo>
                    <a:lnTo>
                      <a:pt x="883" y="19"/>
                    </a:lnTo>
                    <a:lnTo>
                      <a:pt x="882" y="36"/>
                    </a:lnTo>
                    <a:lnTo>
                      <a:pt x="883" y="53"/>
                    </a:lnTo>
                    <a:lnTo>
                      <a:pt x="873" y="100"/>
                    </a:lnTo>
                    <a:lnTo>
                      <a:pt x="867" y="121"/>
                    </a:lnTo>
                    <a:lnTo>
                      <a:pt x="861" y="143"/>
                    </a:lnTo>
                    <a:lnTo>
                      <a:pt x="854" y="160"/>
                    </a:lnTo>
                    <a:lnTo>
                      <a:pt x="847" y="175"/>
                    </a:lnTo>
                    <a:lnTo>
                      <a:pt x="839" y="188"/>
                    </a:lnTo>
                    <a:lnTo>
                      <a:pt x="824" y="210"/>
                    </a:lnTo>
                    <a:lnTo>
                      <a:pt x="805" y="232"/>
                    </a:lnTo>
                    <a:lnTo>
                      <a:pt x="783" y="252"/>
                    </a:lnTo>
                    <a:lnTo>
                      <a:pt x="763" y="269"/>
                    </a:lnTo>
                    <a:lnTo>
                      <a:pt x="742" y="286"/>
                    </a:lnTo>
                    <a:lnTo>
                      <a:pt x="719" y="300"/>
                    </a:lnTo>
                    <a:lnTo>
                      <a:pt x="696" y="313"/>
                    </a:lnTo>
                    <a:lnTo>
                      <a:pt x="673" y="324"/>
                    </a:lnTo>
                    <a:lnTo>
                      <a:pt x="649" y="335"/>
                    </a:lnTo>
                    <a:lnTo>
                      <a:pt x="611" y="343"/>
                    </a:lnTo>
                    <a:lnTo>
                      <a:pt x="571" y="347"/>
                    </a:lnTo>
                    <a:lnTo>
                      <a:pt x="565" y="349"/>
                    </a:lnTo>
                    <a:lnTo>
                      <a:pt x="565" y="349"/>
                    </a:lnTo>
                    <a:lnTo>
                      <a:pt x="565" y="349"/>
                    </a:lnTo>
                    <a:lnTo>
                      <a:pt x="563" y="349"/>
                    </a:lnTo>
                    <a:lnTo>
                      <a:pt x="561" y="349"/>
                    </a:lnTo>
                    <a:lnTo>
                      <a:pt x="558" y="333"/>
                    </a:lnTo>
                    <a:lnTo>
                      <a:pt x="557" y="318"/>
                    </a:lnTo>
                    <a:lnTo>
                      <a:pt x="555" y="303"/>
                    </a:lnTo>
                    <a:lnTo>
                      <a:pt x="554" y="287"/>
                    </a:lnTo>
                    <a:lnTo>
                      <a:pt x="564" y="262"/>
                    </a:lnTo>
                    <a:lnTo>
                      <a:pt x="575" y="238"/>
                    </a:lnTo>
                    <a:lnTo>
                      <a:pt x="580" y="225"/>
                    </a:lnTo>
                    <a:lnTo>
                      <a:pt x="587" y="210"/>
                    </a:lnTo>
                    <a:lnTo>
                      <a:pt x="597" y="194"/>
                    </a:lnTo>
                    <a:lnTo>
                      <a:pt x="625" y="159"/>
                    </a:lnTo>
                    <a:lnTo>
                      <a:pt x="638" y="138"/>
                    </a:lnTo>
                    <a:lnTo>
                      <a:pt x="653" y="125"/>
                    </a:lnTo>
                    <a:lnTo>
                      <a:pt x="668" y="107"/>
                    </a:lnTo>
                    <a:lnTo>
                      <a:pt x="684" y="91"/>
                    </a:lnTo>
                    <a:lnTo>
                      <a:pt x="700" y="77"/>
                    </a:lnTo>
                    <a:lnTo>
                      <a:pt x="760" y="40"/>
                    </a:lnTo>
                    <a:lnTo>
                      <a:pt x="780" y="30"/>
                    </a:lnTo>
                    <a:lnTo>
                      <a:pt x="801" y="22"/>
                    </a:lnTo>
                    <a:lnTo>
                      <a:pt x="821" y="18"/>
                    </a:lnTo>
                    <a:lnTo>
                      <a:pt x="845" y="9"/>
                    </a:lnTo>
                    <a:lnTo>
                      <a:pt x="866" y="4"/>
                    </a:lnTo>
                    <a:lnTo>
                      <a:pt x="882" y="0"/>
                    </a:lnTo>
                    <a:close/>
                  </a:path>
                </a:pathLst>
              </a:custGeom>
              <a:solidFill>
                <a:srgbClr val="3D58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grpSp>
    </p:spTree>
    <p:extLst>
      <p:ext uri="{BB962C8B-B14F-4D97-AF65-F5344CB8AC3E}">
        <p14:creationId xmlns:p14="http://schemas.microsoft.com/office/powerpoint/2010/main" val="22473750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6"/>
                                        </p:tgtEl>
                                        <p:attrNameLst>
                                          <p:attrName>style.visibility</p:attrName>
                                        </p:attrNameLst>
                                      </p:cBhvr>
                                      <p:to>
                                        <p:strVal val="visible"/>
                                      </p:to>
                                    </p:set>
                                    <p:animEffect transition="in" filter="fade">
                                      <p:cBhvr>
                                        <p:cTn id="7" dur="500"/>
                                        <p:tgtEl>
                                          <p:spTgt spid="15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60"/>
                                        </p:tgtEl>
                                        <p:attrNameLst>
                                          <p:attrName>style.visibility</p:attrName>
                                        </p:attrNameLst>
                                      </p:cBhvr>
                                      <p:to>
                                        <p:strVal val="visible"/>
                                      </p:to>
                                    </p:set>
                                    <p:animEffect transition="in" filter="wipe(left)">
                                      <p:cBhvr>
                                        <p:cTn id="12" dur="500"/>
                                        <p:tgtEl>
                                          <p:spTgt spid="160"/>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81"/>
                                        </p:tgtEl>
                                        <p:attrNameLst>
                                          <p:attrName>style.visibility</p:attrName>
                                        </p:attrNameLst>
                                      </p:cBhvr>
                                      <p:to>
                                        <p:strVal val="visible"/>
                                      </p:to>
                                    </p:set>
                                    <p:animEffect transition="in" filter="fade">
                                      <p:cBhvr>
                                        <p:cTn id="16" dur="500"/>
                                        <p:tgtEl>
                                          <p:spTgt spid="18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164"/>
                                        </p:tgtEl>
                                        <p:attrNameLst>
                                          <p:attrName>style.visibility</p:attrName>
                                        </p:attrNameLst>
                                      </p:cBhvr>
                                      <p:to>
                                        <p:strVal val="visible"/>
                                      </p:to>
                                    </p:set>
                                    <p:animEffect transition="in" filter="wipe(left)">
                                      <p:cBhvr>
                                        <p:cTn id="21" dur="500"/>
                                        <p:tgtEl>
                                          <p:spTgt spid="164"/>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128"/>
                                        </p:tgtEl>
                                        <p:attrNameLst>
                                          <p:attrName>style.visibility</p:attrName>
                                        </p:attrNameLst>
                                      </p:cBhvr>
                                      <p:to>
                                        <p:strVal val="visible"/>
                                      </p:to>
                                    </p:set>
                                    <p:animEffect transition="in" filter="fade">
                                      <p:cBhvr>
                                        <p:cTn id="25" dur="500"/>
                                        <p:tgtEl>
                                          <p:spTgt spid="128"/>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170"/>
                                        </p:tgtEl>
                                        <p:attrNameLst>
                                          <p:attrName>style.visibility</p:attrName>
                                        </p:attrNameLst>
                                      </p:cBhvr>
                                      <p:to>
                                        <p:strVal val="visible"/>
                                      </p:to>
                                    </p:set>
                                    <p:animEffect transition="in" filter="wipe(left)">
                                      <p:cBhvr>
                                        <p:cTn id="30" dur="500"/>
                                        <p:tgtEl>
                                          <p:spTgt spid="170"/>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148"/>
                                        </p:tgtEl>
                                        <p:attrNameLst>
                                          <p:attrName>style.visibility</p:attrName>
                                        </p:attrNameLst>
                                      </p:cBhvr>
                                      <p:to>
                                        <p:strVal val="visible"/>
                                      </p:to>
                                    </p:set>
                                    <p:animEffect transition="in" filter="fade">
                                      <p:cBhvr>
                                        <p:cTn id="34" dur="500"/>
                                        <p:tgtEl>
                                          <p:spTgt spid="1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ople-centric IT</a:t>
            </a:r>
            <a:endParaRPr lang="en-US" dirty="0"/>
          </a:p>
        </p:txBody>
      </p:sp>
      <p:sp>
        <p:nvSpPr>
          <p:cNvPr id="4" name="Rectangle 3"/>
          <p:cNvSpPr/>
          <p:nvPr/>
        </p:nvSpPr>
        <p:spPr bwMode="auto">
          <a:xfrm>
            <a:off x="274320" y="1325496"/>
            <a:ext cx="11731399" cy="494851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31" name="Group 130"/>
          <p:cNvGrpSpPr/>
          <p:nvPr/>
        </p:nvGrpSpPr>
        <p:grpSpPr>
          <a:xfrm>
            <a:off x="4384618" y="1578811"/>
            <a:ext cx="1887864" cy="2747797"/>
            <a:chOff x="8592930" y="123553"/>
            <a:chExt cx="1887864" cy="2747797"/>
          </a:xfrm>
        </p:grpSpPr>
        <p:grpSp>
          <p:nvGrpSpPr>
            <p:cNvPr id="132" name="Group 131"/>
            <p:cNvGrpSpPr/>
            <p:nvPr/>
          </p:nvGrpSpPr>
          <p:grpSpPr>
            <a:xfrm>
              <a:off x="8592930" y="123553"/>
              <a:ext cx="1887864" cy="2747797"/>
              <a:chOff x="4373063" y="1580816"/>
              <a:chExt cx="1887864" cy="2747797"/>
            </a:xfrm>
          </p:grpSpPr>
          <p:sp>
            <p:nvSpPr>
              <p:cNvPr id="143" name="Text Placeholder 12"/>
              <p:cNvSpPr txBox="1">
                <a:spLocks/>
              </p:cNvSpPr>
              <p:nvPr/>
            </p:nvSpPr>
            <p:spPr>
              <a:xfrm>
                <a:off x="4853656" y="3885246"/>
                <a:ext cx="930174" cy="2769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90000"/>
                  </a:lnSpc>
                  <a:spcBef>
                    <a:spcPts val="0"/>
                  </a:spcBef>
                  <a:spcAft>
                    <a:spcPts val="900"/>
                  </a:spcAft>
                  <a:buClrTx/>
                  <a:buSzPct val="90000"/>
                  <a:buFont typeface="Arial" pitchFamily="34" charset="0"/>
                  <a:buNone/>
                  <a:tabLst/>
                  <a:defRPr/>
                </a:pPr>
                <a:r>
                  <a:rPr kumimoji="0" lang="en-US" sz="2000" b="1" i="0" u="none" strike="noStrike" kern="1200" cap="none" spc="0" normalizeH="0" baseline="0" noProof="0" dirty="0">
                    <a:ln>
                      <a:noFill/>
                    </a:ln>
                    <a:solidFill>
                      <a:srgbClr val="FF8C00"/>
                    </a:solidFill>
                    <a:effectLst/>
                    <a:uLnTx/>
                    <a:uFillTx/>
                    <a:latin typeface="Segoe UI"/>
                  </a:rPr>
                  <a:t>Apps</a:t>
                </a:r>
              </a:p>
            </p:txBody>
          </p:sp>
          <p:sp>
            <p:nvSpPr>
              <p:cNvPr id="144" name="Rectangle 143"/>
              <p:cNvSpPr/>
              <p:nvPr/>
            </p:nvSpPr>
            <p:spPr bwMode="auto">
              <a:xfrm>
                <a:off x="4373063" y="1580816"/>
                <a:ext cx="1887864" cy="2747797"/>
              </a:xfrm>
              <a:prstGeom prst="rect">
                <a:avLst/>
              </a:prstGeom>
              <a:noFill/>
              <a:ln w="10795" cap="flat" cmpd="sng" algn="ctr">
                <a:solidFill>
                  <a:srgbClr val="FF8C0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nvGrpSpPr>
              <p:cNvPr id="145" name="Group 144"/>
              <p:cNvGrpSpPr/>
              <p:nvPr/>
            </p:nvGrpSpPr>
            <p:grpSpPr>
              <a:xfrm>
                <a:off x="4581414" y="1673767"/>
                <a:ext cx="1491445" cy="2236132"/>
                <a:chOff x="6649918" y="1518736"/>
                <a:chExt cx="1632914" cy="2448236"/>
              </a:xfrm>
            </p:grpSpPr>
            <p:sp>
              <p:nvSpPr>
                <p:cNvPr id="146" name="Freeform 341"/>
                <p:cNvSpPr>
                  <a:spLocks noChangeAspect="1"/>
                </p:cNvSpPr>
                <p:nvPr/>
              </p:nvSpPr>
              <p:spPr bwMode="auto">
                <a:xfrm>
                  <a:off x="6674302" y="3294492"/>
                  <a:ext cx="621245" cy="672480"/>
                </a:xfrm>
                <a:custGeom>
                  <a:avLst/>
                  <a:gdLst>
                    <a:gd name="T0" fmla="*/ 82 w 82"/>
                    <a:gd name="T1" fmla="*/ 42 h 89"/>
                    <a:gd name="T2" fmla="*/ 82 w 82"/>
                    <a:gd name="T3" fmla="*/ 26 h 89"/>
                    <a:gd name="T4" fmla="*/ 82 w 82"/>
                    <a:gd name="T5" fmla="*/ 14 h 89"/>
                    <a:gd name="T6" fmla="*/ 82 w 82"/>
                    <a:gd name="T7" fmla="*/ 12 h 89"/>
                    <a:gd name="T8" fmla="*/ 28 w 82"/>
                    <a:gd name="T9" fmla="*/ 0 h 89"/>
                    <a:gd name="T10" fmla="*/ 27 w 82"/>
                    <a:gd name="T11" fmla="*/ 43 h 89"/>
                    <a:gd name="T12" fmla="*/ 14 w 82"/>
                    <a:gd name="T13" fmla="*/ 73 h 89"/>
                    <a:gd name="T14" fmla="*/ 38 w 82"/>
                    <a:gd name="T15" fmla="*/ 58 h 89"/>
                    <a:gd name="T16" fmla="*/ 38 w 82"/>
                    <a:gd name="T17" fmla="*/ 33 h 89"/>
                    <a:gd name="T18" fmla="*/ 38 w 82"/>
                    <a:gd name="T19" fmla="*/ 13 h 89"/>
                    <a:gd name="T20" fmla="*/ 71 w 82"/>
                    <a:gd name="T21" fmla="*/ 20 h 89"/>
                    <a:gd name="T22" fmla="*/ 71 w 82"/>
                    <a:gd name="T23" fmla="*/ 55 h 89"/>
                    <a:gd name="T24" fmla="*/ 58 w 82"/>
                    <a:gd name="T25" fmla="*/ 84 h 89"/>
                    <a:gd name="T26" fmla="*/ 82 w 82"/>
                    <a:gd name="T27" fmla="*/ 69 h 89"/>
                    <a:gd name="T28" fmla="*/ 82 w 82"/>
                    <a:gd name="T29" fmla="*/ 45 h 89"/>
                    <a:gd name="T30" fmla="*/ 82 w 82"/>
                    <a:gd name="T31" fmla="*/ 4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9">
                      <a:moveTo>
                        <a:pt x="82" y="42"/>
                      </a:moveTo>
                      <a:cubicBezTo>
                        <a:pt x="82" y="26"/>
                        <a:pt x="82" y="26"/>
                        <a:pt x="82" y="26"/>
                      </a:cubicBezTo>
                      <a:cubicBezTo>
                        <a:pt x="82" y="14"/>
                        <a:pt x="82" y="14"/>
                        <a:pt x="82" y="14"/>
                      </a:cubicBezTo>
                      <a:cubicBezTo>
                        <a:pt x="82" y="12"/>
                        <a:pt x="82" y="12"/>
                        <a:pt x="82" y="12"/>
                      </a:cubicBezTo>
                      <a:cubicBezTo>
                        <a:pt x="28" y="0"/>
                        <a:pt x="28" y="0"/>
                        <a:pt x="28" y="0"/>
                      </a:cubicBezTo>
                      <a:cubicBezTo>
                        <a:pt x="27" y="43"/>
                        <a:pt x="27" y="43"/>
                        <a:pt x="27" y="43"/>
                      </a:cubicBezTo>
                      <a:cubicBezTo>
                        <a:pt x="4" y="43"/>
                        <a:pt x="0" y="66"/>
                        <a:pt x="14" y="73"/>
                      </a:cubicBezTo>
                      <a:cubicBezTo>
                        <a:pt x="24" y="77"/>
                        <a:pt x="38" y="71"/>
                        <a:pt x="38" y="58"/>
                      </a:cubicBezTo>
                      <a:cubicBezTo>
                        <a:pt x="38" y="33"/>
                        <a:pt x="38" y="33"/>
                        <a:pt x="38" y="33"/>
                      </a:cubicBezTo>
                      <a:cubicBezTo>
                        <a:pt x="38" y="13"/>
                        <a:pt x="38" y="13"/>
                        <a:pt x="38" y="13"/>
                      </a:cubicBezTo>
                      <a:cubicBezTo>
                        <a:pt x="71" y="20"/>
                        <a:pt x="71" y="20"/>
                        <a:pt x="71" y="20"/>
                      </a:cubicBezTo>
                      <a:cubicBezTo>
                        <a:pt x="71" y="55"/>
                        <a:pt x="71" y="55"/>
                        <a:pt x="71" y="55"/>
                      </a:cubicBezTo>
                      <a:cubicBezTo>
                        <a:pt x="48" y="55"/>
                        <a:pt x="43" y="77"/>
                        <a:pt x="58" y="84"/>
                      </a:cubicBezTo>
                      <a:cubicBezTo>
                        <a:pt x="67" y="89"/>
                        <a:pt x="82" y="83"/>
                        <a:pt x="82" y="69"/>
                      </a:cubicBezTo>
                      <a:cubicBezTo>
                        <a:pt x="82" y="45"/>
                        <a:pt x="82" y="45"/>
                        <a:pt x="82" y="45"/>
                      </a:cubicBezTo>
                      <a:cubicBezTo>
                        <a:pt x="82" y="42"/>
                        <a:pt x="82" y="42"/>
                        <a:pt x="82" y="42"/>
                      </a:cubicBezTo>
                      <a:close/>
                    </a:path>
                  </a:pathLst>
                </a:custGeom>
                <a:solidFill>
                  <a:srgbClr val="FF8C00"/>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47" name="Freeform 18"/>
                <p:cNvSpPr>
                  <a:spLocks noChangeAspect="1" noEditPoints="1"/>
                </p:cNvSpPr>
                <p:nvPr/>
              </p:nvSpPr>
              <p:spPr bwMode="auto">
                <a:xfrm>
                  <a:off x="6649918" y="1659799"/>
                  <a:ext cx="799613" cy="450883"/>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rgbClr val="FF8C00"/>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48" name="Freeform 5"/>
                <p:cNvSpPr>
                  <a:spLocks noChangeAspect="1"/>
                </p:cNvSpPr>
                <p:nvPr/>
              </p:nvSpPr>
              <p:spPr bwMode="auto">
                <a:xfrm flipH="1">
                  <a:off x="7618611" y="2475495"/>
                  <a:ext cx="597557" cy="602494"/>
                </a:xfrm>
                <a:custGeom>
                  <a:avLst/>
                  <a:gdLst>
                    <a:gd name="T0" fmla="*/ 164 w 202"/>
                    <a:gd name="T1" fmla="*/ 123 h 204"/>
                    <a:gd name="T2" fmla="*/ 202 w 202"/>
                    <a:gd name="T3" fmla="*/ 156 h 204"/>
                    <a:gd name="T4" fmla="*/ 154 w 202"/>
                    <a:gd name="T5" fmla="*/ 204 h 204"/>
                    <a:gd name="T6" fmla="*/ 0 w 202"/>
                    <a:gd name="T7" fmla="*/ 47 h 204"/>
                    <a:gd name="T8" fmla="*/ 45 w 202"/>
                    <a:gd name="T9" fmla="*/ 0 h 204"/>
                    <a:gd name="T10" fmla="*/ 78 w 202"/>
                    <a:gd name="T11" fmla="*/ 38 h 204"/>
                    <a:gd name="T12" fmla="*/ 69 w 202"/>
                    <a:gd name="T13" fmla="*/ 71 h 204"/>
                    <a:gd name="T14" fmla="*/ 78 w 202"/>
                    <a:gd name="T15" fmla="*/ 97 h 204"/>
                    <a:gd name="T16" fmla="*/ 95 w 202"/>
                    <a:gd name="T17" fmla="*/ 116 h 204"/>
                    <a:gd name="T18" fmla="*/ 126 w 202"/>
                    <a:gd name="T19" fmla="*/ 133 h 204"/>
                    <a:gd name="T20" fmla="*/ 164 w 202"/>
                    <a:gd name="T21" fmla="*/ 1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04">
                      <a:moveTo>
                        <a:pt x="164" y="123"/>
                      </a:moveTo>
                      <a:cubicBezTo>
                        <a:pt x="202" y="156"/>
                        <a:pt x="202" y="156"/>
                        <a:pt x="202" y="156"/>
                      </a:cubicBezTo>
                      <a:cubicBezTo>
                        <a:pt x="195" y="180"/>
                        <a:pt x="181" y="192"/>
                        <a:pt x="154" y="204"/>
                      </a:cubicBezTo>
                      <a:cubicBezTo>
                        <a:pt x="95" y="178"/>
                        <a:pt x="23" y="109"/>
                        <a:pt x="0" y="47"/>
                      </a:cubicBezTo>
                      <a:cubicBezTo>
                        <a:pt x="9" y="19"/>
                        <a:pt x="21" y="7"/>
                        <a:pt x="45" y="0"/>
                      </a:cubicBezTo>
                      <a:cubicBezTo>
                        <a:pt x="78" y="38"/>
                        <a:pt x="78" y="38"/>
                        <a:pt x="78" y="38"/>
                      </a:cubicBezTo>
                      <a:cubicBezTo>
                        <a:pt x="69" y="71"/>
                        <a:pt x="69" y="71"/>
                        <a:pt x="69" y="71"/>
                      </a:cubicBezTo>
                      <a:cubicBezTo>
                        <a:pt x="69" y="81"/>
                        <a:pt x="73" y="90"/>
                        <a:pt x="78" y="97"/>
                      </a:cubicBezTo>
                      <a:cubicBezTo>
                        <a:pt x="81" y="100"/>
                        <a:pt x="85" y="107"/>
                        <a:pt x="95" y="116"/>
                      </a:cubicBezTo>
                      <a:cubicBezTo>
                        <a:pt x="107" y="128"/>
                        <a:pt x="116" y="133"/>
                        <a:pt x="126" y="133"/>
                      </a:cubicBezTo>
                      <a:cubicBezTo>
                        <a:pt x="131" y="133"/>
                        <a:pt x="142" y="130"/>
                        <a:pt x="164" y="123"/>
                      </a:cubicBezTo>
                      <a:close/>
                    </a:path>
                  </a:pathLst>
                </a:custGeom>
                <a:solidFill>
                  <a:srgbClr val="FF8C00"/>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49" name="Freeform 5"/>
                <p:cNvSpPr>
                  <a:spLocks noChangeAspect="1" noEditPoints="1"/>
                </p:cNvSpPr>
                <p:nvPr/>
              </p:nvSpPr>
              <p:spPr bwMode="auto">
                <a:xfrm>
                  <a:off x="7535180" y="1518736"/>
                  <a:ext cx="747652" cy="748982"/>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88 w 236"/>
                    <a:gd name="T11" fmla="*/ 169 h 236"/>
                    <a:gd name="T12" fmla="*/ 88 w 236"/>
                    <a:gd name="T13" fmla="*/ 76 h 236"/>
                    <a:gd name="T14" fmla="*/ 172 w 236"/>
                    <a:gd name="T15" fmla="*/ 122 h 236"/>
                    <a:gd name="T16" fmla="*/ 88 w 236"/>
                    <a:gd name="T17" fmla="*/ 16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236">
                      <a:moveTo>
                        <a:pt x="118" y="0"/>
                      </a:moveTo>
                      <a:cubicBezTo>
                        <a:pt x="53" y="0"/>
                        <a:pt x="0" y="53"/>
                        <a:pt x="0" y="118"/>
                      </a:cubicBezTo>
                      <a:cubicBezTo>
                        <a:pt x="0" y="184"/>
                        <a:pt x="53" y="236"/>
                        <a:pt x="118" y="236"/>
                      </a:cubicBezTo>
                      <a:cubicBezTo>
                        <a:pt x="183" y="236"/>
                        <a:pt x="236" y="184"/>
                        <a:pt x="236" y="118"/>
                      </a:cubicBezTo>
                      <a:cubicBezTo>
                        <a:pt x="236" y="53"/>
                        <a:pt x="183" y="0"/>
                        <a:pt x="118" y="0"/>
                      </a:cubicBezTo>
                      <a:close/>
                      <a:moveTo>
                        <a:pt x="88" y="169"/>
                      </a:moveTo>
                      <a:cubicBezTo>
                        <a:pt x="85" y="165"/>
                        <a:pt x="84" y="80"/>
                        <a:pt x="88" y="76"/>
                      </a:cubicBezTo>
                      <a:cubicBezTo>
                        <a:pt x="93" y="71"/>
                        <a:pt x="172" y="111"/>
                        <a:pt x="172" y="122"/>
                      </a:cubicBezTo>
                      <a:cubicBezTo>
                        <a:pt x="172" y="134"/>
                        <a:pt x="92" y="173"/>
                        <a:pt x="88" y="169"/>
                      </a:cubicBezTo>
                      <a:close/>
                    </a:path>
                  </a:pathLst>
                </a:custGeom>
                <a:solidFill>
                  <a:srgbClr val="FF8C00"/>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50" name="Freeform 55"/>
                <p:cNvSpPr>
                  <a:spLocks noEditPoints="1"/>
                </p:cNvSpPr>
                <p:nvPr/>
              </p:nvSpPr>
              <p:spPr bwMode="auto">
                <a:xfrm>
                  <a:off x="7541906" y="3272361"/>
                  <a:ext cx="696101" cy="667683"/>
                </a:xfrm>
                <a:custGeom>
                  <a:avLst/>
                  <a:gdLst>
                    <a:gd name="T0" fmla="*/ 275 w 579"/>
                    <a:gd name="T1" fmla="*/ 343 h 665"/>
                    <a:gd name="T2" fmla="*/ 263 w 579"/>
                    <a:gd name="T3" fmla="*/ 336 h 665"/>
                    <a:gd name="T4" fmla="*/ 263 w 579"/>
                    <a:gd name="T5" fmla="*/ 336 h 665"/>
                    <a:gd name="T6" fmla="*/ 0 w 579"/>
                    <a:gd name="T7" fmla="*/ 184 h 665"/>
                    <a:gd name="T8" fmla="*/ 0 w 579"/>
                    <a:gd name="T9" fmla="*/ 184 h 665"/>
                    <a:gd name="T10" fmla="*/ 0 w 579"/>
                    <a:gd name="T11" fmla="*/ 248 h 665"/>
                    <a:gd name="T12" fmla="*/ 0 w 579"/>
                    <a:gd name="T13" fmla="*/ 297 h 665"/>
                    <a:gd name="T14" fmla="*/ 0 w 579"/>
                    <a:gd name="T15" fmla="*/ 489 h 665"/>
                    <a:gd name="T16" fmla="*/ 0 w 579"/>
                    <a:gd name="T17" fmla="*/ 503 h 665"/>
                    <a:gd name="T18" fmla="*/ 0 w 579"/>
                    <a:gd name="T19" fmla="*/ 503 h 665"/>
                    <a:gd name="T20" fmla="*/ 11 w 579"/>
                    <a:gd name="T21" fmla="*/ 510 h 665"/>
                    <a:gd name="T22" fmla="*/ 277 w 579"/>
                    <a:gd name="T23" fmla="*/ 663 h 665"/>
                    <a:gd name="T24" fmla="*/ 277 w 579"/>
                    <a:gd name="T25" fmla="*/ 663 h 665"/>
                    <a:gd name="T26" fmla="*/ 277 w 579"/>
                    <a:gd name="T27" fmla="*/ 663 h 665"/>
                    <a:gd name="T28" fmla="*/ 277 w 579"/>
                    <a:gd name="T29" fmla="*/ 504 h 665"/>
                    <a:gd name="T30" fmla="*/ 277 w 579"/>
                    <a:gd name="T31" fmla="*/ 354 h 665"/>
                    <a:gd name="T32" fmla="*/ 277 w 579"/>
                    <a:gd name="T33" fmla="*/ 354 h 665"/>
                    <a:gd name="T34" fmla="*/ 277 w 579"/>
                    <a:gd name="T35" fmla="*/ 354 h 665"/>
                    <a:gd name="T36" fmla="*/ 278 w 579"/>
                    <a:gd name="T37" fmla="*/ 344 h 665"/>
                    <a:gd name="T38" fmla="*/ 278 w 579"/>
                    <a:gd name="T39" fmla="*/ 344 h 665"/>
                    <a:gd name="T40" fmla="*/ 278 w 579"/>
                    <a:gd name="T41" fmla="*/ 344 h 665"/>
                    <a:gd name="T42" fmla="*/ 275 w 579"/>
                    <a:gd name="T43" fmla="*/ 343 h 665"/>
                    <a:gd name="T44" fmla="*/ 578 w 579"/>
                    <a:gd name="T45" fmla="*/ 183 h 665"/>
                    <a:gd name="T46" fmla="*/ 486 w 579"/>
                    <a:gd name="T47" fmla="*/ 237 h 665"/>
                    <a:gd name="T48" fmla="*/ 314 w 579"/>
                    <a:gd name="T49" fmla="*/ 337 h 665"/>
                    <a:gd name="T50" fmla="*/ 303 w 579"/>
                    <a:gd name="T51" fmla="*/ 344 h 665"/>
                    <a:gd name="T52" fmla="*/ 303 w 579"/>
                    <a:gd name="T53" fmla="*/ 344 h 665"/>
                    <a:gd name="T54" fmla="*/ 303 w 579"/>
                    <a:gd name="T55" fmla="*/ 352 h 665"/>
                    <a:gd name="T56" fmla="*/ 303 w 579"/>
                    <a:gd name="T57" fmla="*/ 357 h 665"/>
                    <a:gd name="T58" fmla="*/ 302 w 579"/>
                    <a:gd name="T59" fmla="*/ 662 h 665"/>
                    <a:gd name="T60" fmla="*/ 302 w 579"/>
                    <a:gd name="T61" fmla="*/ 662 h 665"/>
                    <a:gd name="T62" fmla="*/ 302 w 579"/>
                    <a:gd name="T63" fmla="*/ 665 h 665"/>
                    <a:gd name="T64" fmla="*/ 302 w 579"/>
                    <a:gd name="T65" fmla="*/ 665 h 665"/>
                    <a:gd name="T66" fmla="*/ 579 w 579"/>
                    <a:gd name="T67" fmla="*/ 504 h 665"/>
                    <a:gd name="T68" fmla="*/ 579 w 579"/>
                    <a:gd name="T69" fmla="*/ 503 h 665"/>
                    <a:gd name="T70" fmla="*/ 579 w 579"/>
                    <a:gd name="T71" fmla="*/ 489 h 665"/>
                    <a:gd name="T72" fmla="*/ 579 w 579"/>
                    <a:gd name="T73" fmla="*/ 183 h 665"/>
                    <a:gd name="T74" fmla="*/ 578 w 579"/>
                    <a:gd name="T75" fmla="*/ 183 h 665"/>
                    <a:gd name="T76" fmla="*/ 568 w 579"/>
                    <a:gd name="T77" fmla="*/ 162 h 665"/>
                    <a:gd name="T78" fmla="*/ 568 w 579"/>
                    <a:gd name="T79" fmla="*/ 162 h 665"/>
                    <a:gd name="T80" fmla="*/ 301 w 579"/>
                    <a:gd name="T81" fmla="*/ 8 h 665"/>
                    <a:gd name="T82" fmla="*/ 289 w 579"/>
                    <a:gd name="T83" fmla="*/ 1 h 665"/>
                    <a:gd name="T84" fmla="*/ 288 w 579"/>
                    <a:gd name="T85" fmla="*/ 0 h 665"/>
                    <a:gd name="T86" fmla="*/ 11 w 579"/>
                    <a:gd name="T87" fmla="*/ 161 h 665"/>
                    <a:gd name="T88" fmla="*/ 13 w 579"/>
                    <a:gd name="T89" fmla="*/ 163 h 665"/>
                    <a:gd name="T90" fmla="*/ 13 w 579"/>
                    <a:gd name="T91" fmla="*/ 163 h 665"/>
                    <a:gd name="T92" fmla="*/ 276 w 579"/>
                    <a:gd name="T93" fmla="*/ 315 h 665"/>
                    <a:gd name="T94" fmla="*/ 288 w 579"/>
                    <a:gd name="T95" fmla="*/ 321 h 665"/>
                    <a:gd name="T96" fmla="*/ 288 w 579"/>
                    <a:gd name="T97" fmla="*/ 321 h 665"/>
                    <a:gd name="T98" fmla="*/ 291 w 579"/>
                    <a:gd name="T99" fmla="*/ 323 h 665"/>
                    <a:gd name="T100" fmla="*/ 291 w 579"/>
                    <a:gd name="T101" fmla="*/ 323 h 665"/>
                    <a:gd name="T102" fmla="*/ 291 w 579"/>
                    <a:gd name="T103" fmla="*/ 323 h 665"/>
                    <a:gd name="T104" fmla="*/ 291 w 579"/>
                    <a:gd name="T105" fmla="*/ 323 h 665"/>
                    <a:gd name="T106" fmla="*/ 291 w 579"/>
                    <a:gd name="T107" fmla="*/ 323 h 665"/>
                    <a:gd name="T108" fmla="*/ 300 w 579"/>
                    <a:gd name="T109" fmla="*/ 318 h 665"/>
                    <a:gd name="T110" fmla="*/ 534 w 579"/>
                    <a:gd name="T111" fmla="*/ 182 h 665"/>
                    <a:gd name="T112" fmla="*/ 568 w 579"/>
                    <a:gd name="T113" fmla="*/ 162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9" h="665">
                      <a:moveTo>
                        <a:pt x="275" y="343"/>
                      </a:moveTo>
                      <a:lnTo>
                        <a:pt x="263" y="336"/>
                      </a:lnTo>
                      <a:lnTo>
                        <a:pt x="263" y="336"/>
                      </a:lnTo>
                      <a:lnTo>
                        <a:pt x="0" y="184"/>
                      </a:lnTo>
                      <a:lnTo>
                        <a:pt x="0" y="184"/>
                      </a:lnTo>
                      <a:lnTo>
                        <a:pt x="0" y="248"/>
                      </a:lnTo>
                      <a:lnTo>
                        <a:pt x="0" y="297"/>
                      </a:lnTo>
                      <a:lnTo>
                        <a:pt x="0" y="489"/>
                      </a:lnTo>
                      <a:lnTo>
                        <a:pt x="0" y="503"/>
                      </a:lnTo>
                      <a:lnTo>
                        <a:pt x="0" y="503"/>
                      </a:lnTo>
                      <a:lnTo>
                        <a:pt x="11" y="510"/>
                      </a:lnTo>
                      <a:lnTo>
                        <a:pt x="277" y="663"/>
                      </a:lnTo>
                      <a:lnTo>
                        <a:pt x="277" y="663"/>
                      </a:lnTo>
                      <a:lnTo>
                        <a:pt x="277" y="663"/>
                      </a:lnTo>
                      <a:lnTo>
                        <a:pt x="277" y="504"/>
                      </a:lnTo>
                      <a:lnTo>
                        <a:pt x="277" y="354"/>
                      </a:lnTo>
                      <a:lnTo>
                        <a:pt x="277" y="354"/>
                      </a:lnTo>
                      <a:lnTo>
                        <a:pt x="277" y="354"/>
                      </a:lnTo>
                      <a:lnTo>
                        <a:pt x="278" y="344"/>
                      </a:lnTo>
                      <a:lnTo>
                        <a:pt x="278" y="344"/>
                      </a:lnTo>
                      <a:lnTo>
                        <a:pt x="278" y="344"/>
                      </a:lnTo>
                      <a:lnTo>
                        <a:pt x="275" y="343"/>
                      </a:lnTo>
                      <a:close/>
                      <a:moveTo>
                        <a:pt x="578" y="183"/>
                      </a:moveTo>
                      <a:lnTo>
                        <a:pt x="486" y="237"/>
                      </a:lnTo>
                      <a:lnTo>
                        <a:pt x="314" y="337"/>
                      </a:lnTo>
                      <a:lnTo>
                        <a:pt x="303" y="344"/>
                      </a:lnTo>
                      <a:lnTo>
                        <a:pt x="303" y="344"/>
                      </a:lnTo>
                      <a:lnTo>
                        <a:pt x="303" y="352"/>
                      </a:lnTo>
                      <a:lnTo>
                        <a:pt x="303" y="357"/>
                      </a:lnTo>
                      <a:lnTo>
                        <a:pt x="302" y="662"/>
                      </a:lnTo>
                      <a:lnTo>
                        <a:pt x="302" y="662"/>
                      </a:lnTo>
                      <a:lnTo>
                        <a:pt x="302" y="665"/>
                      </a:lnTo>
                      <a:lnTo>
                        <a:pt x="302" y="665"/>
                      </a:lnTo>
                      <a:lnTo>
                        <a:pt x="579" y="504"/>
                      </a:lnTo>
                      <a:lnTo>
                        <a:pt x="579" y="503"/>
                      </a:lnTo>
                      <a:lnTo>
                        <a:pt x="579" y="489"/>
                      </a:lnTo>
                      <a:lnTo>
                        <a:pt x="579" y="183"/>
                      </a:lnTo>
                      <a:lnTo>
                        <a:pt x="578" y="183"/>
                      </a:lnTo>
                      <a:close/>
                      <a:moveTo>
                        <a:pt x="568" y="162"/>
                      </a:moveTo>
                      <a:lnTo>
                        <a:pt x="568" y="162"/>
                      </a:lnTo>
                      <a:lnTo>
                        <a:pt x="301" y="8"/>
                      </a:lnTo>
                      <a:lnTo>
                        <a:pt x="289" y="1"/>
                      </a:lnTo>
                      <a:lnTo>
                        <a:pt x="288" y="0"/>
                      </a:lnTo>
                      <a:lnTo>
                        <a:pt x="11" y="161"/>
                      </a:lnTo>
                      <a:lnTo>
                        <a:pt x="13" y="163"/>
                      </a:lnTo>
                      <a:lnTo>
                        <a:pt x="13" y="163"/>
                      </a:lnTo>
                      <a:lnTo>
                        <a:pt x="276" y="315"/>
                      </a:lnTo>
                      <a:lnTo>
                        <a:pt x="288" y="321"/>
                      </a:lnTo>
                      <a:lnTo>
                        <a:pt x="288" y="321"/>
                      </a:lnTo>
                      <a:lnTo>
                        <a:pt x="291" y="323"/>
                      </a:lnTo>
                      <a:lnTo>
                        <a:pt x="291" y="323"/>
                      </a:lnTo>
                      <a:lnTo>
                        <a:pt x="291" y="323"/>
                      </a:lnTo>
                      <a:lnTo>
                        <a:pt x="291" y="323"/>
                      </a:lnTo>
                      <a:lnTo>
                        <a:pt x="291" y="323"/>
                      </a:lnTo>
                      <a:lnTo>
                        <a:pt x="300" y="318"/>
                      </a:lnTo>
                      <a:lnTo>
                        <a:pt x="534" y="182"/>
                      </a:lnTo>
                      <a:lnTo>
                        <a:pt x="568" y="162"/>
                      </a:lnTo>
                      <a:close/>
                    </a:path>
                  </a:pathLst>
                </a:custGeom>
                <a:solidFill>
                  <a:srgbClr val="FF8C00"/>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grpSp>
        </p:grpSp>
        <p:grpSp>
          <p:nvGrpSpPr>
            <p:cNvPr id="133" name="Group 29"/>
            <p:cNvGrpSpPr>
              <a:grpSpLocks noChangeAspect="1"/>
            </p:cNvGrpSpPr>
            <p:nvPr/>
          </p:nvGrpSpPr>
          <p:grpSpPr bwMode="auto">
            <a:xfrm>
              <a:off x="8804898" y="979278"/>
              <a:ext cx="701892" cy="703330"/>
              <a:chOff x="5541" y="601"/>
              <a:chExt cx="488" cy="489"/>
            </a:xfrm>
            <a:solidFill>
              <a:srgbClr val="FF8C00"/>
            </a:solidFill>
          </p:grpSpPr>
          <p:sp>
            <p:nvSpPr>
              <p:cNvPr id="134" name="Freeform 31"/>
              <p:cNvSpPr>
                <a:spLocks noEditPoints="1"/>
              </p:cNvSpPr>
              <p:nvPr/>
            </p:nvSpPr>
            <p:spPr bwMode="auto">
              <a:xfrm>
                <a:off x="5659" y="870"/>
                <a:ext cx="325" cy="195"/>
              </a:xfrm>
              <a:custGeom>
                <a:avLst/>
                <a:gdLst>
                  <a:gd name="T0" fmla="*/ 1001 w 2278"/>
                  <a:gd name="T1" fmla="*/ 1347 h 1363"/>
                  <a:gd name="T2" fmla="*/ 824 w 2278"/>
                  <a:gd name="T3" fmla="*/ 1335 h 1363"/>
                  <a:gd name="T4" fmla="*/ 806 w 2278"/>
                  <a:gd name="T5" fmla="*/ 1323 h 1363"/>
                  <a:gd name="T6" fmla="*/ 819 w 2278"/>
                  <a:gd name="T7" fmla="*/ 1303 h 1363"/>
                  <a:gd name="T8" fmla="*/ 488 w 2278"/>
                  <a:gd name="T9" fmla="*/ 922 h 1363"/>
                  <a:gd name="T10" fmla="*/ 510 w 2278"/>
                  <a:gd name="T11" fmla="*/ 923 h 1363"/>
                  <a:gd name="T12" fmla="*/ 627 w 2278"/>
                  <a:gd name="T13" fmla="*/ 906 h 1363"/>
                  <a:gd name="T14" fmla="*/ 1347 w 2278"/>
                  <a:gd name="T15" fmla="*/ 881 h 1363"/>
                  <a:gd name="T16" fmla="*/ 1423 w 2278"/>
                  <a:gd name="T17" fmla="*/ 820 h 1363"/>
                  <a:gd name="T18" fmla="*/ 899 w 2278"/>
                  <a:gd name="T19" fmla="*/ 785 h 1363"/>
                  <a:gd name="T20" fmla="*/ 998 w 2278"/>
                  <a:gd name="T21" fmla="*/ 771 h 1363"/>
                  <a:gd name="T22" fmla="*/ 1000 w 2278"/>
                  <a:gd name="T23" fmla="*/ 749 h 1363"/>
                  <a:gd name="T24" fmla="*/ 1955 w 2278"/>
                  <a:gd name="T25" fmla="*/ 743 h 1363"/>
                  <a:gd name="T26" fmla="*/ 993 w 2278"/>
                  <a:gd name="T27" fmla="*/ 723 h 1363"/>
                  <a:gd name="T28" fmla="*/ 974 w 2278"/>
                  <a:gd name="T29" fmla="*/ 702 h 1363"/>
                  <a:gd name="T30" fmla="*/ 2026 w 2278"/>
                  <a:gd name="T31" fmla="*/ 756 h 1363"/>
                  <a:gd name="T32" fmla="*/ 1981 w 2278"/>
                  <a:gd name="T33" fmla="*/ 801 h 1363"/>
                  <a:gd name="T34" fmla="*/ 2030 w 2278"/>
                  <a:gd name="T35" fmla="*/ 715 h 1363"/>
                  <a:gd name="T36" fmla="*/ 717 w 2278"/>
                  <a:gd name="T37" fmla="*/ 687 h 1363"/>
                  <a:gd name="T38" fmla="*/ 1944 w 2278"/>
                  <a:gd name="T39" fmla="*/ 679 h 1363"/>
                  <a:gd name="T40" fmla="*/ 1016 w 2278"/>
                  <a:gd name="T41" fmla="*/ 667 h 1363"/>
                  <a:gd name="T42" fmla="*/ 55 w 2278"/>
                  <a:gd name="T43" fmla="*/ 649 h 1363"/>
                  <a:gd name="T44" fmla="*/ 995 w 2278"/>
                  <a:gd name="T45" fmla="*/ 640 h 1363"/>
                  <a:gd name="T46" fmla="*/ 851 w 2278"/>
                  <a:gd name="T47" fmla="*/ 662 h 1363"/>
                  <a:gd name="T48" fmla="*/ 807 w 2278"/>
                  <a:gd name="T49" fmla="*/ 670 h 1363"/>
                  <a:gd name="T50" fmla="*/ 1535 w 2278"/>
                  <a:gd name="T51" fmla="*/ 630 h 1363"/>
                  <a:gd name="T52" fmla="*/ 951 w 2278"/>
                  <a:gd name="T53" fmla="*/ 630 h 1363"/>
                  <a:gd name="T54" fmla="*/ 1970 w 2278"/>
                  <a:gd name="T55" fmla="*/ 646 h 1363"/>
                  <a:gd name="T56" fmla="*/ 700 w 2278"/>
                  <a:gd name="T57" fmla="*/ 623 h 1363"/>
                  <a:gd name="T58" fmla="*/ 728 w 2278"/>
                  <a:gd name="T59" fmla="*/ 659 h 1363"/>
                  <a:gd name="T60" fmla="*/ 657 w 2278"/>
                  <a:gd name="T61" fmla="*/ 637 h 1363"/>
                  <a:gd name="T62" fmla="*/ 592 w 2278"/>
                  <a:gd name="T63" fmla="*/ 641 h 1363"/>
                  <a:gd name="T64" fmla="*/ 828 w 2278"/>
                  <a:gd name="T65" fmla="*/ 605 h 1363"/>
                  <a:gd name="T66" fmla="*/ 760 w 2278"/>
                  <a:gd name="T67" fmla="*/ 595 h 1363"/>
                  <a:gd name="T68" fmla="*/ 1549 w 2278"/>
                  <a:gd name="T69" fmla="*/ 610 h 1363"/>
                  <a:gd name="T70" fmla="*/ 654 w 2278"/>
                  <a:gd name="T71" fmla="*/ 605 h 1363"/>
                  <a:gd name="T72" fmla="*/ 756 w 2278"/>
                  <a:gd name="T73" fmla="*/ 579 h 1363"/>
                  <a:gd name="T74" fmla="*/ 723 w 2278"/>
                  <a:gd name="T75" fmla="*/ 571 h 1363"/>
                  <a:gd name="T76" fmla="*/ 1888 w 2278"/>
                  <a:gd name="T77" fmla="*/ 526 h 1363"/>
                  <a:gd name="T78" fmla="*/ 2 w 2278"/>
                  <a:gd name="T79" fmla="*/ 488 h 1363"/>
                  <a:gd name="T80" fmla="*/ 967 w 2278"/>
                  <a:gd name="T81" fmla="*/ 444 h 1363"/>
                  <a:gd name="T82" fmla="*/ 2260 w 2278"/>
                  <a:gd name="T83" fmla="*/ 452 h 1363"/>
                  <a:gd name="T84" fmla="*/ 1686 w 2278"/>
                  <a:gd name="T85" fmla="*/ 345 h 1363"/>
                  <a:gd name="T86" fmla="*/ 1548 w 2278"/>
                  <a:gd name="T87" fmla="*/ 272 h 1363"/>
                  <a:gd name="T88" fmla="*/ 1582 w 2278"/>
                  <a:gd name="T89" fmla="*/ 251 h 1363"/>
                  <a:gd name="T90" fmla="*/ 1551 w 2278"/>
                  <a:gd name="T91" fmla="*/ 246 h 1363"/>
                  <a:gd name="T92" fmla="*/ 2024 w 2278"/>
                  <a:gd name="T93" fmla="*/ 212 h 1363"/>
                  <a:gd name="T94" fmla="*/ 1804 w 2278"/>
                  <a:gd name="T95" fmla="*/ 247 h 1363"/>
                  <a:gd name="T96" fmla="*/ 1770 w 2278"/>
                  <a:gd name="T97" fmla="*/ 228 h 1363"/>
                  <a:gd name="T98" fmla="*/ 1936 w 2278"/>
                  <a:gd name="T99" fmla="*/ 195 h 1363"/>
                  <a:gd name="T100" fmla="*/ 1865 w 2278"/>
                  <a:gd name="T101" fmla="*/ 184 h 1363"/>
                  <a:gd name="T102" fmla="*/ 1873 w 2278"/>
                  <a:gd name="T103" fmla="*/ 171 h 1363"/>
                  <a:gd name="T104" fmla="*/ 1914 w 2278"/>
                  <a:gd name="T105" fmla="*/ 180 h 1363"/>
                  <a:gd name="T106" fmla="*/ 1910 w 2278"/>
                  <a:gd name="T107" fmla="*/ 145 h 1363"/>
                  <a:gd name="T108" fmla="*/ 1970 w 2278"/>
                  <a:gd name="T109" fmla="*/ 154 h 1363"/>
                  <a:gd name="T110" fmla="*/ 1953 w 2278"/>
                  <a:gd name="T111" fmla="*/ 126 h 1363"/>
                  <a:gd name="T112" fmla="*/ 508 w 2278"/>
                  <a:gd name="T113" fmla="*/ 93 h 1363"/>
                  <a:gd name="T114" fmla="*/ 2032 w 2278"/>
                  <a:gd name="T115" fmla="*/ 119 h 1363"/>
                  <a:gd name="T116" fmla="*/ 2016 w 2278"/>
                  <a:gd name="T117" fmla="*/ 178 h 1363"/>
                  <a:gd name="T118" fmla="*/ 1988 w 2278"/>
                  <a:gd name="T119" fmla="*/ 139 h 1363"/>
                  <a:gd name="T120" fmla="*/ 2090 w 2278"/>
                  <a:gd name="T121" fmla="*/ 44 h 1363"/>
                  <a:gd name="T122" fmla="*/ 498 w 2278"/>
                  <a:gd name="T123" fmla="*/ 2 h 1363"/>
                  <a:gd name="T124" fmla="*/ 2219 w 2278"/>
                  <a:gd name="T125" fmla="*/ 41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78" h="1363">
                    <a:moveTo>
                      <a:pt x="837" y="1356"/>
                    </a:moveTo>
                    <a:lnTo>
                      <a:pt x="839" y="1357"/>
                    </a:lnTo>
                    <a:lnTo>
                      <a:pt x="840" y="1358"/>
                    </a:lnTo>
                    <a:lnTo>
                      <a:pt x="841" y="1361"/>
                    </a:lnTo>
                    <a:lnTo>
                      <a:pt x="840" y="1363"/>
                    </a:lnTo>
                    <a:lnTo>
                      <a:pt x="839" y="1363"/>
                    </a:lnTo>
                    <a:lnTo>
                      <a:pt x="836" y="1361"/>
                    </a:lnTo>
                    <a:lnTo>
                      <a:pt x="835" y="1360"/>
                    </a:lnTo>
                    <a:lnTo>
                      <a:pt x="834" y="1360"/>
                    </a:lnTo>
                    <a:lnTo>
                      <a:pt x="833" y="1360"/>
                    </a:lnTo>
                    <a:lnTo>
                      <a:pt x="833" y="1359"/>
                    </a:lnTo>
                    <a:lnTo>
                      <a:pt x="833" y="1359"/>
                    </a:lnTo>
                    <a:lnTo>
                      <a:pt x="834" y="1358"/>
                    </a:lnTo>
                    <a:lnTo>
                      <a:pt x="835" y="1357"/>
                    </a:lnTo>
                    <a:lnTo>
                      <a:pt x="837" y="1356"/>
                    </a:lnTo>
                    <a:close/>
                    <a:moveTo>
                      <a:pt x="1014" y="1341"/>
                    </a:moveTo>
                    <a:lnTo>
                      <a:pt x="1015" y="1341"/>
                    </a:lnTo>
                    <a:lnTo>
                      <a:pt x="1016" y="1343"/>
                    </a:lnTo>
                    <a:lnTo>
                      <a:pt x="1015" y="1345"/>
                    </a:lnTo>
                    <a:lnTo>
                      <a:pt x="1015" y="1346"/>
                    </a:lnTo>
                    <a:lnTo>
                      <a:pt x="1012" y="1346"/>
                    </a:lnTo>
                    <a:lnTo>
                      <a:pt x="1012" y="1346"/>
                    </a:lnTo>
                    <a:lnTo>
                      <a:pt x="1011" y="1346"/>
                    </a:lnTo>
                    <a:lnTo>
                      <a:pt x="1010" y="1348"/>
                    </a:lnTo>
                    <a:lnTo>
                      <a:pt x="1008" y="1349"/>
                    </a:lnTo>
                    <a:lnTo>
                      <a:pt x="1007" y="1350"/>
                    </a:lnTo>
                    <a:lnTo>
                      <a:pt x="1006" y="1350"/>
                    </a:lnTo>
                    <a:lnTo>
                      <a:pt x="1006" y="1350"/>
                    </a:lnTo>
                    <a:lnTo>
                      <a:pt x="1006" y="1349"/>
                    </a:lnTo>
                    <a:lnTo>
                      <a:pt x="1005" y="1348"/>
                    </a:lnTo>
                    <a:lnTo>
                      <a:pt x="1004" y="1346"/>
                    </a:lnTo>
                    <a:lnTo>
                      <a:pt x="1001" y="1347"/>
                    </a:lnTo>
                    <a:lnTo>
                      <a:pt x="1000" y="1348"/>
                    </a:lnTo>
                    <a:lnTo>
                      <a:pt x="998" y="1350"/>
                    </a:lnTo>
                    <a:lnTo>
                      <a:pt x="997" y="1352"/>
                    </a:lnTo>
                    <a:lnTo>
                      <a:pt x="996" y="1354"/>
                    </a:lnTo>
                    <a:lnTo>
                      <a:pt x="994" y="1354"/>
                    </a:lnTo>
                    <a:lnTo>
                      <a:pt x="992" y="1354"/>
                    </a:lnTo>
                    <a:lnTo>
                      <a:pt x="990" y="1353"/>
                    </a:lnTo>
                    <a:lnTo>
                      <a:pt x="990" y="1352"/>
                    </a:lnTo>
                    <a:lnTo>
                      <a:pt x="992" y="1350"/>
                    </a:lnTo>
                    <a:lnTo>
                      <a:pt x="994" y="1350"/>
                    </a:lnTo>
                    <a:lnTo>
                      <a:pt x="995" y="1348"/>
                    </a:lnTo>
                    <a:lnTo>
                      <a:pt x="995" y="1347"/>
                    </a:lnTo>
                    <a:lnTo>
                      <a:pt x="995" y="1347"/>
                    </a:lnTo>
                    <a:lnTo>
                      <a:pt x="994" y="1346"/>
                    </a:lnTo>
                    <a:lnTo>
                      <a:pt x="994" y="1345"/>
                    </a:lnTo>
                    <a:lnTo>
                      <a:pt x="994" y="1344"/>
                    </a:lnTo>
                    <a:lnTo>
                      <a:pt x="994" y="1343"/>
                    </a:lnTo>
                    <a:lnTo>
                      <a:pt x="995" y="1343"/>
                    </a:lnTo>
                    <a:lnTo>
                      <a:pt x="996" y="1342"/>
                    </a:lnTo>
                    <a:lnTo>
                      <a:pt x="998" y="1342"/>
                    </a:lnTo>
                    <a:lnTo>
                      <a:pt x="999" y="1342"/>
                    </a:lnTo>
                    <a:lnTo>
                      <a:pt x="1000" y="1341"/>
                    </a:lnTo>
                    <a:lnTo>
                      <a:pt x="1001" y="1342"/>
                    </a:lnTo>
                    <a:lnTo>
                      <a:pt x="1001" y="1343"/>
                    </a:lnTo>
                    <a:lnTo>
                      <a:pt x="1003" y="1344"/>
                    </a:lnTo>
                    <a:lnTo>
                      <a:pt x="1004" y="1343"/>
                    </a:lnTo>
                    <a:lnTo>
                      <a:pt x="1006" y="1343"/>
                    </a:lnTo>
                    <a:lnTo>
                      <a:pt x="1008" y="1342"/>
                    </a:lnTo>
                    <a:lnTo>
                      <a:pt x="1009" y="1341"/>
                    </a:lnTo>
                    <a:lnTo>
                      <a:pt x="1011" y="1341"/>
                    </a:lnTo>
                    <a:lnTo>
                      <a:pt x="1014" y="1341"/>
                    </a:lnTo>
                    <a:close/>
                    <a:moveTo>
                      <a:pt x="824" y="1335"/>
                    </a:moveTo>
                    <a:lnTo>
                      <a:pt x="826" y="1335"/>
                    </a:lnTo>
                    <a:lnTo>
                      <a:pt x="826" y="1336"/>
                    </a:lnTo>
                    <a:lnTo>
                      <a:pt x="828" y="1337"/>
                    </a:lnTo>
                    <a:lnTo>
                      <a:pt x="829" y="1337"/>
                    </a:lnTo>
                    <a:lnTo>
                      <a:pt x="830" y="1337"/>
                    </a:lnTo>
                    <a:lnTo>
                      <a:pt x="831" y="1338"/>
                    </a:lnTo>
                    <a:lnTo>
                      <a:pt x="831" y="1338"/>
                    </a:lnTo>
                    <a:lnTo>
                      <a:pt x="831" y="1339"/>
                    </a:lnTo>
                    <a:lnTo>
                      <a:pt x="831" y="1341"/>
                    </a:lnTo>
                    <a:lnTo>
                      <a:pt x="831" y="1341"/>
                    </a:lnTo>
                    <a:lnTo>
                      <a:pt x="831" y="1342"/>
                    </a:lnTo>
                    <a:lnTo>
                      <a:pt x="830" y="1342"/>
                    </a:lnTo>
                    <a:lnTo>
                      <a:pt x="829" y="1342"/>
                    </a:lnTo>
                    <a:lnTo>
                      <a:pt x="826" y="1343"/>
                    </a:lnTo>
                    <a:lnTo>
                      <a:pt x="825" y="1343"/>
                    </a:lnTo>
                    <a:lnTo>
                      <a:pt x="824" y="1343"/>
                    </a:lnTo>
                    <a:lnTo>
                      <a:pt x="824" y="1342"/>
                    </a:lnTo>
                    <a:lnTo>
                      <a:pt x="823" y="1339"/>
                    </a:lnTo>
                    <a:lnTo>
                      <a:pt x="823" y="1338"/>
                    </a:lnTo>
                    <a:lnTo>
                      <a:pt x="823" y="1337"/>
                    </a:lnTo>
                    <a:lnTo>
                      <a:pt x="824" y="1335"/>
                    </a:lnTo>
                    <a:close/>
                    <a:moveTo>
                      <a:pt x="812" y="1320"/>
                    </a:moveTo>
                    <a:lnTo>
                      <a:pt x="813" y="1320"/>
                    </a:lnTo>
                    <a:lnTo>
                      <a:pt x="813" y="1322"/>
                    </a:lnTo>
                    <a:lnTo>
                      <a:pt x="813" y="1323"/>
                    </a:lnTo>
                    <a:lnTo>
                      <a:pt x="812" y="1325"/>
                    </a:lnTo>
                    <a:lnTo>
                      <a:pt x="810" y="1325"/>
                    </a:lnTo>
                    <a:lnTo>
                      <a:pt x="808" y="1326"/>
                    </a:lnTo>
                    <a:lnTo>
                      <a:pt x="806" y="1326"/>
                    </a:lnTo>
                    <a:lnTo>
                      <a:pt x="804" y="1326"/>
                    </a:lnTo>
                    <a:lnTo>
                      <a:pt x="804" y="1324"/>
                    </a:lnTo>
                    <a:lnTo>
                      <a:pt x="806" y="1323"/>
                    </a:lnTo>
                    <a:lnTo>
                      <a:pt x="808" y="1321"/>
                    </a:lnTo>
                    <a:lnTo>
                      <a:pt x="809" y="1321"/>
                    </a:lnTo>
                    <a:lnTo>
                      <a:pt x="811" y="1320"/>
                    </a:lnTo>
                    <a:lnTo>
                      <a:pt x="812" y="1320"/>
                    </a:lnTo>
                    <a:close/>
                    <a:moveTo>
                      <a:pt x="825" y="1319"/>
                    </a:moveTo>
                    <a:lnTo>
                      <a:pt x="825" y="1319"/>
                    </a:lnTo>
                    <a:lnTo>
                      <a:pt x="826" y="1319"/>
                    </a:lnTo>
                    <a:lnTo>
                      <a:pt x="828" y="1320"/>
                    </a:lnTo>
                    <a:lnTo>
                      <a:pt x="829" y="1321"/>
                    </a:lnTo>
                    <a:lnTo>
                      <a:pt x="829" y="1321"/>
                    </a:lnTo>
                    <a:lnTo>
                      <a:pt x="830" y="1321"/>
                    </a:lnTo>
                    <a:lnTo>
                      <a:pt x="831" y="1322"/>
                    </a:lnTo>
                    <a:lnTo>
                      <a:pt x="831" y="1323"/>
                    </a:lnTo>
                    <a:lnTo>
                      <a:pt x="831" y="1324"/>
                    </a:lnTo>
                    <a:lnTo>
                      <a:pt x="830" y="1325"/>
                    </a:lnTo>
                    <a:lnTo>
                      <a:pt x="829" y="1325"/>
                    </a:lnTo>
                    <a:lnTo>
                      <a:pt x="829" y="1324"/>
                    </a:lnTo>
                    <a:lnTo>
                      <a:pt x="828" y="1324"/>
                    </a:lnTo>
                    <a:lnTo>
                      <a:pt x="826" y="1324"/>
                    </a:lnTo>
                    <a:lnTo>
                      <a:pt x="825" y="1324"/>
                    </a:lnTo>
                    <a:lnTo>
                      <a:pt x="824" y="1324"/>
                    </a:lnTo>
                    <a:lnTo>
                      <a:pt x="824" y="1323"/>
                    </a:lnTo>
                    <a:lnTo>
                      <a:pt x="824" y="1322"/>
                    </a:lnTo>
                    <a:lnTo>
                      <a:pt x="824" y="1320"/>
                    </a:lnTo>
                    <a:lnTo>
                      <a:pt x="824" y="1319"/>
                    </a:lnTo>
                    <a:lnTo>
                      <a:pt x="825" y="1319"/>
                    </a:lnTo>
                    <a:close/>
                    <a:moveTo>
                      <a:pt x="813" y="1301"/>
                    </a:moveTo>
                    <a:lnTo>
                      <a:pt x="815" y="1301"/>
                    </a:lnTo>
                    <a:lnTo>
                      <a:pt x="818" y="1302"/>
                    </a:lnTo>
                    <a:lnTo>
                      <a:pt x="819" y="1302"/>
                    </a:lnTo>
                    <a:lnTo>
                      <a:pt x="819" y="1302"/>
                    </a:lnTo>
                    <a:lnTo>
                      <a:pt x="819" y="1303"/>
                    </a:lnTo>
                    <a:lnTo>
                      <a:pt x="818" y="1304"/>
                    </a:lnTo>
                    <a:lnTo>
                      <a:pt x="818" y="1305"/>
                    </a:lnTo>
                    <a:lnTo>
                      <a:pt x="818" y="1305"/>
                    </a:lnTo>
                    <a:lnTo>
                      <a:pt x="818" y="1305"/>
                    </a:lnTo>
                    <a:lnTo>
                      <a:pt x="818" y="1306"/>
                    </a:lnTo>
                    <a:lnTo>
                      <a:pt x="819" y="1308"/>
                    </a:lnTo>
                    <a:lnTo>
                      <a:pt x="820" y="1310"/>
                    </a:lnTo>
                    <a:lnTo>
                      <a:pt x="821" y="1310"/>
                    </a:lnTo>
                    <a:lnTo>
                      <a:pt x="821" y="1311"/>
                    </a:lnTo>
                    <a:lnTo>
                      <a:pt x="821" y="1312"/>
                    </a:lnTo>
                    <a:lnTo>
                      <a:pt x="821" y="1314"/>
                    </a:lnTo>
                    <a:lnTo>
                      <a:pt x="820" y="1316"/>
                    </a:lnTo>
                    <a:lnTo>
                      <a:pt x="820" y="1316"/>
                    </a:lnTo>
                    <a:lnTo>
                      <a:pt x="818" y="1316"/>
                    </a:lnTo>
                    <a:lnTo>
                      <a:pt x="817" y="1316"/>
                    </a:lnTo>
                    <a:lnTo>
                      <a:pt x="814" y="1316"/>
                    </a:lnTo>
                    <a:lnTo>
                      <a:pt x="812" y="1315"/>
                    </a:lnTo>
                    <a:lnTo>
                      <a:pt x="810" y="1314"/>
                    </a:lnTo>
                    <a:lnTo>
                      <a:pt x="810" y="1313"/>
                    </a:lnTo>
                    <a:lnTo>
                      <a:pt x="810" y="1313"/>
                    </a:lnTo>
                    <a:lnTo>
                      <a:pt x="811" y="1312"/>
                    </a:lnTo>
                    <a:lnTo>
                      <a:pt x="812" y="1310"/>
                    </a:lnTo>
                    <a:lnTo>
                      <a:pt x="813" y="1308"/>
                    </a:lnTo>
                    <a:lnTo>
                      <a:pt x="812" y="1305"/>
                    </a:lnTo>
                    <a:lnTo>
                      <a:pt x="810" y="1305"/>
                    </a:lnTo>
                    <a:lnTo>
                      <a:pt x="809" y="1304"/>
                    </a:lnTo>
                    <a:lnTo>
                      <a:pt x="809" y="1303"/>
                    </a:lnTo>
                    <a:lnTo>
                      <a:pt x="810" y="1302"/>
                    </a:lnTo>
                    <a:lnTo>
                      <a:pt x="811" y="1301"/>
                    </a:lnTo>
                    <a:lnTo>
                      <a:pt x="813" y="1301"/>
                    </a:lnTo>
                    <a:close/>
                    <a:moveTo>
                      <a:pt x="481" y="918"/>
                    </a:moveTo>
                    <a:lnTo>
                      <a:pt x="488" y="922"/>
                    </a:lnTo>
                    <a:lnTo>
                      <a:pt x="493" y="927"/>
                    </a:lnTo>
                    <a:lnTo>
                      <a:pt x="497" y="932"/>
                    </a:lnTo>
                    <a:lnTo>
                      <a:pt x="504" y="933"/>
                    </a:lnTo>
                    <a:lnTo>
                      <a:pt x="509" y="935"/>
                    </a:lnTo>
                    <a:lnTo>
                      <a:pt x="516" y="935"/>
                    </a:lnTo>
                    <a:lnTo>
                      <a:pt x="520" y="937"/>
                    </a:lnTo>
                    <a:lnTo>
                      <a:pt x="524" y="940"/>
                    </a:lnTo>
                    <a:lnTo>
                      <a:pt x="524" y="942"/>
                    </a:lnTo>
                    <a:lnTo>
                      <a:pt x="524" y="943"/>
                    </a:lnTo>
                    <a:lnTo>
                      <a:pt x="523" y="944"/>
                    </a:lnTo>
                    <a:lnTo>
                      <a:pt x="520" y="945"/>
                    </a:lnTo>
                    <a:lnTo>
                      <a:pt x="518" y="945"/>
                    </a:lnTo>
                    <a:lnTo>
                      <a:pt x="517" y="945"/>
                    </a:lnTo>
                    <a:lnTo>
                      <a:pt x="515" y="946"/>
                    </a:lnTo>
                    <a:lnTo>
                      <a:pt x="514" y="946"/>
                    </a:lnTo>
                    <a:lnTo>
                      <a:pt x="504" y="944"/>
                    </a:lnTo>
                    <a:lnTo>
                      <a:pt x="494" y="940"/>
                    </a:lnTo>
                    <a:lnTo>
                      <a:pt x="491" y="940"/>
                    </a:lnTo>
                    <a:lnTo>
                      <a:pt x="486" y="940"/>
                    </a:lnTo>
                    <a:lnTo>
                      <a:pt x="483" y="939"/>
                    </a:lnTo>
                    <a:lnTo>
                      <a:pt x="481" y="939"/>
                    </a:lnTo>
                    <a:lnTo>
                      <a:pt x="479" y="937"/>
                    </a:lnTo>
                    <a:lnTo>
                      <a:pt x="474" y="931"/>
                    </a:lnTo>
                    <a:lnTo>
                      <a:pt x="473" y="926"/>
                    </a:lnTo>
                    <a:lnTo>
                      <a:pt x="475" y="920"/>
                    </a:lnTo>
                    <a:lnTo>
                      <a:pt x="481" y="918"/>
                    </a:lnTo>
                    <a:close/>
                    <a:moveTo>
                      <a:pt x="497" y="911"/>
                    </a:moveTo>
                    <a:lnTo>
                      <a:pt x="503" y="912"/>
                    </a:lnTo>
                    <a:lnTo>
                      <a:pt x="509" y="913"/>
                    </a:lnTo>
                    <a:lnTo>
                      <a:pt x="514" y="917"/>
                    </a:lnTo>
                    <a:lnTo>
                      <a:pt x="515" y="921"/>
                    </a:lnTo>
                    <a:lnTo>
                      <a:pt x="510" y="923"/>
                    </a:lnTo>
                    <a:lnTo>
                      <a:pt x="505" y="923"/>
                    </a:lnTo>
                    <a:lnTo>
                      <a:pt x="498" y="922"/>
                    </a:lnTo>
                    <a:lnTo>
                      <a:pt x="494" y="919"/>
                    </a:lnTo>
                    <a:lnTo>
                      <a:pt x="492" y="916"/>
                    </a:lnTo>
                    <a:lnTo>
                      <a:pt x="493" y="912"/>
                    </a:lnTo>
                    <a:lnTo>
                      <a:pt x="497" y="911"/>
                    </a:lnTo>
                    <a:close/>
                    <a:moveTo>
                      <a:pt x="466" y="909"/>
                    </a:moveTo>
                    <a:lnTo>
                      <a:pt x="469" y="909"/>
                    </a:lnTo>
                    <a:lnTo>
                      <a:pt x="471" y="910"/>
                    </a:lnTo>
                    <a:lnTo>
                      <a:pt x="473" y="911"/>
                    </a:lnTo>
                    <a:lnTo>
                      <a:pt x="475" y="912"/>
                    </a:lnTo>
                    <a:lnTo>
                      <a:pt x="477" y="912"/>
                    </a:lnTo>
                    <a:lnTo>
                      <a:pt x="477" y="913"/>
                    </a:lnTo>
                    <a:lnTo>
                      <a:pt x="479" y="915"/>
                    </a:lnTo>
                    <a:lnTo>
                      <a:pt x="479" y="916"/>
                    </a:lnTo>
                    <a:lnTo>
                      <a:pt x="477" y="917"/>
                    </a:lnTo>
                    <a:lnTo>
                      <a:pt x="477" y="918"/>
                    </a:lnTo>
                    <a:lnTo>
                      <a:pt x="475" y="918"/>
                    </a:lnTo>
                    <a:lnTo>
                      <a:pt x="471" y="918"/>
                    </a:lnTo>
                    <a:lnTo>
                      <a:pt x="466" y="917"/>
                    </a:lnTo>
                    <a:lnTo>
                      <a:pt x="464" y="915"/>
                    </a:lnTo>
                    <a:lnTo>
                      <a:pt x="463" y="913"/>
                    </a:lnTo>
                    <a:lnTo>
                      <a:pt x="462" y="911"/>
                    </a:lnTo>
                    <a:lnTo>
                      <a:pt x="462" y="910"/>
                    </a:lnTo>
                    <a:lnTo>
                      <a:pt x="464" y="909"/>
                    </a:lnTo>
                    <a:lnTo>
                      <a:pt x="466" y="909"/>
                    </a:lnTo>
                    <a:close/>
                    <a:moveTo>
                      <a:pt x="623" y="892"/>
                    </a:moveTo>
                    <a:lnTo>
                      <a:pt x="624" y="894"/>
                    </a:lnTo>
                    <a:lnTo>
                      <a:pt x="626" y="896"/>
                    </a:lnTo>
                    <a:lnTo>
                      <a:pt x="627" y="898"/>
                    </a:lnTo>
                    <a:lnTo>
                      <a:pt x="627" y="901"/>
                    </a:lnTo>
                    <a:lnTo>
                      <a:pt x="627" y="906"/>
                    </a:lnTo>
                    <a:lnTo>
                      <a:pt x="626" y="908"/>
                    </a:lnTo>
                    <a:lnTo>
                      <a:pt x="625" y="908"/>
                    </a:lnTo>
                    <a:lnTo>
                      <a:pt x="624" y="908"/>
                    </a:lnTo>
                    <a:lnTo>
                      <a:pt x="622" y="906"/>
                    </a:lnTo>
                    <a:lnTo>
                      <a:pt x="621" y="905"/>
                    </a:lnTo>
                    <a:lnTo>
                      <a:pt x="621" y="902"/>
                    </a:lnTo>
                    <a:lnTo>
                      <a:pt x="619" y="900"/>
                    </a:lnTo>
                    <a:lnTo>
                      <a:pt x="619" y="897"/>
                    </a:lnTo>
                    <a:lnTo>
                      <a:pt x="621" y="895"/>
                    </a:lnTo>
                    <a:lnTo>
                      <a:pt x="622" y="894"/>
                    </a:lnTo>
                    <a:lnTo>
                      <a:pt x="623" y="892"/>
                    </a:lnTo>
                    <a:close/>
                    <a:moveTo>
                      <a:pt x="487" y="883"/>
                    </a:moveTo>
                    <a:lnTo>
                      <a:pt x="491" y="883"/>
                    </a:lnTo>
                    <a:lnTo>
                      <a:pt x="492" y="883"/>
                    </a:lnTo>
                    <a:lnTo>
                      <a:pt x="494" y="883"/>
                    </a:lnTo>
                    <a:lnTo>
                      <a:pt x="496" y="884"/>
                    </a:lnTo>
                    <a:lnTo>
                      <a:pt x="496" y="884"/>
                    </a:lnTo>
                    <a:lnTo>
                      <a:pt x="496" y="885"/>
                    </a:lnTo>
                    <a:lnTo>
                      <a:pt x="497" y="886"/>
                    </a:lnTo>
                    <a:lnTo>
                      <a:pt x="496" y="887"/>
                    </a:lnTo>
                    <a:lnTo>
                      <a:pt x="496" y="888"/>
                    </a:lnTo>
                    <a:lnTo>
                      <a:pt x="495" y="888"/>
                    </a:lnTo>
                    <a:lnTo>
                      <a:pt x="492" y="889"/>
                    </a:lnTo>
                    <a:lnTo>
                      <a:pt x="490" y="889"/>
                    </a:lnTo>
                    <a:lnTo>
                      <a:pt x="487" y="888"/>
                    </a:lnTo>
                    <a:lnTo>
                      <a:pt x="486" y="888"/>
                    </a:lnTo>
                    <a:lnTo>
                      <a:pt x="485" y="886"/>
                    </a:lnTo>
                    <a:lnTo>
                      <a:pt x="484" y="885"/>
                    </a:lnTo>
                    <a:lnTo>
                      <a:pt x="484" y="884"/>
                    </a:lnTo>
                    <a:lnTo>
                      <a:pt x="485" y="883"/>
                    </a:lnTo>
                    <a:lnTo>
                      <a:pt x="487" y="883"/>
                    </a:lnTo>
                    <a:close/>
                    <a:moveTo>
                      <a:pt x="1347" y="881"/>
                    </a:moveTo>
                    <a:lnTo>
                      <a:pt x="1348" y="883"/>
                    </a:lnTo>
                    <a:lnTo>
                      <a:pt x="1349" y="883"/>
                    </a:lnTo>
                    <a:lnTo>
                      <a:pt x="1350" y="884"/>
                    </a:lnTo>
                    <a:lnTo>
                      <a:pt x="1349" y="885"/>
                    </a:lnTo>
                    <a:lnTo>
                      <a:pt x="1348" y="887"/>
                    </a:lnTo>
                    <a:lnTo>
                      <a:pt x="1347" y="888"/>
                    </a:lnTo>
                    <a:lnTo>
                      <a:pt x="1346" y="887"/>
                    </a:lnTo>
                    <a:lnTo>
                      <a:pt x="1345" y="886"/>
                    </a:lnTo>
                    <a:lnTo>
                      <a:pt x="1345" y="884"/>
                    </a:lnTo>
                    <a:lnTo>
                      <a:pt x="1347" y="881"/>
                    </a:lnTo>
                    <a:close/>
                    <a:moveTo>
                      <a:pt x="515" y="874"/>
                    </a:moveTo>
                    <a:lnTo>
                      <a:pt x="517" y="874"/>
                    </a:lnTo>
                    <a:lnTo>
                      <a:pt x="520" y="875"/>
                    </a:lnTo>
                    <a:lnTo>
                      <a:pt x="524" y="876"/>
                    </a:lnTo>
                    <a:lnTo>
                      <a:pt x="526" y="877"/>
                    </a:lnTo>
                    <a:lnTo>
                      <a:pt x="526" y="885"/>
                    </a:lnTo>
                    <a:lnTo>
                      <a:pt x="525" y="887"/>
                    </a:lnTo>
                    <a:lnTo>
                      <a:pt x="524" y="887"/>
                    </a:lnTo>
                    <a:lnTo>
                      <a:pt x="521" y="887"/>
                    </a:lnTo>
                    <a:lnTo>
                      <a:pt x="519" y="886"/>
                    </a:lnTo>
                    <a:lnTo>
                      <a:pt x="517" y="885"/>
                    </a:lnTo>
                    <a:lnTo>
                      <a:pt x="516" y="884"/>
                    </a:lnTo>
                    <a:lnTo>
                      <a:pt x="515" y="883"/>
                    </a:lnTo>
                    <a:lnTo>
                      <a:pt x="513" y="879"/>
                    </a:lnTo>
                    <a:lnTo>
                      <a:pt x="513" y="877"/>
                    </a:lnTo>
                    <a:lnTo>
                      <a:pt x="513" y="875"/>
                    </a:lnTo>
                    <a:lnTo>
                      <a:pt x="514" y="874"/>
                    </a:lnTo>
                    <a:lnTo>
                      <a:pt x="515" y="874"/>
                    </a:lnTo>
                    <a:close/>
                    <a:moveTo>
                      <a:pt x="1421" y="818"/>
                    </a:moveTo>
                    <a:lnTo>
                      <a:pt x="1422" y="818"/>
                    </a:lnTo>
                    <a:lnTo>
                      <a:pt x="1423" y="819"/>
                    </a:lnTo>
                    <a:lnTo>
                      <a:pt x="1423" y="820"/>
                    </a:lnTo>
                    <a:lnTo>
                      <a:pt x="1422" y="822"/>
                    </a:lnTo>
                    <a:lnTo>
                      <a:pt x="1421" y="823"/>
                    </a:lnTo>
                    <a:lnTo>
                      <a:pt x="1420" y="824"/>
                    </a:lnTo>
                    <a:lnTo>
                      <a:pt x="1418" y="824"/>
                    </a:lnTo>
                    <a:lnTo>
                      <a:pt x="1418" y="823"/>
                    </a:lnTo>
                    <a:lnTo>
                      <a:pt x="1418" y="821"/>
                    </a:lnTo>
                    <a:lnTo>
                      <a:pt x="1419" y="820"/>
                    </a:lnTo>
                    <a:lnTo>
                      <a:pt x="1420" y="819"/>
                    </a:lnTo>
                    <a:lnTo>
                      <a:pt x="1421" y="818"/>
                    </a:lnTo>
                    <a:close/>
                    <a:moveTo>
                      <a:pt x="924" y="789"/>
                    </a:moveTo>
                    <a:lnTo>
                      <a:pt x="927" y="790"/>
                    </a:lnTo>
                    <a:lnTo>
                      <a:pt x="929" y="790"/>
                    </a:lnTo>
                    <a:lnTo>
                      <a:pt x="929" y="791"/>
                    </a:lnTo>
                    <a:lnTo>
                      <a:pt x="928" y="792"/>
                    </a:lnTo>
                    <a:lnTo>
                      <a:pt x="927" y="793"/>
                    </a:lnTo>
                    <a:lnTo>
                      <a:pt x="924" y="793"/>
                    </a:lnTo>
                    <a:lnTo>
                      <a:pt x="922" y="795"/>
                    </a:lnTo>
                    <a:lnTo>
                      <a:pt x="920" y="795"/>
                    </a:lnTo>
                    <a:lnTo>
                      <a:pt x="919" y="793"/>
                    </a:lnTo>
                    <a:lnTo>
                      <a:pt x="918" y="792"/>
                    </a:lnTo>
                    <a:lnTo>
                      <a:pt x="917" y="791"/>
                    </a:lnTo>
                    <a:lnTo>
                      <a:pt x="916" y="791"/>
                    </a:lnTo>
                    <a:lnTo>
                      <a:pt x="917" y="790"/>
                    </a:lnTo>
                    <a:lnTo>
                      <a:pt x="918" y="790"/>
                    </a:lnTo>
                    <a:lnTo>
                      <a:pt x="921" y="789"/>
                    </a:lnTo>
                    <a:lnTo>
                      <a:pt x="924" y="789"/>
                    </a:lnTo>
                    <a:close/>
                    <a:moveTo>
                      <a:pt x="886" y="780"/>
                    </a:moveTo>
                    <a:lnTo>
                      <a:pt x="889" y="780"/>
                    </a:lnTo>
                    <a:lnTo>
                      <a:pt x="891" y="781"/>
                    </a:lnTo>
                    <a:lnTo>
                      <a:pt x="894" y="782"/>
                    </a:lnTo>
                    <a:lnTo>
                      <a:pt x="896" y="784"/>
                    </a:lnTo>
                    <a:lnTo>
                      <a:pt x="899" y="785"/>
                    </a:lnTo>
                    <a:lnTo>
                      <a:pt x="902" y="784"/>
                    </a:lnTo>
                    <a:lnTo>
                      <a:pt x="905" y="785"/>
                    </a:lnTo>
                    <a:lnTo>
                      <a:pt x="905" y="785"/>
                    </a:lnTo>
                    <a:lnTo>
                      <a:pt x="905" y="786"/>
                    </a:lnTo>
                    <a:lnTo>
                      <a:pt x="905" y="787"/>
                    </a:lnTo>
                    <a:lnTo>
                      <a:pt x="902" y="787"/>
                    </a:lnTo>
                    <a:lnTo>
                      <a:pt x="900" y="787"/>
                    </a:lnTo>
                    <a:lnTo>
                      <a:pt x="898" y="788"/>
                    </a:lnTo>
                    <a:lnTo>
                      <a:pt x="896" y="788"/>
                    </a:lnTo>
                    <a:lnTo>
                      <a:pt x="892" y="788"/>
                    </a:lnTo>
                    <a:lnTo>
                      <a:pt x="889" y="787"/>
                    </a:lnTo>
                    <a:lnTo>
                      <a:pt x="887" y="786"/>
                    </a:lnTo>
                    <a:lnTo>
                      <a:pt x="885" y="785"/>
                    </a:lnTo>
                    <a:lnTo>
                      <a:pt x="883" y="784"/>
                    </a:lnTo>
                    <a:lnTo>
                      <a:pt x="881" y="782"/>
                    </a:lnTo>
                    <a:lnTo>
                      <a:pt x="881" y="782"/>
                    </a:lnTo>
                    <a:lnTo>
                      <a:pt x="881" y="781"/>
                    </a:lnTo>
                    <a:lnTo>
                      <a:pt x="884" y="780"/>
                    </a:lnTo>
                    <a:lnTo>
                      <a:pt x="886" y="780"/>
                    </a:lnTo>
                    <a:close/>
                    <a:moveTo>
                      <a:pt x="1000" y="771"/>
                    </a:moveTo>
                    <a:lnTo>
                      <a:pt x="1004" y="771"/>
                    </a:lnTo>
                    <a:lnTo>
                      <a:pt x="1005" y="772"/>
                    </a:lnTo>
                    <a:lnTo>
                      <a:pt x="1006" y="774"/>
                    </a:lnTo>
                    <a:lnTo>
                      <a:pt x="1006" y="776"/>
                    </a:lnTo>
                    <a:lnTo>
                      <a:pt x="1003" y="777"/>
                    </a:lnTo>
                    <a:lnTo>
                      <a:pt x="1000" y="777"/>
                    </a:lnTo>
                    <a:lnTo>
                      <a:pt x="997" y="777"/>
                    </a:lnTo>
                    <a:lnTo>
                      <a:pt x="995" y="776"/>
                    </a:lnTo>
                    <a:lnTo>
                      <a:pt x="994" y="775"/>
                    </a:lnTo>
                    <a:lnTo>
                      <a:pt x="994" y="774"/>
                    </a:lnTo>
                    <a:lnTo>
                      <a:pt x="995" y="771"/>
                    </a:lnTo>
                    <a:lnTo>
                      <a:pt x="998" y="771"/>
                    </a:lnTo>
                    <a:lnTo>
                      <a:pt x="1000" y="771"/>
                    </a:lnTo>
                    <a:close/>
                    <a:moveTo>
                      <a:pt x="1003" y="752"/>
                    </a:moveTo>
                    <a:lnTo>
                      <a:pt x="1004" y="753"/>
                    </a:lnTo>
                    <a:lnTo>
                      <a:pt x="1005" y="754"/>
                    </a:lnTo>
                    <a:lnTo>
                      <a:pt x="1006" y="755"/>
                    </a:lnTo>
                    <a:lnTo>
                      <a:pt x="1006" y="755"/>
                    </a:lnTo>
                    <a:lnTo>
                      <a:pt x="1006" y="756"/>
                    </a:lnTo>
                    <a:lnTo>
                      <a:pt x="1005" y="757"/>
                    </a:lnTo>
                    <a:lnTo>
                      <a:pt x="1004" y="759"/>
                    </a:lnTo>
                    <a:lnTo>
                      <a:pt x="1001" y="759"/>
                    </a:lnTo>
                    <a:lnTo>
                      <a:pt x="1000" y="759"/>
                    </a:lnTo>
                    <a:lnTo>
                      <a:pt x="999" y="759"/>
                    </a:lnTo>
                    <a:lnTo>
                      <a:pt x="999" y="757"/>
                    </a:lnTo>
                    <a:lnTo>
                      <a:pt x="999" y="757"/>
                    </a:lnTo>
                    <a:lnTo>
                      <a:pt x="1000" y="756"/>
                    </a:lnTo>
                    <a:lnTo>
                      <a:pt x="1001" y="755"/>
                    </a:lnTo>
                    <a:lnTo>
                      <a:pt x="1001" y="753"/>
                    </a:lnTo>
                    <a:lnTo>
                      <a:pt x="1003" y="752"/>
                    </a:lnTo>
                    <a:close/>
                    <a:moveTo>
                      <a:pt x="1000" y="735"/>
                    </a:moveTo>
                    <a:lnTo>
                      <a:pt x="1003" y="735"/>
                    </a:lnTo>
                    <a:lnTo>
                      <a:pt x="1003" y="736"/>
                    </a:lnTo>
                    <a:lnTo>
                      <a:pt x="1004" y="737"/>
                    </a:lnTo>
                    <a:lnTo>
                      <a:pt x="1006" y="738"/>
                    </a:lnTo>
                    <a:lnTo>
                      <a:pt x="1007" y="739"/>
                    </a:lnTo>
                    <a:lnTo>
                      <a:pt x="1007" y="742"/>
                    </a:lnTo>
                    <a:lnTo>
                      <a:pt x="1007" y="744"/>
                    </a:lnTo>
                    <a:lnTo>
                      <a:pt x="1006" y="747"/>
                    </a:lnTo>
                    <a:lnTo>
                      <a:pt x="1004" y="749"/>
                    </a:lnTo>
                    <a:lnTo>
                      <a:pt x="1003" y="750"/>
                    </a:lnTo>
                    <a:lnTo>
                      <a:pt x="1001" y="750"/>
                    </a:lnTo>
                    <a:lnTo>
                      <a:pt x="1000" y="750"/>
                    </a:lnTo>
                    <a:lnTo>
                      <a:pt x="1000" y="749"/>
                    </a:lnTo>
                    <a:lnTo>
                      <a:pt x="1000" y="748"/>
                    </a:lnTo>
                    <a:lnTo>
                      <a:pt x="1000" y="747"/>
                    </a:lnTo>
                    <a:lnTo>
                      <a:pt x="1001" y="745"/>
                    </a:lnTo>
                    <a:lnTo>
                      <a:pt x="1003" y="744"/>
                    </a:lnTo>
                    <a:lnTo>
                      <a:pt x="1003" y="743"/>
                    </a:lnTo>
                    <a:lnTo>
                      <a:pt x="1001" y="742"/>
                    </a:lnTo>
                    <a:lnTo>
                      <a:pt x="1001" y="741"/>
                    </a:lnTo>
                    <a:lnTo>
                      <a:pt x="1000" y="739"/>
                    </a:lnTo>
                    <a:lnTo>
                      <a:pt x="1000" y="738"/>
                    </a:lnTo>
                    <a:lnTo>
                      <a:pt x="999" y="737"/>
                    </a:lnTo>
                    <a:lnTo>
                      <a:pt x="999" y="736"/>
                    </a:lnTo>
                    <a:lnTo>
                      <a:pt x="1000" y="735"/>
                    </a:lnTo>
                    <a:lnTo>
                      <a:pt x="1000" y="735"/>
                    </a:lnTo>
                    <a:close/>
                    <a:moveTo>
                      <a:pt x="1964" y="712"/>
                    </a:moveTo>
                    <a:lnTo>
                      <a:pt x="1963" y="713"/>
                    </a:lnTo>
                    <a:lnTo>
                      <a:pt x="1961" y="714"/>
                    </a:lnTo>
                    <a:lnTo>
                      <a:pt x="1960" y="716"/>
                    </a:lnTo>
                    <a:lnTo>
                      <a:pt x="1959" y="719"/>
                    </a:lnTo>
                    <a:lnTo>
                      <a:pt x="1959" y="719"/>
                    </a:lnTo>
                    <a:lnTo>
                      <a:pt x="1959" y="721"/>
                    </a:lnTo>
                    <a:lnTo>
                      <a:pt x="1958" y="723"/>
                    </a:lnTo>
                    <a:lnTo>
                      <a:pt x="1957" y="725"/>
                    </a:lnTo>
                    <a:lnTo>
                      <a:pt x="1956" y="727"/>
                    </a:lnTo>
                    <a:lnTo>
                      <a:pt x="1955" y="730"/>
                    </a:lnTo>
                    <a:lnTo>
                      <a:pt x="1955" y="732"/>
                    </a:lnTo>
                    <a:lnTo>
                      <a:pt x="1954" y="737"/>
                    </a:lnTo>
                    <a:lnTo>
                      <a:pt x="1952" y="744"/>
                    </a:lnTo>
                    <a:lnTo>
                      <a:pt x="1952" y="748"/>
                    </a:lnTo>
                    <a:lnTo>
                      <a:pt x="1953" y="752"/>
                    </a:lnTo>
                    <a:lnTo>
                      <a:pt x="1953" y="747"/>
                    </a:lnTo>
                    <a:lnTo>
                      <a:pt x="1954" y="745"/>
                    </a:lnTo>
                    <a:lnTo>
                      <a:pt x="1955" y="743"/>
                    </a:lnTo>
                    <a:lnTo>
                      <a:pt x="1955" y="741"/>
                    </a:lnTo>
                    <a:lnTo>
                      <a:pt x="1961" y="727"/>
                    </a:lnTo>
                    <a:lnTo>
                      <a:pt x="1961" y="726"/>
                    </a:lnTo>
                    <a:lnTo>
                      <a:pt x="1963" y="724"/>
                    </a:lnTo>
                    <a:lnTo>
                      <a:pt x="1963" y="722"/>
                    </a:lnTo>
                    <a:lnTo>
                      <a:pt x="1964" y="719"/>
                    </a:lnTo>
                    <a:lnTo>
                      <a:pt x="1965" y="716"/>
                    </a:lnTo>
                    <a:lnTo>
                      <a:pt x="1965" y="714"/>
                    </a:lnTo>
                    <a:lnTo>
                      <a:pt x="1965" y="713"/>
                    </a:lnTo>
                    <a:lnTo>
                      <a:pt x="1964" y="712"/>
                    </a:lnTo>
                    <a:close/>
                    <a:moveTo>
                      <a:pt x="986" y="708"/>
                    </a:moveTo>
                    <a:lnTo>
                      <a:pt x="989" y="708"/>
                    </a:lnTo>
                    <a:lnTo>
                      <a:pt x="994" y="710"/>
                    </a:lnTo>
                    <a:lnTo>
                      <a:pt x="996" y="713"/>
                    </a:lnTo>
                    <a:lnTo>
                      <a:pt x="997" y="715"/>
                    </a:lnTo>
                    <a:lnTo>
                      <a:pt x="998" y="717"/>
                    </a:lnTo>
                    <a:lnTo>
                      <a:pt x="997" y="720"/>
                    </a:lnTo>
                    <a:lnTo>
                      <a:pt x="997" y="721"/>
                    </a:lnTo>
                    <a:lnTo>
                      <a:pt x="998" y="721"/>
                    </a:lnTo>
                    <a:lnTo>
                      <a:pt x="999" y="721"/>
                    </a:lnTo>
                    <a:lnTo>
                      <a:pt x="1000" y="722"/>
                    </a:lnTo>
                    <a:lnTo>
                      <a:pt x="1001" y="722"/>
                    </a:lnTo>
                    <a:lnTo>
                      <a:pt x="1003" y="723"/>
                    </a:lnTo>
                    <a:lnTo>
                      <a:pt x="1005" y="724"/>
                    </a:lnTo>
                    <a:lnTo>
                      <a:pt x="1005" y="725"/>
                    </a:lnTo>
                    <a:lnTo>
                      <a:pt x="1004" y="726"/>
                    </a:lnTo>
                    <a:lnTo>
                      <a:pt x="1001" y="728"/>
                    </a:lnTo>
                    <a:lnTo>
                      <a:pt x="999" y="730"/>
                    </a:lnTo>
                    <a:lnTo>
                      <a:pt x="997" y="730"/>
                    </a:lnTo>
                    <a:lnTo>
                      <a:pt x="995" y="730"/>
                    </a:lnTo>
                    <a:lnTo>
                      <a:pt x="993" y="727"/>
                    </a:lnTo>
                    <a:lnTo>
                      <a:pt x="993" y="723"/>
                    </a:lnTo>
                    <a:lnTo>
                      <a:pt x="990" y="722"/>
                    </a:lnTo>
                    <a:lnTo>
                      <a:pt x="989" y="722"/>
                    </a:lnTo>
                    <a:lnTo>
                      <a:pt x="988" y="722"/>
                    </a:lnTo>
                    <a:lnTo>
                      <a:pt x="987" y="721"/>
                    </a:lnTo>
                    <a:lnTo>
                      <a:pt x="987" y="720"/>
                    </a:lnTo>
                    <a:lnTo>
                      <a:pt x="988" y="719"/>
                    </a:lnTo>
                    <a:lnTo>
                      <a:pt x="987" y="717"/>
                    </a:lnTo>
                    <a:lnTo>
                      <a:pt x="987" y="716"/>
                    </a:lnTo>
                    <a:lnTo>
                      <a:pt x="985" y="716"/>
                    </a:lnTo>
                    <a:lnTo>
                      <a:pt x="984" y="716"/>
                    </a:lnTo>
                    <a:lnTo>
                      <a:pt x="982" y="716"/>
                    </a:lnTo>
                    <a:lnTo>
                      <a:pt x="978" y="715"/>
                    </a:lnTo>
                    <a:lnTo>
                      <a:pt x="977" y="715"/>
                    </a:lnTo>
                    <a:lnTo>
                      <a:pt x="976" y="714"/>
                    </a:lnTo>
                    <a:lnTo>
                      <a:pt x="976" y="713"/>
                    </a:lnTo>
                    <a:lnTo>
                      <a:pt x="977" y="711"/>
                    </a:lnTo>
                    <a:lnTo>
                      <a:pt x="978" y="710"/>
                    </a:lnTo>
                    <a:lnTo>
                      <a:pt x="981" y="709"/>
                    </a:lnTo>
                    <a:lnTo>
                      <a:pt x="983" y="708"/>
                    </a:lnTo>
                    <a:lnTo>
                      <a:pt x="986" y="708"/>
                    </a:lnTo>
                    <a:close/>
                    <a:moveTo>
                      <a:pt x="977" y="695"/>
                    </a:moveTo>
                    <a:lnTo>
                      <a:pt x="981" y="697"/>
                    </a:lnTo>
                    <a:lnTo>
                      <a:pt x="983" y="698"/>
                    </a:lnTo>
                    <a:lnTo>
                      <a:pt x="985" y="699"/>
                    </a:lnTo>
                    <a:lnTo>
                      <a:pt x="986" y="700"/>
                    </a:lnTo>
                    <a:lnTo>
                      <a:pt x="986" y="702"/>
                    </a:lnTo>
                    <a:lnTo>
                      <a:pt x="985" y="703"/>
                    </a:lnTo>
                    <a:lnTo>
                      <a:pt x="984" y="704"/>
                    </a:lnTo>
                    <a:lnTo>
                      <a:pt x="981" y="705"/>
                    </a:lnTo>
                    <a:lnTo>
                      <a:pt x="977" y="704"/>
                    </a:lnTo>
                    <a:lnTo>
                      <a:pt x="975" y="703"/>
                    </a:lnTo>
                    <a:lnTo>
                      <a:pt x="974" y="702"/>
                    </a:lnTo>
                    <a:lnTo>
                      <a:pt x="974" y="700"/>
                    </a:lnTo>
                    <a:lnTo>
                      <a:pt x="975" y="698"/>
                    </a:lnTo>
                    <a:lnTo>
                      <a:pt x="977" y="695"/>
                    </a:lnTo>
                    <a:close/>
                    <a:moveTo>
                      <a:pt x="2044" y="693"/>
                    </a:moveTo>
                    <a:lnTo>
                      <a:pt x="2044" y="693"/>
                    </a:lnTo>
                    <a:lnTo>
                      <a:pt x="2045" y="695"/>
                    </a:lnTo>
                    <a:lnTo>
                      <a:pt x="2045" y="697"/>
                    </a:lnTo>
                    <a:lnTo>
                      <a:pt x="2045" y="699"/>
                    </a:lnTo>
                    <a:lnTo>
                      <a:pt x="2044" y="702"/>
                    </a:lnTo>
                    <a:lnTo>
                      <a:pt x="2044" y="704"/>
                    </a:lnTo>
                    <a:lnTo>
                      <a:pt x="2044" y="705"/>
                    </a:lnTo>
                    <a:lnTo>
                      <a:pt x="2044" y="706"/>
                    </a:lnTo>
                    <a:lnTo>
                      <a:pt x="2045" y="708"/>
                    </a:lnTo>
                    <a:lnTo>
                      <a:pt x="2046" y="709"/>
                    </a:lnTo>
                    <a:lnTo>
                      <a:pt x="2046" y="711"/>
                    </a:lnTo>
                    <a:lnTo>
                      <a:pt x="2045" y="713"/>
                    </a:lnTo>
                    <a:lnTo>
                      <a:pt x="2044" y="715"/>
                    </a:lnTo>
                    <a:lnTo>
                      <a:pt x="2044" y="719"/>
                    </a:lnTo>
                    <a:lnTo>
                      <a:pt x="2044" y="721"/>
                    </a:lnTo>
                    <a:lnTo>
                      <a:pt x="2042" y="723"/>
                    </a:lnTo>
                    <a:lnTo>
                      <a:pt x="2040" y="725"/>
                    </a:lnTo>
                    <a:lnTo>
                      <a:pt x="2038" y="727"/>
                    </a:lnTo>
                    <a:lnTo>
                      <a:pt x="2036" y="731"/>
                    </a:lnTo>
                    <a:lnTo>
                      <a:pt x="2036" y="734"/>
                    </a:lnTo>
                    <a:lnTo>
                      <a:pt x="2035" y="738"/>
                    </a:lnTo>
                    <a:lnTo>
                      <a:pt x="2033" y="741"/>
                    </a:lnTo>
                    <a:lnTo>
                      <a:pt x="2032" y="743"/>
                    </a:lnTo>
                    <a:lnTo>
                      <a:pt x="2031" y="745"/>
                    </a:lnTo>
                    <a:lnTo>
                      <a:pt x="2030" y="748"/>
                    </a:lnTo>
                    <a:lnTo>
                      <a:pt x="2029" y="750"/>
                    </a:lnTo>
                    <a:lnTo>
                      <a:pt x="2027" y="753"/>
                    </a:lnTo>
                    <a:lnTo>
                      <a:pt x="2026" y="756"/>
                    </a:lnTo>
                    <a:lnTo>
                      <a:pt x="2013" y="784"/>
                    </a:lnTo>
                    <a:lnTo>
                      <a:pt x="2009" y="795"/>
                    </a:lnTo>
                    <a:lnTo>
                      <a:pt x="2003" y="806"/>
                    </a:lnTo>
                    <a:lnTo>
                      <a:pt x="1997" y="819"/>
                    </a:lnTo>
                    <a:lnTo>
                      <a:pt x="1996" y="821"/>
                    </a:lnTo>
                    <a:lnTo>
                      <a:pt x="1994" y="822"/>
                    </a:lnTo>
                    <a:lnTo>
                      <a:pt x="1992" y="824"/>
                    </a:lnTo>
                    <a:lnTo>
                      <a:pt x="1992" y="825"/>
                    </a:lnTo>
                    <a:lnTo>
                      <a:pt x="1989" y="828"/>
                    </a:lnTo>
                    <a:lnTo>
                      <a:pt x="1987" y="830"/>
                    </a:lnTo>
                    <a:lnTo>
                      <a:pt x="1985" y="832"/>
                    </a:lnTo>
                    <a:lnTo>
                      <a:pt x="1982" y="833"/>
                    </a:lnTo>
                    <a:lnTo>
                      <a:pt x="1980" y="833"/>
                    </a:lnTo>
                    <a:lnTo>
                      <a:pt x="1979" y="833"/>
                    </a:lnTo>
                    <a:lnTo>
                      <a:pt x="1978" y="831"/>
                    </a:lnTo>
                    <a:lnTo>
                      <a:pt x="1976" y="830"/>
                    </a:lnTo>
                    <a:lnTo>
                      <a:pt x="1975" y="829"/>
                    </a:lnTo>
                    <a:lnTo>
                      <a:pt x="1974" y="826"/>
                    </a:lnTo>
                    <a:lnTo>
                      <a:pt x="1974" y="824"/>
                    </a:lnTo>
                    <a:lnTo>
                      <a:pt x="1975" y="821"/>
                    </a:lnTo>
                    <a:lnTo>
                      <a:pt x="1976" y="819"/>
                    </a:lnTo>
                    <a:lnTo>
                      <a:pt x="1977" y="817"/>
                    </a:lnTo>
                    <a:lnTo>
                      <a:pt x="1977" y="815"/>
                    </a:lnTo>
                    <a:lnTo>
                      <a:pt x="1977" y="814"/>
                    </a:lnTo>
                    <a:lnTo>
                      <a:pt x="1977" y="813"/>
                    </a:lnTo>
                    <a:lnTo>
                      <a:pt x="1977" y="812"/>
                    </a:lnTo>
                    <a:lnTo>
                      <a:pt x="1977" y="810"/>
                    </a:lnTo>
                    <a:lnTo>
                      <a:pt x="1977" y="808"/>
                    </a:lnTo>
                    <a:lnTo>
                      <a:pt x="1978" y="806"/>
                    </a:lnTo>
                    <a:lnTo>
                      <a:pt x="1978" y="803"/>
                    </a:lnTo>
                    <a:lnTo>
                      <a:pt x="1980" y="802"/>
                    </a:lnTo>
                    <a:lnTo>
                      <a:pt x="1981" y="801"/>
                    </a:lnTo>
                    <a:lnTo>
                      <a:pt x="1982" y="799"/>
                    </a:lnTo>
                    <a:lnTo>
                      <a:pt x="1983" y="797"/>
                    </a:lnTo>
                    <a:lnTo>
                      <a:pt x="1985" y="795"/>
                    </a:lnTo>
                    <a:lnTo>
                      <a:pt x="1986" y="792"/>
                    </a:lnTo>
                    <a:lnTo>
                      <a:pt x="1991" y="782"/>
                    </a:lnTo>
                    <a:lnTo>
                      <a:pt x="1994" y="771"/>
                    </a:lnTo>
                    <a:lnTo>
                      <a:pt x="1996" y="767"/>
                    </a:lnTo>
                    <a:lnTo>
                      <a:pt x="1997" y="763"/>
                    </a:lnTo>
                    <a:lnTo>
                      <a:pt x="1999" y="758"/>
                    </a:lnTo>
                    <a:lnTo>
                      <a:pt x="1999" y="756"/>
                    </a:lnTo>
                    <a:lnTo>
                      <a:pt x="2000" y="754"/>
                    </a:lnTo>
                    <a:lnTo>
                      <a:pt x="2000" y="752"/>
                    </a:lnTo>
                    <a:lnTo>
                      <a:pt x="2001" y="749"/>
                    </a:lnTo>
                    <a:lnTo>
                      <a:pt x="2002" y="747"/>
                    </a:lnTo>
                    <a:lnTo>
                      <a:pt x="2004" y="745"/>
                    </a:lnTo>
                    <a:lnTo>
                      <a:pt x="2007" y="743"/>
                    </a:lnTo>
                    <a:lnTo>
                      <a:pt x="2009" y="741"/>
                    </a:lnTo>
                    <a:lnTo>
                      <a:pt x="2009" y="738"/>
                    </a:lnTo>
                    <a:lnTo>
                      <a:pt x="2011" y="736"/>
                    </a:lnTo>
                    <a:lnTo>
                      <a:pt x="2013" y="735"/>
                    </a:lnTo>
                    <a:lnTo>
                      <a:pt x="2015" y="734"/>
                    </a:lnTo>
                    <a:lnTo>
                      <a:pt x="2022" y="727"/>
                    </a:lnTo>
                    <a:lnTo>
                      <a:pt x="2023" y="726"/>
                    </a:lnTo>
                    <a:lnTo>
                      <a:pt x="2024" y="724"/>
                    </a:lnTo>
                    <a:lnTo>
                      <a:pt x="2026" y="722"/>
                    </a:lnTo>
                    <a:lnTo>
                      <a:pt x="2029" y="721"/>
                    </a:lnTo>
                    <a:lnTo>
                      <a:pt x="2031" y="719"/>
                    </a:lnTo>
                    <a:lnTo>
                      <a:pt x="2031" y="716"/>
                    </a:lnTo>
                    <a:lnTo>
                      <a:pt x="2031" y="715"/>
                    </a:lnTo>
                    <a:lnTo>
                      <a:pt x="2031" y="715"/>
                    </a:lnTo>
                    <a:lnTo>
                      <a:pt x="2030" y="715"/>
                    </a:lnTo>
                    <a:lnTo>
                      <a:pt x="2030" y="715"/>
                    </a:lnTo>
                    <a:lnTo>
                      <a:pt x="2029" y="713"/>
                    </a:lnTo>
                    <a:lnTo>
                      <a:pt x="2030" y="711"/>
                    </a:lnTo>
                    <a:lnTo>
                      <a:pt x="2031" y="709"/>
                    </a:lnTo>
                    <a:lnTo>
                      <a:pt x="2031" y="706"/>
                    </a:lnTo>
                    <a:lnTo>
                      <a:pt x="2033" y="705"/>
                    </a:lnTo>
                    <a:lnTo>
                      <a:pt x="2035" y="704"/>
                    </a:lnTo>
                    <a:lnTo>
                      <a:pt x="2037" y="702"/>
                    </a:lnTo>
                    <a:lnTo>
                      <a:pt x="2038" y="701"/>
                    </a:lnTo>
                    <a:lnTo>
                      <a:pt x="2040" y="699"/>
                    </a:lnTo>
                    <a:lnTo>
                      <a:pt x="2042" y="698"/>
                    </a:lnTo>
                    <a:lnTo>
                      <a:pt x="2042" y="695"/>
                    </a:lnTo>
                    <a:lnTo>
                      <a:pt x="2043" y="693"/>
                    </a:lnTo>
                    <a:lnTo>
                      <a:pt x="2044" y="693"/>
                    </a:lnTo>
                    <a:close/>
                    <a:moveTo>
                      <a:pt x="975" y="687"/>
                    </a:moveTo>
                    <a:lnTo>
                      <a:pt x="975" y="688"/>
                    </a:lnTo>
                    <a:lnTo>
                      <a:pt x="976" y="688"/>
                    </a:lnTo>
                    <a:lnTo>
                      <a:pt x="976" y="689"/>
                    </a:lnTo>
                    <a:lnTo>
                      <a:pt x="977" y="690"/>
                    </a:lnTo>
                    <a:lnTo>
                      <a:pt x="977" y="691"/>
                    </a:lnTo>
                    <a:lnTo>
                      <a:pt x="977" y="692"/>
                    </a:lnTo>
                    <a:lnTo>
                      <a:pt x="976" y="693"/>
                    </a:lnTo>
                    <a:lnTo>
                      <a:pt x="974" y="693"/>
                    </a:lnTo>
                    <a:lnTo>
                      <a:pt x="973" y="693"/>
                    </a:lnTo>
                    <a:lnTo>
                      <a:pt x="973" y="692"/>
                    </a:lnTo>
                    <a:lnTo>
                      <a:pt x="972" y="691"/>
                    </a:lnTo>
                    <a:lnTo>
                      <a:pt x="972" y="690"/>
                    </a:lnTo>
                    <a:lnTo>
                      <a:pt x="973" y="689"/>
                    </a:lnTo>
                    <a:lnTo>
                      <a:pt x="973" y="688"/>
                    </a:lnTo>
                    <a:lnTo>
                      <a:pt x="974" y="688"/>
                    </a:lnTo>
                    <a:lnTo>
                      <a:pt x="974" y="687"/>
                    </a:lnTo>
                    <a:lnTo>
                      <a:pt x="975" y="687"/>
                    </a:lnTo>
                    <a:close/>
                    <a:moveTo>
                      <a:pt x="717" y="687"/>
                    </a:moveTo>
                    <a:lnTo>
                      <a:pt x="722" y="688"/>
                    </a:lnTo>
                    <a:lnTo>
                      <a:pt x="725" y="689"/>
                    </a:lnTo>
                    <a:lnTo>
                      <a:pt x="728" y="689"/>
                    </a:lnTo>
                    <a:lnTo>
                      <a:pt x="732" y="690"/>
                    </a:lnTo>
                    <a:lnTo>
                      <a:pt x="736" y="690"/>
                    </a:lnTo>
                    <a:lnTo>
                      <a:pt x="739" y="689"/>
                    </a:lnTo>
                    <a:lnTo>
                      <a:pt x="743" y="689"/>
                    </a:lnTo>
                    <a:lnTo>
                      <a:pt x="746" y="690"/>
                    </a:lnTo>
                    <a:lnTo>
                      <a:pt x="748" y="691"/>
                    </a:lnTo>
                    <a:lnTo>
                      <a:pt x="748" y="693"/>
                    </a:lnTo>
                    <a:lnTo>
                      <a:pt x="747" y="693"/>
                    </a:lnTo>
                    <a:lnTo>
                      <a:pt x="745" y="694"/>
                    </a:lnTo>
                    <a:lnTo>
                      <a:pt x="743" y="694"/>
                    </a:lnTo>
                    <a:lnTo>
                      <a:pt x="741" y="694"/>
                    </a:lnTo>
                    <a:lnTo>
                      <a:pt x="738" y="694"/>
                    </a:lnTo>
                    <a:lnTo>
                      <a:pt x="736" y="694"/>
                    </a:lnTo>
                    <a:lnTo>
                      <a:pt x="726" y="694"/>
                    </a:lnTo>
                    <a:lnTo>
                      <a:pt x="724" y="694"/>
                    </a:lnTo>
                    <a:lnTo>
                      <a:pt x="722" y="693"/>
                    </a:lnTo>
                    <a:lnTo>
                      <a:pt x="721" y="693"/>
                    </a:lnTo>
                    <a:lnTo>
                      <a:pt x="717" y="692"/>
                    </a:lnTo>
                    <a:lnTo>
                      <a:pt x="715" y="692"/>
                    </a:lnTo>
                    <a:lnTo>
                      <a:pt x="714" y="691"/>
                    </a:lnTo>
                    <a:lnTo>
                      <a:pt x="714" y="690"/>
                    </a:lnTo>
                    <a:lnTo>
                      <a:pt x="714" y="689"/>
                    </a:lnTo>
                    <a:lnTo>
                      <a:pt x="715" y="688"/>
                    </a:lnTo>
                    <a:lnTo>
                      <a:pt x="716" y="687"/>
                    </a:lnTo>
                    <a:lnTo>
                      <a:pt x="717" y="687"/>
                    </a:lnTo>
                    <a:close/>
                    <a:moveTo>
                      <a:pt x="1946" y="676"/>
                    </a:moveTo>
                    <a:lnTo>
                      <a:pt x="1946" y="676"/>
                    </a:lnTo>
                    <a:lnTo>
                      <a:pt x="1945" y="677"/>
                    </a:lnTo>
                    <a:lnTo>
                      <a:pt x="1944" y="679"/>
                    </a:lnTo>
                    <a:lnTo>
                      <a:pt x="1943" y="681"/>
                    </a:lnTo>
                    <a:lnTo>
                      <a:pt x="1942" y="684"/>
                    </a:lnTo>
                    <a:lnTo>
                      <a:pt x="1941" y="687"/>
                    </a:lnTo>
                    <a:lnTo>
                      <a:pt x="1939" y="690"/>
                    </a:lnTo>
                    <a:lnTo>
                      <a:pt x="1938" y="693"/>
                    </a:lnTo>
                    <a:lnTo>
                      <a:pt x="1938" y="697"/>
                    </a:lnTo>
                    <a:lnTo>
                      <a:pt x="1938" y="699"/>
                    </a:lnTo>
                    <a:lnTo>
                      <a:pt x="1939" y="700"/>
                    </a:lnTo>
                    <a:lnTo>
                      <a:pt x="1941" y="701"/>
                    </a:lnTo>
                    <a:lnTo>
                      <a:pt x="1943" y="702"/>
                    </a:lnTo>
                    <a:lnTo>
                      <a:pt x="1944" y="703"/>
                    </a:lnTo>
                    <a:lnTo>
                      <a:pt x="1944" y="704"/>
                    </a:lnTo>
                    <a:lnTo>
                      <a:pt x="1944" y="704"/>
                    </a:lnTo>
                    <a:lnTo>
                      <a:pt x="1944" y="703"/>
                    </a:lnTo>
                    <a:lnTo>
                      <a:pt x="1944" y="703"/>
                    </a:lnTo>
                    <a:lnTo>
                      <a:pt x="1944" y="703"/>
                    </a:lnTo>
                    <a:lnTo>
                      <a:pt x="1945" y="702"/>
                    </a:lnTo>
                    <a:lnTo>
                      <a:pt x="1945" y="701"/>
                    </a:lnTo>
                    <a:lnTo>
                      <a:pt x="1944" y="701"/>
                    </a:lnTo>
                    <a:lnTo>
                      <a:pt x="1944" y="683"/>
                    </a:lnTo>
                    <a:lnTo>
                      <a:pt x="1946" y="681"/>
                    </a:lnTo>
                    <a:lnTo>
                      <a:pt x="1946" y="679"/>
                    </a:lnTo>
                    <a:lnTo>
                      <a:pt x="1946" y="677"/>
                    </a:lnTo>
                    <a:lnTo>
                      <a:pt x="1946" y="676"/>
                    </a:lnTo>
                    <a:lnTo>
                      <a:pt x="1946" y="676"/>
                    </a:lnTo>
                    <a:close/>
                    <a:moveTo>
                      <a:pt x="1012" y="661"/>
                    </a:moveTo>
                    <a:lnTo>
                      <a:pt x="1015" y="661"/>
                    </a:lnTo>
                    <a:lnTo>
                      <a:pt x="1016" y="662"/>
                    </a:lnTo>
                    <a:lnTo>
                      <a:pt x="1017" y="665"/>
                    </a:lnTo>
                    <a:lnTo>
                      <a:pt x="1018" y="666"/>
                    </a:lnTo>
                    <a:lnTo>
                      <a:pt x="1017" y="667"/>
                    </a:lnTo>
                    <a:lnTo>
                      <a:pt x="1016" y="667"/>
                    </a:lnTo>
                    <a:lnTo>
                      <a:pt x="1014" y="667"/>
                    </a:lnTo>
                    <a:lnTo>
                      <a:pt x="1011" y="666"/>
                    </a:lnTo>
                    <a:lnTo>
                      <a:pt x="1010" y="666"/>
                    </a:lnTo>
                    <a:lnTo>
                      <a:pt x="1009" y="665"/>
                    </a:lnTo>
                    <a:lnTo>
                      <a:pt x="1008" y="664"/>
                    </a:lnTo>
                    <a:lnTo>
                      <a:pt x="1010" y="661"/>
                    </a:lnTo>
                    <a:lnTo>
                      <a:pt x="1012" y="661"/>
                    </a:lnTo>
                    <a:close/>
                    <a:moveTo>
                      <a:pt x="75" y="659"/>
                    </a:moveTo>
                    <a:lnTo>
                      <a:pt x="77" y="659"/>
                    </a:lnTo>
                    <a:lnTo>
                      <a:pt x="80" y="660"/>
                    </a:lnTo>
                    <a:lnTo>
                      <a:pt x="83" y="661"/>
                    </a:lnTo>
                    <a:lnTo>
                      <a:pt x="86" y="661"/>
                    </a:lnTo>
                    <a:lnTo>
                      <a:pt x="86" y="665"/>
                    </a:lnTo>
                    <a:lnTo>
                      <a:pt x="88" y="667"/>
                    </a:lnTo>
                    <a:lnTo>
                      <a:pt x="89" y="669"/>
                    </a:lnTo>
                    <a:lnTo>
                      <a:pt x="90" y="670"/>
                    </a:lnTo>
                    <a:lnTo>
                      <a:pt x="91" y="672"/>
                    </a:lnTo>
                    <a:lnTo>
                      <a:pt x="89" y="673"/>
                    </a:lnTo>
                    <a:lnTo>
                      <a:pt x="88" y="675"/>
                    </a:lnTo>
                    <a:lnTo>
                      <a:pt x="86" y="673"/>
                    </a:lnTo>
                    <a:lnTo>
                      <a:pt x="83" y="673"/>
                    </a:lnTo>
                    <a:lnTo>
                      <a:pt x="81" y="672"/>
                    </a:lnTo>
                    <a:lnTo>
                      <a:pt x="79" y="670"/>
                    </a:lnTo>
                    <a:lnTo>
                      <a:pt x="78" y="669"/>
                    </a:lnTo>
                    <a:lnTo>
                      <a:pt x="76" y="667"/>
                    </a:lnTo>
                    <a:lnTo>
                      <a:pt x="75" y="665"/>
                    </a:lnTo>
                    <a:lnTo>
                      <a:pt x="73" y="662"/>
                    </a:lnTo>
                    <a:lnTo>
                      <a:pt x="73" y="660"/>
                    </a:lnTo>
                    <a:lnTo>
                      <a:pt x="75" y="659"/>
                    </a:lnTo>
                    <a:close/>
                    <a:moveTo>
                      <a:pt x="50" y="647"/>
                    </a:moveTo>
                    <a:lnTo>
                      <a:pt x="51" y="648"/>
                    </a:lnTo>
                    <a:lnTo>
                      <a:pt x="55" y="649"/>
                    </a:lnTo>
                    <a:lnTo>
                      <a:pt x="57" y="652"/>
                    </a:lnTo>
                    <a:lnTo>
                      <a:pt x="58" y="655"/>
                    </a:lnTo>
                    <a:lnTo>
                      <a:pt x="59" y="657"/>
                    </a:lnTo>
                    <a:lnTo>
                      <a:pt x="60" y="658"/>
                    </a:lnTo>
                    <a:lnTo>
                      <a:pt x="61" y="659"/>
                    </a:lnTo>
                    <a:lnTo>
                      <a:pt x="61" y="660"/>
                    </a:lnTo>
                    <a:lnTo>
                      <a:pt x="61" y="662"/>
                    </a:lnTo>
                    <a:lnTo>
                      <a:pt x="60" y="665"/>
                    </a:lnTo>
                    <a:lnTo>
                      <a:pt x="59" y="666"/>
                    </a:lnTo>
                    <a:lnTo>
                      <a:pt x="58" y="666"/>
                    </a:lnTo>
                    <a:lnTo>
                      <a:pt x="56" y="665"/>
                    </a:lnTo>
                    <a:lnTo>
                      <a:pt x="54" y="665"/>
                    </a:lnTo>
                    <a:lnTo>
                      <a:pt x="51" y="662"/>
                    </a:lnTo>
                    <a:lnTo>
                      <a:pt x="50" y="660"/>
                    </a:lnTo>
                    <a:lnTo>
                      <a:pt x="48" y="657"/>
                    </a:lnTo>
                    <a:lnTo>
                      <a:pt x="48" y="654"/>
                    </a:lnTo>
                    <a:lnTo>
                      <a:pt x="47" y="651"/>
                    </a:lnTo>
                    <a:lnTo>
                      <a:pt x="48" y="649"/>
                    </a:lnTo>
                    <a:lnTo>
                      <a:pt x="48" y="648"/>
                    </a:lnTo>
                    <a:lnTo>
                      <a:pt x="50" y="647"/>
                    </a:lnTo>
                    <a:close/>
                    <a:moveTo>
                      <a:pt x="997" y="640"/>
                    </a:moveTo>
                    <a:lnTo>
                      <a:pt x="997" y="640"/>
                    </a:lnTo>
                    <a:lnTo>
                      <a:pt x="997" y="641"/>
                    </a:lnTo>
                    <a:lnTo>
                      <a:pt x="997" y="644"/>
                    </a:lnTo>
                    <a:lnTo>
                      <a:pt x="996" y="645"/>
                    </a:lnTo>
                    <a:lnTo>
                      <a:pt x="995" y="646"/>
                    </a:lnTo>
                    <a:lnTo>
                      <a:pt x="993" y="647"/>
                    </a:lnTo>
                    <a:lnTo>
                      <a:pt x="992" y="646"/>
                    </a:lnTo>
                    <a:lnTo>
                      <a:pt x="992" y="645"/>
                    </a:lnTo>
                    <a:lnTo>
                      <a:pt x="992" y="643"/>
                    </a:lnTo>
                    <a:lnTo>
                      <a:pt x="994" y="641"/>
                    </a:lnTo>
                    <a:lnTo>
                      <a:pt x="995" y="640"/>
                    </a:lnTo>
                    <a:lnTo>
                      <a:pt x="997" y="640"/>
                    </a:lnTo>
                    <a:close/>
                    <a:moveTo>
                      <a:pt x="866" y="633"/>
                    </a:moveTo>
                    <a:lnTo>
                      <a:pt x="867" y="633"/>
                    </a:lnTo>
                    <a:lnTo>
                      <a:pt x="868" y="634"/>
                    </a:lnTo>
                    <a:lnTo>
                      <a:pt x="869" y="635"/>
                    </a:lnTo>
                    <a:lnTo>
                      <a:pt x="870" y="636"/>
                    </a:lnTo>
                    <a:lnTo>
                      <a:pt x="872" y="637"/>
                    </a:lnTo>
                    <a:lnTo>
                      <a:pt x="874" y="637"/>
                    </a:lnTo>
                    <a:lnTo>
                      <a:pt x="875" y="639"/>
                    </a:lnTo>
                    <a:lnTo>
                      <a:pt x="875" y="640"/>
                    </a:lnTo>
                    <a:lnTo>
                      <a:pt x="876" y="643"/>
                    </a:lnTo>
                    <a:lnTo>
                      <a:pt x="878" y="644"/>
                    </a:lnTo>
                    <a:lnTo>
                      <a:pt x="880" y="644"/>
                    </a:lnTo>
                    <a:lnTo>
                      <a:pt x="888" y="644"/>
                    </a:lnTo>
                    <a:lnTo>
                      <a:pt x="890" y="645"/>
                    </a:lnTo>
                    <a:lnTo>
                      <a:pt x="891" y="646"/>
                    </a:lnTo>
                    <a:lnTo>
                      <a:pt x="890" y="647"/>
                    </a:lnTo>
                    <a:lnTo>
                      <a:pt x="889" y="648"/>
                    </a:lnTo>
                    <a:lnTo>
                      <a:pt x="887" y="649"/>
                    </a:lnTo>
                    <a:lnTo>
                      <a:pt x="885" y="650"/>
                    </a:lnTo>
                    <a:lnTo>
                      <a:pt x="883" y="651"/>
                    </a:lnTo>
                    <a:lnTo>
                      <a:pt x="881" y="652"/>
                    </a:lnTo>
                    <a:lnTo>
                      <a:pt x="880" y="654"/>
                    </a:lnTo>
                    <a:lnTo>
                      <a:pt x="874" y="655"/>
                    </a:lnTo>
                    <a:lnTo>
                      <a:pt x="867" y="657"/>
                    </a:lnTo>
                    <a:lnTo>
                      <a:pt x="861" y="658"/>
                    </a:lnTo>
                    <a:lnTo>
                      <a:pt x="858" y="658"/>
                    </a:lnTo>
                    <a:lnTo>
                      <a:pt x="856" y="658"/>
                    </a:lnTo>
                    <a:lnTo>
                      <a:pt x="854" y="658"/>
                    </a:lnTo>
                    <a:lnTo>
                      <a:pt x="852" y="660"/>
                    </a:lnTo>
                    <a:lnTo>
                      <a:pt x="851" y="661"/>
                    </a:lnTo>
                    <a:lnTo>
                      <a:pt x="851" y="662"/>
                    </a:lnTo>
                    <a:lnTo>
                      <a:pt x="851" y="664"/>
                    </a:lnTo>
                    <a:lnTo>
                      <a:pt x="850" y="664"/>
                    </a:lnTo>
                    <a:lnTo>
                      <a:pt x="847" y="665"/>
                    </a:lnTo>
                    <a:lnTo>
                      <a:pt x="845" y="667"/>
                    </a:lnTo>
                    <a:lnTo>
                      <a:pt x="844" y="668"/>
                    </a:lnTo>
                    <a:lnTo>
                      <a:pt x="843" y="670"/>
                    </a:lnTo>
                    <a:lnTo>
                      <a:pt x="842" y="672"/>
                    </a:lnTo>
                    <a:lnTo>
                      <a:pt x="841" y="673"/>
                    </a:lnTo>
                    <a:lnTo>
                      <a:pt x="839" y="675"/>
                    </a:lnTo>
                    <a:lnTo>
                      <a:pt x="836" y="676"/>
                    </a:lnTo>
                    <a:lnTo>
                      <a:pt x="831" y="676"/>
                    </a:lnTo>
                    <a:lnTo>
                      <a:pt x="824" y="676"/>
                    </a:lnTo>
                    <a:lnTo>
                      <a:pt x="818" y="678"/>
                    </a:lnTo>
                    <a:lnTo>
                      <a:pt x="807" y="683"/>
                    </a:lnTo>
                    <a:lnTo>
                      <a:pt x="796" y="684"/>
                    </a:lnTo>
                    <a:lnTo>
                      <a:pt x="783" y="684"/>
                    </a:lnTo>
                    <a:lnTo>
                      <a:pt x="781" y="684"/>
                    </a:lnTo>
                    <a:lnTo>
                      <a:pt x="780" y="683"/>
                    </a:lnTo>
                    <a:lnTo>
                      <a:pt x="780" y="682"/>
                    </a:lnTo>
                    <a:lnTo>
                      <a:pt x="781" y="681"/>
                    </a:lnTo>
                    <a:lnTo>
                      <a:pt x="782" y="680"/>
                    </a:lnTo>
                    <a:lnTo>
                      <a:pt x="785" y="679"/>
                    </a:lnTo>
                    <a:lnTo>
                      <a:pt x="787" y="678"/>
                    </a:lnTo>
                    <a:lnTo>
                      <a:pt x="789" y="678"/>
                    </a:lnTo>
                    <a:lnTo>
                      <a:pt x="792" y="678"/>
                    </a:lnTo>
                    <a:lnTo>
                      <a:pt x="795" y="678"/>
                    </a:lnTo>
                    <a:lnTo>
                      <a:pt x="797" y="678"/>
                    </a:lnTo>
                    <a:lnTo>
                      <a:pt x="798" y="676"/>
                    </a:lnTo>
                    <a:lnTo>
                      <a:pt x="799" y="675"/>
                    </a:lnTo>
                    <a:lnTo>
                      <a:pt x="801" y="672"/>
                    </a:lnTo>
                    <a:lnTo>
                      <a:pt x="804" y="671"/>
                    </a:lnTo>
                    <a:lnTo>
                      <a:pt x="807" y="670"/>
                    </a:lnTo>
                    <a:lnTo>
                      <a:pt x="809" y="670"/>
                    </a:lnTo>
                    <a:lnTo>
                      <a:pt x="811" y="669"/>
                    </a:lnTo>
                    <a:lnTo>
                      <a:pt x="813" y="669"/>
                    </a:lnTo>
                    <a:lnTo>
                      <a:pt x="814" y="668"/>
                    </a:lnTo>
                    <a:lnTo>
                      <a:pt x="815" y="667"/>
                    </a:lnTo>
                    <a:lnTo>
                      <a:pt x="813" y="662"/>
                    </a:lnTo>
                    <a:lnTo>
                      <a:pt x="811" y="659"/>
                    </a:lnTo>
                    <a:lnTo>
                      <a:pt x="809" y="656"/>
                    </a:lnTo>
                    <a:lnTo>
                      <a:pt x="808" y="654"/>
                    </a:lnTo>
                    <a:lnTo>
                      <a:pt x="808" y="651"/>
                    </a:lnTo>
                    <a:lnTo>
                      <a:pt x="808" y="649"/>
                    </a:lnTo>
                    <a:lnTo>
                      <a:pt x="809" y="646"/>
                    </a:lnTo>
                    <a:lnTo>
                      <a:pt x="809" y="644"/>
                    </a:lnTo>
                    <a:lnTo>
                      <a:pt x="809" y="641"/>
                    </a:lnTo>
                    <a:lnTo>
                      <a:pt x="812" y="641"/>
                    </a:lnTo>
                    <a:lnTo>
                      <a:pt x="815" y="641"/>
                    </a:lnTo>
                    <a:lnTo>
                      <a:pt x="818" y="640"/>
                    </a:lnTo>
                    <a:lnTo>
                      <a:pt x="820" y="640"/>
                    </a:lnTo>
                    <a:lnTo>
                      <a:pt x="822" y="639"/>
                    </a:lnTo>
                    <a:lnTo>
                      <a:pt x="825" y="640"/>
                    </a:lnTo>
                    <a:lnTo>
                      <a:pt x="829" y="640"/>
                    </a:lnTo>
                    <a:lnTo>
                      <a:pt x="832" y="640"/>
                    </a:lnTo>
                    <a:lnTo>
                      <a:pt x="834" y="639"/>
                    </a:lnTo>
                    <a:lnTo>
                      <a:pt x="845" y="638"/>
                    </a:lnTo>
                    <a:lnTo>
                      <a:pt x="855" y="636"/>
                    </a:lnTo>
                    <a:lnTo>
                      <a:pt x="865" y="633"/>
                    </a:lnTo>
                    <a:lnTo>
                      <a:pt x="866" y="633"/>
                    </a:lnTo>
                    <a:close/>
                    <a:moveTo>
                      <a:pt x="1533" y="625"/>
                    </a:moveTo>
                    <a:lnTo>
                      <a:pt x="1534" y="626"/>
                    </a:lnTo>
                    <a:lnTo>
                      <a:pt x="1535" y="627"/>
                    </a:lnTo>
                    <a:lnTo>
                      <a:pt x="1535" y="628"/>
                    </a:lnTo>
                    <a:lnTo>
                      <a:pt x="1535" y="630"/>
                    </a:lnTo>
                    <a:lnTo>
                      <a:pt x="1535" y="633"/>
                    </a:lnTo>
                    <a:lnTo>
                      <a:pt x="1534" y="635"/>
                    </a:lnTo>
                    <a:lnTo>
                      <a:pt x="1533" y="637"/>
                    </a:lnTo>
                    <a:lnTo>
                      <a:pt x="1532" y="638"/>
                    </a:lnTo>
                    <a:lnTo>
                      <a:pt x="1531" y="638"/>
                    </a:lnTo>
                    <a:lnTo>
                      <a:pt x="1530" y="636"/>
                    </a:lnTo>
                    <a:lnTo>
                      <a:pt x="1530" y="635"/>
                    </a:lnTo>
                    <a:lnTo>
                      <a:pt x="1530" y="632"/>
                    </a:lnTo>
                    <a:lnTo>
                      <a:pt x="1530" y="629"/>
                    </a:lnTo>
                    <a:lnTo>
                      <a:pt x="1531" y="627"/>
                    </a:lnTo>
                    <a:lnTo>
                      <a:pt x="1532" y="626"/>
                    </a:lnTo>
                    <a:lnTo>
                      <a:pt x="1533" y="625"/>
                    </a:lnTo>
                    <a:close/>
                    <a:moveTo>
                      <a:pt x="790" y="624"/>
                    </a:moveTo>
                    <a:lnTo>
                      <a:pt x="792" y="624"/>
                    </a:lnTo>
                    <a:lnTo>
                      <a:pt x="793" y="625"/>
                    </a:lnTo>
                    <a:lnTo>
                      <a:pt x="793" y="625"/>
                    </a:lnTo>
                    <a:lnTo>
                      <a:pt x="793" y="626"/>
                    </a:lnTo>
                    <a:lnTo>
                      <a:pt x="793" y="628"/>
                    </a:lnTo>
                    <a:lnTo>
                      <a:pt x="792" y="629"/>
                    </a:lnTo>
                    <a:lnTo>
                      <a:pt x="791" y="630"/>
                    </a:lnTo>
                    <a:lnTo>
                      <a:pt x="790" y="629"/>
                    </a:lnTo>
                    <a:lnTo>
                      <a:pt x="789" y="628"/>
                    </a:lnTo>
                    <a:lnTo>
                      <a:pt x="788" y="626"/>
                    </a:lnTo>
                    <a:lnTo>
                      <a:pt x="789" y="625"/>
                    </a:lnTo>
                    <a:lnTo>
                      <a:pt x="789" y="624"/>
                    </a:lnTo>
                    <a:lnTo>
                      <a:pt x="790" y="624"/>
                    </a:lnTo>
                    <a:close/>
                    <a:moveTo>
                      <a:pt x="945" y="623"/>
                    </a:moveTo>
                    <a:lnTo>
                      <a:pt x="949" y="623"/>
                    </a:lnTo>
                    <a:lnTo>
                      <a:pt x="951" y="624"/>
                    </a:lnTo>
                    <a:lnTo>
                      <a:pt x="952" y="626"/>
                    </a:lnTo>
                    <a:lnTo>
                      <a:pt x="953" y="628"/>
                    </a:lnTo>
                    <a:lnTo>
                      <a:pt x="951" y="630"/>
                    </a:lnTo>
                    <a:lnTo>
                      <a:pt x="945" y="633"/>
                    </a:lnTo>
                    <a:lnTo>
                      <a:pt x="939" y="635"/>
                    </a:lnTo>
                    <a:lnTo>
                      <a:pt x="932" y="635"/>
                    </a:lnTo>
                    <a:lnTo>
                      <a:pt x="927" y="633"/>
                    </a:lnTo>
                    <a:lnTo>
                      <a:pt x="924" y="628"/>
                    </a:lnTo>
                    <a:lnTo>
                      <a:pt x="926" y="627"/>
                    </a:lnTo>
                    <a:lnTo>
                      <a:pt x="926" y="626"/>
                    </a:lnTo>
                    <a:lnTo>
                      <a:pt x="927" y="626"/>
                    </a:lnTo>
                    <a:lnTo>
                      <a:pt x="928" y="626"/>
                    </a:lnTo>
                    <a:lnTo>
                      <a:pt x="929" y="627"/>
                    </a:lnTo>
                    <a:lnTo>
                      <a:pt x="930" y="628"/>
                    </a:lnTo>
                    <a:lnTo>
                      <a:pt x="932" y="628"/>
                    </a:lnTo>
                    <a:lnTo>
                      <a:pt x="935" y="626"/>
                    </a:lnTo>
                    <a:lnTo>
                      <a:pt x="938" y="624"/>
                    </a:lnTo>
                    <a:lnTo>
                      <a:pt x="940" y="623"/>
                    </a:lnTo>
                    <a:lnTo>
                      <a:pt x="943" y="623"/>
                    </a:lnTo>
                    <a:lnTo>
                      <a:pt x="945" y="623"/>
                    </a:lnTo>
                    <a:close/>
                    <a:moveTo>
                      <a:pt x="1991" y="617"/>
                    </a:moveTo>
                    <a:lnTo>
                      <a:pt x="1990" y="618"/>
                    </a:lnTo>
                    <a:lnTo>
                      <a:pt x="1987" y="618"/>
                    </a:lnTo>
                    <a:lnTo>
                      <a:pt x="1983" y="618"/>
                    </a:lnTo>
                    <a:lnTo>
                      <a:pt x="1981" y="621"/>
                    </a:lnTo>
                    <a:lnTo>
                      <a:pt x="1979" y="621"/>
                    </a:lnTo>
                    <a:lnTo>
                      <a:pt x="1978" y="622"/>
                    </a:lnTo>
                    <a:lnTo>
                      <a:pt x="1977" y="623"/>
                    </a:lnTo>
                    <a:lnTo>
                      <a:pt x="1976" y="624"/>
                    </a:lnTo>
                    <a:lnTo>
                      <a:pt x="1975" y="627"/>
                    </a:lnTo>
                    <a:lnTo>
                      <a:pt x="1972" y="632"/>
                    </a:lnTo>
                    <a:lnTo>
                      <a:pt x="1970" y="637"/>
                    </a:lnTo>
                    <a:lnTo>
                      <a:pt x="1968" y="643"/>
                    </a:lnTo>
                    <a:lnTo>
                      <a:pt x="1968" y="646"/>
                    </a:lnTo>
                    <a:lnTo>
                      <a:pt x="1970" y="646"/>
                    </a:lnTo>
                    <a:lnTo>
                      <a:pt x="1972" y="646"/>
                    </a:lnTo>
                    <a:lnTo>
                      <a:pt x="1975" y="644"/>
                    </a:lnTo>
                    <a:lnTo>
                      <a:pt x="1977" y="643"/>
                    </a:lnTo>
                    <a:lnTo>
                      <a:pt x="1978" y="641"/>
                    </a:lnTo>
                    <a:lnTo>
                      <a:pt x="1979" y="641"/>
                    </a:lnTo>
                    <a:lnTo>
                      <a:pt x="1979" y="639"/>
                    </a:lnTo>
                    <a:lnTo>
                      <a:pt x="1981" y="638"/>
                    </a:lnTo>
                    <a:lnTo>
                      <a:pt x="1981" y="637"/>
                    </a:lnTo>
                    <a:lnTo>
                      <a:pt x="1982" y="636"/>
                    </a:lnTo>
                    <a:lnTo>
                      <a:pt x="1983" y="636"/>
                    </a:lnTo>
                    <a:lnTo>
                      <a:pt x="1986" y="633"/>
                    </a:lnTo>
                    <a:lnTo>
                      <a:pt x="1988" y="628"/>
                    </a:lnTo>
                    <a:lnTo>
                      <a:pt x="1990" y="625"/>
                    </a:lnTo>
                    <a:lnTo>
                      <a:pt x="1990" y="623"/>
                    </a:lnTo>
                    <a:lnTo>
                      <a:pt x="1991" y="622"/>
                    </a:lnTo>
                    <a:lnTo>
                      <a:pt x="1991" y="621"/>
                    </a:lnTo>
                    <a:lnTo>
                      <a:pt x="1991" y="618"/>
                    </a:lnTo>
                    <a:lnTo>
                      <a:pt x="1991" y="618"/>
                    </a:lnTo>
                    <a:lnTo>
                      <a:pt x="1991" y="617"/>
                    </a:lnTo>
                    <a:close/>
                    <a:moveTo>
                      <a:pt x="659" y="613"/>
                    </a:moveTo>
                    <a:lnTo>
                      <a:pt x="661" y="613"/>
                    </a:lnTo>
                    <a:lnTo>
                      <a:pt x="663" y="613"/>
                    </a:lnTo>
                    <a:lnTo>
                      <a:pt x="667" y="613"/>
                    </a:lnTo>
                    <a:lnTo>
                      <a:pt x="668" y="615"/>
                    </a:lnTo>
                    <a:lnTo>
                      <a:pt x="670" y="615"/>
                    </a:lnTo>
                    <a:lnTo>
                      <a:pt x="672" y="616"/>
                    </a:lnTo>
                    <a:lnTo>
                      <a:pt x="675" y="616"/>
                    </a:lnTo>
                    <a:lnTo>
                      <a:pt x="677" y="616"/>
                    </a:lnTo>
                    <a:lnTo>
                      <a:pt x="679" y="617"/>
                    </a:lnTo>
                    <a:lnTo>
                      <a:pt x="689" y="618"/>
                    </a:lnTo>
                    <a:lnTo>
                      <a:pt x="698" y="622"/>
                    </a:lnTo>
                    <a:lnTo>
                      <a:pt x="700" y="623"/>
                    </a:lnTo>
                    <a:lnTo>
                      <a:pt x="703" y="623"/>
                    </a:lnTo>
                    <a:lnTo>
                      <a:pt x="705" y="623"/>
                    </a:lnTo>
                    <a:lnTo>
                      <a:pt x="709" y="623"/>
                    </a:lnTo>
                    <a:lnTo>
                      <a:pt x="713" y="624"/>
                    </a:lnTo>
                    <a:lnTo>
                      <a:pt x="715" y="625"/>
                    </a:lnTo>
                    <a:lnTo>
                      <a:pt x="717" y="627"/>
                    </a:lnTo>
                    <a:lnTo>
                      <a:pt x="720" y="629"/>
                    </a:lnTo>
                    <a:lnTo>
                      <a:pt x="723" y="630"/>
                    </a:lnTo>
                    <a:lnTo>
                      <a:pt x="726" y="630"/>
                    </a:lnTo>
                    <a:lnTo>
                      <a:pt x="731" y="633"/>
                    </a:lnTo>
                    <a:lnTo>
                      <a:pt x="735" y="633"/>
                    </a:lnTo>
                    <a:lnTo>
                      <a:pt x="739" y="633"/>
                    </a:lnTo>
                    <a:lnTo>
                      <a:pt x="747" y="636"/>
                    </a:lnTo>
                    <a:lnTo>
                      <a:pt x="755" y="637"/>
                    </a:lnTo>
                    <a:lnTo>
                      <a:pt x="761" y="638"/>
                    </a:lnTo>
                    <a:lnTo>
                      <a:pt x="767" y="641"/>
                    </a:lnTo>
                    <a:lnTo>
                      <a:pt x="774" y="643"/>
                    </a:lnTo>
                    <a:lnTo>
                      <a:pt x="779" y="643"/>
                    </a:lnTo>
                    <a:lnTo>
                      <a:pt x="782" y="644"/>
                    </a:lnTo>
                    <a:lnTo>
                      <a:pt x="783" y="646"/>
                    </a:lnTo>
                    <a:lnTo>
                      <a:pt x="783" y="647"/>
                    </a:lnTo>
                    <a:lnTo>
                      <a:pt x="782" y="649"/>
                    </a:lnTo>
                    <a:lnTo>
                      <a:pt x="779" y="651"/>
                    </a:lnTo>
                    <a:lnTo>
                      <a:pt x="770" y="656"/>
                    </a:lnTo>
                    <a:lnTo>
                      <a:pt x="760" y="659"/>
                    </a:lnTo>
                    <a:lnTo>
                      <a:pt x="749" y="661"/>
                    </a:lnTo>
                    <a:lnTo>
                      <a:pt x="739" y="661"/>
                    </a:lnTo>
                    <a:lnTo>
                      <a:pt x="736" y="660"/>
                    </a:lnTo>
                    <a:lnTo>
                      <a:pt x="734" y="659"/>
                    </a:lnTo>
                    <a:lnTo>
                      <a:pt x="732" y="658"/>
                    </a:lnTo>
                    <a:lnTo>
                      <a:pt x="730" y="658"/>
                    </a:lnTo>
                    <a:lnTo>
                      <a:pt x="728" y="659"/>
                    </a:lnTo>
                    <a:lnTo>
                      <a:pt x="726" y="661"/>
                    </a:lnTo>
                    <a:lnTo>
                      <a:pt x="725" y="664"/>
                    </a:lnTo>
                    <a:lnTo>
                      <a:pt x="723" y="666"/>
                    </a:lnTo>
                    <a:lnTo>
                      <a:pt x="721" y="667"/>
                    </a:lnTo>
                    <a:lnTo>
                      <a:pt x="719" y="668"/>
                    </a:lnTo>
                    <a:lnTo>
                      <a:pt x="715" y="668"/>
                    </a:lnTo>
                    <a:lnTo>
                      <a:pt x="715" y="666"/>
                    </a:lnTo>
                    <a:lnTo>
                      <a:pt x="715" y="662"/>
                    </a:lnTo>
                    <a:lnTo>
                      <a:pt x="714" y="659"/>
                    </a:lnTo>
                    <a:lnTo>
                      <a:pt x="713" y="656"/>
                    </a:lnTo>
                    <a:lnTo>
                      <a:pt x="712" y="654"/>
                    </a:lnTo>
                    <a:lnTo>
                      <a:pt x="711" y="651"/>
                    </a:lnTo>
                    <a:lnTo>
                      <a:pt x="709" y="650"/>
                    </a:lnTo>
                    <a:lnTo>
                      <a:pt x="706" y="650"/>
                    </a:lnTo>
                    <a:lnTo>
                      <a:pt x="703" y="649"/>
                    </a:lnTo>
                    <a:lnTo>
                      <a:pt x="701" y="649"/>
                    </a:lnTo>
                    <a:lnTo>
                      <a:pt x="700" y="649"/>
                    </a:lnTo>
                    <a:lnTo>
                      <a:pt x="693" y="644"/>
                    </a:lnTo>
                    <a:lnTo>
                      <a:pt x="687" y="639"/>
                    </a:lnTo>
                    <a:lnTo>
                      <a:pt x="679" y="636"/>
                    </a:lnTo>
                    <a:lnTo>
                      <a:pt x="678" y="635"/>
                    </a:lnTo>
                    <a:lnTo>
                      <a:pt x="677" y="636"/>
                    </a:lnTo>
                    <a:lnTo>
                      <a:pt x="675" y="637"/>
                    </a:lnTo>
                    <a:lnTo>
                      <a:pt x="673" y="638"/>
                    </a:lnTo>
                    <a:lnTo>
                      <a:pt x="672" y="639"/>
                    </a:lnTo>
                    <a:lnTo>
                      <a:pt x="670" y="640"/>
                    </a:lnTo>
                    <a:lnTo>
                      <a:pt x="668" y="641"/>
                    </a:lnTo>
                    <a:lnTo>
                      <a:pt x="666" y="641"/>
                    </a:lnTo>
                    <a:lnTo>
                      <a:pt x="663" y="640"/>
                    </a:lnTo>
                    <a:lnTo>
                      <a:pt x="662" y="639"/>
                    </a:lnTo>
                    <a:lnTo>
                      <a:pt x="659" y="638"/>
                    </a:lnTo>
                    <a:lnTo>
                      <a:pt x="657" y="637"/>
                    </a:lnTo>
                    <a:lnTo>
                      <a:pt x="655" y="638"/>
                    </a:lnTo>
                    <a:lnTo>
                      <a:pt x="652" y="639"/>
                    </a:lnTo>
                    <a:lnTo>
                      <a:pt x="650" y="640"/>
                    </a:lnTo>
                    <a:lnTo>
                      <a:pt x="647" y="640"/>
                    </a:lnTo>
                    <a:lnTo>
                      <a:pt x="644" y="640"/>
                    </a:lnTo>
                    <a:lnTo>
                      <a:pt x="643" y="638"/>
                    </a:lnTo>
                    <a:lnTo>
                      <a:pt x="640" y="637"/>
                    </a:lnTo>
                    <a:lnTo>
                      <a:pt x="638" y="636"/>
                    </a:lnTo>
                    <a:lnTo>
                      <a:pt x="635" y="636"/>
                    </a:lnTo>
                    <a:lnTo>
                      <a:pt x="632" y="636"/>
                    </a:lnTo>
                    <a:lnTo>
                      <a:pt x="629" y="636"/>
                    </a:lnTo>
                    <a:lnTo>
                      <a:pt x="626" y="636"/>
                    </a:lnTo>
                    <a:lnTo>
                      <a:pt x="624" y="638"/>
                    </a:lnTo>
                    <a:lnTo>
                      <a:pt x="622" y="640"/>
                    </a:lnTo>
                    <a:lnTo>
                      <a:pt x="621" y="641"/>
                    </a:lnTo>
                    <a:lnTo>
                      <a:pt x="619" y="643"/>
                    </a:lnTo>
                    <a:lnTo>
                      <a:pt x="617" y="644"/>
                    </a:lnTo>
                    <a:lnTo>
                      <a:pt x="615" y="644"/>
                    </a:lnTo>
                    <a:lnTo>
                      <a:pt x="613" y="644"/>
                    </a:lnTo>
                    <a:lnTo>
                      <a:pt x="611" y="645"/>
                    </a:lnTo>
                    <a:lnTo>
                      <a:pt x="603" y="650"/>
                    </a:lnTo>
                    <a:lnTo>
                      <a:pt x="591" y="651"/>
                    </a:lnTo>
                    <a:lnTo>
                      <a:pt x="589" y="651"/>
                    </a:lnTo>
                    <a:lnTo>
                      <a:pt x="586" y="650"/>
                    </a:lnTo>
                    <a:lnTo>
                      <a:pt x="585" y="649"/>
                    </a:lnTo>
                    <a:lnTo>
                      <a:pt x="584" y="648"/>
                    </a:lnTo>
                    <a:lnTo>
                      <a:pt x="584" y="647"/>
                    </a:lnTo>
                    <a:lnTo>
                      <a:pt x="584" y="645"/>
                    </a:lnTo>
                    <a:lnTo>
                      <a:pt x="586" y="644"/>
                    </a:lnTo>
                    <a:lnTo>
                      <a:pt x="588" y="643"/>
                    </a:lnTo>
                    <a:lnTo>
                      <a:pt x="590" y="643"/>
                    </a:lnTo>
                    <a:lnTo>
                      <a:pt x="592" y="641"/>
                    </a:lnTo>
                    <a:lnTo>
                      <a:pt x="594" y="641"/>
                    </a:lnTo>
                    <a:lnTo>
                      <a:pt x="595" y="640"/>
                    </a:lnTo>
                    <a:lnTo>
                      <a:pt x="600" y="637"/>
                    </a:lnTo>
                    <a:lnTo>
                      <a:pt x="603" y="633"/>
                    </a:lnTo>
                    <a:lnTo>
                      <a:pt x="606" y="628"/>
                    </a:lnTo>
                    <a:lnTo>
                      <a:pt x="610" y="626"/>
                    </a:lnTo>
                    <a:lnTo>
                      <a:pt x="615" y="626"/>
                    </a:lnTo>
                    <a:lnTo>
                      <a:pt x="622" y="627"/>
                    </a:lnTo>
                    <a:lnTo>
                      <a:pt x="628" y="628"/>
                    </a:lnTo>
                    <a:lnTo>
                      <a:pt x="635" y="629"/>
                    </a:lnTo>
                    <a:lnTo>
                      <a:pt x="640" y="629"/>
                    </a:lnTo>
                    <a:lnTo>
                      <a:pt x="644" y="626"/>
                    </a:lnTo>
                    <a:lnTo>
                      <a:pt x="648" y="623"/>
                    </a:lnTo>
                    <a:lnTo>
                      <a:pt x="651" y="619"/>
                    </a:lnTo>
                    <a:lnTo>
                      <a:pt x="655" y="616"/>
                    </a:lnTo>
                    <a:lnTo>
                      <a:pt x="659" y="613"/>
                    </a:lnTo>
                    <a:close/>
                    <a:moveTo>
                      <a:pt x="626" y="606"/>
                    </a:moveTo>
                    <a:lnTo>
                      <a:pt x="627" y="606"/>
                    </a:lnTo>
                    <a:lnTo>
                      <a:pt x="628" y="607"/>
                    </a:lnTo>
                    <a:lnTo>
                      <a:pt x="628" y="610"/>
                    </a:lnTo>
                    <a:lnTo>
                      <a:pt x="628" y="611"/>
                    </a:lnTo>
                    <a:lnTo>
                      <a:pt x="627" y="611"/>
                    </a:lnTo>
                    <a:lnTo>
                      <a:pt x="626" y="611"/>
                    </a:lnTo>
                    <a:lnTo>
                      <a:pt x="625" y="610"/>
                    </a:lnTo>
                    <a:lnTo>
                      <a:pt x="624" y="610"/>
                    </a:lnTo>
                    <a:lnTo>
                      <a:pt x="623" y="610"/>
                    </a:lnTo>
                    <a:lnTo>
                      <a:pt x="622" y="608"/>
                    </a:lnTo>
                    <a:lnTo>
                      <a:pt x="622" y="608"/>
                    </a:lnTo>
                    <a:lnTo>
                      <a:pt x="623" y="607"/>
                    </a:lnTo>
                    <a:lnTo>
                      <a:pt x="624" y="607"/>
                    </a:lnTo>
                    <a:lnTo>
                      <a:pt x="626" y="606"/>
                    </a:lnTo>
                    <a:close/>
                    <a:moveTo>
                      <a:pt x="828" y="605"/>
                    </a:moveTo>
                    <a:lnTo>
                      <a:pt x="829" y="605"/>
                    </a:lnTo>
                    <a:lnTo>
                      <a:pt x="830" y="606"/>
                    </a:lnTo>
                    <a:lnTo>
                      <a:pt x="831" y="607"/>
                    </a:lnTo>
                    <a:lnTo>
                      <a:pt x="830" y="610"/>
                    </a:lnTo>
                    <a:lnTo>
                      <a:pt x="830" y="611"/>
                    </a:lnTo>
                    <a:lnTo>
                      <a:pt x="829" y="612"/>
                    </a:lnTo>
                    <a:lnTo>
                      <a:pt x="828" y="612"/>
                    </a:lnTo>
                    <a:lnTo>
                      <a:pt x="826" y="612"/>
                    </a:lnTo>
                    <a:lnTo>
                      <a:pt x="825" y="611"/>
                    </a:lnTo>
                    <a:lnTo>
                      <a:pt x="824" y="610"/>
                    </a:lnTo>
                    <a:lnTo>
                      <a:pt x="825" y="607"/>
                    </a:lnTo>
                    <a:lnTo>
                      <a:pt x="826" y="606"/>
                    </a:lnTo>
                    <a:lnTo>
                      <a:pt x="828" y="605"/>
                    </a:lnTo>
                    <a:close/>
                    <a:moveTo>
                      <a:pt x="801" y="601"/>
                    </a:moveTo>
                    <a:lnTo>
                      <a:pt x="802" y="602"/>
                    </a:lnTo>
                    <a:lnTo>
                      <a:pt x="803" y="604"/>
                    </a:lnTo>
                    <a:lnTo>
                      <a:pt x="803" y="605"/>
                    </a:lnTo>
                    <a:lnTo>
                      <a:pt x="803" y="606"/>
                    </a:lnTo>
                    <a:lnTo>
                      <a:pt x="803" y="606"/>
                    </a:lnTo>
                    <a:lnTo>
                      <a:pt x="802" y="607"/>
                    </a:lnTo>
                    <a:lnTo>
                      <a:pt x="801" y="608"/>
                    </a:lnTo>
                    <a:lnTo>
                      <a:pt x="800" y="608"/>
                    </a:lnTo>
                    <a:lnTo>
                      <a:pt x="799" y="608"/>
                    </a:lnTo>
                    <a:lnTo>
                      <a:pt x="798" y="607"/>
                    </a:lnTo>
                    <a:lnTo>
                      <a:pt x="798" y="605"/>
                    </a:lnTo>
                    <a:lnTo>
                      <a:pt x="799" y="604"/>
                    </a:lnTo>
                    <a:lnTo>
                      <a:pt x="799" y="602"/>
                    </a:lnTo>
                    <a:lnTo>
                      <a:pt x="800" y="601"/>
                    </a:lnTo>
                    <a:lnTo>
                      <a:pt x="801" y="601"/>
                    </a:lnTo>
                    <a:close/>
                    <a:moveTo>
                      <a:pt x="757" y="595"/>
                    </a:moveTo>
                    <a:lnTo>
                      <a:pt x="759" y="595"/>
                    </a:lnTo>
                    <a:lnTo>
                      <a:pt x="760" y="595"/>
                    </a:lnTo>
                    <a:lnTo>
                      <a:pt x="763" y="596"/>
                    </a:lnTo>
                    <a:lnTo>
                      <a:pt x="764" y="597"/>
                    </a:lnTo>
                    <a:lnTo>
                      <a:pt x="766" y="600"/>
                    </a:lnTo>
                    <a:lnTo>
                      <a:pt x="767" y="603"/>
                    </a:lnTo>
                    <a:lnTo>
                      <a:pt x="767" y="605"/>
                    </a:lnTo>
                    <a:lnTo>
                      <a:pt x="767" y="607"/>
                    </a:lnTo>
                    <a:lnTo>
                      <a:pt x="767" y="611"/>
                    </a:lnTo>
                    <a:lnTo>
                      <a:pt x="766" y="612"/>
                    </a:lnTo>
                    <a:lnTo>
                      <a:pt x="766" y="612"/>
                    </a:lnTo>
                    <a:lnTo>
                      <a:pt x="764" y="612"/>
                    </a:lnTo>
                    <a:lnTo>
                      <a:pt x="763" y="611"/>
                    </a:lnTo>
                    <a:lnTo>
                      <a:pt x="761" y="608"/>
                    </a:lnTo>
                    <a:lnTo>
                      <a:pt x="759" y="606"/>
                    </a:lnTo>
                    <a:lnTo>
                      <a:pt x="758" y="604"/>
                    </a:lnTo>
                    <a:lnTo>
                      <a:pt x="757" y="602"/>
                    </a:lnTo>
                    <a:lnTo>
                      <a:pt x="755" y="600"/>
                    </a:lnTo>
                    <a:lnTo>
                      <a:pt x="754" y="599"/>
                    </a:lnTo>
                    <a:lnTo>
                      <a:pt x="754" y="597"/>
                    </a:lnTo>
                    <a:lnTo>
                      <a:pt x="753" y="596"/>
                    </a:lnTo>
                    <a:lnTo>
                      <a:pt x="753" y="596"/>
                    </a:lnTo>
                    <a:lnTo>
                      <a:pt x="754" y="595"/>
                    </a:lnTo>
                    <a:lnTo>
                      <a:pt x="755" y="595"/>
                    </a:lnTo>
                    <a:lnTo>
                      <a:pt x="757" y="595"/>
                    </a:lnTo>
                    <a:close/>
                    <a:moveTo>
                      <a:pt x="1551" y="594"/>
                    </a:moveTo>
                    <a:lnTo>
                      <a:pt x="1555" y="594"/>
                    </a:lnTo>
                    <a:lnTo>
                      <a:pt x="1555" y="596"/>
                    </a:lnTo>
                    <a:lnTo>
                      <a:pt x="1554" y="600"/>
                    </a:lnTo>
                    <a:lnTo>
                      <a:pt x="1554" y="603"/>
                    </a:lnTo>
                    <a:lnTo>
                      <a:pt x="1553" y="606"/>
                    </a:lnTo>
                    <a:lnTo>
                      <a:pt x="1552" y="608"/>
                    </a:lnTo>
                    <a:lnTo>
                      <a:pt x="1550" y="610"/>
                    </a:lnTo>
                    <a:lnTo>
                      <a:pt x="1549" y="610"/>
                    </a:lnTo>
                    <a:lnTo>
                      <a:pt x="1549" y="607"/>
                    </a:lnTo>
                    <a:lnTo>
                      <a:pt x="1548" y="604"/>
                    </a:lnTo>
                    <a:lnTo>
                      <a:pt x="1548" y="602"/>
                    </a:lnTo>
                    <a:lnTo>
                      <a:pt x="1548" y="599"/>
                    </a:lnTo>
                    <a:lnTo>
                      <a:pt x="1549" y="595"/>
                    </a:lnTo>
                    <a:lnTo>
                      <a:pt x="1551" y="594"/>
                    </a:lnTo>
                    <a:close/>
                    <a:moveTo>
                      <a:pt x="1536" y="594"/>
                    </a:moveTo>
                    <a:lnTo>
                      <a:pt x="1541" y="599"/>
                    </a:lnTo>
                    <a:lnTo>
                      <a:pt x="1542" y="606"/>
                    </a:lnTo>
                    <a:lnTo>
                      <a:pt x="1539" y="616"/>
                    </a:lnTo>
                    <a:lnTo>
                      <a:pt x="1538" y="618"/>
                    </a:lnTo>
                    <a:lnTo>
                      <a:pt x="1535" y="618"/>
                    </a:lnTo>
                    <a:lnTo>
                      <a:pt x="1533" y="618"/>
                    </a:lnTo>
                    <a:lnTo>
                      <a:pt x="1531" y="617"/>
                    </a:lnTo>
                    <a:lnTo>
                      <a:pt x="1529" y="616"/>
                    </a:lnTo>
                    <a:lnTo>
                      <a:pt x="1527" y="615"/>
                    </a:lnTo>
                    <a:lnTo>
                      <a:pt x="1525" y="614"/>
                    </a:lnTo>
                    <a:lnTo>
                      <a:pt x="1525" y="614"/>
                    </a:lnTo>
                    <a:lnTo>
                      <a:pt x="1523" y="611"/>
                    </a:lnTo>
                    <a:lnTo>
                      <a:pt x="1524" y="606"/>
                    </a:lnTo>
                    <a:lnTo>
                      <a:pt x="1529" y="602"/>
                    </a:lnTo>
                    <a:lnTo>
                      <a:pt x="1533" y="597"/>
                    </a:lnTo>
                    <a:lnTo>
                      <a:pt x="1536" y="594"/>
                    </a:lnTo>
                    <a:close/>
                    <a:moveTo>
                      <a:pt x="661" y="594"/>
                    </a:moveTo>
                    <a:lnTo>
                      <a:pt x="662" y="595"/>
                    </a:lnTo>
                    <a:lnTo>
                      <a:pt x="662" y="596"/>
                    </a:lnTo>
                    <a:lnTo>
                      <a:pt x="662" y="597"/>
                    </a:lnTo>
                    <a:lnTo>
                      <a:pt x="661" y="600"/>
                    </a:lnTo>
                    <a:lnTo>
                      <a:pt x="659" y="601"/>
                    </a:lnTo>
                    <a:lnTo>
                      <a:pt x="658" y="602"/>
                    </a:lnTo>
                    <a:lnTo>
                      <a:pt x="657" y="603"/>
                    </a:lnTo>
                    <a:lnTo>
                      <a:pt x="654" y="605"/>
                    </a:lnTo>
                    <a:lnTo>
                      <a:pt x="648" y="607"/>
                    </a:lnTo>
                    <a:lnTo>
                      <a:pt x="640" y="608"/>
                    </a:lnTo>
                    <a:lnTo>
                      <a:pt x="635" y="610"/>
                    </a:lnTo>
                    <a:lnTo>
                      <a:pt x="630" y="608"/>
                    </a:lnTo>
                    <a:lnTo>
                      <a:pt x="630" y="607"/>
                    </a:lnTo>
                    <a:lnTo>
                      <a:pt x="632" y="606"/>
                    </a:lnTo>
                    <a:lnTo>
                      <a:pt x="634" y="606"/>
                    </a:lnTo>
                    <a:lnTo>
                      <a:pt x="636" y="605"/>
                    </a:lnTo>
                    <a:lnTo>
                      <a:pt x="638" y="605"/>
                    </a:lnTo>
                    <a:lnTo>
                      <a:pt x="640" y="605"/>
                    </a:lnTo>
                    <a:lnTo>
                      <a:pt x="643" y="605"/>
                    </a:lnTo>
                    <a:lnTo>
                      <a:pt x="643" y="605"/>
                    </a:lnTo>
                    <a:lnTo>
                      <a:pt x="646" y="604"/>
                    </a:lnTo>
                    <a:lnTo>
                      <a:pt x="649" y="604"/>
                    </a:lnTo>
                    <a:lnTo>
                      <a:pt x="652" y="603"/>
                    </a:lnTo>
                    <a:lnTo>
                      <a:pt x="655" y="601"/>
                    </a:lnTo>
                    <a:lnTo>
                      <a:pt x="657" y="600"/>
                    </a:lnTo>
                    <a:lnTo>
                      <a:pt x="658" y="596"/>
                    </a:lnTo>
                    <a:lnTo>
                      <a:pt x="660" y="594"/>
                    </a:lnTo>
                    <a:lnTo>
                      <a:pt x="661" y="594"/>
                    </a:lnTo>
                    <a:close/>
                    <a:moveTo>
                      <a:pt x="737" y="569"/>
                    </a:moveTo>
                    <a:lnTo>
                      <a:pt x="743" y="569"/>
                    </a:lnTo>
                    <a:lnTo>
                      <a:pt x="746" y="571"/>
                    </a:lnTo>
                    <a:lnTo>
                      <a:pt x="748" y="575"/>
                    </a:lnTo>
                    <a:lnTo>
                      <a:pt x="747" y="577"/>
                    </a:lnTo>
                    <a:lnTo>
                      <a:pt x="748" y="578"/>
                    </a:lnTo>
                    <a:lnTo>
                      <a:pt x="748" y="578"/>
                    </a:lnTo>
                    <a:lnTo>
                      <a:pt x="750" y="578"/>
                    </a:lnTo>
                    <a:lnTo>
                      <a:pt x="752" y="578"/>
                    </a:lnTo>
                    <a:lnTo>
                      <a:pt x="753" y="578"/>
                    </a:lnTo>
                    <a:lnTo>
                      <a:pt x="755" y="578"/>
                    </a:lnTo>
                    <a:lnTo>
                      <a:pt x="756" y="579"/>
                    </a:lnTo>
                    <a:lnTo>
                      <a:pt x="756" y="581"/>
                    </a:lnTo>
                    <a:lnTo>
                      <a:pt x="756" y="583"/>
                    </a:lnTo>
                    <a:lnTo>
                      <a:pt x="756" y="585"/>
                    </a:lnTo>
                    <a:lnTo>
                      <a:pt x="755" y="589"/>
                    </a:lnTo>
                    <a:lnTo>
                      <a:pt x="753" y="591"/>
                    </a:lnTo>
                    <a:lnTo>
                      <a:pt x="750" y="591"/>
                    </a:lnTo>
                    <a:lnTo>
                      <a:pt x="749" y="591"/>
                    </a:lnTo>
                    <a:lnTo>
                      <a:pt x="747" y="589"/>
                    </a:lnTo>
                    <a:lnTo>
                      <a:pt x="746" y="586"/>
                    </a:lnTo>
                    <a:lnTo>
                      <a:pt x="745" y="584"/>
                    </a:lnTo>
                    <a:lnTo>
                      <a:pt x="745" y="582"/>
                    </a:lnTo>
                    <a:lnTo>
                      <a:pt x="744" y="580"/>
                    </a:lnTo>
                    <a:lnTo>
                      <a:pt x="742" y="579"/>
                    </a:lnTo>
                    <a:lnTo>
                      <a:pt x="741" y="579"/>
                    </a:lnTo>
                    <a:lnTo>
                      <a:pt x="726" y="579"/>
                    </a:lnTo>
                    <a:lnTo>
                      <a:pt x="724" y="577"/>
                    </a:lnTo>
                    <a:lnTo>
                      <a:pt x="723" y="574"/>
                    </a:lnTo>
                    <a:lnTo>
                      <a:pt x="724" y="573"/>
                    </a:lnTo>
                    <a:lnTo>
                      <a:pt x="726" y="572"/>
                    </a:lnTo>
                    <a:lnTo>
                      <a:pt x="728" y="572"/>
                    </a:lnTo>
                    <a:lnTo>
                      <a:pt x="733" y="570"/>
                    </a:lnTo>
                    <a:lnTo>
                      <a:pt x="737" y="569"/>
                    </a:lnTo>
                    <a:close/>
                    <a:moveTo>
                      <a:pt x="714" y="557"/>
                    </a:moveTo>
                    <a:lnTo>
                      <a:pt x="715" y="557"/>
                    </a:lnTo>
                    <a:lnTo>
                      <a:pt x="717" y="558"/>
                    </a:lnTo>
                    <a:lnTo>
                      <a:pt x="720" y="559"/>
                    </a:lnTo>
                    <a:lnTo>
                      <a:pt x="722" y="560"/>
                    </a:lnTo>
                    <a:lnTo>
                      <a:pt x="724" y="562"/>
                    </a:lnTo>
                    <a:lnTo>
                      <a:pt x="726" y="564"/>
                    </a:lnTo>
                    <a:lnTo>
                      <a:pt x="726" y="567"/>
                    </a:lnTo>
                    <a:lnTo>
                      <a:pt x="725" y="569"/>
                    </a:lnTo>
                    <a:lnTo>
                      <a:pt x="723" y="571"/>
                    </a:lnTo>
                    <a:lnTo>
                      <a:pt x="721" y="571"/>
                    </a:lnTo>
                    <a:lnTo>
                      <a:pt x="719" y="570"/>
                    </a:lnTo>
                    <a:lnTo>
                      <a:pt x="716" y="568"/>
                    </a:lnTo>
                    <a:lnTo>
                      <a:pt x="715" y="564"/>
                    </a:lnTo>
                    <a:lnTo>
                      <a:pt x="714" y="562"/>
                    </a:lnTo>
                    <a:lnTo>
                      <a:pt x="713" y="559"/>
                    </a:lnTo>
                    <a:lnTo>
                      <a:pt x="714" y="557"/>
                    </a:lnTo>
                    <a:close/>
                    <a:moveTo>
                      <a:pt x="1885" y="525"/>
                    </a:moveTo>
                    <a:lnTo>
                      <a:pt x="1885" y="525"/>
                    </a:lnTo>
                    <a:lnTo>
                      <a:pt x="1883" y="526"/>
                    </a:lnTo>
                    <a:lnTo>
                      <a:pt x="1882" y="528"/>
                    </a:lnTo>
                    <a:lnTo>
                      <a:pt x="1881" y="530"/>
                    </a:lnTo>
                    <a:lnTo>
                      <a:pt x="1881" y="531"/>
                    </a:lnTo>
                    <a:lnTo>
                      <a:pt x="1882" y="534"/>
                    </a:lnTo>
                    <a:lnTo>
                      <a:pt x="1883" y="535"/>
                    </a:lnTo>
                    <a:lnTo>
                      <a:pt x="1885" y="536"/>
                    </a:lnTo>
                    <a:lnTo>
                      <a:pt x="1887" y="537"/>
                    </a:lnTo>
                    <a:lnTo>
                      <a:pt x="1888" y="538"/>
                    </a:lnTo>
                    <a:lnTo>
                      <a:pt x="1889" y="538"/>
                    </a:lnTo>
                    <a:lnTo>
                      <a:pt x="1890" y="538"/>
                    </a:lnTo>
                    <a:lnTo>
                      <a:pt x="1892" y="536"/>
                    </a:lnTo>
                    <a:lnTo>
                      <a:pt x="1893" y="534"/>
                    </a:lnTo>
                    <a:lnTo>
                      <a:pt x="1895" y="530"/>
                    </a:lnTo>
                    <a:lnTo>
                      <a:pt x="1895" y="529"/>
                    </a:lnTo>
                    <a:lnTo>
                      <a:pt x="1895" y="528"/>
                    </a:lnTo>
                    <a:lnTo>
                      <a:pt x="1894" y="528"/>
                    </a:lnTo>
                    <a:lnTo>
                      <a:pt x="1893" y="528"/>
                    </a:lnTo>
                    <a:lnTo>
                      <a:pt x="1891" y="528"/>
                    </a:lnTo>
                    <a:lnTo>
                      <a:pt x="1890" y="528"/>
                    </a:lnTo>
                    <a:lnTo>
                      <a:pt x="1889" y="528"/>
                    </a:lnTo>
                    <a:lnTo>
                      <a:pt x="1888" y="527"/>
                    </a:lnTo>
                    <a:lnTo>
                      <a:pt x="1888" y="526"/>
                    </a:lnTo>
                    <a:lnTo>
                      <a:pt x="1887" y="525"/>
                    </a:lnTo>
                    <a:lnTo>
                      <a:pt x="1885" y="525"/>
                    </a:lnTo>
                    <a:close/>
                    <a:moveTo>
                      <a:pt x="32" y="496"/>
                    </a:moveTo>
                    <a:lnTo>
                      <a:pt x="36" y="497"/>
                    </a:lnTo>
                    <a:lnTo>
                      <a:pt x="40" y="498"/>
                    </a:lnTo>
                    <a:lnTo>
                      <a:pt x="45" y="499"/>
                    </a:lnTo>
                    <a:lnTo>
                      <a:pt x="48" y="501"/>
                    </a:lnTo>
                    <a:lnTo>
                      <a:pt x="50" y="504"/>
                    </a:lnTo>
                    <a:lnTo>
                      <a:pt x="50" y="505"/>
                    </a:lnTo>
                    <a:lnTo>
                      <a:pt x="50" y="507"/>
                    </a:lnTo>
                    <a:lnTo>
                      <a:pt x="48" y="509"/>
                    </a:lnTo>
                    <a:lnTo>
                      <a:pt x="46" y="510"/>
                    </a:lnTo>
                    <a:lnTo>
                      <a:pt x="44" y="510"/>
                    </a:lnTo>
                    <a:lnTo>
                      <a:pt x="39" y="508"/>
                    </a:lnTo>
                    <a:lnTo>
                      <a:pt x="36" y="506"/>
                    </a:lnTo>
                    <a:lnTo>
                      <a:pt x="33" y="504"/>
                    </a:lnTo>
                    <a:lnTo>
                      <a:pt x="30" y="501"/>
                    </a:lnTo>
                    <a:lnTo>
                      <a:pt x="30" y="497"/>
                    </a:lnTo>
                    <a:lnTo>
                      <a:pt x="32" y="496"/>
                    </a:lnTo>
                    <a:close/>
                    <a:moveTo>
                      <a:pt x="1" y="479"/>
                    </a:moveTo>
                    <a:lnTo>
                      <a:pt x="2" y="480"/>
                    </a:lnTo>
                    <a:lnTo>
                      <a:pt x="3" y="481"/>
                    </a:lnTo>
                    <a:lnTo>
                      <a:pt x="3" y="481"/>
                    </a:lnTo>
                    <a:lnTo>
                      <a:pt x="3" y="482"/>
                    </a:lnTo>
                    <a:lnTo>
                      <a:pt x="4" y="482"/>
                    </a:lnTo>
                    <a:lnTo>
                      <a:pt x="5" y="483"/>
                    </a:lnTo>
                    <a:lnTo>
                      <a:pt x="7" y="484"/>
                    </a:lnTo>
                    <a:lnTo>
                      <a:pt x="7" y="486"/>
                    </a:lnTo>
                    <a:lnTo>
                      <a:pt x="6" y="488"/>
                    </a:lnTo>
                    <a:lnTo>
                      <a:pt x="5" y="490"/>
                    </a:lnTo>
                    <a:lnTo>
                      <a:pt x="3" y="490"/>
                    </a:lnTo>
                    <a:lnTo>
                      <a:pt x="2" y="488"/>
                    </a:lnTo>
                    <a:lnTo>
                      <a:pt x="1" y="486"/>
                    </a:lnTo>
                    <a:lnTo>
                      <a:pt x="1" y="485"/>
                    </a:lnTo>
                    <a:lnTo>
                      <a:pt x="0" y="484"/>
                    </a:lnTo>
                    <a:lnTo>
                      <a:pt x="0" y="482"/>
                    </a:lnTo>
                    <a:lnTo>
                      <a:pt x="0" y="481"/>
                    </a:lnTo>
                    <a:lnTo>
                      <a:pt x="0" y="480"/>
                    </a:lnTo>
                    <a:lnTo>
                      <a:pt x="0" y="479"/>
                    </a:lnTo>
                    <a:lnTo>
                      <a:pt x="1" y="479"/>
                    </a:lnTo>
                    <a:close/>
                    <a:moveTo>
                      <a:pt x="1028" y="447"/>
                    </a:moveTo>
                    <a:lnTo>
                      <a:pt x="1030" y="448"/>
                    </a:lnTo>
                    <a:lnTo>
                      <a:pt x="1033" y="448"/>
                    </a:lnTo>
                    <a:lnTo>
                      <a:pt x="1036" y="449"/>
                    </a:lnTo>
                    <a:lnTo>
                      <a:pt x="1038" y="450"/>
                    </a:lnTo>
                    <a:lnTo>
                      <a:pt x="1038" y="451"/>
                    </a:lnTo>
                    <a:lnTo>
                      <a:pt x="1038" y="453"/>
                    </a:lnTo>
                    <a:lnTo>
                      <a:pt x="1037" y="454"/>
                    </a:lnTo>
                    <a:lnTo>
                      <a:pt x="1034" y="455"/>
                    </a:lnTo>
                    <a:lnTo>
                      <a:pt x="1032" y="457"/>
                    </a:lnTo>
                    <a:lnTo>
                      <a:pt x="1029" y="458"/>
                    </a:lnTo>
                    <a:lnTo>
                      <a:pt x="1027" y="458"/>
                    </a:lnTo>
                    <a:lnTo>
                      <a:pt x="1025" y="458"/>
                    </a:lnTo>
                    <a:lnTo>
                      <a:pt x="1021" y="457"/>
                    </a:lnTo>
                    <a:lnTo>
                      <a:pt x="1020" y="454"/>
                    </a:lnTo>
                    <a:lnTo>
                      <a:pt x="1020" y="452"/>
                    </a:lnTo>
                    <a:lnTo>
                      <a:pt x="1020" y="450"/>
                    </a:lnTo>
                    <a:lnTo>
                      <a:pt x="1022" y="449"/>
                    </a:lnTo>
                    <a:lnTo>
                      <a:pt x="1025" y="448"/>
                    </a:lnTo>
                    <a:lnTo>
                      <a:pt x="1028" y="447"/>
                    </a:lnTo>
                    <a:close/>
                    <a:moveTo>
                      <a:pt x="962" y="441"/>
                    </a:moveTo>
                    <a:lnTo>
                      <a:pt x="963" y="441"/>
                    </a:lnTo>
                    <a:lnTo>
                      <a:pt x="965" y="442"/>
                    </a:lnTo>
                    <a:lnTo>
                      <a:pt x="967" y="444"/>
                    </a:lnTo>
                    <a:lnTo>
                      <a:pt x="967" y="447"/>
                    </a:lnTo>
                    <a:lnTo>
                      <a:pt x="967" y="450"/>
                    </a:lnTo>
                    <a:lnTo>
                      <a:pt x="966" y="452"/>
                    </a:lnTo>
                    <a:lnTo>
                      <a:pt x="964" y="455"/>
                    </a:lnTo>
                    <a:lnTo>
                      <a:pt x="962" y="457"/>
                    </a:lnTo>
                    <a:lnTo>
                      <a:pt x="961" y="458"/>
                    </a:lnTo>
                    <a:lnTo>
                      <a:pt x="959" y="457"/>
                    </a:lnTo>
                    <a:lnTo>
                      <a:pt x="957" y="454"/>
                    </a:lnTo>
                    <a:lnTo>
                      <a:pt x="956" y="452"/>
                    </a:lnTo>
                    <a:lnTo>
                      <a:pt x="956" y="450"/>
                    </a:lnTo>
                    <a:lnTo>
                      <a:pt x="956" y="447"/>
                    </a:lnTo>
                    <a:lnTo>
                      <a:pt x="957" y="443"/>
                    </a:lnTo>
                    <a:lnTo>
                      <a:pt x="960" y="441"/>
                    </a:lnTo>
                    <a:lnTo>
                      <a:pt x="962" y="441"/>
                    </a:lnTo>
                    <a:close/>
                    <a:moveTo>
                      <a:pt x="2269" y="427"/>
                    </a:moveTo>
                    <a:lnTo>
                      <a:pt x="2271" y="428"/>
                    </a:lnTo>
                    <a:lnTo>
                      <a:pt x="2273" y="429"/>
                    </a:lnTo>
                    <a:lnTo>
                      <a:pt x="2274" y="431"/>
                    </a:lnTo>
                    <a:lnTo>
                      <a:pt x="2275" y="433"/>
                    </a:lnTo>
                    <a:lnTo>
                      <a:pt x="2276" y="436"/>
                    </a:lnTo>
                    <a:lnTo>
                      <a:pt x="2277" y="439"/>
                    </a:lnTo>
                    <a:lnTo>
                      <a:pt x="2278" y="442"/>
                    </a:lnTo>
                    <a:lnTo>
                      <a:pt x="2278" y="446"/>
                    </a:lnTo>
                    <a:lnTo>
                      <a:pt x="2275" y="450"/>
                    </a:lnTo>
                    <a:lnTo>
                      <a:pt x="2272" y="453"/>
                    </a:lnTo>
                    <a:lnTo>
                      <a:pt x="2269" y="457"/>
                    </a:lnTo>
                    <a:lnTo>
                      <a:pt x="2266" y="459"/>
                    </a:lnTo>
                    <a:lnTo>
                      <a:pt x="2265" y="460"/>
                    </a:lnTo>
                    <a:lnTo>
                      <a:pt x="2263" y="462"/>
                    </a:lnTo>
                    <a:lnTo>
                      <a:pt x="2261" y="462"/>
                    </a:lnTo>
                    <a:lnTo>
                      <a:pt x="2260" y="462"/>
                    </a:lnTo>
                    <a:lnTo>
                      <a:pt x="2260" y="452"/>
                    </a:lnTo>
                    <a:lnTo>
                      <a:pt x="2260" y="449"/>
                    </a:lnTo>
                    <a:lnTo>
                      <a:pt x="2260" y="447"/>
                    </a:lnTo>
                    <a:lnTo>
                      <a:pt x="2261" y="444"/>
                    </a:lnTo>
                    <a:lnTo>
                      <a:pt x="2263" y="441"/>
                    </a:lnTo>
                    <a:lnTo>
                      <a:pt x="2263" y="439"/>
                    </a:lnTo>
                    <a:lnTo>
                      <a:pt x="2263" y="437"/>
                    </a:lnTo>
                    <a:lnTo>
                      <a:pt x="2264" y="433"/>
                    </a:lnTo>
                    <a:lnTo>
                      <a:pt x="2265" y="431"/>
                    </a:lnTo>
                    <a:lnTo>
                      <a:pt x="2267" y="429"/>
                    </a:lnTo>
                    <a:lnTo>
                      <a:pt x="2269" y="427"/>
                    </a:lnTo>
                    <a:close/>
                    <a:moveTo>
                      <a:pt x="1691" y="390"/>
                    </a:moveTo>
                    <a:lnTo>
                      <a:pt x="1693" y="390"/>
                    </a:lnTo>
                    <a:lnTo>
                      <a:pt x="1694" y="393"/>
                    </a:lnTo>
                    <a:lnTo>
                      <a:pt x="1692" y="399"/>
                    </a:lnTo>
                    <a:lnTo>
                      <a:pt x="1690" y="407"/>
                    </a:lnTo>
                    <a:lnTo>
                      <a:pt x="1686" y="414"/>
                    </a:lnTo>
                    <a:lnTo>
                      <a:pt x="1682" y="418"/>
                    </a:lnTo>
                    <a:lnTo>
                      <a:pt x="1681" y="416"/>
                    </a:lnTo>
                    <a:lnTo>
                      <a:pt x="1681" y="412"/>
                    </a:lnTo>
                    <a:lnTo>
                      <a:pt x="1683" y="407"/>
                    </a:lnTo>
                    <a:lnTo>
                      <a:pt x="1685" y="400"/>
                    </a:lnTo>
                    <a:lnTo>
                      <a:pt x="1687" y="396"/>
                    </a:lnTo>
                    <a:lnTo>
                      <a:pt x="1690" y="393"/>
                    </a:lnTo>
                    <a:lnTo>
                      <a:pt x="1691" y="390"/>
                    </a:lnTo>
                    <a:close/>
                    <a:moveTo>
                      <a:pt x="1691" y="324"/>
                    </a:moveTo>
                    <a:lnTo>
                      <a:pt x="1692" y="328"/>
                    </a:lnTo>
                    <a:lnTo>
                      <a:pt x="1692" y="330"/>
                    </a:lnTo>
                    <a:lnTo>
                      <a:pt x="1692" y="333"/>
                    </a:lnTo>
                    <a:lnTo>
                      <a:pt x="1691" y="335"/>
                    </a:lnTo>
                    <a:lnTo>
                      <a:pt x="1688" y="339"/>
                    </a:lnTo>
                    <a:lnTo>
                      <a:pt x="1686" y="342"/>
                    </a:lnTo>
                    <a:lnTo>
                      <a:pt x="1686" y="345"/>
                    </a:lnTo>
                    <a:lnTo>
                      <a:pt x="1685" y="348"/>
                    </a:lnTo>
                    <a:lnTo>
                      <a:pt x="1684" y="350"/>
                    </a:lnTo>
                    <a:lnTo>
                      <a:pt x="1683" y="350"/>
                    </a:lnTo>
                    <a:lnTo>
                      <a:pt x="1681" y="350"/>
                    </a:lnTo>
                    <a:lnTo>
                      <a:pt x="1680" y="349"/>
                    </a:lnTo>
                    <a:lnTo>
                      <a:pt x="1679" y="346"/>
                    </a:lnTo>
                    <a:lnTo>
                      <a:pt x="1677" y="345"/>
                    </a:lnTo>
                    <a:lnTo>
                      <a:pt x="1677" y="342"/>
                    </a:lnTo>
                    <a:lnTo>
                      <a:pt x="1677" y="339"/>
                    </a:lnTo>
                    <a:lnTo>
                      <a:pt x="1680" y="335"/>
                    </a:lnTo>
                    <a:lnTo>
                      <a:pt x="1682" y="333"/>
                    </a:lnTo>
                    <a:lnTo>
                      <a:pt x="1684" y="331"/>
                    </a:lnTo>
                    <a:lnTo>
                      <a:pt x="1686" y="329"/>
                    </a:lnTo>
                    <a:lnTo>
                      <a:pt x="1688" y="328"/>
                    </a:lnTo>
                    <a:lnTo>
                      <a:pt x="1690" y="327"/>
                    </a:lnTo>
                    <a:lnTo>
                      <a:pt x="1691" y="327"/>
                    </a:lnTo>
                    <a:lnTo>
                      <a:pt x="1691" y="324"/>
                    </a:lnTo>
                    <a:close/>
                    <a:moveTo>
                      <a:pt x="1555" y="269"/>
                    </a:moveTo>
                    <a:lnTo>
                      <a:pt x="1555" y="270"/>
                    </a:lnTo>
                    <a:lnTo>
                      <a:pt x="1555" y="272"/>
                    </a:lnTo>
                    <a:lnTo>
                      <a:pt x="1555" y="274"/>
                    </a:lnTo>
                    <a:lnTo>
                      <a:pt x="1554" y="277"/>
                    </a:lnTo>
                    <a:lnTo>
                      <a:pt x="1554" y="279"/>
                    </a:lnTo>
                    <a:lnTo>
                      <a:pt x="1553" y="283"/>
                    </a:lnTo>
                    <a:lnTo>
                      <a:pt x="1553" y="285"/>
                    </a:lnTo>
                    <a:lnTo>
                      <a:pt x="1551" y="286"/>
                    </a:lnTo>
                    <a:lnTo>
                      <a:pt x="1550" y="285"/>
                    </a:lnTo>
                    <a:lnTo>
                      <a:pt x="1548" y="284"/>
                    </a:lnTo>
                    <a:lnTo>
                      <a:pt x="1546" y="280"/>
                    </a:lnTo>
                    <a:lnTo>
                      <a:pt x="1546" y="278"/>
                    </a:lnTo>
                    <a:lnTo>
                      <a:pt x="1545" y="275"/>
                    </a:lnTo>
                    <a:lnTo>
                      <a:pt x="1548" y="272"/>
                    </a:lnTo>
                    <a:lnTo>
                      <a:pt x="1549" y="270"/>
                    </a:lnTo>
                    <a:lnTo>
                      <a:pt x="1551" y="269"/>
                    </a:lnTo>
                    <a:lnTo>
                      <a:pt x="1553" y="269"/>
                    </a:lnTo>
                    <a:lnTo>
                      <a:pt x="1555" y="269"/>
                    </a:lnTo>
                    <a:close/>
                    <a:moveTo>
                      <a:pt x="1582" y="251"/>
                    </a:moveTo>
                    <a:lnTo>
                      <a:pt x="1582" y="253"/>
                    </a:lnTo>
                    <a:lnTo>
                      <a:pt x="1582" y="255"/>
                    </a:lnTo>
                    <a:lnTo>
                      <a:pt x="1584" y="256"/>
                    </a:lnTo>
                    <a:lnTo>
                      <a:pt x="1586" y="258"/>
                    </a:lnTo>
                    <a:lnTo>
                      <a:pt x="1587" y="259"/>
                    </a:lnTo>
                    <a:lnTo>
                      <a:pt x="1589" y="261"/>
                    </a:lnTo>
                    <a:lnTo>
                      <a:pt x="1589" y="262"/>
                    </a:lnTo>
                    <a:lnTo>
                      <a:pt x="1590" y="265"/>
                    </a:lnTo>
                    <a:lnTo>
                      <a:pt x="1592" y="268"/>
                    </a:lnTo>
                    <a:lnTo>
                      <a:pt x="1592" y="272"/>
                    </a:lnTo>
                    <a:lnTo>
                      <a:pt x="1590" y="274"/>
                    </a:lnTo>
                    <a:lnTo>
                      <a:pt x="1589" y="277"/>
                    </a:lnTo>
                    <a:lnTo>
                      <a:pt x="1587" y="278"/>
                    </a:lnTo>
                    <a:lnTo>
                      <a:pt x="1585" y="278"/>
                    </a:lnTo>
                    <a:lnTo>
                      <a:pt x="1582" y="278"/>
                    </a:lnTo>
                    <a:lnTo>
                      <a:pt x="1579" y="277"/>
                    </a:lnTo>
                    <a:lnTo>
                      <a:pt x="1577" y="275"/>
                    </a:lnTo>
                    <a:lnTo>
                      <a:pt x="1575" y="274"/>
                    </a:lnTo>
                    <a:lnTo>
                      <a:pt x="1574" y="270"/>
                    </a:lnTo>
                    <a:lnTo>
                      <a:pt x="1574" y="267"/>
                    </a:lnTo>
                    <a:lnTo>
                      <a:pt x="1574" y="265"/>
                    </a:lnTo>
                    <a:lnTo>
                      <a:pt x="1574" y="262"/>
                    </a:lnTo>
                    <a:lnTo>
                      <a:pt x="1575" y="258"/>
                    </a:lnTo>
                    <a:lnTo>
                      <a:pt x="1576" y="256"/>
                    </a:lnTo>
                    <a:lnTo>
                      <a:pt x="1577" y="253"/>
                    </a:lnTo>
                    <a:lnTo>
                      <a:pt x="1579" y="252"/>
                    </a:lnTo>
                    <a:lnTo>
                      <a:pt x="1582" y="251"/>
                    </a:lnTo>
                    <a:close/>
                    <a:moveTo>
                      <a:pt x="1560" y="235"/>
                    </a:moveTo>
                    <a:lnTo>
                      <a:pt x="1563" y="235"/>
                    </a:lnTo>
                    <a:lnTo>
                      <a:pt x="1566" y="236"/>
                    </a:lnTo>
                    <a:lnTo>
                      <a:pt x="1568" y="239"/>
                    </a:lnTo>
                    <a:lnTo>
                      <a:pt x="1571" y="241"/>
                    </a:lnTo>
                    <a:lnTo>
                      <a:pt x="1572" y="243"/>
                    </a:lnTo>
                    <a:lnTo>
                      <a:pt x="1572" y="247"/>
                    </a:lnTo>
                    <a:lnTo>
                      <a:pt x="1572" y="250"/>
                    </a:lnTo>
                    <a:lnTo>
                      <a:pt x="1571" y="252"/>
                    </a:lnTo>
                    <a:lnTo>
                      <a:pt x="1568" y="253"/>
                    </a:lnTo>
                    <a:lnTo>
                      <a:pt x="1567" y="254"/>
                    </a:lnTo>
                    <a:lnTo>
                      <a:pt x="1565" y="255"/>
                    </a:lnTo>
                    <a:lnTo>
                      <a:pt x="1563" y="255"/>
                    </a:lnTo>
                    <a:lnTo>
                      <a:pt x="1561" y="256"/>
                    </a:lnTo>
                    <a:lnTo>
                      <a:pt x="1559" y="257"/>
                    </a:lnTo>
                    <a:lnTo>
                      <a:pt x="1557" y="258"/>
                    </a:lnTo>
                    <a:lnTo>
                      <a:pt x="1556" y="261"/>
                    </a:lnTo>
                    <a:lnTo>
                      <a:pt x="1554" y="263"/>
                    </a:lnTo>
                    <a:lnTo>
                      <a:pt x="1552" y="265"/>
                    </a:lnTo>
                    <a:lnTo>
                      <a:pt x="1550" y="265"/>
                    </a:lnTo>
                    <a:lnTo>
                      <a:pt x="1546" y="265"/>
                    </a:lnTo>
                    <a:lnTo>
                      <a:pt x="1544" y="265"/>
                    </a:lnTo>
                    <a:lnTo>
                      <a:pt x="1542" y="263"/>
                    </a:lnTo>
                    <a:lnTo>
                      <a:pt x="1541" y="262"/>
                    </a:lnTo>
                    <a:lnTo>
                      <a:pt x="1540" y="259"/>
                    </a:lnTo>
                    <a:lnTo>
                      <a:pt x="1541" y="256"/>
                    </a:lnTo>
                    <a:lnTo>
                      <a:pt x="1542" y="255"/>
                    </a:lnTo>
                    <a:lnTo>
                      <a:pt x="1544" y="254"/>
                    </a:lnTo>
                    <a:lnTo>
                      <a:pt x="1546" y="253"/>
                    </a:lnTo>
                    <a:lnTo>
                      <a:pt x="1549" y="252"/>
                    </a:lnTo>
                    <a:lnTo>
                      <a:pt x="1550" y="250"/>
                    </a:lnTo>
                    <a:lnTo>
                      <a:pt x="1551" y="246"/>
                    </a:lnTo>
                    <a:lnTo>
                      <a:pt x="1553" y="242"/>
                    </a:lnTo>
                    <a:lnTo>
                      <a:pt x="1554" y="239"/>
                    </a:lnTo>
                    <a:lnTo>
                      <a:pt x="1556" y="236"/>
                    </a:lnTo>
                    <a:lnTo>
                      <a:pt x="1560" y="235"/>
                    </a:lnTo>
                    <a:close/>
                    <a:moveTo>
                      <a:pt x="864" y="234"/>
                    </a:moveTo>
                    <a:lnTo>
                      <a:pt x="862" y="235"/>
                    </a:lnTo>
                    <a:lnTo>
                      <a:pt x="859" y="237"/>
                    </a:lnTo>
                    <a:lnTo>
                      <a:pt x="862" y="237"/>
                    </a:lnTo>
                    <a:lnTo>
                      <a:pt x="864" y="239"/>
                    </a:lnTo>
                    <a:lnTo>
                      <a:pt x="866" y="240"/>
                    </a:lnTo>
                    <a:lnTo>
                      <a:pt x="868" y="241"/>
                    </a:lnTo>
                    <a:lnTo>
                      <a:pt x="869" y="242"/>
                    </a:lnTo>
                    <a:lnTo>
                      <a:pt x="868" y="237"/>
                    </a:lnTo>
                    <a:lnTo>
                      <a:pt x="867" y="235"/>
                    </a:lnTo>
                    <a:lnTo>
                      <a:pt x="865" y="234"/>
                    </a:lnTo>
                    <a:lnTo>
                      <a:pt x="864" y="234"/>
                    </a:lnTo>
                    <a:close/>
                    <a:moveTo>
                      <a:pt x="2014" y="207"/>
                    </a:moveTo>
                    <a:lnTo>
                      <a:pt x="2015" y="207"/>
                    </a:lnTo>
                    <a:lnTo>
                      <a:pt x="2016" y="208"/>
                    </a:lnTo>
                    <a:lnTo>
                      <a:pt x="2019" y="208"/>
                    </a:lnTo>
                    <a:lnTo>
                      <a:pt x="2020" y="208"/>
                    </a:lnTo>
                    <a:lnTo>
                      <a:pt x="2020" y="208"/>
                    </a:lnTo>
                    <a:lnTo>
                      <a:pt x="2021" y="208"/>
                    </a:lnTo>
                    <a:lnTo>
                      <a:pt x="2023" y="207"/>
                    </a:lnTo>
                    <a:lnTo>
                      <a:pt x="2024" y="207"/>
                    </a:lnTo>
                    <a:lnTo>
                      <a:pt x="2026" y="208"/>
                    </a:lnTo>
                    <a:lnTo>
                      <a:pt x="2027" y="208"/>
                    </a:lnTo>
                    <a:lnTo>
                      <a:pt x="2027" y="210"/>
                    </a:lnTo>
                    <a:lnTo>
                      <a:pt x="2026" y="210"/>
                    </a:lnTo>
                    <a:lnTo>
                      <a:pt x="2025" y="211"/>
                    </a:lnTo>
                    <a:lnTo>
                      <a:pt x="2025" y="212"/>
                    </a:lnTo>
                    <a:lnTo>
                      <a:pt x="2024" y="212"/>
                    </a:lnTo>
                    <a:lnTo>
                      <a:pt x="2023" y="213"/>
                    </a:lnTo>
                    <a:lnTo>
                      <a:pt x="2023" y="213"/>
                    </a:lnTo>
                    <a:lnTo>
                      <a:pt x="2022" y="213"/>
                    </a:lnTo>
                    <a:lnTo>
                      <a:pt x="2022" y="213"/>
                    </a:lnTo>
                    <a:lnTo>
                      <a:pt x="2020" y="213"/>
                    </a:lnTo>
                    <a:lnTo>
                      <a:pt x="2018" y="212"/>
                    </a:lnTo>
                    <a:lnTo>
                      <a:pt x="2015" y="212"/>
                    </a:lnTo>
                    <a:lnTo>
                      <a:pt x="2015" y="212"/>
                    </a:lnTo>
                    <a:lnTo>
                      <a:pt x="2014" y="212"/>
                    </a:lnTo>
                    <a:lnTo>
                      <a:pt x="2012" y="211"/>
                    </a:lnTo>
                    <a:lnTo>
                      <a:pt x="2011" y="211"/>
                    </a:lnTo>
                    <a:lnTo>
                      <a:pt x="2011" y="210"/>
                    </a:lnTo>
                    <a:lnTo>
                      <a:pt x="2011" y="208"/>
                    </a:lnTo>
                    <a:lnTo>
                      <a:pt x="2012" y="207"/>
                    </a:lnTo>
                    <a:lnTo>
                      <a:pt x="2014" y="207"/>
                    </a:lnTo>
                    <a:close/>
                    <a:moveTo>
                      <a:pt x="1841" y="189"/>
                    </a:moveTo>
                    <a:lnTo>
                      <a:pt x="1840" y="196"/>
                    </a:lnTo>
                    <a:lnTo>
                      <a:pt x="1838" y="203"/>
                    </a:lnTo>
                    <a:lnTo>
                      <a:pt x="1835" y="220"/>
                    </a:lnTo>
                    <a:lnTo>
                      <a:pt x="1827" y="233"/>
                    </a:lnTo>
                    <a:lnTo>
                      <a:pt x="1825" y="236"/>
                    </a:lnTo>
                    <a:lnTo>
                      <a:pt x="1822" y="240"/>
                    </a:lnTo>
                    <a:lnTo>
                      <a:pt x="1819" y="244"/>
                    </a:lnTo>
                    <a:lnTo>
                      <a:pt x="1816" y="246"/>
                    </a:lnTo>
                    <a:lnTo>
                      <a:pt x="1814" y="248"/>
                    </a:lnTo>
                    <a:lnTo>
                      <a:pt x="1812" y="250"/>
                    </a:lnTo>
                    <a:lnTo>
                      <a:pt x="1811" y="250"/>
                    </a:lnTo>
                    <a:lnTo>
                      <a:pt x="1810" y="250"/>
                    </a:lnTo>
                    <a:lnTo>
                      <a:pt x="1808" y="248"/>
                    </a:lnTo>
                    <a:lnTo>
                      <a:pt x="1806" y="248"/>
                    </a:lnTo>
                    <a:lnTo>
                      <a:pt x="1805" y="247"/>
                    </a:lnTo>
                    <a:lnTo>
                      <a:pt x="1804" y="247"/>
                    </a:lnTo>
                    <a:lnTo>
                      <a:pt x="1803" y="248"/>
                    </a:lnTo>
                    <a:lnTo>
                      <a:pt x="1801" y="251"/>
                    </a:lnTo>
                    <a:lnTo>
                      <a:pt x="1800" y="253"/>
                    </a:lnTo>
                    <a:lnTo>
                      <a:pt x="1797" y="255"/>
                    </a:lnTo>
                    <a:lnTo>
                      <a:pt x="1796" y="257"/>
                    </a:lnTo>
                    <a:lnTo>
                      <a:pt x="1794" y="259"/>
                    </a:lnTo>
                    <a:lnTo>
                      <a:pt x="1793" y="261"/>
                    </a:lnTo>
                    <a:lnTo>
                      <a:pt x="1792" y="257"/>
                    </a:lnTo>
                    <a:lnTo>
                      <a:pt x="1791" y="255"/>
                    </a:lnTo>
                    <a:lnTo>
                      <a:pt x="1790" y="253"/>
                    </a:lnTo>
                    <a:lnTo>
                      <a:pt x="1789" y="251"/>
                    </a:lnTo>
                    <a:lnTo>
                      <a:pt x="1787" y="248"/>
                    </a:lnTo>
                    <a:lnTo>
                      <a:pt x="1786" y="246"/>
                    </a:lnTo>
                    <a:lnTo>
                      <a:pt x="1785" y="245"/>
                    </a:lnTo>
                    <a:lnTo>
                      <a:pt x="1783" y="245"/>
                    </a:lnTo>
                    <a:lnTo>
                      <a:pt x="1781" y="246"/>
                    </a:lnTo>
                    <a:lnTo>
                      <a:pt x="1778" y="248"/>
                    </a:lnTo>
                    <a:lnTo>
                      <a:pt x="1776" y="250"/>
                    </a:lnTo>
                    <a:lnTo>
                      <a:pt x="1775" y="250"/>
                    </a:lnTo>
                    <a:lnTo>
                      <a:pt x="1773" y="251"/>
                    </a:lnTo>
                    <a:lnTo>
                      <a:pt x="1771" y="251"/>
                    </a:lnTo>
                    <a:lnTo>
                      <a:pt x="1770" y="251"/>
                    </a:lnTo>
                    <a:lnTo>
                      <a:pt x="1769" y="248"/>
                    </a:lnTo>
                    <a:lnTo>
                      <a:pt x="1769" y="247"/>
                    </a:lnTo>
                    <a:lnTo>
                      <a:pt x="1769" y="244"/>
                    </a:lnTo>
                    <a:lnTo>
                      <a:pt x="1770" y="242"/>
                    </a:lnTo>
                    <a:lnTo>
                      <a:pt x="1771" y="240"/>
                    </a:lnTo>
                    <a:lnTo>
                      <a:pt x="1772" y="237"/>
                    </a:lnTo>
                    <a:lnTo>
                      <a:pt x="1772" y="234"/>
                    </a:lnTo>
                    <a:lnTo>
                      <a:pt x="1771" y="232"/>
                    </a:lnTo>
                    <a:lnTo>
                      <a:pt x="1771" y="230"/>
                    </a:lnTo>
                    <a:lnTo>
                      <a:pt x="1770" y="228"/>
                    </a:lnTo>
                    <a:lnTo>
                      <a:pt x="1770" y="226"/>
                    </a:lnTo>
                    <a:lnTo>
                      <a:pt x="1806" y="207"/>
                    </a:lnTo>
                    <a:lnTo>
                      <a:pt x="1807" y="206"/>
                    </a:lnTo>
                    <a:lnTo>
                      <a:pt x="1812" y="203"/>
                    </a:lnTo>
                    <a:lnTo>
                      <a:pt x="1841" y="189"/>
                    </a:lnTo>
                    <a:close/>
                    <a:moveTo>
                      <a:pt x="1942" y="186"/>
                    </a:moveTo>
                    <a:lnTo>
                      <a:pt x="1944" y="187"/>
                    </a:lnTo>
                    <a:lnTo>
                      <a:pt x="1945" y="188"/>
                    </a:lnTo>
                    <a:lnTo>
                      <a:pt x="1947" y="190"/>
                    </a:lnTo>
                    <a:lnTo>
                      <a:pt x="1949" y="191"/>
                    </a:lnTo>
                    <a:lnTo>
                      <a:pt x="1950" y="193"/>
                    </a:lnTo>
                    <a:lnTo>
                      <a:pt x="1952" y="195"/>
                    </a:lnTo>
                    <a:lnTo>
                      <a:pt x="1953" y="196"/>
                    </a:lnTo>
                    <a:lnTo>
                      <a:pt x="1954" y="197"/>
                    </a:lnTo>
                    <a:lnTo>
                      <a:pt x="1954" y="199"/>
                    </a:lnTo>
                    <a:lnTo>
                      <a:pt x="1954" y="200"/>
                    </a:lnTo>
                    <a:lnTo>
                      <a:pt x="1954" y="202"/>
                    </a:lnTo>
                    <a:lnTo>
                      <a:pt x="1953" y="203"/>
                    </a:lnTo>
                    <a:lnTo>
                      <a:pt x="1952" y="204"/>
                    </a:lnTo>
                    <a:lnTo>
                      <a:pt x="1949" y="204"/>
                    </a:lnTo>
                    <a:lnTo>
                      <a:pt x="1948" y="204"/>
                    </a:lnTo>
                    <a:lnTo>
                      <a:pt x="1947" y="203"/>
                    </a:lnTo>
                    <a:lnTo>
                      <a:pt x="1947" y="203"/>
                    </a:lnTo>
                    <a:lnTo>
                      <a:pt x="1945" y="203"/>
                    </a:lnTo>
                    <a:lnTo>
                      <a:pt x="1944" y="202"/>
                    </a:lnTo>
                    <a:lnTo>
                      <a:pt x="1943" y="202"/>
                    </a:lnTo>
                    <a:lnTo>
                      <a:pt x="1942" y="201"/>
                    </a:lnTo>
                    <a:lnTo>
                      <a:pt x="1941" y="200"/>
                    </a:lnTo>
                    <a:lnTo>
                      <a:pt x="1941" y="198"/>
                    </a:lnTo>
                    <a:lnTo>
                      <a:pt x="1939" y="197"/>
                    </a:lnTo>
                    <a:lnTo>
                      <a:pt x="1937" y="196"/>
                    </a:lnTo>
                    <a:lnTo>
                      <a:pt x="1936" y="195"/>
                    </a:lnTo>
                    <a:lnTo>
                      <a:pt x="1935" y="192"/>
                    </a:lnTo>
                    <a:lnTo>
                      <a:pt x="1935" y="190"/>
                    </a:lnTo>
                    <a:lnTo>
                      <a:pt x="1936" y="188"/>
                    </a:lnTo>
                    <a:lnTo>
                      <a:pt x="1938" y="187"/>
                    </a:lnTo>
                    <a:lnTo>
                      <a:pt x="1939" y="186"/>
                    </a:lnTo>
                    <a:lnTo>
                      <a:pt x="1942" y="186"/>
                    </a:lnTo>
                    <a:close/>
                    <a:moveTo>
                      <a:pt x="1857" y="186"/>
                    </a:moveTo>
                    <a:lnTo>
                      <a:pt x="1858" y="187"/>
                    </a:lnTo>
                    <a:lnTo>
                      <a:pt x="1858" y="187"/>
                    </a:lnTo>
                    <a:lnTo>
                      <a:pt x="1858" y="188"/>
                    </a:lnTo>
                    <a:lnTo>
                      <a:pt x="1858" y="190"/>
                    </a:lnTo>
                    <a:lnTo>
                      <a:pt x="1857" y="191"/>
                    </a:lnTo>
                    <a:lnTo>
                      <a:pt x="1857" y="191"/>
                    </a:lnTo>
                    <a:lnTo>
                      <a:pt x="1857" y="192"/>
                    </a:lnTo>
                    <a:lnTo>
                      <a:pt x="1855" y="192"/>
                    </a:lnTo>
                    <a:lnTo>
                      <a:pt x="1854" y="192"/>
                    </a:lnTo>
                    <a:lnTo>
                      <a:pt x="1852" y="191"/>
                    </a:lnTo>
                    <a:lnTo>
                      <a:pt x="1852" y="189"/>
                    </a:lnTo>
                    <a:lnTo>
                      <a:pt x="1854" y="188"/>
                    </a:lnTo>
                    <a:lnTo>
                      <a:pt x="1855" y="187"/>
                    </a:lnTo>
                    <a:lnTo>
                      <a:pt x="1857" y="186"/>
                    </a:lnTo>
                    <a:close/>
                    <a:moveTo>
                      <a:pt x="1862" y="177"/>
                    </a:moveTo>
                    <a:lnTo>
                      <a:pt x="1862" y="177"/>
                    </a:lnTo>
                    <a:lnTo>
                      <a:pt x="1861" y="177"/>
                    </a:lnTo>
                    <a:lnTo>
                      <a:pt x="1862" y="177"/>
                    </a:lnTo>
                    <a:close/>
                    <a:moveTo>
                      <a:pt x="1869" y="175"/>
                    </a:moveTo>
                    <a:lnTo>
                      <a:pt x="1869" y="175"/>
                    </a:lnTo>
                    <a:lnTo>
                      <a:pt x="1869" y="178"/>
                    </a:lnTo>
                    <a:lnTo>
                      <a:pt x="1868" y="181"/>
                    </a:lnTo>
                    <a:lnTo>
                      <a:pt x="1867" y="182"/>
                    </a:lnTo>
                    <a:lnTo>
                      <a:pt x="1866" y="184"/>
                    </a:lnTo>
                    <a:lnTo>
                      <a:pt x="1865" y="184"/>
                    </a:lnTo>
                    <a:lnTo>
                      <a:pt x="1863" y="184"/>
                    </a:lnTo>
                    <a:lnTo>
                      <a:pt x="1863" y="181"/>
                    </a:lnTo>
                    <a:lnTo>
                      <a:pt x="1862" y="180"/>
                    </a:lnTo>
                    <a:lnTo>
                      <a:pt x="1862" y="177"/>
                    </a:lnTo>
                    <a:lnTo>
                      <a:pt x="1862" y="177"/>
                    </a:lnTo>
                    <a:lnTo>
                      <a:pt x="1863" y="177"/>
                    </a:lnTo>
                    <a:lnTo>
                      <a:pt x="1865" y="177"/>
                    </a:lnTo>
                    <a:lnTo>
                      <a:pt x="1867" y="176"/>
                    </a:lnTo>
                    <a:lnTo>
                      <a:pt x="1868" y="175"/>
                    </a:lnTo>
                    <a:lnTo>
                      <a:pt x="1869" y="175"/>
                    </a:lnTo>
                    <a:close/>
                    <a:moveTo>
                      <a:pt x="1866" y="170"/>
                    </a:moveTo>
                    <a:lnTo>
                      <a:pt x="1866" y="171"/>
                    </a:lnTo>
                    <a:lnTo>
                      <a:pt x="1866" y="174"/>
                    </a:lnTo>
                    <a:lnTo>
                      <a:pt x="1865" y="176"/>
                    </a:lnTo>
                    <a:lnTo>
                      <a:pt x="1865" y="176"/>
                    </a:lnTo>
                    <a:lnTo>
                      <a:pt x="1863" y="177"/>
                    </a:lnTo>
                    <a:lnTo>
                      <a:pt x="1862" y="177"/>
                    </a:lnTo>
                    <a:lnTo>
                      <a:pt x="1862" y="175"/>
                    </a:lnTo>
                    <a:lnTo>
                      <a:pt x="1862" y="172"/>
                    </a:lnTo>
                    <a:lnTo>
                      <a:pt x="1862" y="170"/>
                    </a:lnTo>
                    <a:lnTo>
                      <a:pt x="1865" y="170"/>
                    </a:lnTo>
                    <a:lnTo>
                      <a:pt x="1866" y="170"/>
                    </a:lnTo>
                    <a:lnTo>
                      <a:pt x="1866" y="170"/>
                    </a:lnTo>
                    <a:close/>
                    <a:moveTo>
                      <a:pt x="1880" y="167"/>
                    </a:moveTo>
                    <a:lnTo>
                      <a:pt x="1879" y="169"/>
                    </a:lnTo>
                    <a:lnTo>
                      <a:pt x="1878" y="170"/>
                    </a:lnTo>
                    <a:lnTo>
                      <a:pt x="1877" y="172"/>
                    </a:lnTo>
                    <a:lnTo>
                      <a:pt x="1876" y="174"/>
                    </a:lnTo>
                    <a:lnTo>
                      <a:pt x="1874" y="174"/>
                    </a:lnTo>
                    <a:lnTo>
                      <a:pt x="1873" y="174"/>
                    </a:lnTo>
                    <a:lnTo>
                      <a:pt x="1873" y="172"/>
                    </a:lnTo>
                    <a:lnTo>
                      <a:pt x="1873" y="171"/>
                    </a:lnTo>
                    <a:lnTo>
                      <a:pt x="1872" y="171"/>
                    </a:lnTo>
                    <a:lnTo>
                      <a:pt x="1872" y="170"/>
                    </a:lnTo>
                    <a:lnTo>
                      <a:pt x="1872" y="169"/>
                    </a:lnTo>
                    <a:lnTo>
                      <a:pt x="1873" y="169"/>
                    </a:lnTo>
                    <a:lnTo>
                      <a:pt x="1873" y="168"/>
                    </a:lnTo>
                    <a:lnTo>
                      <a:pt x="1876" y="168"/>
                    </a:lnTo>
                    <a:lnTo>
                      <a:pt x="1877" y="167"/>
                    </a:lnTo>
                    <a:lnTo>
                      <a:pt x="1880" y="167"/>
                    </a:lnTo>
                    <a:close/>
                    <a:moveTo>
                      <a:pt x="1867" y="167"/>
                    </a:moveTo>
                    <a:lnTo>
                      <a:pt x="1870" y="167"/>
                    </a:lnTo>
                    <a:lnTo>
                      <a:pt x="1870" y="170"/>
                    </a:lnTo>
                    <a:lnTo>
                      <a:pt x="1869" y="174"/>
                    </a:lnTo>
                    <a:lnTo>
                      <a:pt x="1869" y="175"/>
                    </a:lnTo>
                    <a:lnTo>
                      <a:pt x="1868" y="172"/>
                    </a:lnTo>
                    <a:lnTo>
                      <a:pt x="1868" y="169"/>
                    </a:lnTo>
                    <a:lnTo>
                      <a:pt x="1867" y="167"/>
                    </a:lnTo>
                    <a:close/>
                    <a:moveTo>
                      <a:pt x="1866" y="167"/>
                    </a:moveTo>
                    <a:lnTo>
                      <a:pt x="1867" y="167"/>
                    </a:lnTo>
                    <a:lnTo>
                      <a:pt x="1867" y="169"/>
                    </a:lnTo>
                    <a:lnTo>
                      <a:pt x="1866" y="170"/>
                    </a:lnTo>
                    <a:lnTo>
                      <a:pt x="1866" y="167"/>
                    </a:lnTo>
                    <a:close/>
                    <a:moveTo>
                      <a:pt x="1921" y="139"/>
                    </a:moveTo>
                    <a:lnTo>
                      <a:pt x="1923" y="142"/>
                    </a:lnTo>
                    <a:lnTo>
                      <a:pt x="1923" y="144"/>
                    </a:lnTo>
                    <a:lnTo>
                      <a:pt x="1923" y="146"/>
                    </a:lnTo>
                    <a:lnTo>
                      <a:pt x="1924" y="148"/>
                    </a:lnTo>
                    <a:lnTo>
                      <a:pt x="1924" y="149"/>
                    </a:lnTo>
                    <a:lnTo>
                      <a:pt x="1924" y="152"/>
                    </a:lnTo>
                    <a:lnTo>
                      <a:pt x="1923" y="155"/>
                    </a:lnTo>
                    <a:lnTo>
                      <a:pt x="1923" y="164"/>
                    </a:lnTo>
                    <a:lnTo>
                      <a:pt x="1915" y="177"/>
                    </a:lnTo>
                    <a:lnTo>
                      <a:pt x="1914" y="180"/>
                    </a:lnTo>
                    <a:lnTo>
                      <a:pt x="1912" y="181"/>
                    </a:lnTo>
                    <a:lnTo>
                      <a:pt x="1911" y="184"/>
                    </a:lnTo>
                    <a:lnTo>
                      <a:pt x="1909" y="184"/>
                    </a:lnTo>
                    <a:lnTo>
                      <a:pt x="1907" y="181"/>
                    </a:lnTo>
                    <a:lnTo>
                      <a:pt x="1907" y="178"/>
                    </a:lnTo>
                    <a:lnTo>
                      <a:pt x="1909" y="174"/>
                    </a:lnTo>
                    <a:lnTo>
                      <a:pt x="1910" y="169"/>
                    </a:lnTo>
                    <a:lnTo>
                      <a:pt x="1910" y="166"/>
                    </a:lnTo>
                    <a:lnTo>
                      <a:pt x="1911" y="163"/>
                    </a:lnTo>
                    <a:lnTo>
                      <a:pt x="1912" y="160"/>
                    </a:lnTo>
                    <a:lnTo>
                      <a:pt x="1912" y="157"/>
                    </a:lnTo>
                    <a:lnTo>
                      <a:pt x="1911" y="155"/>
                    </a:lnTo>
                    <a:lnTo>
                      <a:pt x="1910" y="153"/>
                    </a:lnTo>
                    <a:lnTo>
                      <a:pt x="1910" y="147"/>
                    </a:lnTo>
                    <a:lnTo>
                      <a:pt x="1910" y="146"/>
                    </a:lnTo>
                    <a:lnTo>
                      <a:pt x="1914" y="144"/>
                    </a:lnTo>
                    <a:lnTo>
                      <a:pt x="1915" y="143"/>
                    </a:lnTo>
                    <a:lnTo>
                      <a:pt x="1917" y="142"/>
                    </a:lnTo>
                    <a:lnTo>
                      <a:pt x="1921" y="139"/>
                    </a:lnTo>
                    <a:close/>
                    <a:moveTo>
                      <a:pt x="1914" y="139"/>
                    </a:moveTo>
                    <a:lnTo>
                      <a:pt x="1916" y="139"/>
                    </a:lnTo>
                    <a:lnTo>
                      <a:pt x="1916" y="141"/>
                    </a:lnTo>
                    <a:lnTo>
                      <a:pt x="1916" y="142"/>
                    </a:lnTo>
                    <a:lnTo>
                      <a:pt x="1915" y="143"/>
                    </a:lnTo>
                    <a:lnTo>
                      <a:pt x="1913" y="144"/>
                    </a:lnTo>
                    <a:lnTo>
                      <a:pt x="1910" y="146"/>
                    </a:lnTo>
                    <a:lnTo>
                      <a:pt x="1910" y="147"/>
                    </a:lnTo>
                    <a:lnTo>
                      <a:pt x="1907" y="149"/>
                    </a:lnTo>
                    <a:lnTo>
                      <a:pt x="1907" y="146"/>
                    </a:lnTo>
                    <a:lnTo>
                      <a:pt x="1909" y="146"/>
                    </a:lnTo>
                    <a:lnTo>
                      <a:pt x="1910" y="145"/>
                    </a:lnTo>
                    <a:lnTo>
                      <a:pt x="1910" y="145"/>
                    </a:lnTo>
                    <a:lnTo>
                      <a:pt x="1911" y="145"/>
                    </a:lnTo>
                    <a:lnTo>
                      <a:pt x="1912" y="144"/>
                    </a:lnTo>
                    <a:lnTo>
                      <a:pt x="1912" y="143"/>
                    </a:lnTo>
                    <a:lnTo>
                      <a:pt x="1912" y="141"/>
                    </a:lnTo>
                    <a:lnTo>
                      <a:pt x="1913" y="141"/>
                    </a:lnTo>
                    <a:lnTo>
                      <a:pt x="1914" y="139"/>
                    </a:lnTo>
                    <a:close/>
                    <a:moveTo>
                      <a:pt x="1970" y="116"/>
                    </a:moveTo>
                    <a:lnTo>
                      <a:pt x="1970" y="116"/>
                    </a:lnTo>
                    <a:lnTo>
                      <a:pt x="1971" y="119"/>
                    </a:lnTo>
                    <a:lnTo>
                      <a:pt x="1974" y="122"/>
                    </a:lnTo>
                    <a:lnTo>
                      <a:pt x="1976" y="125"/>
                    </a:lnTo>
                    <a:lnTo>
                      <a:pt x="1977" y="127"/>
                    </a:lnTo>
                    <a:lnTo>
                      <a:pt x="1980" y="130"/>
                    </a:lnTo>
                    <a:lnTo>
                      <a:pt x="1981" y="134"/>
                    </a:lnTo>
                    <a:lnTo>
                      <a:pt x="1981" y="141"/>
                    </a:lnTo>
                    <a:lnTo>
                      <a:pt x="1981" y="148"/>
                    </a:lnTo>
                    <a:lnTo>
                      <a:pt x="1980" y="148"/>
                    </a:lnTo>
                    <a:lnTo>
                      <a:pt x="1980" y="147"/>
                    </a:lnTo>
                    <a:lnTo>
                      <a:pt x="1979" y="145"/>
                    </a:lnTo>
                    <a:lnTo>
                      <a:pt x="1978" y="143"/>
                    </a:lnTo>
                    <a:lnTo>
                      <a:pt x="1977" y="141"/>
                    </a:lnTo>
                    <a:lnTo>
                      <a:pt x="1976" y="138"/>
                    </a:lnTo>
                    <a:lnTo>
                      <a:pt x="1976" y="136"/>
                    </a:lnTo>
                    <a:lnTo>
                      <a:pt x="1974" y="136"/>
                    </a:lnTo>
                    <a:lnTo>
                      <a:pt x="1972" y="137"/>
                    </a:lnTo>
                    <a:lnTo>
                      <a:pt x="1972" y="139"/>
                    </a:lnTo>
                    <a:lnTo>
                      <a:pt x="1971" y="142"/>
                    </a:lnTo>
                    <a:lnTo>
                      <a:pt x="1971" y="143"/>
                    </a:lnTo>
                    <a:lnTo>
                      <a:pt x="1970" y="147"/>
                    </a:lnTo>
                    <a:lnTo>
                      <a:pt x="1969" y="149"/>
                    </a:lnTo>
                    <a:lnTo>
                      <a:pt x="1969" y="152"/>
                    </a:lnTo>
                    <a:lnTo>
                      <a:pt x="1970" y="154"/>
                    </a:lnTo>
                    <a:lnTo>
                      <a:pt x="1971" y="157"/>
                    </a:lnTo>
                    <a:lnTo>
                      <a:pt x="1971" y="163"/>
                    </a:lnTo>
                    <a:lnTo>
                      <a:pt x="1969" y="169"/>
                    </a:lnTo>
                    <a:lnTo>
                      <a:pt x="1967" y="177"/>
                    </a:lnTo>
                    <a:lnTo>
                      <a:pt x="1966" y="178"/>
                    </a:lnTo>
                    <a:lnTo>
                      <a:pt x="1965" y="179"/>
                    </a:lnTo>
                    <a:lnTo>
                      <a:pt x="1964" y="180"/>
                    </a:lnTo>
                    <a:lnTo>
                      <a:pt x="1963" y="181"/>
                    </a:lnTo>
                    <a:lnTo>
                      <a:pt x="1960" y="181"/>
                    </a:lnTo>
                    <a:lnTo>
                      <a:pt x="1959" y="181"/>
                    </a:lnTo>
                    <a:lnTo>
                      <a:pt x="1959" y="179"/>
                    </a:lnTo>
                    <a:lnTo>
                      <a:pt x="1959" y="177"/>
                    </a:lnTo>
                    <a:lnTo>
                      <a:pt x="1960" y="174"/>
                    </a:lnTo>
                    <a:lnTo>
                      <a:pt x="1963" y="170"/>
                    </a:lnTo>
                    <a:lnTo>
                      <a:pt x="1963" y="166"/>
                    </a:lnTo>
                    <a:lnTo>
                      <a:pt x="1963" y="155"/>
                    </a:lnTo>
                    <a:lnTo>
                      <a:pt x="1961" y="147"/>
                    </a:lnTo>
                    <a:lnTo>
                      <a:pt x="1959" y="142"/>
                    </a:lnTo>
                    <a:lnTo>
                      <a:pt x="1957" y="136"/>
                    </a:lnTo>
                    <a:lnTo>
                      <a:pt x="1956" y="134"/>
                    </a:lnTo>
                    <a:lnTo>
                      <a:pt x="1955" y="132"/>
                    </a:lnTo>
                    <a:lnTo>
                      <a:pt x="1954" y="130"/>
                    </a:lnTo>
                    <a:lnTo>
                      <a:pt x="1953" y="127"/>
                    </a:lnTo>
                    <a:lnTo>
                      <a:pt x="1950" y="126"/>
                    </a:lnTo>
                    <a:lnTo>
                      <a:pt x="1948" y="125"/>
                    </a:lnTo>
                    <a:lnTo>
                      <a:pt x="1946" y="125"/>
                    </a:lnTo>
                    <a:lnTo>
                      <a:pt x="1944" y="125"/>
                    </a:lnTo>
                    <a:lnTo>
                      <a:pt x="1944" y="123"/>
                    </a:lnTo>
                    <a:lnTo>
                      <a:pt x="1947" y="121"/>
                    </a:lnTo>
                    <a:lnTo>
                      <a:pt x="1948" y="122"/>
                    </a:lnTo>
                    <a:lnTo>
                      <a:pt x="1950" y="125"/>
                    </a:lnTo>
                    <a:lnTo>
                      <a:pt x="1953" y="126"/>
                    </a:lnTo>
                    <a:lnTo>
                      <a:pt x="1963" y="121"/>
                    </a:lnTo>
                    <a:lnTo>
                      <a:pt x="1970" y="116"/>
                    </a:lnTo>
                    <a:close/>
                    <a:moveTo>
                      <a:pt x="1923" y="104"/>
                    </a:moveTo>
                    <a:lnTo>
                      <a:pt x="1924" y="105"/>
                    </a:lnTo>
                    <a:lnTo>
                      <a:pt x="1924" y="108"/>
                    </a:lnTo>
                    <a:lnTo>
                      <a:pt x="1924" y="110"/>
                    </a:lnTo>
                    <a:lnTo>
                      <a:pt x="1923" y="113"/>
                    </a:lnTo>
                    <a:lnTo>
                      <a:pt x="1923" y="116"/>
                    </a:lnTo>
                    <a:lnTo>
                      <a:pt x="1922" y="119"/>
                    </a:lnTo>
                    <a:lnTo>
                      <a:pt x="1922" y="121"/>
                    </a:lnTo>
                    <a:lnTo>
                      <a:pt x="1922" y="122"/>
                    </a:lnTo>
                    <a:lnTo>
                      <a:pt x="1922" y="124"/>
                    </a:lnTo>
                    <a:lnTo>
                      <a:pt x="1922" y="126"/>
                    </a:lnTo>
                    <a:lnTo>
                      <a:pt x="1922" y="127"/>
                    </a:lnTo>
                    <a:lnTo>
                      <a:pt x="1921" y="128"/>
                    </a:lnTo>
                    <a:lnTo>
                      <a:pt x="1921" y="128"/>
                    </a:lnTo>
                    <a:lnTo>
                      <a:pt x="1919" y="126"/>
                    </a:lnTo>
                    <a:lnTo>
                      <a:pt x="1919" y="124"/>
                    </a:lnTo>
                    <a:lnTo>
                      <a:pt x="1919" y="121"/>
                    </a:lnTo>
                    <a:lnTo>
                      <a:pt x="1917" y="119"/>
                    </a:lnTo>
                    <a:lnTo>
                      <a:pt x="1917" y="116"/>
                    </a:lnTo>
                    <a:lnTo>
                      <a:pt x="1916" y="114"/>
                    </a:lnTo>
                    <a:lnTo>
                      <a:pt x="1917" y="113"/>
                    </a:lnTo>
                    <a:lnTo>
                      <a:pt x="1919" y="111"/>
                    </a:lnTo>
                    <a:lnTo>
                      <a:pt x="1920" y="110"/>
                    </a:lnTo>
                    <a:lnTo>
                      <a:pt x="1921" y="109"/>
                    </a:lnTo>
                    <a:lnTo>
                      <a:pt x="1922" y="106"/>
                    </a:lnTo>
                    <a:lnTo>
                      <a:pt x="1922" y="104"/>
                    </a:lnTo>
                    <a:lnTo>
                      <a:pt x="1923" y="104"/>
                    </a:lnTo>
                    <a:close/>
                    <a:moveTo>
                      <a:pt x="503" y="89"/>
                    </a:moveTo>
                    <a:lnTo>
                      <a:pt x="506" y="90"/>
                    </a:lnTo>
                    <a:lnTo>
                      <a:pt x="508" y="93"/>
                    </a:lnTo>
                    <a:lnTo>
                      <a:pt x="507" y="97"/>
                    </a:lnTo>
                    <a:lnTo>
                      <a:pt x="507" y="100"/>
                    </a:lnTo>
                    <a:lnTo>
                      <a:pt x="507" y="100"/>
                    </a:lnTo>
                    <a:lnTo>
                      <a:pt x="502" y="98"/>
                    </a:lnTo>
                    <a:lnTo>
                      <a:pt x="493" y="94"/>
                    </a:lnTo>
                    <a:lnTo>
                      <a:pt x="491" y="97"/>
                    </a:lnTo>
                    <a:lnTo>
                      <a:pt x="490" y="95"/>
                    </a:lnTo>
                    <a:lnTo>
                      <a:pt x="494" y="93"/>
                    </a:lnTo>
                    <a:lnTo>
                      <a:pt x="498" y="90"/>
                    </a:lnTo>
                    <a:lnTo>
                      <a:pt x="503" y="89"/>
                    </a:lnTo>
                    <a:close/>
                    <a:moveTo>
                      <a:pt x="2053" y="57"/>
                    </a:moveTo>
                    <a:lnTo>
                      <a:pt x="2052" y="62"/>
                    </a:lnTo>
                    <a:lnTo>
                      <a:pt x="2050" y="70"/>
                    </a:lnTo>
                    <a:lnTo>
                      <a:pt x="2047" y="77"/>
                    </a:lnTo>
                    <a:lnTo>
                      <a:pt x="2046" y="80"/>
                    </a:lnTo>
                    <a:lnTo>
                      <a:pt x="2046" y="82"/>
                    </a:lnTo>
                    <a:lnTo>
                      <a:pt x="2045" y="84"/>
                    </a:lnTo>
                    <a:lnTo>
                      <a:pt x="2045" y="88"/>
                    </a:lnTo>
                    <a:lnTo>
                      <a:pt x="2045" y="90"/>
                    </a:lnTo>
                    <a:lnTo>
                      <a:pt x="2045" y="92"/>
                    </a:lnTo>
                    <a:lnTo>
                      <a:pt x="2046" y="94"/>
                    </a:lnTo>
                    <a:lnTo>
                      <a:pt x="2046" y="98"/>
                    </a:lnTo>
                    <a:lnTo>
                      <a:pt x="2047" y="101"/>
                    </a:lnTo>
                    <a:lnTo>
                      <a:pt x="2046" y="104"/>
                    </a:lnTo>
                    <a:lnTo>
                      <a:pt x="2045" y="108"/>
                    </a:lnTo>
                    <a:lnTo>
                      <a:pt x="2044" y="110"/>
                    </a:lnTo>
                    <a:lnTo>
                      <a:pt x="2043" y="111"/>
                    </a:lnTo>
                    <a:lnTo>
                      <a:pt x="2041" y="111"/>
                    </a:lnTo>
                    <a:lnTo>
                      <a:pt x="2038" y="113"/>
                    </a:lnTo>
                    <a:lnTo>
                      <a:pt x="2036" y="114"/>
                    </a:lnTo>
                    <a:lnTo>
                      <a:pt x="2034" y="115"/>
                    </a:lnTo>
                    <a:lnTo>
                      <a:pt x="2032" y="119"/>
                    </a:lnTo>
                    <a:lnTo>
                      <a:pt x="2031" y="120"/>
                    </a:lnTo>
                    <a:lnTo>
                      <a:pt x="2029" y="120"/>
                    </a:lnTo>
                    <a:lnTo>
                      <a:pt x="2027" y="120"/>
                    </a:lnTo>
                    <a:lnTo>
                      <a:pt x="2025" y="120"/>
                    </a:lnTo>
                    <a:lnTo>
                      <a:pt x="2023" y="121"/>
                    </a:lnTo>
                    <a:lnTo>
                      <a:pt x="2021" y="122"/>
                    </a:lnTo>
                    <a:lnTo>
                      <a:pt x="2020" y="125"/>
                    </a:lnTo>
                    <a:lnTo>
                      <a:pt x="2019" y="128"/>
                    </a:lnTo>
                    <a:lnTo>
                      <a:pt x="2018" y="132"/>
                    </a:lnTo>
                    <a:lnTo>
                      <a:pt x="2016" y="135"/>
                    </a:lnTo>
                    <a:lnTo>
                      <a:pt x="2015" y="137"/>
                    </a:lnTo>
                    <a:lnTo>
                      <a:pt x="2014" y="139"/>
                    </a:lnTo>
                    <a:lnTo>
                      <a:pt x="2012" y="139"/>
                    </a:lnTo>
                    <a:lnTo>
                      <a:pt x="2011" y="142"/>
                    </a:lnTo>
                    <a:lnTo>
                      <a:pt x="2010" y="144"/>
                    </a:lnTo>
                    <a:lnTo>
                      <a:pt x="2010" y="146"/>
                    </a:lnTo>
                    <a:lnTo>
                      <a:pt x="2011" y="147"/>
                    </a:lnTo>
                    <a:lnTo>
                      <a:pt x="2011" y="148"/>
                    </a:lnTo>
                    <a:lnTo>
                      <a:pt x="2012" y="149"/>
                    </a:lnTo>
                    <a:lnTo>
                      <a:pt x="2012" y="150"/>
                    </a:lnTo>
                    <a:lnTo>
                      <a:pt x="2012" y="153"/>
                    </a:lnTo>
                    <a:lnTo>
                      <a:pt x="2012" y="156"/>
                    </a:lnTo>
                    <a:lnTo>
                      <a:pt x="2012" y="158"/>
                    </a:lnTo>
                    <a:lnTo>
                      <a:pt x="2012" y="160"/>
                    </a:lnTo>
                    <a:lnTo>
                      <a:pt x="2012" y="163"/>
                    </a:lnTo>
                    <a:lnTo>
                      <a:pt x="2014" y="165"/>
                    </a:lnTo>
                    <a:lnTo>
                      <a:pt x="2016" y="165"/>
                    </a:lnTo>
                    <a:lnTo>
                      <a:pt x="2018" y="167"/>
                    </a:lnTo>
                    <a:lnTo>
                      <a:pt x="2018" y="170"/>
                    </a:lnTo>
                    <a:lnTo>
                      <a:pt x="2018" y="174"/>
                    </a:lnTo>
                    <a:lnTo>
                      <a:pt x="2018" y="176"/>
                    </a:lnTo>
                    <a:lnTo>
                      <a:pt x="2016" y="178"/>
                    </a:lnTo>
                    <a:lnTo>
                      <a:pt x="2014" y="178"/>
                    </a:lnTo>
                    <a:lnTo>
                      <a:pt x="2013" y="177"/>
                    </a:lnTo>
                    <a:lnTo>
                      <a:pt x="2011" y="177"/>
                    </a:lnTo>
                    <a:lnTo>
                      <a:pt x="2010" y="178"/>
                    </a:lnTo>
                    <a:lnTo>
                      <a:pt x="2009" y="180"/>
                    </a:lnTo>
                    <a:lnTo>
                      <a:pt x="2008" y="182"/>
                    </a:lnTo>
                    <a:lnTo>
                      <a:pt x="2007" y="186"/>
                    </a:lnTo>
                    <a:lnTo>
                      <a:pt x="2005" y="189"/>
                    </a:lnTo>
                    <a:lnTo>
                      <a:pt x="2004" y="191"/>
                    </a:lnTo>
                    <a:lnTo>
                      <a:pt x="2002" y="192"/>
                    </a:lnTo>
                    <a:lnTo>
                      <a:pt x="2000" y="193"/>
                    </a:lnTo>
                    <a:lnTo>
                      <a:pt x="1998" y="192"/>
                    </a:lnTo>
                    <a:lnTo>
                      <a:pt x="1996" y="192"/>
                    </a:lnTo>
                    <a:lnTo>
                      <a:pt x="1994" y="191"/>
                    </a:lnTo>
                    <a:lnTo>
                      <a:pt x="1994" y="189"/>
                    </a:lnTo>
                    <a:lnTo>
                      <a:pt x="1994" y="186"/>
                    </a:lnTo>
                    <a:lnTo>
                      <a:pt x="1994" y="182"/>
                    </a:lnTo>
                    <a:lnTo>
                      <a:pt x="1994" y="179"/>
                    </a:lnTo>
                    <a:lnTo>
                      <a:pt x="1994" y="176"/>
                    </a:lnTo>
                    <a:lnTo>
                      <a:pt x="1994" y="175"/>
                    </a:lnTo>
                    <a:lnTo>
                      <a:pt x="1994" y="172"/>
                    </a:lnTo>
                    <a:lnTo>
                      <a:pt x="1993" y="171"/>
                    </a:lnTo>
                    <a:lnTo>
                      <a:pt x="1992" y="171"/>
                    </a:lnTo>
                    <a:lnTo>
                      <a:pt x="1991" y="171"/>
                    </a:lnTo>
                    <a:lnTo>
                      <a:pt x="1989" y="171"/>
                    </a:lnTo>
                    <a:lnTo>
                      <a:pt x="1988" y="170"/>
                    </a:lnTo>
                    <a:lnTo>
                      <a:pt x="1987" y="169"/>
                    </a:lnTo>
                    <a:lnTo>
                      <a:pt x="1986" y="167"/>
                    </a:lnTo>
                    <a:lnTo>
                      <a:pt x="1985" y="161"/>
                    </a:lnTo>
                    <a:lnTo>
                      <a:pt x="1986" y="154"/>
                    </a:lnTo>
                    <a:lnTo>
                      <a:pt x="1987" y="146"/>
                    </a:lnTo>
                    <a:lnTo>
                      <a:pt x="1988" y="139"/>
                    </a:lnTo>
                    <a:lnTo>
                      <a:pt x="1989" y="136"/>
                    </a:lnTo>
                    <a:lnTo>
                      <a:pt x="1989" y="133"/>
                    </a:lnTo>
                    <a:lnTo>
                      <a:pt x="1989" y="130"/>
                    </a:lnTo>
                    <a:lnTo>
                      <a:pt x="1989" y="127"/>
                    </a:lnTo>
                    <a:lnTo>
                      <a:pt x="1990" y="124"/>
                    </a:lnTo>
                    <a:lnTo>
                      <a:pt x="1990" y="122"/>
                    </a:lnTo>
                    <a:lnTo>
                      <a:pt x="1991" y="120"/>
                    </a:lnTo>
                    <a:lnTo>
                      <a:pt x="1991" y="117"/>
                    </a:lnTo>
                    <a:lnTo>
                      <a:pt x="1991" y="116"/>
                    </a:lnTo>
                    <a:lnTo>
                      <a:pt x="1990" y="113"/>
                    </a:lnTo>
                    <a:lnTo>
                      <a:pt x="1990" y="110"/>
                    </a:lnTo>
                    <a:lnTo>
                      <a:pt x="1989" y="106"/>
                    </a:lnTo>
                    <a:lnTo>
                      <a:pt x="1988" y="104"/>
                    </a:lnTo>
                    <a:lnTo>
                      <a:pt x="1987" y="102"/>
                    </a:lnTo>
                    <a:lnTo>
                      <a:pt x="1985" y="101"/>
                    </a:lnTo>
                    <a:lnTo>
                      <a:pt x="1983" y="99"/>
                    </a:lnTo>
                    <a:lnTo>
                      <a:pt x="1990" y="94"/>
                    </a:lnTo>
                    <a:lnTo>
                      <a:pt x="1991" y="95"/>
                    </a:lnTo>
                    <a:lnTo>
                      <a:pt x="1992" y="98"/>
                    </a:lnTo>
                    <a:lnTo>
                      <a:pt x="1994" y="100"/>
                    </a:lnTo>
                    <a:lnTo>
                      <a:pt x="2053" y="57"/>
                    </a:lnTo>
                    <a:close/>
                    <a:moveTo>
                      <a:pt x="2090" y="28"/>
                    </a:moveTo>
                    <a:lnTo>
                      <a:pt x="2090" y="29"/>
                    </a:lnTo>
                    <a:lnTo>
                      <a:pt x="2090" y="30"/>
                    </a:lnTo>
                    <a:lnTo>
                      <a:pt x="2089" y="32"/>
                    </a:lnTo>
                    <a:lnTo>
                      <a:pt x="2089" y="32"/>
                    </a:lnTo>
                    <a:lnTo>
                      <a:pt x="2089" y="30"/>
                    </a:lnTo>
                    <a:lnTo>
                      <a:pt x="2089" y="33"/>
                    </a:lnTo>
                    <a:lnTo>
                      <a:pt x="2089" y="36"/>
                    </a:lnTo>
                    <a:lnTo>
                      <a:pt x="2090" y="38"/>
                    </a:lnTo>
                    <a:lnTo>
                      <a:pt x="2090" y="40"/>
                    </a:lnTo>
                    <a:lnTo>
                      <a:pt x="2090" y="44"/>
                    </a:lnTo>
                    <a:lnTo>
                      <a:pt x="2089" y="46"/>
                    </a:lnTo>
                    <a:lnTo>
                      <a:pt x="2087" y="48"/>
                    </a:lnTo>
                    <a:lnTo>
                      <a:pt x="2085" y="50"/>
                    </a:lnTo>
                    <a:lnTo>
                      <a:pt x="2085" y="52"/>
                    </a:lnTo>
                    <a:lnTo>
                      <a:pt x="2085" y="55"/>
                    </a:lnTo>
                    <a:lnTo>
                      <a:pt x="2084" y="55"/>
                    </a:lnTo>
                    <a:lnTo>
                      <a:pt x="2084" y="56"/>
                    </a:lnTo>
                    <a:lnTo>
                      <a:pt x="2083" y="55"/>
                    </a:lnTo>
                    <a:lnTo>
                      <a:pt x="2083" y="55"/>
                    </a:lnTo>
                    <a:lnTo>
                      <a:pt x="2081" y="52"/>
                    </a:lnTo>
                    <a:lnTo>
                      <a:pt x="2080" y="50"/>
                    </a:lnTo>
                    <a:lnTo>
                      <a:pt x="2080" y="48"/>
                    </a:lnTo>
                    <a:lnTo>
                      <a:pt x="2080" y="46"/>
                    </a:lnTo>
                    <a:lnTo>
                      <a:pt x="2080" y="45"/>
                    </a:lnTo>
                    <a:lnTo>
                      <a:pt x="2078" y="43"/>
                    </a:lnTo>
                    <a:lnTo>
                      <a:pt x="2077" y="43"/>
                    </a:lnTo>
                    <a:lnTo>
                      <a:pt x="2076" y="43"/>
                    </a:lnTo>
                    <a:lnTo>
                      <a:pt x="2076" y="41"/>
                    </a:lnTo>
                    <a:lnTo>
                      <a:pt x="2075" y="40"/>
                    </a:lnTo>
                    <a:lnTo>
                      <a:pt x="2076" y="40"/>
                    </a:lnTo>
                    <a:lnTo>
                      <a:pt x="2076" y="39"/>
                    </a:lnTo>
                    <a:lnTo>
                      <a:pt x="2076" y="38"/>
                    </a:lnTo>
                    <a:lnTo>
                      <a:pt x="2079" y="35"/>
                    </a:lnTo>
                    <a:lnTo>
                      <a:pt x="2084" y="33"/>
                    </a:lnTo>
                    <a:lnTo>
                      <a:pt x="2086" y="30"/>
                    </a:lnTo>
                    <a:lnTo>
                      <a:pt x="2086" y="32"/>
                    </a:lnTo>
                    <a:lnTo>
                      <a:pt x="2086" y="33"/>
                    </a:lnTo>
                    <a:lnTo>
                      <a:pt x="2086" y="33"/>
                    </a:lnTo>
                    <a:lnTo>
                      <a:pt x="2090" y="29"/>
                    </a:lnTo>
                    <a:lnTo>
                      <a:pt x="2090" y="28"/>
                    </a:lnTo>
                    <a:close/>
                    <a:moveTo>
                      <a:pt x="501" y="1"/>
                    </a:moveTo>
                    <a:lnTo>
                      <a:pt x="498" y="2"/>
                    </a:lnTo>
                    <a:lnTo>
                      <a:pt x="496" y="4"/>
                    </a:lnTo>
                    <a:lnTo>
                      <a:pt x="493" y="6"/>
                    </a:lnTo>
                    <a:lnTo>
                      <a:pt x="491" y="8"/>
                    </a:lnTo>
                    <a:lnTo>
                      <a:pt x="488" y="12"/>
                    </a:lnTo>
                    <a:lnTo>
                      <a:pt x="487" y="14"/>
                    </a:lnTo>
                    <a:lnTo>
                      <a:pt x="487" y="16"/>
                    </a:lnTo>
                    <a:lnTo>
                      <a:pt x="488" y="21"/>
                    </a:lnTo>
                    <a:lnTo>
                      <a:pt x="495" y="24"/>
                    </a:lnTo>
                    <a:lnTo>
                      <a:pt x="502" y="25"/>
                    </a:lnTo>
                    <a:lnTo>
                      <a:pt x="507" y="23"/>
                    </a:lnTo>
                    <a:lnTo>
                      <a:pt x="509" y="15"/>
                    </a:lnTo>
                    <a:lnTo>
                      <a:pt x="507" y="7"/>
                    </a:lnTo>
                    <a:lnTo>
                      <a:pt x="503" y="1"/>
                    </a:lnTo>
                    <a:lnTo>
                      <a:pt x="501" y="1"/>
                    </a:lnTo>
                    <a:close/>
                    <a:moveTo>
                      <a:pt x="2232" y="0"/>
                    </a:moveTo>
                    <a:lnTo>
                      <a:pt x="2232" y="0"/>
                    </a:lnTo>
                    <a:lnTo>
                      <a:pt x="2230" y="1"/>
                    </a:lnTo>
                    <a:lnTo>
                      <a:pt x="2229" y="2"/>
                    </a:lnTo>
                    <a:lnTo>
                      <a:pt x="2228" y="3"/>
                    </a:lnTo>
                    <a:lnTo>
                      <a:pt x="2227" y="4"/>
                    </a:lnTo>
                    <a:lnTo>
                      <a:pt x="2226" y="5"/>
                    </a:lnTo>
                    <a:lnTo>
                      <a:pt x="2223" y="7"/>
                    </a:lnTo>
                    <a:lnTo>
                      <a:pt x="2222" y="11"/>
                    </a:lnTo>
                    <a:lnTo>
                      <a:pt x="2220" y="15"/>
                    </a:lnTo>
                    <a:lnTo>
                      <a:pt x="2220" y="19"/>
                    </a:lnTo>
                    <a:lnTo>
                      <a:pt x="2219" y="24"/>
                    </a:lnTo>
                    <a:lnTo>
                      <a:pt x="2218" y="28"/>
                    </a:lnTo>
                    <a:lnTo>
                      <a:pt x="2218" y="29"/>
                    </a:lnTo>
                    <a:lnTo>
                      <a:pt x="2218" y="33"/>
                    </a:lnTo>
                    <a:lnTo>
                      <a:pt x="2218" y="36"/>
                    </a:lnTo>
                    <a:lnTo>
                      <a:pt x="2219" y="39"/>
                    </a:lnTo>
                    <a:lnTo>
                      <a:pt x="2219" y="41"/>
                    </a:lnTo>
                    <a:lnTo>
                      <a:pt x="2220" y="44"/>
                    </a:lnTo>
                    <a:lnTo>
                      <a:pt x="2222" y="44"/>
                    </a:lnTo>
                    <a:lnTo>
                      <a:pt x="2223" y="43"/>
                    </a:lnTo>
                    <a:lnTo>
                      <a:pt x="2225" y="43"/>
                    </a:lnTo>
                    <a:lnTo>
                      <a:pt x="2226" y="43"/>
                    </a:lnTo>
                    <a:lnTo>
                      <a:pt x="2226" y="43"/>
                    </a:lnTo>
                    <a:lnTo>
                      <a:pt x="2227" y="41"/>
                    </a:lnTo>
                    <a:lnTo>
                      <a:pt x="2228" y="40"/>
                    </a:lnTo>
                    <a:lnTo>
                      <a:pt x="2230" y="38"/>
                    </a:lnTo>
                    <a:lnTo>
                      <a:pt x="2230" y="36"/>
                    </a:lnTo>
                    <a:lnTo>
                      <a:pt x="2231" y="33"/>
                    </a:lnTo>
                    <a:lnTo>
                      <a:pt x="2231" y="30"/>
                    </a:lnTo>
                    <a:lnTo>
                      <a:pt x="2232" y="28"/>
                    </a:lnTo>
                    <a:lnTo>
                      <a:pt x="2233" y="26"/>
                    </a:lnTo>
                    <a:lnTo>
                      <a:pt x="2234" y="23"/>
                    </a:lnTo>
                    <a:lnTo>
                      <a:pt x="2236" y="21"/>
                    </a:lnTo>
                    <a:lnTo>
                      <a:pt x="2236" y="17"/>
                    </a:lnTo>
                    <a:lnTo>
                      <a:pt x="2236" y="15"/>
                    </a:lnTo>
                    <a:lnTo>
                      <a:pt x="2234" y="13"/>
                    </a:lnTo>
                    <a:lnTo>
                      <a:pt x="2234" y="11"/>
                    </a:lnTo>
                    <a:lnTo>
                      <a:pt x="2233" y="8"/>
                    </a:lnTo>
                    <a:lnTo>
                      <a:pt x="2234" y="6"/>
                    </a:lnTo>
                    <a:lnTo>
                      <a:pt x="2236" y="5"/>
                    </a:lnTo>
                    <a:lnTo>
                      <a:pt x="2236" y="3"/>
                    </a:lnTo>
                    <a:lnTo>
                      <a:pt x="2234" y="2"/>
                    </a:lnTo>
                    <a:lnTo>
                      <a:pt x="2233" y="2"/>
                    </a:lnTo>
                    <a:lnTo>
                      <a:pt x="2233" y="1"/>
                    </a:lnTo>
                    <a:lnTo>
                      <a:pt x="2232"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35" name="Freeform 32"/>
              <p:cNvSpPr>
                <a:spLocks noEditPoints="1"/>
              </p:cNvSpPr>
              <p:nvPr/>
            </p:nvSpPr>
            <p:spPr bwMode="auto">
              <a:xfrm>
                <a:off x="5566" y="833"/>
                <a:ext cx="438" cy="180"/>
              </a:xfrm>
              <a:custGeom>
                <a:avLst/>
                <a:gdLst>
                  <a:gd name="T0" fmla="*/ 2823 w 3068"/>
                  <a:gd name="T1" fmla="*/ 354 h 1258"/>
                  <a:gd name="T2" fmla="*/ 2836 w 3068"/>
                  <a:gd name="T3" fmla="*/ 404 h 1258"/>
                  <a:gd name="T4" fmla="*/ 2846 w 3068"/>
                  <a:gd name="T5" fmla="*/ 338 h 1258"/>
                  <a:gd name="T6" fmla="*/ 2848 w 3068"/>
                  <a:gd name="T7" fmla="*/ 278 h 1258"/>
                  <a:gd name="T8" fmla="*/ 2949 w 3068"/>
                  <a:gd name="T9" fmla="*/ 250 h 1258"/>
                  <a:gd name="T10" fmla="*/ 22 w 3068"/>
                  <a:gd name="T11" fmla="*/ 166 h 1258"/>
                  <a:gd name="T12" fmla="*/ 924 w 3068"/>
                  <a:gd name="T13" fmla="*/ 209 h 1258"/>
                  <a:gd name="T14" fmla="*/ 406 w 3068"/>
                  <a:gd name="T15" fmla="*/ 176 h 1258"/>
                  <a:gd name="T16" fmla="*/ 932 w 3068"/>
                  <a:gd name="T17" fmla="*/ 142 h 1258"/>
                  <a:gd name="T18" fmla="*/ 948 w 3068"/>
                  <a:gd name="T19" fmla="*/ 138 h 1258"/>
                  <a:gd name="T20" fmla="*/ 56 w 3068"/>
                  <a:gd name="T21" fmla="*/ 136 h 1258"/>
                  <a:gd name="T22" fmla="*/ 65 w 3068"/>
                  <a:gd name="T23" fmla="*/ 111 h 1258"/>
                  <a:gd name="T24" fmla="*/ 108 w 3068"/>
                  <a:gd name="T25" fmla="*/ 111 h 1258"/>
                  <a:gd name="T26" fmla="*/ 2448 w 3068"/>
                  <a:gd name="T27" fmla="*/ 187 h 1258"/>
                  <a:gd name="T28" fmla="*/ 2423 w 3068"/>
                  <a:gd name="T29" fmla="*/ 126 h 1258"/>
                  <a:gd name="T30" fmla="*/ 2442 w 3068"/>
                  <a:gd name="T31" fmla="*/ 96 h 1258"/>
                  <a:gd name="T32" fmla="*/ 86 w 3068"/>
                  <a:gd name="T33" fmla="*/ 104 h 1258"/>
                  <a:gd name="T34" fmla="*/ 400 w 3068"/>
                  <a:gd name="T35" fmla="*/ 78 h 1258"/>
                  <a:gd name="T36" fmla="*/ 369 w 3068"/>
                  <a:gd name="T37" fmla="*/ 47 h 1258"/>
                  <a:gd name="T38" fmla="*/ 3046 w 3068"/>
                  <a:gd name="T39" fmla="*/ 349 h 1258"/>
                  <a:gd name="T40" fmla="*/ 2949 w 3068"/>
                  <a:gd name="T41" fmla="*/ 602 h 1258"/>
                  <a:gd name="T42" fmla="*/ 2915 w 3068"/>
                  <a:gd name="T43" fmla="*/ 684 h 1258"/>
                  <a:gd name="T44" fmla="*/ 2906 w 3068"/>
                  <a:gd name="T45" fmla="*/ 572 h 1258"/>
                  <a:gd name="T46" fmla="*/ 2882 w 3068"/>
                  <a:gd name="T47" fmla="*/ 538 h 1258"/>
                  <a:gd name="T48" fmla="*/ 2834 w 3068"/>
                  <a:gd name="T49" fmla="*/ 530 h 1258"/>
                  <a:gd name="T50" fmla="*/ 2798 w 3068"/>
                  <a:gd name="T51" fmla="*/ 505 h 1258"/>
                  <a:gd name="T52" fmla="*/ 2830 w 3068"/>
                  <a:gd name="T53" fmla="*/ 546 h 1258"/>
                  <a:gd name="T54" fmla="*/ 2830 w 3068"/>
                  <a:gd name="T55" fmla="*/ 610 h 1258"/>
                  <a:gd name="T56" fmla="*/ 2778 w 3068"/>
                  <a:gd name="T57" fmla="*/ 681 h 1258"/>
                  <a:gd name="T58" fmla="*/ 2737 w 3068"/>
                  <a:gd name="T59" fmla="*/ 689 h 1258"/>
                  <a:gd name="T60" fmla="*/ 2719 w 3068"/>
                  <a:gd name="T61" fmla="*/ 562 h 1258"/>
                  <a:gd name="T62" fmla="*/ 2710 w 3068"/>
                  <a:gd name="T63" fmla="*/ 660 h 1258"/>
                  <a:gd name="T64" fmla="*/ 2730 w 3068"/>
                  <a:gd name="T65" fmla="*/ 732 h 1258"/>
                  <a:gd name="T66" fmla="*/ 2761 w 3068"/>
                  <a:gd name="T67" fmla="*/ 751 h 1258"/>
                  <a:gd name="T68" fmla="*/ 2658 w 3068"/>
                  <a:gd name="T69" fmla="*/ 919 h 1258"/>
                  <a:gd name="T70" fmla="*/ 2604 w 3068"/>
                  <a:gd name="T71" fmla="*/ 1045 h 1258"/>
                  <a:gd name="T72" fmla="*/ 2510 w 3068"/>
                  <a:gd name="T73" fmla="*/ 1191 h 1258"/>
                  <a:gd name="T74" fmla="*/ 2414 w 3068"/>
                  <a:gd name="T75" fmla="*/ 1258 h 1258"/>
                  <a:gd name="T76" fmla="*/ 2413 w 3068"/>
                  <a:gd name="T77" fmla="*/ 1217 h 1258"/>
                  <a:gd name="T78" fmla="*/ 2420 w 3068"/>
                  <a:gd name="T79" fmla="*/ 1110 h 1258"/>
                  <a:gd name="T80" fmla="*/ 2461 w 3068"/>
                  <a:gd name="T81" fmla="*/ 1024 h 1258"/>
                  <a:gd name="T82" fmla="*/ 2475 w 3068"/>
                  <a:gd name="T83" fmla="*/ 912 h 1258"/>
                  <a:gd name="T84" fmla="*/ 2430 w 3068"/>
                  <a:gd name="T85" fmla="*/ 907 h 1258"/>
                  <a:gd name="T86" fmla="*/ 2311 w 3068"/>
                  <a:gd name="T87" fmla="*/ 961 h 1258"/>
                  <a:gd name="T88" fmla="*/ 2274 w 3068"/>
                  <a:gd name="T89" fmla="*/ 914 h 1258"/>
                  <a:gd name="T90" fmla="*/ 2294 w 3068"/>
                  <a:gd name="T91" fmla="*/ 759 h 1258"/>
                  <a:gd name="T92" fmla="*/ 2425 w 3068"/>
                  <a:gd name="T93" fmla="*/ 555 h 1258"/>
                  <a:gd name="T94" fmla="*/ 2500 w 3068"/>
                  <a:gd name="T95" fmla="*/ 500 h 1258"/>
                  <a:gd name="T96" fmla="*/ 2563 w 3068"/>
                  <a:gd name="T97" fmla="*/ 474 h 1258"/>
                  <a:gd name="T98" fmla="*/ 2574 w 3068"/>
                  <a:gd name="T99" fmla="*/ 526 h 1258"/>
                  <a:gd name="T100" fmla="*/ 2616 w 3068"/>
                  <a:gd name="T101" fmla="*/ 556 h 1258"/>
                  <a:gd name="T102" fmla="*/ 2667 w 3068"/>
                  <a:gd name="T103" fmla="*/ 526 h 1258"/>
                  <a:gd name="T104" fmla="*/ 2708 w 3068"/>
                  <a:gd name="T105" fmla="*/ 505 h 1258"/>
                  <a:gd name="T106" fmla="*/ 2741 w 3068"/>
                  <a:gd name="T107" fmla="*/ 436 h 1258"/>
                  <a:gd name="T108" fmla="*/ 2695 w 3068"/>
                  <a:gd name="T109" fmla="*/ 445 h 1258"/>
                  <a:gd name="T110" fmla="*/ 2719 w 3068"/>
                  <a:gd name="T111" fmla="*/ 372 h 1258"/>
                  <a:gd name="T112" fmla="*/ 2779 w 3068"/>
                  <a:gd name="T113" fmla="*/ 338 h 1258"/>
                  <a:gd name="T114" fmla="*/ 2768 w 3068"/>
                  <a:gd name="T115" fmla="*/ 272 h 1258"/>
                  <a:gd name="T116" fmla="*/ 2655 w 3068"/>
                  <a:gd name="T117" fmla="*/ 29 h 1258"/>
                  <a:gd name="T118" fmla="*/ 2768 w 3068"/>
                  <a:gd name="T119" fmla="*/ 13 h 1258"/>
                  <a:gd name="T120" fmla="*/ 368 w 3068"/>
                  <a:gd name="T121" fmla="*/ 18 h 1258"/>
                  <a:gd name="T122" fmla="*/ 182 w 3068"/>
                  <a:gd name="T123" fmla="*/ 9 h 1258"/>
                  <a:gd name="T124" fmla="*/ 178 w 3068"/>
                  <a:gd name="T125" fmla="*/ 1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8" h="1258">
                    <a:moveTo>
                      <a:pt x="2843" y="243"/>
                    </a:moveTo>
                    <a:lnTo>
                      <a:pt x="2840" y="245"/>
                    </a:lnTo>
                    <a:lnTo>
                      <a:pt x="2838" y="246"/>
                    </a:lnTo>
                    <a:lnTo>
                      <a:pt x="2836" y="248"/>
                    </a:lnTo>
                    <a:lnTo>
                      <a:pt x="2836" y="250"/>
                    </a:lnTo>
                    <a:lnTo>
                      <a:pt x="2835" y="252"/>
                    </a:lnTo>
                    <a:lnTo>
                      <a:pt x="2834" y="254"/>
                    </a:lnTo>
                    <a:lnTo>
                      <a:pt x="2832" y="256"/>
                    </a:lnTo>
                    <a:lnTo>
                      <a:pt x="2830" y="257"/>
                    </a:lnTo>
                    <a:lnTo>
                      <a:pt x="2828" y="257"/>
                    </a:lnTo>
                    <a:lnTo>
                      <a:pt x="2827" y="257"/>
                    </a:lnTo>
                    <a:lnTo>
                      <a:pt x="2825" y="257"/>
                    </a:lnTo>
                    <a:lnTo>
                      <a:pt x="2823" y="259"/>
                    </a:lnTo>
                    <a:lnTo>
                      <a:pt x="2822" y="261"/>
                    </a:lnTo>
                    <a:lnTo>
                      <a:pt x="2821" y="264"/>
                    </a:lnTo>
                    <a:lnTo>
                      <a:pt x="2821" y="268"/>
                    </a:lnTo>
                    <a:lnTo>
                      <a:pt x="2819" y="271"/>
                    </a:lnTo>
                    <a:lnTo>
                      <a:pt x="2818" y="274"/>
                    </a:lnTo>
                    <a:lnTo>
                      <a:pt x="2816" y="281"/>
                    </a:lnTo>
                    <a:lnTo>
                      <a:pt x="2815" y="287"/>
                    </a:lnTo>
                    <a:lnTo>
                      <a:pt x="2814" y="296"/>
                    </a:lnTo>
                    <a:lnTo>
                      <a:pt x="2814" y="318"/>
                    </a:lnTo>
                    <a:lnTo>
                      <a:pt x="2815" y="323"/>
                    </a:lnTo>
                    <a:lnTo>
                      <a:pt x="2816" y="327"/>
                    </a:lnTo>
                    <a:lnTo>
                      <a:pt x="2816" y="332"/>
                    </a:lnTo>
                    <a:lnTo>
                      <a:pt x="2817" y="334"/>
                    </a:lnTo>
                    <a:lnTo>
                      <a:pt x="2818" y="336"/>
                    </a:lnTo>
                    <a:lnTo>
                      <a:pt x="2819" y="338"/>
                    </a:lnTo>
                    <a:lnTo>
                      <a:pt x="2821" y="340"/>
                    </a:lnTo>
                    <a:lnTo>
                      <a:pt x="2821" y="349"/>
                    </a:lnTo>
                    <a:lnTo>
                      <a:pt x="2822" y="350"/>
                    </a:lnTo>
                    <a:lnTo>
                      <a:pt x="2823" y="354"/>
                    </a:lnTo>
                    <a:lnTo>
                      <a:pt x="2823" y="357"/>
                    </a:lnTo>
                    <a:lnTo>
                      <a:pt x="2823" y="360"/>
                    </a:lnTo>
                    <a:lnTo>
                      <a:pt x="2822" y="363"/>
                    </a:lnTo>
                    <a:lnTo>
                      <a:pt x="2819" y="367"/>
                    </a:lnTo>
                    <a:lnTo>
                      <a:pt x="2818" y="370"/>
                    </a:lnTo>
                    <a:lnTo>
                      <a:pt x="2818" y="372"/>
                    </a:lnTo>
                    <a:lnTo>
                      <a:pt x="2817" y="377"/>
                    </a:lnTo>
                    <a:lnTo>
                      <a:pt x="2816" y="381"/>
                    </a:lnTo>
                    <a:lnTo>
                      <a:pt x="2816" y="385"/>
                    </a:lnTo>
                    <a:lnTo>
                      <a:pt x="2816" y="388"/>
                    </a:lnTo>
                    <a:lnTo>
                      <a:pt x="2815" y="391"/>
                    </a:lnTo>
                    <a:lnTo>
                      <a:pt x="2815" y="393"/>
                    </a:lnTo>
                    <a:lnTo>
                      <a:pt x="2816" y="396"/>
                    </a:lnTo>
                    <a:lnTo>
                      <a:pt x="2816" y="398"/>
                    </a:lnTo>
                    <a:lnTo>
                      <a:pt x="2817" y="398"/>
                    </a:lnTo>
                    <a:lnTo>
                      <a:pt x="2817" y="398"/>
                    </a:lnTo>
                    <a:lnTo>
                      <a:pt x="2818" y="399"/>
                    </a:lnTo>
                    <a:lnTo>
                      <a:pt x="2818" y="399"/>
                    </a:lnTo>
                    <a:lnTo>
                      <a:pt x="2821" y="401"/>
                    </a:lnTo>
                    <a:lnTo>
                      <a:pt x="2822" y="403"/>
                    </a:lnTo>
                    <a:lnTo>
                      <a:pt x="2823" y="405"/>
                    </a:lnTo>
                    <a:lnTo>
                      <a:pt x="2823" y="409"/>
                    </a:lnTo>
                    <a:lnTo>
                      <a:pt x="2823" y="410"/>
                    </a:lnTo>
                    <a:lnTo>
                      <a:pt x="2824" y="411"/>
                    </a:lnTo>
                    <a:lnTo>
                      <a:pt x="2825" y="412"/>
                    </a:lnTo>
                    <a:lnTo>
                      <a:pt x="2826" y="413"/>
                    </a:lnTo>
                    <a:lnTo>
                      <a:pt x="2828" y="412"/>
                    </a:lnTo>
                    <a:lnTo>
                      <a:pt x="2829" y="410"/>
                    </a:lnTo>
                    <a:lnTo>
                      <a:pt x="2832" y="407"/>
                    </a:lnTo>
                    <a:lnTo>
                      <a:pt x="2834" y="405"/>
                    </a:lnTo>
                    <a:lnTo>
                      <a:pt x="2835" y="405"/>
                    </a:lnTo>
                    <a:lnTo>
                      <a:pt x="2836" y="404"/>
                    </a:lnTo>
                    <a:lnTo>
                      <a:pt x="2837" y="404"/>
                    </a:lnTo>
                    <a:lnTo>
                      <a:pt x="2838" y="403"/>
                    </a:lnTo>
                    <a:lnTo>
                      <a:pt x="2839" y="402"/>
                    </a:lnTo>
                    <a:lnTo>
                      <a:pt x="2840" y="401"/>
                    </a:lnTo>
                    <a:lnTo>
                      <a:pt x="2840" y="400"/>
                    </a:lnTo>
                    <a:lnTo>
                      <a:pt x="2840" y="396"/>
                    </a:lnTo>
                    <a:lnTo>
                      <a:pt x="2841" y="382"/>
                    </a:lnTo>
                    <a:lnTo>
                      <a:pt x="2843" y="368"/>
                    </a:lnTo>
                    <a:lnTo>
                      <a:pt x="2843" y="366"/>
                    </a:lnTo>
                    <a:lnTo>
                      <a:pt x="2843" y="363"/>
                    </a:lnTo>
                    <a:lnTo>
                      <a:pt x="2843" y="361"/>
                    </a:lnTo>
                    <a:lnTo>
                      <a:pt x="2841" y="360"/>
                    </a:lnTo>
                    <a:lnTo>
                      <a:pt x="2840" y="360"/>
                    </a:lnTo>
                    <a:lnTo>
                      <a:pt x="2839" y="359"/>
                    </a:lnTo>
                    <a:lnTo>
                      <a:pt x="2838" y="358"/>
                    </a:lnTo>
                    <a:lnTo>
                      <a:pt x="2838" y="356"/>
                    </a:lnTo>
                    <a:lnTo>
                      <a:pt x="2838" y="354"/>
                    </a:lnTo>
                    <a:lnTo>
                      <a:pt x="2838" y="351"/>
                    </a:lnTo>
                    <a:lnTo>
                      <a:pt x="2839" y="350"/>
                    </a:lnTo>
                    <a:lnTo>
                      <a:pt x="2839" y="350"/>
                    </a:lnTo>
                    <a:lnTo>
                      <a:pt x="2840" y="350"/>
                    </a:lnTo>
                    <a:lnTo>
                      <a:pt x="2840" y="351"/>
                    </a:lnTo>
                    <a:lnTo>
                      <a:pt x="2843" y="351"/>
                    </a:lnTo>
                    <a:lnTo>
                      <a:pt x="2844" y="351"/>
                    </a:lnTo>
                    <a:lnTo>
                      <a:pt x="2846" y="351"/>
                    </a:lnTo>
                    <a:lnTo>
                      <a:pt x="2847" y="351"/>
                    </a:lnTo>
                    <a:lnTo>
                      <a:pt x="2848" y="349"/>
                    </a:lnTo>
                    <a:lnTo>
                      <a:pt x="2848" y="347"/>
                    </a:lnTo>
                    <a:lnTo>
                      <a:pt x="2848" y="344"/>
                    </a:lnTo>
                    <a:lnTo>
                      <a:pt x="2847" y="341"/>
                    </a:lnTo>
                    <a:lnTo>
                      <a:pt x="2847" y="340"/>
                    </a:lnTo>
                    <a:lnTo>
                      <a:pt x="2846" y="338"/>
                    </a:lnTo>
                    <a:lnTo>
                      <a:pt x="2846" y="336"/>
                    </a:lnTo>
                    <a:lnTo>
                      <a:pt x="2845" y="334"/>
                    </a:lnTo>
                    <a:lnTo>
                      <a:pt x="2844" y="333"/>
                    </a:lnTo>
                    <a:lnTo>
                      <a:pt x="2843" y="333"/>
                    </a:lnTo>
                    <a:lnTo>
                      <a:pt x="2840" y="334"/>
                    </a:lnTo>
                    <a:lnTo>
                      <a:pt x="2839" y="333"/>
                    </a:lnTo>
                    <a:lnTo>
                      <a:pt x="2839" y="332"/>
                    </a:lnTo>
                    <a:lnTo>
                      <a:pt x="2839" y="329"/>
                    </a:lnTo>
                    <a:lnTo>
                      <a:pt x="2839" y="327"/>
                    </a:lnTo>
                    <a:lnTo>
                      <a:pt x="2840" y="325"/>
                    </a:lnTo>
                    <a:lnTo>
                      <a:pt x="2840" y="323"/>
                    </a:lnTo>
                    <a:lnTo>
                      <a:pt x="2840" y="321"/>
                    </a:lnTo>
                    <a:lnTo>
                      <a:pt x="2840" y="318"/>
                    </a:lnTo>
                    <a:lnTo>
                      <a:pt x="2839" y="316"/>
                    </a:lnTo>
                    <a:lnTo>
                      <a:pt x="2837" y="315"/>
                    </a:lnTo>
                    <a:lnTo>
                      <a:pt x="2836" y="314"/>
                    </a:lnTo>
                    <a:lnTo>
                      <a:pt x="2836" y="312"/>
                    </a:lnTo>
                    <a:lnTo>
                      <a:pt x="2836" y="301"/>
                    </a:lnTo>
                    <a:lnTo>
                      <a:pt x="2836" y="298"/>
                    </a:lnTo>
                    <a:lnTo>
                      <a:pt x="2835" y="296"/>
                    </a:lnTo>
                    <a:lnTo>
                      <a:pt x="2834" y="294"/>
                    </a:lnTo>
                    <a:lnTo>
                      <a:pt x="2834" y="290"/>
                    </a:lnTo>
                    <a:lnTo>
                      <a:pt x="2835" y="285"/>
                    </a:lnTo>
                    <a:lnTo>
                      <a:pt x="2837" y="282"/>
                    </a:lnTo>
                    <a:lnTo>
                      <a:pt x="2838" y="279"/>
                    </a:lnTo>
                    <a:lnTo>
                      <a:pt x="2839" y="276"/>
                    </a:lnTo>
                    <a:lnTo>
                      <a:pt x="2841" y="274"/>
                    </a:lnTo>
                    <a:lnTo>
                      <a:pt x="2843" y="274"/>
                    </a:lnTo>
                    <a:lnTo>
                      <a:pt x="2845" y="274"/>
                    </a:lnTo>
                    <a:lnTo>
                      <a:pt x="2847" y="276"/>
                    </a:lnTo>
                    <a:lnTo>
                      <a:pt x="2847" y="276"/>
                    </a:lnTo>
                    <a:lnTo>
                      <a:pt x="2848" y="278"/>
                    </a:lnTo>
                    <a:lnTo>
                      <a:pt x="2849" y="278"/>
                    </a:lnTo>
                    <a:lnTo>
                      <a:pt x="2850" y="279"/>
                    </a:lnTo>
                    <a:lnTo>
                      <a:pt x="2851" y="278"/>
                    </a:lnTo>
                    <a:lnTo>
                      <a:pt x="2851" y="276"/>
                    </a:lnTo>
                    <a:lnTo>
                      <a:pt x="2851" y="272"/>
                    </a:lnTo>
                    <a:lnTo>
                      <a:pt x="2850" y="268"/>
                    </a:lnTo>
                    <a:lnTo>
                      <a:pt x="2849" y="263"/>
                    </a:lnTo>
                    <a:lnTo>
                      <a:pt x="2847" y="256"/>
                    </a:lnTo>
                    <a:lnTo>
                      <a:pt x="2845" y="248"/>
                    </a:lnTo>
                    <a:lnTo>
                      <a:pt x="2843" y="243"/>
                    </a:lnTo>
                    <a:close/>
                    <a:moveTo>
                      <a:pt x="2956" y="241"/>
                    </a:moveTo>
                    <a:lnTo>
                      <a:pt x="2953" y="241"/>
                    </a:lnTo>
                    <a:lnTo>
                      <a:pt x="2950" y="242"/>
                    </a:lnTo>
                    <a:lnTo>
                      <a:pt x="2948" y="243"/>
                    </a:lnTo>
                    <a:lnTo>
                      <a:pt x="2947" y="247"/>
                    </a:lnTo>
                    <a:lnTo>
                      <a:pt x="2946" y="250"/>
                    </a:lnTo>
                    <a:lnTo>
                      <a:pt x="2945" y="252"/>
                    </a:lnTo>
                    <a:lnTo>
                      <a:pt x="2944" y="254"/>
                    </a:lnTo>
                    <a:lnTo>
                      <a:pt x="2944" y="258"/>
                    </a:lnTo>
                    <a:lnTo>
                      <a:pt x="2944" y="261"/>
                    </a:lnTo>
                    <a:lnTo>
                      <a:pt x="2944" y="264"/>
                    </a:lnTo>
                    <a:lnTo>
                      <a:pt x="2944" y="268"/>
                    </a:lnTo>
                    <a:lnTo>
                      <a:pt x="2945" y="267"/>
                    </a:lnTo>
                    <a:lnTo>
                      <a:pt x="2945" y="265"/>
                    </a:lnTo>
                    <a:lnTo>
                      <a:pt x="2945" y="263"/>
                    </a:lnTo>
                    <a:lnTo>
                      <a:pt x="2946" y="260"/>
                    </a:lnTo>
                    <a:lnTo>
                      <a:pt x="2946" y="258"/>
                    </a:lnTo>
                    <a:lnTo>
                      <a:pt x="2946" y="257"/>
                    </a:lnTo>
                    <a:lnTo>
                      <a:pt x="2947" y="256"/>
                    </a:lnTo>
                    <a:lnTo>
                      <a:pt x="2948" y="253"/>
                    </a:lnTo>
                    <a:lnTo>
                      <a:pt x="2949" y="251"/>
                    </a:lnTo>
                    <a:lnTo>
                      <a:pt x="2949" y="250"/>
                    </a:lnTo>
                    <a:lnTo>
                      <a:pt x="2950" y="250"/>
                    </a:lnTo>
                    <a:lnTo>
                      <a:pt x="2953" y="249"/>
                    </a:lnTo>
                    <a:lnTo>
                      <a:pt x="2955" y="248"/>
                    </a:lnTo>
                    <a:lnTo>
                      <a:pt x="2958" y="247"/>
                    </a:lnTo>
                    <a:lnTo>
                      <a:pt x="2959" y="246"/>
                    </a:lnTo>
                    <a:lnTo>
                      <a:pt x="2960" y="246"/>
                    </a:lnTo>
                    <a:lnTo>
                      <a:pt x="2960" y="246"/>
                    </a:lnTo>
                    <a:lnTo>
                      <a:pt x="2961" y="245"/>
                    </a:lnTo>
                    <a:lnTo>
                      <a:pt x="2963" y="243"/>
                    </a:lnTo>
                    <a:lnTo>
                      <a:pt x="2960" y="245"/>
                    </a:lnTo>
                    <a:lnTo>
                      <a:pt x="2959" y="243"/>
                    </a:lnTo>
                    <a:lnTo>
                      <a:pt x="2958" y="242"/>
                    </a:lnTo>
                    <a:lnTo>
                      <a:pt x="2957" y="241"/>
                    </a:lnTo>
                    <a:lnTo>
                      <a:pt x="2956" y="241"/>
                    </a:lnTo>
                    <a:close/>
                    <a:moveTo>
                      <a:pt x="0" y="174"/>
                    </a:moveTo>
                    <a:lnTo>
                      <a:pt x="2" y="174"/>
                    </a:lnTo>
                    <a:lnTo>
                      <a:pt x="4" y="175"/>
                    </a:lnTo>
                    <a:lnTo>
                      <a:pt x="4" y="176"/>
                    </a:lnTo>
                    <a:lnTo>
                      <a:pt x="4" y="178"/>
                    </a:lnTo>
                    <a:lnTo>
                      <a:pt x="3" y="180"/>
                    </a:lnTo>
                    <a:lnTo>
                      <a:pt x="2" y="181"/>
                    </a:lnTo>
                    <a:lnTo>
                      <a:pt x="1" y="182"/>
                    </a:lnTo>
                    <a:lnTo>
                      <a:pt x="0" y="183"/>
                    </a:lnTo>
                    <a:lnTo>
                      <a:pt x="0" y="183"/>
                    </a:lnTo>
                    <a:lnTo>
                      <a:pt x="0" y="174"/>
                    </a:lnTo>
                    <a:close/>
                    <a:moveTo>
                      <a:pt x="17" y="165"/>
                    </a:moveTo>
                    <a:lnTo>
                      <a:pt x="28" y="165"/>
                    </a:lnTo>
                    <a:lnTo>
                      <a:pt x="28" y="166"/>
                    </a:lnTo>
                    <a:lnTo>
                      <a:pt x="26" y="167"/>
                    </a:lnTo>
                    <a:lnTo>
                      <a:pt x="25" y="167"/>
                    </a:lnTo>
                    <a:lnTo>
                      <a:pt x="24" y="167"/>
                    </a:lnTo>
                    <a:lnTo>
                      <a:pt x="22" y="166"/>
                    </a:lnTo>
                    <a:lnTo>
                      <a:pt x="21" y="166"/>
                    </a:lnTo>
                    <a:lnTo>
                      <a:pt x="19" y="167"/>
                    </a:lnTo>
                    <a:lnTo>
                      <a:pt x="18" y="169"/>
                    </a:lnTo>
                    <a:lnTo>
                      <a:pt x="17" y="170"/>
                    </a:lnTo>
                    <a:lnTo>
                      <a:pt x="15" y="172"/>
                    </a:lnTo>
                    <a:lnTo>
                      <a:pt x="14" y="173"/>
                    </a:lnTo>
                    <a:lnTo>
                      <a:pt x="13" y="172"/>
                    </a:lnTo>
                    <a:lnTo>
                      <a:pt x="12" y="171"/>
                    </a:lnTo>
                    <a:lnTo>
                      <a:pt x="12" y="170"/>
                    </a:lnTo>
                    <a:lnTo>
                      <a:pt x="13" y="169"/>
                    </a:lnTo>
                    <a:lnTo>
                      <a:pt x="15" y="167"/>
                    </a:lnTo>
                    <a:lnTo>
                      <a:pt x="17" y="166"/>
                    </a:lnTo>
                    <a:lnTo>
                      <a:pt x="17" y="165"/>
                    </a:lnTo>
                    <a:close/>
                    <a:moveTo>
                      <a:pt x="908" y="161"/>
                    </a:moveTo>
                    <a:lnTo>
                      <a:pt x="904" y="161"/>
                    </a:lnTo>
                    <a:lnTo>
                      <a:pt x="901" y="163"/>
                    </a:lnTo>
                    <a:lnTo>
                      <a:pt x="901" y="167"/>
                    </a:lnTo>
                    <a:lnTo>
                      <a:pt x="902" y="171"/>
                    </a:lnTo>
                    <a:lnTo>
                      <a:pt x="903" y="172"/>
                    </a:lnTo>
                    <a:lnTo>
                      <a:pt x="905" y="174"/>
                    </a:lnTo>
                    <a:lnTo>
                      <a:pt x="908" y="175"/>
                    </a:lnTo>
                    <a:lnTo>
                      <a:pt x="910" y="176"/>
                    </a:lnTo>
                    <a:lnTo>
                      <a:pt x="914" y="178"/>
                    </a:lnTo>
                    <a:lnTo>
                      <a:pt x="915" y="181"/>
                    </a:lnTo>
                    <a:lnTo>
                      <a:pt x="916" y="183"/>
                    </a:lnTo>
                    <a:lnTo>
                      <a:pt x="917" y="186"/>
                    </a:lnTo>
                    <a:lnTo>
                      <a:pt x="917" y="188"/>
                    </a:lnTo>
                    <a:lnTo>
                      <a:pt x="918" y="192"/>
                    </a:lnTo>
                    <a:lnTo>
                      <a:pt x="919" y="195"/>
                    </a:lnTo>
                    <a:lnTo>
                      <a:pt x="920" y="201"/>
                    </a:lnTo>
                    <a:lnTo>
                      <a:pt x="921" y="206"/>
                    </a:lnTo>
                    <a:lnTo>
                      <a:pt x="924" y="209"/>
                    </a:lnTo>
                    <a:lnTo>
                      <a:pt x="925" y="209"/>
                    </a:lnTo>
                    <a:lnTo>
                      <a:pt x="926" y="204"/>
                    </a:lnTo>
                    <a:lnTo>
                      <a:pt x="926" y="197"/>
                    </a:lnTo>
                    <a:lnTo>
                      <a:pt x="925" y="192"/>
                    </a:lnTo>
                    <a:lnTo>
                      <a:pt x="926" y="182"/>
                    </a:lnTo>
                    <a:lnTo>
                      <a:pt x="925" y="172"/>
                    </a:lnTo>
                    <a:lnTo>
                      <a:pt x="923" y="169"/>
                    </a:lnTo>
                    <a:lnTo>
                      <a:pt x="918" y="165"/>
                    </a:lnTo>
                    <a:lnTo>
                      <a:pt x="914" y="162"/>
                    </a:lnTo>
                    <a:lnTo>
                      <a:pt x="908" y="161"/>
                    </a:lnTo>
                    <a:close/>
                    <a:moveTo>
                      <a:pt x="401" y="148"/>
                    </a:moveTo>
                    <a:lnTo>
                      <a:pt x="402" y="149"/>
                    </a:lnTo>
                    <a:lnTo>
                      <a:pt x="403" y="149"/>
                    </a:lnTo>
                    <a:lnTo>
                      <a:pt x="405" y="150"/>
                    </a:lnTo>
                    <a:lnTo>
                      <a:pt x="406" y="151"/>
                    </a:lnTo>
                    <a:lnTo>
                      <a:pt x="407" y="152"/>
                    </a:lnTo>
                    <a:lnTo>
                      <a:pt x="408" y="152"/>
                    </a:lnTo>
                    <a:lnTo>
                      <a:pt x="408" y="155"/>
                    </a:lnTo>
                    <a:lnTo>
                      <a:pt x="408" y="156"/>
                    </a:lnTo>
                    <a:lnTo>
                      <a:pt x="407" y="158"/>
                    </a:lnTo>
                    <a:lnTo>
                      <a:pt x="406" y="159"/>
                    </a:lnTo>
                    <a:lnTo>
                      <a:pt x="406" y="160"/>
                    </a:lnTo>
                    <a:lnTo>
                      <a:pt x="406" y="161"/>
                    </a:lnTo>
                    <a:lnTo>
                      <a:pt x="406" y="163"/>
                    </a:lnTo>
                    <a:lnTo>
                      <a:pt x="407" y="165"/>
                    </a:lnTo>
                    <a:lnTo>
                      <a:pt x="410" y="169"/>
                    </a:lnTo>
                    <a:lnTo>
                      <a:pt x="412" y="174"/>
                    </a:lnTo>
                    <a:lnTo>
                      <a:pt x="413" y="177"/>
                    </a:lnTo>
                    <a:lnTo>
                      <a:pt x="412" y="181"/>
                    </a:lnTo>
                    <a:lnTo>
                      <a:pt x="410" y="182"/>
                    </a:lnTo>
                    <a:lnTo>
                      <a:pt x="407" y="180"/>
                    </a:lnTo>
                    <a:lnTo>
                      <a:pt x="406" y="176"/>
                    </a:lnTo>
                    <a:lnTo>
                      <a:pt x="405" y="173"/>
                    </a:lnTo>
                    <a:lnTo>
                      <a:pt x="404" y="169"/>
                    </a:lnTo>
                    <a:lnTo>
                      <a:pt x="403" y="165"/>
                    </a:lnTo>
                    <a:lnTo>
                      <a:pt x="402" y="163"/>
                    </a:lnTo>
                    <a:lnTo>
                      <a:pt x="401" y="160"/>
                    </a:lnTo>
                    <a:lnTo>
                      <a:pt x="399" y="156"/>
                    </a:lnTo>
                    <a:lnTo>
                      <a:pt x="399" y="154"/>
                    </a:lnTo>
                    <a:lnTo>
                      <a:pt x="400" y="153"/>
                    </a:lnTo>
                    <a:lnTo>
                      <a:pt x="400" y="152"/>
                    </a:lnTo>
                    <a:lnTo>
                      <a:pt x="401" y="151"/>
                    </a:lnTo>
                    <a:lnTo>
                      <a:pt x="401" y="149"/>
                    </a:lnTo>
                    <a:lnTo>
                      <a:pt x="401" y="148"/>
                    </a:lnTo>
                    <a:close/>
                    <a:moveTo>
                      <a:pt x="40" y="141"/>
                    </a:moveTo>
                    <a:lnTo>
                      <a:pt x="41" y="142"/>
                    </a:lnTo>
                    <a:lnTo>
                      <a:pt x="42" y="143"/>
                    </a:lnTo>
                    <a:lnTo>
                      <a:pt x="43" y="144"/>
                    </a:lnTo>
                    <a:lnTo>
                      <a:pt x="43" y="147"/>
                    </a:lnTo>
                    <a:lnTo>
                      <a:pt x="43" y="148"/>
                    </a:lnTo>
                    <a:lnTo>
                      <a:pt x="44" y="149"/>
                    </a:lnTo>
                    <a:lnTo>
                      <a:pt x="44" y="150"/>
                    </a:lnTo>
                    <a:lnTo>
                      <a:pt x="43" y="151"/>
                    </a:lnTo>
                    <a:lnTo>
                      <a:pt x="42" y="151"/>
                    </a:lnTo>
                    <a:lnTo>
                      <a:pt x="41" y="151"/>
                    </a:lnTo>
                    <a:lnTo>
                      <a:pt x="40" y="151"/>
                    </a:lnTo>
                    <a:lnTo>
                      <a:pt x="39" y="150"/>
                    </a:lnTo>
                    <a:lnTo>
                      <a:pt x="37" y="148"/>
                    </a:lnTo>
                    <a:lnTo>
                      <a:pt x="37" y="145"/>
                    </a:lnTo>
                    <a:lnTo>
                      <a:pt x="39" y="142"/>
                    </a:lnTo>
                    <a:lnTo>
                      <a:pt x="40" y="141"/>
                    </a:lnTo>
                    <a:close/>
                    <a:moveTo>
                      <a:pt x="941" y="138"/>
                    </a:moveTo>
                    <a:lnTo>
                      <a:pt x="936" y="139"/>
                    </a:lnTo>
                    <a:lnTo>
                      <a:pt x="932" y="142"/>
                    </a:lnTo>
                    <a:lnTo>
                      <a:pt x="931" y="148"/>
                    </a:lnTo>
                    <a:lnTo>
                      <a:pt x="932" y="151"/>
                    </a:lnTo>
                    <a:lnTo>
                      <a:pt x="934" y="154"/>
                    </a:lnTo>
                    <a:lnTo>
                      <a:pt x="936" y="156"/>
                    </a:lnTo>
                    <a:lnTo>
                      <a:pt x="938" y="159"/>
                    </a:lnTo>
                    <a:lnTo>
                      <a:pt x="941" y="161"/>
                    </a:lnTo>
                    <a:lnTo>
                      <a:pt x="943" y="162"/>
                    </a:lnTo>
                    <a:lnTo>
                      <a:pt x="945" y="163"/>
                    </a:lnTo>
                    <a:lnTo>
                      <a:pt x="945" y="164"/>
                    </a:lnTo>
                    <a:lnTo>
                      <a:pt x="945" y="166"/>
                    </a:lnTo>
                    <a:lnTo>
                      <a:pt x="945" y="170"/>
                    </a:lnTo>
                    <a:lnTo>
                      <a:pt x="947" y="178"/>
                    </a:lnTo>
                    <a:lnTo>
                      <a:pt x="952" y="187"/>
                    </a:lnTo>
                    <a:lnTo>
                      <a:pt x="958" y="194"/>
                    </a:lnTo>
                    <a:lnTo>
                      <a:pt x="961" y="197"/>
                    </a:lnTo>
                    <a:lnTo>
                      <a:pt x="967" y="202"/>
                    </a:lnTo>
                    <a:lnTo>
                      <a:pt x="972" y="207"/>
                    </a:lnTo>
                    <a:lnTo>
                      <a:pt x="978" y="210"/>
                    </a:lnTo>
                    <a:lnTo>
                      <a:pt x="980" y="212"/>
                    </a:lnTo>
                    <a:lnTo>
                      <a:pt x="981" y="208"/>
                    </a:lnTo>
                    <a:lnTo>
                      <a:pt x="980" y="203"/>
                    </a:lnTo>
                    <a:lnTo>
                      <a:pt x="978" y="196"/>
                    </a:lnTo>
                    <a:lnTo>
                      <a:pt x="975" y="192"/>
                    </a:lnTo>
                    <a:lnTo>
                      <a:pt x="973" y="187"/>
                    </a:lnTo>
                    <a:lnTo>
                      <a:pt x="972" y="180"/>
                    </a:lnTo>
                    <a:lnTo>
                      <a:pt x="971" y="170"/>
                    </a:lnTo>
                    <a:lnTo>
                      <a:pt x="971" y="160"/>
                    </a:lnTo>
                    <a:lnTo>
                      <a:pt x="969" y="151"/>
                    </a:lnTo>
                    <a:lnTo>
                      <a:pt x="966" y="143"/>
                    </a:lnTo>
                    <a:lnTo>
                      <a:pt x="958" y="139"/>
                    </a:lnTo>
                    <a:lnTo>
                      <a:pt x="953" y="139"/>
                    </a:lnTo>
                    <a:lnTo>
                      <a:pt x="948" y="138"/>
                    </a:lnTo>
                    <a:lnTo>
                      <a:pt x="941" y="138"/>
                    </a:lnTo>
                    <a:close/>
                    <a:moveTo>
                      <a:pt x="58" y="128"/>
                    </a:moveTo>
                    <a:lnTo>
                      <a:pt x="61" y="128"/>
                    </a:lnTo>
                    <a:lnTo>
                      <a:pt x="63" y="130"/>
                    </a:lnTo>
                    <a:lnTo>
                      <a:pt x="65" y="133"/>
                    </a:lnTo>
                    <a:lnTo>
                      <a:pt x="65" y="133"/>
                    </a:lnTo>
                    <a:lnTo>
                      <a:pt x="64" y="134"/>
                    </a:lnTo>
                    <a:lnTo>
                      <a:pt x="62" y="137"/>
                    </a:lnTo>
                    <a:lnTo>
                      <a:pt x="59" y="138"/>
                    </a:lnTo>
                    <a:lnTo>
                      <a:pt x="58" y="139"/>
                    </a:lnTo>
                    <a:lnTo>
                      <a:pt x="56" y="140"/>
                    </a:lnTo>
                    <a:lnTo>
                      <a:pt x="55" y="140"/>
                    </a:lnTo>
                    <a:lnTo>
                      <a:pt x="55" y="140"/>
                    </a:lnTo>
                    <a:lnTo>
                      <a:pt x="54" y="140"/>
                    </a:lnTo>
                    <a:lnTo>
                      <a:pt x="53" y="141"/>
                    </a:lnTo>
                    <a:lnTo>
                      <a:pt x="53" y="143"/>
                    </a:lnTo>
                    <a:lnTo>
                      <a:pt x="52" y="144"/>
                    </a:lnTo>
                    <a:lnTo>
                      <a:pt x="51" y="144"/>
                    </a:lnTo>
                    <a:lnTo>
                      <a:pt x="50" y="144"/>
                    </a:lnTo>
                    <a:lnTo>
                      <a:pt x="48" y="143"/>
                    </a:lnTo>
                    <a:lnTo>
                      <a:pt x="47" y="141"/>
                    </a:lnTo>
                    <a:lnTo>
                      <a:pt x="47" y="140"/>
                    </a:lnTo>
                    <a:lnTo>
                      <a:pt x="48" y="138"/>
                    </a:lnTo>
                    <a:lnTo>
                      <a:pt x="48" y="137"/>
                    </a:lnTo>
                    <a:lnTo>
                      <a:pt x="50" y="136"/>
                    </a:lnTo>
                    <a:lnTo>
                      <a:pt x="51" y="136"/>
                    </a:lnTo>
                    <a:lnTo>
                      <a:pt x="52" y="136"/>
                    </a:lnTo>
                    <a:lnTo>
                      <a:pt x="53" y="137"/>
                    </a:lnTo>
                    <a:lnTo>
                      <a:pt x="53" y="137"/>
                    </a:lnTo>
                    <a:lnTo>
                      <a:pt x="54" y="137"/>
                    </a:lnTo>
                    <a:lnTo>
                      <a:pt x="55" y="136"/>
                    </a:lnTo>
                    <a:lnTo>
                      <a:pt x="56" y="136"/>
                    </a:lnTo>
                    <a:lnTo>
                      <a:pt x="57" y="136"/>
                    </a:lnTo>
                    <a:lnTo>
                      <a:pt x="57" y="134"/>
                    </a:lnTo>
                    <a:lnTo>
                      <a:pt x="56" y="133"/>
                    </a:lnTo>
                    <a:lnTo>
                      <a:pt x="55" y="131"/>
                    </a:lnTo>
                    <a:lnTo>
                      <a:pt x="56" y="130"/>
                    </a:lnTo>
                    <a:lnTo>
                      <a:pt x="57" y="128"/>
                    </a:lnTo>
                    <a:lnTo>
                      <a:pt x="58" y="128"/>
                    </a:lnTo>
                    <a:close/>
                    <a:moveTo>
                      <a:pt x="73" y="110"/>
                    </a:moveTo>
                    <a:lnTo>
                      <a:pt x="75" y="110"/>
                    </a:lnTo>
                    <a:lnTo>
                      <a:pt x="77" y="110"/>
                    </a:lnTo>
                    <a:lnTo>
                      <a:pt x="77" y="111"/>
                    </a:lnTo>
                    <a:lnTo>
                      <a:pt x="79" y="112"/>
                    </a:lnTo>
                    <a:lnTo>
                      <a:pt x="82" y="114"/>
                    </a:lnTo>
                    <a:lnTo>
                      <a:pt x="82" y="116"/>
                    </a:lnTo>
                    <a:lnTo>
                      <a:pt x="82" y="119"/>
                    </a:lnTo>
                    <a:lnTo>
                      <a:pt x="82" y="121"/>
                    </a:lnTo>
                    <a:lnTo>
                      <a:pt x="79" y="122"/>
                    </a:lnTo>
                    <a:lnTo>
                      <a:pt x="77" y="123"/>
                    </a:lnTo>
                    <a:lnTo>
                      <a:pt x="75" y="123"/>
                    </a:lnTo>
                    <a:lnTo>
                      <a:pt x="72" y="123"/>
                    </a:lnTo>
                    <a:lnTo>
                      <a:pt x="68" y="126"/>
                    </a:lnTo>
                    <a:lnTo>
                      <a:pt x="66" y="127"/>
                    </a:lnTo>
                    <a:lnTo>
                      <a:pt x="65" y="127"/>
                    </a:lnTo>
                    <a:lnTo>
                      <a:pt x="64" y="127"/>
                    </a:lnTo>
                    <a:lnTo>
                      <a:pt x="62" y="126"/>
                    </a:lnTo>
                    <a:lnTo>
                      <a:pt x="61" y="123"/>
                    </a:lnTo>
                    <a:lnTo>
                      <a:pt x="59" y="121"/>
                    </a:lnTo>
                    <a:lnTo>
                      <a:pt x="61" y="119"/>
                    </a:lnTo>
                    <a:lnTo>
                      <a:pt x="62" y="118"/>
                    </a:lnTo>
                    <a:lnTo>
                      <a:pt x="64" y="116"/>
                    </a:lnTo>
                    <a:lnTo>
                      <a:pt x="65" y="114"/>
                    </a:lnTo>
                    <a:lnTo>
                      <a:pt x="65" y="111"/>
                    </a:lnTo>
                    <a:lnTo>
                      <a:pt x="67" y="110"/>
                    </a:lnTo>
                    <a:lnTo>
                      <a:pt x="69" y="110"/>
                    </a:lnTo>
                    <a:lnTo>
                      <a:pt x="73" y="110"/>
                    </a:lnTo>
                    <a:close/>
                    <a:moveTo>
                      <a:pt x="399" y="109"/>
                    </a:moveTo>
                    <a:lnTo>
                      <a:pt x="402" y="110"/>
                    </a:lnTo>
                    <a:lnTo>
                      <a:pt x="404" y="111"/>
                    </a:lnTo>
                    <a:lnTo>
                      <a:pt x="406" y="115"/>
                    </a:lnTo>
                    <a:lnTo>
                      <a:pt x="407" y="118"/>
                    </a:lnTo>
                    <a:lnTo>
                      <a:pt x="408" y="122"/>
                    </a:lnTo>
                    <a:lnTo>
                      <a:pt x="406" y="125"/>
                    </a:lnTo>
                    <a:lnTo>
                      <a:pt x="404" y="126"/>
                    </a:lnTo>
                    <a:lnTo>
                      <a:pt x="402" y="128"/>
                    </a:lnTo>
                    <a:lnTo>
                      <a:pt x="401" y="130"/>
                    </a:lnTo>
                    <a:lnTo>
                      <a:pt x="399" y="132"/>
                    </a:lnTo>
                    <a:lnTo>
                      <a:pt x="399" y="134"/>
                    </a:lnTo>
                    <a:lnTo>
                      <a:pt x="396" y="137"/>
                    </a:lnTo>
                    <a:lnTo>
                      <a:pt x="394" y="137"/>
                    </a:lnTo>
                    <a:lnTo>
                      <a:pt x="393" y="134"/>
                    </a:lnTo>
                    <a:lnTo>
                      <a:pt x="392" y="132"/>
                    </a:lnTo>
                    <a:lnTo>
                      <a:pt x="392" y="129"/>
                    </a:lnTo>
                    <a:lnTo>
                      <a:pt x="392" y="127"/>
                    </a:lnTo>
                    <a:lnTo>
                      <a:pt x="392" y="125"/>
                    </a:lnTo>
                    <a:lnTo>
                      <a:pt x="391" y="121"/>
                    </a:lnTo>
                    <a:lnTo>
                      <a:pt x="391" y="119"/>
                    </a:lnTo>
                    <a:lnTo>
                      <a:pt x="391" y="117"/>
                    </a:lnTo>
                    <a:lnTo>
                      <a:pt x="392" y="115"/>
                    </a:lnTo>
                    <a:lnTo>
                      <a:pt x="394" y="111"/>
                    </a:lnTo>
                    <a:lnTo>
                      <a:pt x="396" y="110"/>
                    </a:lnTo>
                    <a:lnTo>
                      <a:pt x="399" y="109"/>
                    </a:lnTo>
                    <a:close/>
                    <a:moveTo>
                      <a:pt x="105" y="109"/>
                    </a:moveTo>
                    <a:lnTo>
                      <a:pt x="106" y="110"/>
                    </a:lnTo>
                    <a:lnTo>
                      <a:pt x="108" y="111"/>
                    </a:lnTo>
                    <a:lnTo>
                      <a:pt x="109" y="112"/>
                    </a:lnTo>
                    <a:lnTo>
                      <a:pt x="109" y="115"/>
                    </a:lnTo>
                    <a:lnTo>
                      <a:pt x="109" y="117"/>
                    </a:lnTo>
                    <a:lnTo>
                      <a:pt x="108" y="118"/>
                    </a:lnTo>
                    <a:lnTo>
                      <a:pt x="107" y="119"/>
                    </a:lnTo>
                    <a:lnTo>
                      <a:pt x="107" y="118"/>
                    </a:lnTo>
                    <a:lnTo>
                      <a:pt x="105" y="118"/>
                    </a:lnTo>
                    <a:lnTo>
                      <a:pt x="104" y="118"/>
                    </a:lnTo>
                    <a:lnTo>
                      <a:pt x="102" y="117"/>
                    </a:lnTo>
                    <a:lnTo>
                      <a:pt x="102" y="115"/>
                    </a:lnTo>
                    <a:lnTo>
                      <a:pt x="102" y="114"/>
                    </a:lnTo>
                    <a:lnTo>
                      <a:pt x="102" y="112"/>
                    </a:lnTo>
                    <a:lnTo>
                      <a:pt x="102" y="110"/>
                    </a:lnTo>
                    <a:lnTo>
                      <a:pt x="104" y="109"/>
                    </a:lnTo>
                    <a:lnTo>
                      <a:pt x="105" y="109"/>
                    </a:lnTo>
                    <a:close/>
                    <a:moveTo>
                      <a:pt x="2451" y="90"/>
                    </a:moveTo>
                    <a:lnTo>
                      <a:pt x="2455" y="97"/>
                    </a:lnTo>
                    <a:lnTo>
                      <a:pt x="2458" y="105"/>
                    </a:lnTo>
                    <a:lnTo>
                      <a:pt x="2459" y="111"/>
                    </a:lnTo>
                    <a:lnTo>
                      <a:pt x="2462" y="118"/>
                    </a:lnTo>
                    <a:lnTo>
                      <a:pt x="2461" y="125"/>
                    </a:lnTo>
                    <a:lnTo>
                      <a:pt x="2458" y="130"/>
                    </a:lnTo>
                    <a:lnTo>
                      <a:pt x="2456" y="134"/>
                    </a:lnTo>
                    <a:lnTo>
                      <a:pt x="2456" y="155"/>
                    </a:lnTo>
                    <a:lnTo>
                      <a:pt x="2456" y="159"/>
                    </a:lnTo>
                    <a:lnTo>
                      <a:pt x="2456" y="162"/>
                    </a:lnTo>
                    <a:lnTo>
                      <a:pt x="2455" y="164"/>
                    </a:lnTo>
                    <a:lnTo>
                      <a:pt x="2455" y="166"/>
                    </a:lnTo>
                    <a:lnTo>
                      <a:pt x="2454" y="169"/>
                    </a:lnTo>
                    <a:lnTo>
                      <a:pt x="2452" y="174"/>
                    </a:lnTo>
                    <a:lnTo>
                      <a:pt x="2451" y="181"/>
                    </a:lnTo>
                    <a:lnTo>
                      <a:pt x="2448" y="187"/>
                    </a:lnTo>
                    <a:lnTo>
                      <a:pt x="2447" y="192"/>
                    </a:lnTo>
                    <a:lnTo>
                      <a:pt x="2444" y="194"/>
                    </a:lnTo>
                    <a:lnTo>
                      <a:pt x="2441" y="192"/>
                    </a:lnTo>
                    <a:lnTo>
                      <a:pt x="2440" y="191"/>
                    </a:lnTo>
                    <a:lnTo>
                      <a:pt x="2440" y="188"/>
                    </a:lnTo>
                    <a:lnTo>
                      <a:pt x="2438" y="186"/>
                    </a:lnTo>
                    <a:lnTo>
                      <a:pt x="2438" y="185"/>
                    </a:lnTo>
                    <a:lnTo>
                      <a:pt x="2437" y="185"/>
                    </a:lnTo>
                    <a:lnTo>
                      <a:pt x="2436" y="185"/>
                    </a:lnTo>
                    <a:lnTo>
                      <a:pt x="2434" y="188"/>
                    </a:lnTo>
                    <a:lnTo>
                      <a:pt x="2432" y="190"/>
                    </a:lnTo>
                    <a:lnTo>
                      <a:pt x="2431" y="191"/>
                    </a:lnTo>
                    <a:lnTo>
                      <a:pt x="2429" y="188"/>
                    </a:lnTo>
                    <a:lnTo>
                      <a:pt x="2425" y="185"/>
                    </a:lnTo>
                    <a:lnTo>
                      <a:pt x="2423" y="178"/>
                    </a:lnTo>
                    <a:lnTo>
                      <a:pt x="2422" y="171"/>
                    </a:lnTo>
                    <a:lnTo>
                      <a:pt x="2425" y="164"/>
                    </a:lnTo>
                    <a:lnTo>
                      <a:pt x="2426" y="162"/>
                    </a:lnTo>
                    <a:lnTo>
                      <a:pt x="2426" y="160"/>
                    </a:lnTo>
                    <a:lnTo>
                      <a:pt x="2427" y="156"/>
                    </a:lnTo>
                    <a:lnTo>
                      <a:pt x="2427" y="153"/>
                    </a:lnTo>
                    <a:lnTo>
                      <a:pt x="2429" y="151"/>
                    </a:lnTo>
                    <a:lnTo>
                      <a:pt x="2429" y="149"/>
                    </a:lnTo>
                    <a:lnTo>
                      <a:pt x="2430" y="147"/>
                    </a:lnTo>
                    <a:lnTo>
                      <a:pt x="2431" y="145"/>
                    </a:lnTo>
                    <a:lnTo>
                      <a:pt x="2431" y="142"/>
                    </a:lnTo>
                    <a:lnTo>
                      <a:pt x="2429" y="140"/>
                    </a:lnTo>
                    <a:lnTo>
                      <a:pt x="2426" y="137"/>
                    </a:lnTo>
                    <a:lnTo>
                      <a:pt x="2424" y="133"/>
                    </a:lnTo>
                    <a:lnTo>
                      <a:pt x="2423" y="130"/>
                    </a:lnTo>
                    <a:lnTo>
                      <a:pt x="2423" y="128"/>
                    </a:lnTo>
                    <a:lnTo>
                      <a:pt x="2423" y="126"/>
                    </a:lnTo>
                    <a:lnTo>
                      <a:pt x="2424" y="122"/>
                    </a:lnTo>
                    <a:lnTo>
                      <a:pt x="2424" y="120"/>
                    </a:lnTo>
                    <a:lnTo>
                      <a:pt x="2426" y="118"/>
                    </a:lnTo>
                    <a:lnTo>
                      <a:pt x="2427" y="116"/>
                    </a:lnTo>
                    <a:lnTo>
                      <a:pt x="2429" y="116"/>
                    </a:lnTo>
                    <a:lnTo>
                      <a:pt x="2431" y="115"/>
                    </a:lnTo>
                    <a:lnTo>
                      <a:pt x="2433" y="114"/>
                    </a:lnTo>
                    <a:lnTo>
                      <a:pt x="2434" y="112"/>
                    </a:lnTo>
                    <a:lnTo>
                      <a:pt x="2435" y="112"/>
                    </a:lnTo>
                    <a:lnTo>
                      <a:pt x="2436" y="114"/>
                    </a:lnTo>
                    <a:lnTo>
                      <a:pt x="2437" y="116"/>
                    </a:lnTo>
                    <a:lnTo>
                      <a:pt x="2438" y="118"/>
                    </a:lnTo>
                    <a:lnTo>
                      <a:pt x="2441" y="121"/>
                    </a:lnTo>
                    <a:lnTo>
                      <a:pt x="2442" y="123"/>
                    </a:lnTo>
                    <a:lnTo>
                      <a:pt x="2443" y="125"/>
                    </a:lnTo>
                    <a:lnTo>
                      <a:pt x="2443" y="125"/>
                    </a:lnTo>
                    <a:lnTo>
                      <a:pt x="2443" y="123"/>
                    </a:lnTo>
                    <a:lnTo>
                      <a:pt x="2443" y="122"/>
                    </a:lnTo>
                    <a:lnTo>
                      <a:pt x="2443" y="121"/>
                    </a:lnTo>
                    <a:lnTo>
                      <a:pt x="2443" y="120"/>
                    </a:lnTo>
                    <a:lnTo>
                      <a:pt x="2443" y="118"/>
                    </a:lnTo>
                    <a:lnTo>
                      <a:pt x="2443" y="118"/>
                    </a:lnTo>
                    <a:lnTo>
                      <a:pt x="2443" y="109"/>
                    </a:lnTo>
                    <a:lnTo>
                      <a:pt x="2443" y="107"/>
                    </a:lnTo>
                    <a:lnTo>
                      <a:pt x="2443" y="106"/>
                    </a:lnTo>
                    <a:lnTo>
                      <a:pt x="2442" y="105"/>
                    </a:lnTo>
                    <a:lnTo>
                      <a:pt x="2440" y="104"/>
                    </a:lnTo>
                    <a:lnTo>
                      <a:pt x="2438" y="104"/>
                    </a:lnTo>
                    <a:lnTo>
                      <a:pt x="2440" y="100"/>
                    </a:lnTo>
                    <a:lnTo>
                      <a:pt x="2440" y="98"/>
                    </a:lnTo>
                    <a:lnTo>
                      <a:pt x="2441" y="97"/>
                    </a:lnTo>
                    <a:lnTo>
                      <a:pt x="2442" y="96"/>
                    </a:lnTo>
                    <a:lnTo>
                      <a:pt x="2443" y="95"/>
                    </a:lnTo>
                    <a:lnTo>
                      <a:pt x="2444" y="95"/>
                    </a:lnTo>
                    <a:lnTo>
                      <a:pt x="2446" y="95"/>
                    </a:lnTo>
                    <a:lnTo>
                      <a:pt x="2448" y="93"/>
                    </a:lnTo>
                    <a:lnTo>
                      <a:pt x="2451" y="90"/>
                    </a:lnTo>
                    <a:close/>
                    <a:moveTo>
                      <a:pt x="87" y="85"/>
                    </a:moveTo>
                    <a:lnTo>
                      <a:pt x="88" y="85"/>
                    </a:lnTo>
                    <a:lnTo>
                      <a:pt x="90" y="86"/>
                    </a:lnTo>
                    <a:lnTo>
                      <a:pt x="91" y="87"/>
                    </a:lnTo>
                    <a:lnTo>
                      <a:pt x="93" y="88"/>
                    </a:lnTo>
                    <a:lnTo>
                      <a:pt x="94" y="89"/>
                    </a:lnTo>
                    <a:lnTo>
                      <a:pt x="94" y="92"/>
                    </a:lnTo>
                    <a:lnTo>
                      <a:pt x="95" y="94"/>
                    </a:lnTo>
                    <a:lnTo>
                      <a:pt x="96" y="95"/>
                    </a:lnTo>
                    <a:lnTo>
                      <a:pt x="97" y="97"/>
                    </a:lnTo>
                    <a:lnTo>
                      <a:pt x="99" y="97"/>
                    </a:lnTo>
                    <a:lnTo>
                      <a:pt x="99" y="98"/>
                    </a:lnTo>
                    <a:lnTo>
                      <a:pt x="100" y="99"/>
                    </a:lnTo>
                    <a:lnTo>
                      <a:pt x="100" y="101"/>
                    </a:lnTo>
                    <a:lnTo>
                      <a:pt x="100" y="104"/>
                    </a:lnTo>
                    <a:lnTo>
                      <a:pt x="99" y="104"/>
                    </a:lnTo>
                    <a:lnTo>
                      <a:pt x="97" y="104"/>
                    </a:lnTo>
                    <a:lnTo>
                      <a:pt x="96" y="104"/>
                    </a:lnTo>
                    <a:lnTo>
                      <a:pt x="94" y="103"/>
                    </a:lnTo>
                    <a:lnTo>
                      <a:pt x="93" y="103"/>
                    </a:lnTo>
                    <a:lnTo>
                      <a:pt x="90" y="101"/>
                    </a:lnTo>
                    <a:lnTo>
                      <a:pt x="89" y="100"/>
                    </a:lnTo>
                    <a:lnTo>
                      <a:pt x="89" y="99"/>
                    </a:lnTo>
                    <a:lnTo>
                      <a:pt x="88" y="99"/>
                    </a:lnTo>
                    <a:lnTo>
                      <a:pt x="87" y="100"/>
                    </a:lnTo>
                    <a:lnTo>
                      <a:pt x="87" y="101"/>
                    </a:lnTo>
                    <a:lnTo>
                      <a:pt x="86" y="104"/>
                    </a:lnTo>
                    <a:lnTo>
                      <a:pt x="86" y="106"/>
                    </a:lnTo>
                    <a:lnTo>
                      <a:pt x="86" y="107"/>
                    </a:lnTo>
                    <a:lnTo>
                      <a:pt x="86" y="109"/>
                    </a:lnTo>
                    <a:lnTo>
                      <a:pt x="85" y="109"/>
                    </a:lnTo>
                    <a:lnTo>
                      <a:pt x="83" y="109"/>
                    </a:lnTo>
                    <a:lnTo>
                      <a:pt x="82" y="108"/>
                    </a:lnTo>
                    <a:lnTo>
                      <a:pt x="80" y="107"/>
                    </a:lnTo>
                    <a:lnTo>
                      <a:pt x="79" y="106"/>
                    </a:lnTo>
                    <a:lnTo>
                      <a:pt x="78" y="106"/>
                    </a:lnTo>
                    <a:lnTo>
                      <a:pt x="77" y="106"/>
                    </a:lnTo>
                    <a:lnTo>
                      <a:pt x="76" y="105"/>
                    </a:lnTo>
                    <a:lnTo>
                      <a:pt x="75" y="105"/>
                    </a:lnTo>
                    <a:lnTo>
                      <a:pt x="74" y="104"/>
                    </a:lnTo>
                    <a:lnTo>
                      <a:pt x="75" y="100"/>
                    </a:lnTo>
                    <a:lnTo>
                      <a:pt x="75" y="99"/>
                    </a:lnTo>
                    <a:lnTo>
                      <a:pt x="75" y="98"/>
                    </a:lnTo>
                    <a:lnTo>
                      <a:pt x="76" y="97"/>
                    </a:lnTo>
                    <a:lnTo>
                      <a:pt x="78" y="97"/>
                    </a:lnTo>
                    <a:lnTo>
                      <a:pt x="79" y="96"/>
                    </a:lnTo>
                    <a:lnTo>
                      <a:pt x="82" y="95"/>
                    </a:lnTo>
                    <a:lnTo>
                      <a:pt x="84" y="93"/>
                    </a:lnTo>
                    <a:lnTo>
                      <a:pt x="85" y="89"/>
                    </a:lnTo>
                    <a:lnTo>
                      <a:pt x="85" y="87"/>
                    </a:lnTo>
                    <a:lnTo>
                      <a:pt x="86" y="86"/>
                    </a:lnTo>
                    <a:lnTo>
                      <a:pt x="87" y="85"/>
                    </a:lnTo>
                    <a:close/>
                    <a:moveTo>
                      <a:pt x="389" y="72"/>
                    </a:moveTo>
                    <a:lnTo>
                      <a:pt x="389" y="73"/>
                    </a:lnTo>
                    <a:lnTo>
                      <a:pt x="391" y="74"/>
                    </a:lnTo>
                    <a:lnTo>
                      <a:pt x="393" y="75"/>
                    </a:lnTo>
                    <a:lnTo>
                      <a:pt x="395" y="76"/>
                    </a:lnTo>
                    <a:lnTo>
                      <a:pt x="397" y="77"/>
                    </a:lnTo>
                    <a:lnTo>
                      <a:pt x="400" y="78"/>
                    </a:lnTo>
                    <a:lnTo>
                      <a:pt x="402" y="83"/>
                    </a:lnTo>
                    <a:lnTo>
                      <a:pt x="403" y="87"/>
                    </a:lnTo>
                    <a:lnTo>
                      <a:pt x="405" y="92"/>
                    </a:lnTo>
                    <a:lnTo>
                      <a:pt x="405" y="93"/>
                    </a:lnTo>
                    <a:lnTo>
                      <a:pt x="405" y="95"/>
                    </a:lnTo>
                    <a:lnTo>
                      <a:pt x="406" y="97"/>
                    </a:lnTo>
                    <a:lnTo>
                      <a:pt x="406" y="99"/>
                    </a:lnTo>
                    <a:lnTo>
                      <a:pt x="406" y="101"/>
                    </a:lnTo>
                    <a:lnTo>
                      <a:pt x="406" y="103"/>
                    </a:lnTo>
                    <a:lnTo>
                      <a:pt x="405" y="103"/>
                    </a:lnTo>
                    <a:lnTo>
                      <a:pt x="403" y="104"/>
                    </a:lnTo>
                    <a:lnTo>
                      <a:pt x="402" y="104"/>
                    </a:lnTo>
                    <a:lnTo>
                      <a:pt x="401" y="103"/>
                    </a:lnTo>
                    <a:lnTo>
                      <a:pt x="400" y="103"/>
                    </a:lnTo>
                    <a:lnTo>
                      <a:pt x="399" y="101"/>
                    </a:lnTo>
                    <a:lnTo>
                      <a:pt x="397" y="103"/>
                    </a:lnTo>
                    <a:lnTo>
                      <a:pt x="396" y="103"/>
                    </a:lnTo>
                    <a:lnTo>
                      <a:pt x="394" y="105"/>
                    </a:lnTo>
                    <a:lnTo>
                      <a:pt x="393" y="106"/>
                    </a:lnTo>
                    <a:lnTo>
                      <a:pt x="392" y="107"/>
                    </a:lnTo>
                    <a:lnTo>
                      <a:pt x="390" y="108"/>
                    </a:lnTo>
                    <a:lnTo>
                      <a:pt x="388" y="108"/>
                    </a:lnTo>
                    <a:lnTo>
                      <a:pt x="385" y="107"/>
                    </a:lnTo>
                    <a:lnTo>
                      <a:pt x="386" y="103"/>
                    </a:lnTo>
                    <a:lnTo>
                      <a:pt x="388" y="98"/>
                    </a:lnTo>
                    <a:lnTo>
                      <a:pt x="389" y="94"/>
                    </a:lnTo>
                    <a:lnTo>
                      <a:pt x="388" y="88"/>
                    </a:lnTo>
                    <a:lnTo>
                      <a:pt x="385" y="83"/>
                    </a:lnTo>
                    <a:lnTo>
                      <a:pt x="385" y="77"/>
                    </a:lnTo>
                    <a:lnTo>
                      <a:pt x="389" y="72"/>
                    </a:lnTo>
                    <a:close/>
                    <a:moveTo>
                      <a:pt x="368" y="46"/>
                    </a:moveTo>
                    <a:lnTo>
                      <a:pt x="369" y="47"/>
                    </a:lnTo>
                    <a:lnTo>
                      <a:pt x="370" y="47"/>
                    </a:lnTo>
                    <a:lnTo>
                      <a:pt x="370" y="47"/>
                    </a:lnTo>
                    <a:lnTo>
                      <a:pt x="370" y="49"/>
                    </a:lnTo>
                    <a:lnTo>
                      <a:pt x="370" y="50"/>
                    </a:lnTo>
                    <a:lnTo>
                      <a:pt x="369" y="51"/>
                    </a:lnTo>
                    <a:lnTo>
                      <a:pt x="368" y="52"/>
                    </a:lnTo>
                    <a:lnTo>
                      <a:pt x="366" y="51"/>
                    </a:lnTo>
                    <a:lnTo>
                      <a:pt x="364" y="50"/>
                    </a:lnTo>
                    <a:lnTo>
                      <a:pt x="363" y="49"/>
                    </a:lnTo>
                    <a:lnTo>
                      <a:pt x="364" y="47"/>
                    </a:lnTo>
                    <a:lnTo>
                      <a:pt x="366" y="46"/>
                    </a:lnTo>
                    <a:lnTo>
                      <a:pt x="368" y="46"/>
                    </a:lnTo>
                    <a:close/>
                    <a:moveTo>
                      <a:pt x="22" y="46"/>
                    </a:moveTo>
                    <a:lnTo>
                      <a:pt x="23" y="46"/>
                    </a:lnTo>
                    <a:lnTo>
                      <a:pt x="24" y="47"/>
                    </a:lnTo>
                    <a:lnTo>
                      <a:pt x="25" y="49"/>
                    </a:lnTo>
                    <a:lnTo>
                      <a:pt x="28" y="49"/>
                    </a:lnTo>
                    <a:lnTo>
                      <a:pt x="28" y="50"/>
                    </a:lnTo>
                    <a:lnTo>
                      <a:pt x="26" y="51"/>
                    </a:lnTo>
                    <a:lnTo>
                      <a:pt x="25" y="52"/>
                    </a:lnTo>
                    <a:lnTo>
                      <a:pt x="23" y="52"/>
                    </a:lnTo>
                    <a:lnTo>
                      <a:pt x="22" y="52"/>
                    </a:lnTo>
                    <a:lnTo>
                      <a:pt x="20" y="51"/>
                    </a:lnTo>
                    <a:lnTo>
                      <a:pt x="19" y="50"/>
                    </a:lnTo>
                    <a:lnTo>
                      <a:pt x="19" y="47"/>
                    </a:lnTo>
                    <a:lnTo>
                      <a:pt x="20" y="46"/>
                    </a:lnTo>
                    <a:lnTo>
                      <a:pt x="21" y="46"/>
                    </a:lnTo>
                    <a:lnTo>
                      <a:pt x="22" y="46"/>
                    </a:lnTo>
                    <a:close/>
                    <a:moveTo>
                      <a:pt x="3068" y="35"/>
                    </a:moveTo>
                    <a:lnTo>
                      <a:pt x="3068" y="155"/>
                    </a:lnTo>
                    <a:lnTo>
                      <a:pt x="3060" y="253"/>
                    </a:lnTo>
                    <a:lnTo>
                      <a:pt x="3046" y="349"/>
                    </a:lnTo>
                    <a:lnTo>
                      <a:pt x="3027" y="444"/>
                    </a:lnTo>
                    <a:lnTo>
                      <a:pt x="3002" y="535"/>
                    </a:lnTo>
                    <a:lnTo>
                      <a:pt x="3002" y="533"/>
                    </a:lnTo>
                    <a:lnTo>
                      <a:pt x="3000" y="532"/>
                    </a:lnTo>
                    <a:lnTo>
                      <a:pt x="2999" y="533"/>
                    </a:lnTo>
                    <a:lnTo>
                      <a:pt x="2998" y="534"/>
                    </a:lnTo>
                    <a:lnTo>
                      <a:pt x="2998" y="535"/>
                    </a:lnTo>
                    <a:lnTo>
                      <a:pt x="2998" y="537"/>
                    </a:lnTo>
                    <a:lnTo>
                      <a:pt x="2994" y="541"/>
                    </a:lnTo>
                    <a:lnTo>
                      <a:pt x="2992" y="544"/>
                    </a:lnTo>
                    <a:lnTo>
                      <a:pt x="2989" y="546"/>
                    </a:lnTo>
                    <a:lnTo>
                      <a:pt x="2987" y="548"/>
                    </a:lnTo>
                    <a:lnTo>
                      <a:pt x="2983" y="549"/>
                    </a:lnTo>
                    <a:lnTo>
                      <a:pt x="2981" y="553"/>
                    </a:lnTo>
                    <a:lnTo>
                      <a:pt x="2980" y="555"/>
                    </a:lnTo>
                    <a:lnTo>
                      <a:pt x="2978" y="558"/>
                    </a:lnTo>
                    <a:lnTo>
                      <a:pt x="2976" y="562"/>
                    </a:lnTo>
                    <a:lnTo>
                      <a:pt x="2974" y="564"/>
                    </a:lnTo>
                    <a:lnTo>
                      <a:pt x="2971" y="567"/>
                    </a:lnTo>
                    <a:lnTo>
                      <a:pt x="2969" y="570"/>
                    </a:lnTo>
                    <a:lnTo>
                      <a:pt x="2967" y="573"/>
                    </a:lnTo>
                    <a:lnTo>
                      <a:pt x="2967" y="575"/>
                    </a:lnTo>
                    <a:lnTo>
                      <a:pt x="2966" y="577"/>
                    </a:lnTo>
                    <a:lnTo>
                      <a:pt x="2965" y="579"/>
                    </a:lnTo>
                    <a:lnTo>
                      <a:pt x="2963" y="583"/>
                    </a:lnTo>
                    <a:lnTo>
                      <a:pt x="2959" y="586"/>
                    </a:lnTo>
                    <a:lnTo>
                      <a:pt x="2958" y="588"/>
                    </a:lnTo>
                    <a:lnTo>
                      <a:pt x="2956" y="590"/>
                    </a:lnTo>
                    <a:lnTo>
                      <a:pt x="2955" y="592"/>
                    </a:lnTo>
                    <a:lnTo>
                      <a:pt x="2953" y="595"/>
                    </a:lnTo>
                    <a:lnTo>
                      <a:pt x="2952" y="598"/>
                    </a:lnTo>
                    <a:lnTo>
                      <a:pt x="2949" y="602"/>
                    </a:lnTo>
                    <a:lnTo>
                      <a:pt x="2947" y="607"/>
                    </a:lnTo>
                    <a:lnTo>
                      <a:pt x="2945" y="610"/>
                    </a:lnTo>
                    <a:lnTo>
                      <a:pt x="2942" y="612"/>
                    </a:lnTo>
                    <a:lnTo>
                      <a:pt x="2941" y="614"/>
                    </a:lnTo>
                    <a:lnTo>
                      <a:pt x="2938" y="617"/>
                    </a:lnTo>
                    <a:lnTo>
                      <a:pt x="2936" y="620"/>
                    </a:lnTo>
                    <a:lnTo>
                      <a:pt x="2934" y="623"/>
                    </a:lnTo>
                    <a:lnTo>
                      <a:pt x="2933" y="628"/>
                    </a:lnTo>
                    <a:lnTo>
                      <a:pt x="2932" y="630"/>
                    </a:lnTo>
                    <a:lnTo>
                      <a:pt x="2932" y="633"/>
                    </a:lnTo>
                    <a:lnTo>
                      <a:pt x="2931" y="635"/>
                    </a:lnTo>
                    <a:lnTo>
                      <a:pt x="2931" y="638"/>
                    </a:lnTo>
                    <a:lnTo>
                      <a:pt x="2931" y="640"/>
                    </a:lnTo>
                    <a:lnTo>
                      <a:pt x="2932" y="640"/>
                    </a:lnTo>
                    <a:lnTo>
                      <a:pt x="2932" y="641"/>
                    </a:lnTo>
                    <a:lnTo>
                      <a:pt x="2933" y="642"/>
                    </a:lnTo>
                    <a:lnTo>
                      <a:pt x="2933" y="644"/>
                    </a:lnTo>
                    <a:lnTo>
                      <a:pt x="2932" y="646"/>
                    </a:lnTo>
                    <a:lnTo>
                      <a:pt x="2931" y="650"/>
                    </a:lnTo>
                    <a:lnTo>
                      <a:pt x="2929" y="652"/>
                    </a:lnTo>
                    <a:lnTo>
                      <a:pt x="2928" y="653"/>
                    </a:lnTo>
                    <a:lnTo>
                      <a:pt x="2927" y="656"/>
                    </a:lnTo>
                    <a:lnTo>
                      <a:pt x="2926" y="658"/>
                    </a:lnTo>
                    <a:lnTo>
                      <a:pt x="2925" y="662"/>
                    </a:lnTo>
                    <a:lnTo>
                      <a:pt x="2924" y="664"/>
                    </a:lnTo>
                    <a:lnTo>
                      <a:pt x="2922" y="668"/>
                    </a:lnTo>
                    <a:lnTo>
                      <a:pt x="2921" y="671"/>
                    </a:lnTo>
                    <a:lnTo>
                      <a:pt x="2920" y="673"/>
                    </a:lnTo>
                    <a:lnTo>
                      <a:pt x="2918" y="676"/>
                    </a:lnTo>
                    <a:lnTo>
                      <a:pt x="2917" y="678"/>
                    </a:lnTo>
                    <a:lnTo>
                      <a:pt x="2917" y="682"/>
                    </a:lnTo>
                    <a:lnTo>
                      <a:pt x="2915" y="684"/>
                    </a:lnTo>
                    <a:lnTo>
                      <a:pt x="2915" y="685"/>
                    </a:lnTo>
                    <a:lnTo>
                      <a:pt x="2915" y="687"/>
                    </a:lnTo>
                    <a:lnTo>
                      <a:pt x="2914" y="690"/>
                    </a:lnTo>
                    <a:lnTo>
                      <a:pt x="2913" y="693"/>
                    </a:lnTo>
                    <a:lnTo>
                      <a:pt x="2911" y="696"/>
                    </a:lnTo>
                    <a:lnTo>
                      <a:pt x="2910" y="698"/>
                    </a:lnTo>
                    <a:lnTo>
                      <a:pt x="2909" y="699"/>
                    </a:lnTo>
                    <a:lnTo>
                      <a:pt x="2907" y="700"/>
                    </a:lnTo>
                    <a:lnTo>
                      <a:pt x="2906" y="699"/>
                    </a:lnTo>
                    <a:lnTo>
                      <a:pt x="2906" y="699"/>
                    </a:lnTo>
                    <a:lnTo>
                      <a:pt x="2905" y="698"/>
                    </a:lnTo>
                    <a:lnTo>
                      <a:pt x="2906" y="696"/>
                    </a:lnTo>
                    <a:lnTo>
                      <a:pt x="2906" y="695"/>
                    </a:lnTo>
                    <a:lnTo>
                      <a:pt x="2906" y="693"/>
                    </a:lnTo>
                    <a:lnTo>
                      <a:pt x="2905" y="690"/>
                    </a:lnTo>
                    <a:lnTo>
                      <a:pt x="2905" y="687"/>
                    </a:lnTo>
                    <a:lnTo>
                      <a:pt x="2904" y="685"/>
                    </a:lnTo>
                    <a:lnTo>
                      <a:pt x="2904" y="682"/>
                    </a:lnTo>
                    <a:lnTo>
                      <a:pt x="2904" y="660"/>
                    </a:lnTo>
                    <a:lnTo>
                      <a:pt x="2903" y="650"/>
                    </a:lnTo>
                    <a:lnTo>
                      <a:pt x="2902" y="638"/>
                    </a:lnTo>
                    <a:lnTo>
                      <a:pt x="2902" y="627"/>
                    </a:lnTo>
                    <a:lnTo>
                      <a:pt x="2902" y="614"/>
                    </a:lnTo>
                    <a:lnTo>
                      <a:pt x="2902" y="610"/>
                    </a:lnTo>
                    <a:lnTo>
                      <a:pt x="2903" y="606"/>
                    </a:lnTo>
                    <a:lnTo>
                      <a:pt x="2904" y="601"/>
                    </a:lnTo>
                    <a:lnTo>
                      <a:pt x="2904" y="590"/>
                    </a:lnTo>
                    <a:lnTo>
                      <a:pt x="2905" y="585"/>
                    </a:lnTo>
                    <a:lnTo>
                      <a:pt x="2905" y="581"/>
                    </a:lnTo>
                    <a:lnTo>
                      <a:pt x="2906" y="577"/>
                    </a:lnTo>
                    <a:lnTo>
                      <a:pt x="2906" y="573"/>
                    </a:lnTo>
                    <a:lnTo>
                      <a:pt x="2906" y="572"/>
                    </a:lnTo>
                    <a:lnTo>
                      <a:pt x="2906" y="569"/>
                    </a:lnTo>
                    <a:lnTo>
                      <a:pt x="2906" y="568"/>
                    </a:lnTo>
                    <a:lnTo>
                      <a:pt x="2905" y="567"/>
                    </a:lnTo>
                    <a:lnTo>
                      <a:pt x="2905" y="567"/>
                    </a:lnTo>
                    <a:lnTo>
                      <a:pt x="2904" y="568"/>
                    </a:lnTo>
                    <a:lnTo>
                      <a:pt x="2904" y="570"/>
                    </a:lnTo>
                    <a:lnTo>
                      <a:pt x="2902" y="575"/>
                    </a:lnTo>
                    <a:lnTo>
                      <a:pt x="2900" y="578"/>
                    </a:lnTo>
                    <a:lnTo>
                      <a:pt x="2898" y="579"/>
                    </a:lnTo>
                    <a:lnTo>
                      <a:pt x="2895" y="580"/>
                    </a:lnTo>
                    <a:lnTo>
                      <a:pt x="2893" y="581"/>
                    </a:lnTo>
                    <a:lnTo>
                      <a:pt x="2892" y="581"/>
                    </a:lnTo>
                    <a:lnTo>
                      <a:pt x="2891" y="580"/>
                    </a:lnTo>
                    <a:lnTo>
                      <a:pt x="2890" y="579"/>
                    </a:lnTo>
                    <a:lnTo>
                      <a:pt x="2890" y="577"/>
                    </a:lnTo>
                    <a:lnTo>
                      <a:pt x="2889" y="575"/>
                    </a:lnTo>
                    <a:lnTo>
                      <a:pt x="2889" y="573"/>
                    </a:lnTo>
                    <a:lnTo>
                      <a:pt x="2889" y="570"/>
                    </a:lnTo>
                    <a:lnTo>
                      <a:pt x="2889" y="559"/>
                    </a:lnTo>
                    <a:lnTo>
                      <a:pt x="2889" y="557"/>
                    </a:lnTo>
                    <a:lnTo>
                      <a:pt x="2889" y="555"/>
                    </a:lnTo>
                    <a:lnTo>
                      <a:pt x="2887" y="553"/>
                    </a:lnTo>
                    <a:lnTo>
                      <a:pt x="2887" y="552"/>
                    </a:lnTo>
                    <a:lnTo>
                      <a:pt x="2887" y="551"/>
                    </a:lnTo>
                    <a:lnTo>
                      <a:pt x="2887" y="549"/>
                    </a:lnTo>
                    <a:lnTo>
                      <a:pt x="2885" y="548"/>
                    </a:lnTo>
                    <a:lnTo>
                      <a:pt x="2884" y="548"/>
                    </a:lnTo>
                    <a:lnTo>
                      <a:pt x="2883" y="546"/>
                    </a:lnTo>
                    <a:lnTo>
                      <a:pt x="2882" y="544"/>
                    </a:lnTo>
                    <a:lnTo>
                      <a:pt x="2882" y="542"/>
                    </a:lnTo>
                    <a:lnTo>
                      <a:pt x="2882" y="540"/>
                    </a:lnTo>
                    <a:lnTo>
                      <a:pt x="2882" y="538"/>
                    </a:lnTo>
                    <a:lnTo>
                      <a:pt x="2882" y="536"/>
                    </a:lnTo>
                    <a:lnTo>
                      <a:pt x="2881" y="535"/>
                    </a:lnTo>
                    <a:lnTo>
                      <a:pt x="2880" y="535"/>
                    </a:lnTo>
                    <a:lnTo>
                      <a:pt x="2878" y="535"/>
                    </a:lnTo>
                    <a:lnTo>
                      <a:pt x="2876" y="537"/>
                    </a:lnTo>
                    <a:lnTo>
                      <a:pt x="2873" y="540"/>
                    </a:lnTo>
                    <a:lnTo>
                      <a:pt x="2871" y="540"/>
                    </a:lnTo>
                    <a:lnTo>
                      <a:pt x="2869" y="540"/>
                    </a:lnTo>
                    <a:lnTo>
                      <a:pt x="2867" y="542"/>
                    </a:lnTo>
                    <a:lnTo>
                      <a:pt x="2865" y="542"/>
                    </a:lnTo>
                    <a:lnTo>
                      <a:pt x="2862" y="543"/>
                    </a:lnTo>
                    <a:lnTo>
                      <a:pt x="2860" y="544"/>
                    </a:lnTo>
                    <a:lnTo>
                      <a:pt x="2851" y="544"/>
                    </a:lnTo>
                    <a:lnTo>
                      <a:pt x="2849" y="544"/>
                    </a:lnTo>
                    <a:lnTo>
                      <a:pt x="2847" y="545"/>
                    </a:lnTo>
                    <a:lnTo>
                      <a:pt x="2845" y="546"/>
                    </a:lnTo>
                    <a:lnTo>
                      <a:pt x="2844" y="546"/>
                    </a:lnTo>
                    <a:lnTo>
                      <a:pt x="2843" y="546"/>
                    </a:lnTo>
                    <a:lnTo>
                      <a:pt x="2841" y="547"/>
                    </a:lnTo>
                    <a:lnTo>
                      <a:pt x="2840" y="547"/>
                    </a:lnTo>
                    <a:lnTo>
                      <a:pt x="2839" y="547"/>
                    </a:lnTo>
                    <a:lnTo>
                      <a:pt x="2838" y="546"/>
                    </a:lnTo>
                    <a:lnTo>
                      <a:pt x="2838" y="544"/>
                    </a:lnTo>
                    <a:lnTo>
                      <a:pt x="2838" y="542"/>
                    </a:lnTo>
                    <a:lnTo>
                      <a:pt x="2838" y="538"/>
                    </a:lnTo>
                    <a:lnTo>
                      <a:pt x="2838" y="535"/>
                    </a:lnTo>
                    <a:lnTo>
                      <a:pt x="2838" y="532"/>
                    </a:lnTo>
                    <a:lnTo>
                      <a:pt x="2837" y="530"/>
                    </a:lnTo>
                    <a:lnTo>
                      <a:pt x="2837" y="529"/>
                    </a:lnTo>
                    <a:lnTo>
                      <a:pt x="2836" y="529"/>
                    </a:lnTo>
                    <a:lnTo>
                      <a:pt x="2835" y="529"/>
                    </a:lnTo>
                    <a:lnTo>
                      <a:pt x="2834" y="530"/>
                    </a:lnTo>
                    <a:lnTo>
                      <a:pt x="2834" y="532"/>
                    </a:lnTo>
                    <a:lnTo>
                      <a:pt x="2833" y="533"/>
                    </a:lnTo>
                    <a:lnTo>
                      <a:pt x="2832" y="535"/>
                    </a:lnTo>
                    <a:lnTo>
                      <a:pt x="2829" y="537"/>
                    </a:lnTo>
                    <a:lnTo>
                      <a:pt x="2828" y="540"/>
                    </a:lnTo>
                    <a:lnTo>
                      <a:pt x="2827" y="542"/>
                    </a:lnTo>
                    <a:lnTo>
                      <a:pt x="2825" y="543"/>
                    </a:lnTo>
                    <a:lnTo>
                      <a:pt x="2823" y="544"/>
                    </a:lnTo>
                    <a:lnTo>
                      <a:pt x="2821" y="544"/>
                    </a:lnTo>
                    <a:lnTo>
                      <a:pt x="2819" y="543"/>
                    </a:lnTo>
                    <a:lnTo>
                      <a:pt x="2817" y="542"/>
                    </a:lnTo>
                    <a:lnTo>
                      <a:pt x="2816" y="540"/>
                    </a:lnTo>
                    <a:lnTo>
                      <a:pt x="2815" y="536"/>
                    </a:lnTo>
                    <a:lnTo>
                      <a:pt x="2814" y="533"/>
                    </a:lnTo>
                    <a:lnTo>
                      <a:pt x="2813" y="529"/>
                    </a:lnTo>
                    <a:lnTo>
                      <a:pt x="2812" y="524"/>
                    </a:lnTo>
                    <a:lnTo>
                      <a:pt x="2812" y="523"/>
                    </a:lnTo>
                    <a:lnTo>
                      <a:pt x="2811" y="522"/>
                    </a:lnTo>
                    <a:lnTo>
                      <a:pt x="2811" y="521"/>
                    </a:lnTo>
                    <a:lnTo>
                      <a:pt x="2809" y="520"/>
                    </a:lnTo>
                    <a:lnTo>
                      <a:pt x="2809" y="518"/>
                    </a:lnTo>
                    <a:lnTo>
                      <a:pt x="2808" y="515"/>
                    </a:lnTo>
                    <a:lnTo>
                      <a:pt x="2807" y="513"/>
                    </a:lnTo>
                    <a:lnTo>
                      <a:pt x="2807" y="511"/>
                    </a:lnTo>
                    <a:lnTo>
                      <a:pt x="2807" y="509"/>
                    </a:lnTo>
                    <a:lnTo>
                      <a:pt x="2807" y="507"/>
                    </a:lnTo>
                    <a:lnTo>
                      <a:pt x="2806" y="505"/>
                    </a:lnTo>
                    <a:lnTo>
                      <a:pt x="2805" y="504"/>
                    </a:lnTo>
                    <a:lnTo>
                      <a:pt x="2803" y="504"/>
                    </a:lnTo>
                    <a:lnTo>
                      <a:pt x="2801" y="504"/>
                    </a:lnTo>
                    <a:lnTo>
                      <a:pt x="2800" y="504"/>
                    </a:lnTo>
                    <a:lnTo>
                      <a:pt x="2798" y="505"/>
                    </a:lnTo>
                    <a:lnTo>
                      <a:pt x="2797" y="509"/>
                    </a:lnTo>
                    <a:lnTo>
                      <a:pt x="2796" y="512"/>
                    </a:lnTo>
                    <a:lnTo>
                      <a:pt x="2796" y="518"/>
                    </a:lnTo>
                    <a:lnTo>
                      <a:pt x="2795" y="525"/>
                    </a:lnTo>
                    <a:lnTo>
                      <a:pt x="2796" y="533"/>
                    </a:lnTo>
                    <a:lnTo>
                      <a:pt x="2798" y="540"/>
                    </a:lnTo>
                    <a:lnTo>
                      <a:pt x="2800" y="548"/>
                    </a:lnTo>
                    <a:lnTo>
                      <a:pt x="2803" y="559"/>
                    </a:lnTo>
                    <a:lnTo>
                      <a:pt x="2803" y="562"/>
                    </a:lnTo>
                    <a:lnTo>
                      <a:pt x="2803" y="564"/>
                    </a:lnTo>
                    <a:lnTo>
                      <a:pt x="2804" y="566"/>
                    </a:lnTo>
                    <a:lnTo>
                      <a:pt x="2805" y="568"/>
                    </a:lnTo>
                    <a:lnTo>
                      <a:pt x="2805" y="569"/>
                    </a:lnTo>
                    <a:lnTo>
                      <a:pt x="2805" y="572"/>
                    </a:lnTo>
                    <a:lnTo>
                      <a:pt x="2805" y="573"/>
                    </a:lnTo>
                    <a:lnTo>
                      <a:pt x="2806" y="574"/>
                    </a:lnTo>
                    <a:lnTo>
                      <a:pt x="2807" y="575"/>
                    </a:lnTo>
                    <a:lnTo>
                      <a:pt x="2807" y="575"/>
                    </a:lnTo>
                    <a:lnTo>
                      <a:pt x="2809" y="575"/>
                    </a:lnTo>
                    <a:lnTo>
                      <a:pt x="2811" y="574"/>
                    </a:lnTo>
                    <a:lnTo>
                      <a:pt x="2813" y="573"/>
                    </a:lnTo>
                    <a:lnTo>
                      <a:pt x="2814" y="570"/>
                    </a:lnTo>
                    <a:lnTo>
                      <a:pt x="2816" y="567"/>
                    </a:lnTo>
                    <a:lnTo>
                      <a:pt x="2818" y="564"/>
                    </a:lnTo>
                    <a:lnTo>
                      <a:pt x="2821" y="562"/>
                    </a:lnTo>
                    <a:lnTo>
                      <a:pt x="2822" y="559"/>
                    </a:lnTo>
                    <a:lnTo>
                      <a:pt x="2824" y="557"/>
                    </a:lnTo>
                    <a:lnTo>
                      <a:pt x="2825" y="555"/>
                    </a:lnTo>
                    <a:lnTo>
                      <a:pt x="2826" y="553"/>
                    </a:lnTo>
                    <a:lnTo>
                      <a:pt x="2827" y="551"/>
                    </a:lnTo>
                    <a:lnTo>
                      <a:pt x="2829" y="548"/>
                    </a:lnTo>
                    <a:lnTo>
                      <a:pt x="2830" y="546"/>
                    </a:lnTo>
                    <a:lnTo>
                      <a:pt x="2832" y="544"/>
                    </a:lnTo>
                    <a:lnTo>
                      <a:pt x="2832" y="544"/>
                    </a:lnTo>
                    <a:lnTo>
                      <a:pt x="2833" y="544"/>
                    </a:lnTo>
                    <a:lnTo>
                      <a:pt x="2833" y="546"/>
                    </a:lnTo>
                    <a:lnTo>
                      <a:pt x="2832" y="548"/>
                    </a:lnTo>
                    <a:lnTo>
                      <a:pt x="2832" y="551"/>
                    </a:lnTo>
                    <a:lnTo>
                      <a:pt x="2830" y="553"/>
                    </a:lnTo>
                    <a:lnTo>
                      <a:pt x="2830" y="556"/>
                    </a:lnTo>
                    <a:lnTo>
                      <a:pt x="2829" y="558"/>
                    </a:lnTo>
                    <a:lnTo>
                      <a:pt x="2829" y="559"/>
                    </a:lnTo>
                    <a:lnTo>
                      <a:pt x="2830" y="563"/>
                    </a:lnTo>
                    <a:lnTo>
                      <a:pt x="2833" y="565"/>
                    </a:lnTo>
                    <a:lnTo>
                      <a:pt x="2835" y="566"/>
                    </a:lnTo>
                    <a:lnTo>
                      <a:pt x="2837" y="567"/>
                    </a:lnTo>
                    <a:lnTo>
                      <a:pt x="2838" y="568"/>
                    </a:lnTo>
                    <a:lnTo>
                      <a:pt x="2838" y="568"/>
                    </a:lnTo>
                    <a:lnTo>
                      <a:pt x="2839" y="567"/>
                    </a:lnTo>
                    <a:lnTo>
                      <a:pt x="2839" y="567"/>
                    </a:lnTo>
                    <a:lnTo>
                      <a:pt x="2840" y="567"/>
                    </a:lnTo>
                    <a:lnTo>
                      <a:pt x="2840" y="568"/>
                    </a:lnTo>
                    <a:lnTo>
                      <a:pt x="2840" y="570"/>
                    </a:lnTo>
                    <a:lnTo>
                      <a:pt x="2840" y="574"/>
                    </a:lnTo>
                    <a:lnTo>
                      <a:pt x="2841" y="576"/>
                    </a:lnTo>
                    <a:lnTo>
                      <a:pt x="2843" y="579"/>
                    </a:lnTo>
                    <a:lnTo>
                      <a:pt x="2843" y="586"/>
                    </a:lnTo>
                    <a:lnTo>
                      <a:pt x="2840" y="592"/>
                    </a:lnTo>
                    <a:lnTo>
                      <a:pt x="2836" y="599"/>
                    </a:lnTo>
                    <a:lnTo>
                      <a:pt x="2835" y="600"/>
                    </a:lnTo>
                    <a:lnTo>
                      <a:pt x="2833" y="602"/>
                    </a:lnTo>
                    <a:lnTo>
                      <a:pt x="2832" y="605"/>
                    </a:lnTo>
                    <a:lnTo>
                      <a:pt x="2832" y="608"/>
                    </a:lnTo>
                    <a:lnTo>
                      <a:pt x="2830" y="610"/>
                    </a:lnTo>
                    <a:lnTo>
                      <a:pt x="2829" y="612"/>
                    </a:lnTo>
                    <a:lnTo>
                      <a:pt x="2829" y="617"/>
                    </a:lnTo>
                    <a:lnTo>
                      <a:pt x="2828" y="618"/>
                    </a:lnTo>
                    <a:lnTo>
                      <a:pt x="2827" y="620"/>
                    </a:lnTo>
                    <a:lnTo>
                      <a:pt x="2825" y="622"/>
                    </a:lnTo>
                    <a:lnTo>
                      <a:pt x="2824" y="624"/>
                    </a:lnTo>
                    <a:lnTo>
                      <a:pt x="2823" y="625"/>
                    </a:lnTo>
                    <a:lnTo>
                      <a:pt x="2822" y="627"/>
                    </a:lnTo>
                    <a:lnTo>
                      <a:pt x="2821" y="627"/>
                    </a:lnTo>
                    <a:lnTo>
                      <a:pt x="2821" y="628"/>
                    </a:lnTo>
                    <a:lnTo>
                      <a:pt x="2819" y="630"/>
                    </a:lnTo>
                    <a:lnTo>
                      <a:pt x="2818" y="631"/>
                    </a:lnTo>
                    <a:lnTo>
                      <a:pt x="2816" y="634"/>
                    </a:lnTo>
                    <a:lnTo>
                      <a:pt x="2814" y="638"/>
                    </a:lnTo>
                    <a:lnTo>
                      <a:pt x="2812" y="641"/>
                    </a:lnTo>
                    <a:lnTo>
                      <a:pt x="2809" y="643"/>
                    </a:lnTo>
                    <a:lnTo>
                      <a:pt x="2807" y="644"/>
                    </a:lnTo>
                    <a:lnTo>
                      <a:pt x="2806" y="646"/>
                    </a:lnTo>
                    <a:lnTo>
                      <a:pt x="2805" y="649"/>
                    </a:lnTo>
                    <a:lnTo>
                      <a:pt x="2804" y="652"/>
                    </a:lnTo>
                    <a:lnTo>
                      <a:pt x="2803" y="654"/>
                    </a:lnTo>
                    <a:lnTo>
                      <a:pt x="2801" y="655"/>
                    </a:lnTo>
                    <a:lnTo>
                      <a:pt x="2801" y="656"/>
                    </a:lnTo>
                    <a:lnTo>
                      <a:pt x="2800" y="656"/>
                    </a:lnTo>
                    <a:lnTo>
                      <a:pt x="2798" y="656"/>
                    </a:lnTo>
                    <a:lnTo>
                      <a:pt x="2797" y="657"/>
                    </a:lnTo>
                    <a:lnTo>
                      <a:pt x="2796" y="657"/>
                    </a:lnTo>
                    <a:lnTo>
                      <a:pt x="2790" y="671"/>
                    </a:lnTo>
                    <a:lnTo>
                      <a:pt x="2786" y="674"/>
                    </a:lnTo>
                    <a:lnTo>
                      <a:pt x="2784" y="676"/>
                    </a:lnTo>
                    <a:lnTo>
                      <a:pt x="2781" y="678"/>
                    </a:lnTo>
                    <a:lnTo>
                      <a:pt x="2778" y="681"/>
                    </a:lnTo>
                    <a:lnTo>
                      <a:pt x="2774" y="684"/>
                    </a:lnTo>
                    <a:lnTo>
                      <a:pt x="2774" y="685"/>
                    </a:lnTo>
                    <a:lnTo>
                      <a:pt x="2773" y="686"/>
                    </a:lnTo>
                    <a:lnTo>
                      <a:pt x="2771" y="687"/>
                    </a:lnTo>
                    <a:lnTo>
                      <a:pt x="2770" y="688"/>
                    </a:lnTo>
                    <a:lnTo>
                      <a:pt x="2769" y="689"/>
                    </a:lnTo>
                    <a:lnTo>
                      <a:pt x="2768" y="690"/>
                    </a:lnTo>
                    <a:lnTo>
                      <a:pt x="2768" y="692"/>
                    </a:lnTo>
                    <a:lnTo>
                      <a:pt x="2767" y="694"/>
                    </a:lnTo>
                    <a:lnTo>
                      <a:pt x="2765" y="695"/>
                    </a:lnTo>
                    <a:lnTo>
                      <a:pt x="2763" y="696"/>
                    </a:lnTo>
                    <a:lnTo>
                      <a:pt x="2762" y="697"/>
                    </a:lnTo>
                    <a:lnTo>
                      <a:pt x="2760" y="699"/>
                    </a:lnTo>
                    <a:lnTo>
                      <a:pt x="2759" y="701"/>
                    </a:lnTo>
                    <a:lnTo>
                      <a:pt x="2757" y="704"/>
                    </a:lnTo>
                    <a:lnTo>
                      <a:pt x="2753" y="706"/>
                    </a:lnTo>
                    <a:lnTo>
                      <a:pt x="2750" y="708"/>
                    </a:lnTo>
                    <a:lnTo>
                      <a:pt x="2748" y="710"/>
                    </a:lnTo>
                    <a:lnTo>
                      <a:pt x="2746" y="711"/>
                    </a:lnTo>
                    <a:lnTo>
                      <a:pt x="2743" y="712"/>
                    </a:lnTo>
                    <a:lnTo>
                      <a:pt x="2741" y="715"/>
                    </a:lnTo>
                    <a:lnTo>
                      <a:pt x="2740" y="716"/>
                    </a:lnTo>
                    <a:lnTo>
                      <a:pt x="2738" y="716"/>
                    </a:lnTo>
                    <a:lnTo>
                      <a:pt x="2737" y="715"/>
                    </a:lnTo>
                    <a:lnTo>
                      <a:pt x="2736" y="714"/>
                    </a:lnTo>
                    <a:lnTo>
                      <a:pt x="2736" y="712"/>
                    </a:lnTo>
                    <a:lnTo>
                      <a:pt x="2735" y="711"/>
                    </a:lnTo>
                    <a:lnTo>
                      <a:pt x="2734" y="709"/>
                    </a:lnTo>
                    <a:lnTo>
                      <a:pt x="2734" y="707"/>
                    </a:lnTo>
                    <a:lnTo>
                      <a:pt x="2735" y="704"/>
                    </a:lnTo>
                    <a:lnTo>
                      <a:pt x="2736" y="696"/>
                    </a:lnTo>
                    <a:lnTo>
                      <a:pt x="2737" y="689"/>
                    </a:lnTo>
                    <a:lnTo>
                      <a:pt x="2737" y="682"/>
                    </a:lnTo>
                    <a:lnTo>
                      <a:pt x="2737" y="674"/>
                    </a:lnTo>
                    <a:lnTo>
                      <a:pt x="2736" y="668"/>
                    </a:lnTo>
                    <a:lnTo>
                      <a:pt x="2735" y="662"/>
                    </a:lnTo>
                    <a:lnTo>
                      <a:pt x="2735" y="658"/>
                    </a:lnTo>
                    <a:lnTo>
                      <a:pt x="2735" y="654"/>
                    </a:lnTo>
                    <a:lnTo>
                      <a:pt x="2734" y="650"/>
                    </a:lnTo>
                    <a:lnTo>
                      <a:pt x="2734" y="646"/>
                    </a:lnTo>
                    <a:lnTo>
                      <a:pt x="2732" y="644"/>
                    </a:lnTo>
                    <a:lnTo>
                      <a:pt x="2731" y="644"/>
                    </a:lnTo>
                    <a:lnTo>
                      <a:pt x="2729" y="643"/>
                    </a:lnTo>
                    <a:lnTo>
                      <a:pt x="2728" y="643"/>
                    </a:lnTo>
                    <a:lnTo>
                      <a:pt x="2727" y="643"/>
                    </a:lnTo>
                    <a:lnTo>
                      <a:pt x="2727" y="642"/>
                    </a:lnTo>
                    <a:lnTo>
                      <a:pt x="2728" y="640"/>
                    </a:lnTo>
                    <a:lnTo>
                      <a:pt x="2728" y="635"/>
                    </a:lnTo>
                    <a:lnTo>
                      <a:pt x="2729" y="632"/>
                    </a:lnTo>
                    <a:lnTo>
                      <a:pt x="2730" y="628"/>
                    </a:lnTo>
                    <a:lnTo>
                      <a:pt x="2730" y="623"/>
                    </a:lnTo>
                    <a:lnTo>
                      <a:pt x="2730" y="619"/>
                    </a:lnTo>
                    <a:lnTo>
                      <a:pt x="2730" y="617"/>
                    </a:lnTo>
                    <a:lnTo>
                      <a:pt x="2730" y="612"/>
                    </a:lnTo>
                    <a:lnTo>
                      <a:pt x="2730" y="609"/>
                    </a:lnTo>
                    <a:lnTo>
                      <a:pt x="2730" y="606"/>
                    </a:lnTo>
                    <a:lnTo>
                      <a:pt x="2728" y="599"/>
                    </a:lnTo>
                    <a:lnTo>
                      <a:pt x="2726" y="595"/>
                    </a:lnTo>
                    <a:lnTo>
                      <a:pt x="2724" y="590"/>
                    </a:lnTo>
                    <a:lnTo>
                      <a:pt x="2721" y="579"/>
                    </a:lnTo>
                    <a:lnTo>
                      <a:pt x="2721" y="568"/>
                    </a:lnTo>
                    <a:lnTo>
                      <a:pt x="2720" y="566"/>
                    </a:lnTo>
                    <a:lnTo>
                      <a:pt x="2720" y="564"/>
                    </a:lnTo>
                    <a:lnTo>
                      <a:pt x="2719" y="562"/>
                    </a:lnTo>
                    <a:lnTo>
                      <a:pt x="2719" y="559"/>
                    </a:lnTo>
                    <a:lnTo>
                      <a:pt x="2718" y="558"/>
                    </a:lnTo>
                    <a:lnTo>
                      <a:pt x="2717" y="557"/>
                    </a:lnTo>
                    <a:lnTo>
                      <a:pt x="2716" y="558"/>
                    </a:lnTo>
                    <a:lnTo>
                      <a:pt x="2715" y="559"/>
                    </a:lnTo>
                    <a:lnTo>
                      <a:pt x="2714" y="561"/>
                    </a:lnTo>
                    <a:lnTo>
                      <a:pt x="2713" y="562"/>
                    </a:lnTo>
                    <a:lnTo>
                      <a:pt x="2712" y="563"/>
                    </a:lnTo>
                    <a:lnTo>
                      <a:pt x="2710" y="564"/>
                    </a:lnTo>
                    <a:lnTo>
                      <a:pt x="2710" y="570"/>
                    </a:lnTo>
                    <a:lnTo>
                      <a:pt x="2712" y="584"/>
                    </a:lnTo>
                    <a:lnTo>
                      <a:pt x="2713" y="597"/>
                    </a:lnTo>
                    <a:lnTo>
                      <a:pt x="2713" y="598"/>
                    </a:lnTo>
                    <a:lnTo>
                      <a:pt x="2714" y="601"/>
                    </a:lnTo>
                    <a:lnTo>
                      <a:pt x="2714" y="605"/>
                    </a:lnTo>
                    <a:lnTo>
                      <a:pt x="2715" y="608"/>
                    </a:lnTo>
                    <a:lnTo>
                      <a:pt x="2713" y="609"/>
                    </a:lnTo>
                    <a:lnTo>
                      <a:pt x="2713" y="612"/>
                    </a:lnTo>
                    <a:lnTo>
                      <a:pt x="2713" y="616"/>
                    </a:lnTo>
                    <a:lnTo>
                      <a:pt x="2713" y="619"/>
                    </a:lnTo>
                    <a:lnTo>
                      <a:pt x="2712" y="621"/>
                    </a:lnTo>
                    <a:lnTo>
                      <a:pt x="2712" y="623"/>
                    </a:lnTo>
                    <a:lnTo>
                      <a:pt x="2713" y="624"/>
                    </a:lnTo>
                    <a:lnTo>
                      <a:pt x="2714" y="627"/>
                    </a:lnTo>
                    <a:lnTo>
                      <a:pt x="2715" y="630"/>
                    </a:lnTo>
                    <a:lnTo>
                      <a:pt x="2715" y="631"/>
                    </a:lnTo>
                    <a:lnTo>
                      <a:pt x="2715" y="634"/>
                    </a:lnTo>
                    <a:lnTo>
                      <a:pt x="2715" y="636"/>
                    </a:lnTo>
                    <a:lnTo>
                      <a:pt x="2715" y="640"/>
                    </a:lnTo>
                    <a:lnTo>
                      <a:pt x="2714" y="646"/>
                    </a:lnTo>
                    <a:lnTo>
                      <a:pt x="2713" y="653"/>
                    </a:lnTo>
                    <a:lnTo>
                      <a:pt x="2710" y="660"/>
                    </a:lnTo>
                    <a:lnTo>
                      <a:pt x="2710" y="664"/>
                    </a:lnTo>
                    <a:lnTo>
                      <a:pt x="2713" y="666"/>
                    </a:lnTo>
                    <a:lnTo>
                      <a:pt x="2714" y="666"/>
                    </a:lnTo>
                    <a:lnTo>
                      <a:pt x="2715" y="666"/>
                    </a:lnTo>
                    <a:lnTo>
                      <a:pt x="2716" y="668"/>
                    </a:lnTo>
                    <a:lnTo>
                      <a:pt x="2717" y="671"/>
                    </a:lnTo>
                    <a:lnTo>
                      <a:pt x="2717" y="673"/>
                    </a:lnTo>
                    <a:lnTo>
                      <a:pt x="2717" y="677"/>
                    </a:lnTo>
                    <a:lnTo>
                      <a:pt x="2716" y="684"/>
                    </a:lnTo>
                    <a:lnTo>
                      <a:pt x="2715" y="690"/>
                    </a:lnTo>
                    <a:lnTo>
                      <a:pt x="2715" y="697"/>
                    </a:lnTo>
                    <a:lnTo>
                      <a:pt x="2715" y="700"/>
                    </a:lnTo>
                    <a:lnTo>
                      <a:pt x="2716" y="703"/>
                    </a:lnTo>
                    <a:lnTo>
                      <a:pt x="2717" y="704"/>
                    </a:lnTo>
                    <a:lnTo>
                      <a:pt x="2718" y="705"/>
                    </a:lnTo>
                    <a:lnTo>
                      <a:pt x="2720" y="705"/>
                    </a:lnTo>
                    <a:lnTo>
                      <a:pt x="2721" y="706"/>
                    </a:lnTo>
                    <a:lnTo>
                      <a:pt x="2724" y="707"/>
                    </a:lnTo>
                    <a:lnTo>
                      <a:pt x="2726" y="708"/>
                    </a:lnTo>
                    <a:lnTo>
                      <a:pt x="2728" y="710"/>
                    </a:lnTo>
                    <a:lnTo>
                      <a:pt x="2728" y="711"/>
                    </a:lnTo>
                    <a:lnTo>
                      <a:pt x="2729" y="712"/>
                    </a:lnTo>
                    <a:lnTo>
                      <a:pt x="2729" y="712"/>
                    </a:lnTo>
                    <a:lnTo>
                      <a:pt x="2730" y="712"/>
                    </a:lnTo>
                    <a:lnTo>
                      <a:pt x="2730" y="715"/>
                    </a:lnTo>
                    <a:lnTo>
                      <a:pt x="2731" y="716"/>
                    </a:lnTo>
                    <a:lnTo>
                      <a:pt x="2730" y="719"/>
                    </a:lnTo>
                    <a:lnTo>
                      <a:pt x="2730" y="721"/>
                    </a:lnTo>
                    <a:lnTo>
                      <a:pt x="2730" y="723"/>
                    </a:lnTo>
                    <a:lnTo>
                      <a:pt x="2730" y="728"/>
                    </a:lnTo>
                    <a:lnTo>
                      <a:pt x="2730" y="730"/>
                    </a:lnTo>
                    <a:lnTo>
                      <a:pt x="2730" y="732"/>
                    </a:lnTo>
                    <a:lnTo>
                      <a:pt x="2730" y="736"/>
                    </a:lnTo>
                    <a:lnTo>
                      <a:pt x="2731" y="739"/>
                    </a:lnTo>
                    <a:lnTo>
                      <a:pt x="2732" y="741"/>
                    </a:lnTo>
                    <a:lnTo>
                      <a:pt x="2735" y="743"/>
                    </a:lnTo>
                    <a:lnTo>
                      <a:pt x="2737" y="743"/>
                    </a:lnTo>
                    <a:lnTo>
                      <a:pt x="2739" y="742"/>
                    </a:lnTo>
                    <a:lnTo>
                      <a:pt x="2741" y="740"/>
                    </a:lnTo>
                    <a:lnTo>
                      <a:pt x="2743" y="737"/>
                    </a:lnTo>
                    <a:lnTo>
                      <a:pt x="2745" y="736"/>
                    </a:lnTo>
                    <a:lnTo>
                      <a:pt x="2746" y="734"/>
                    </a:lnTo>
                    <a:lnTo>
                      <a:pt x="2747" y="734"/>
                    </a:lnTo>
                    <a:lnTo>
                      <a:pt x="2748" y="734"/>
                    </a:lnTo>
                    <a:lnTo>
                      <a:pt x="2750" y="733"/>
                    </a:lnTo>
                    <a:lnTo>
                      <a:pt x="2752" y="732"/>
                    </a:lnTo>
                    <a:lnTo>
                      <a:pt x="2754" y="730"/>
                    </a:lnTo>
                    <a:lnTo>
                      <a:pt x="2756" y="728"/>
                    </a:lnTo>
                    <a:lnTo>
                      <a:pt x="2758" y="726"/>
                    </a:lnTo>
                    <a:lnTo>
                      <a:pt x="2759" y="725"/>
                    </a:lnTo>
                    <a:lnTo>
                      <a:pt x="2761" y="723"/>
                    </a:lnTo>
                    <a:lnTo>
                      <a:pt x="2763" y="722"/>
                    </a:lnTo>
                    <a:lnTo>
                      <a:pt x="2765" y="721"/>
                    </a:lnTo>
                    <a:lnTo>
                      <a:pt x="2768" y="719"/>
                    </a:lnTo>
                    <a:lnTo>
                      <a:pt x="2769" y="718"/>
                    </a:lnTo>
                    <a:lnTo>
                      <a:pt x="2771" y="716"/>
                    </a:lnTo>
                    <a:lnTo>
                      <a:pt x="2771" y="716"/>
                    </a:lnTo>
                    <a:lnTo>
                      <a:pt x="2772" y="715"/>
                    </a:lnTo>
                    <a:lnTo>
                      <a:pt x="2773" y="716"/>
                    </a:lnTo>
                    <a:lnTo>
                      <a:pt x="2773" y="720"/>
                    </a:lnTo>
                    <a:lnTo>
                      <a:pt x="2771" y="727"/>
                    </a:lnTo>
                    <a:lnTo>
                      <a:pt x="2769" y="732"/>
                    </a:lnTo>
                    <a:lnTo>
                      <a:pt x="2768" y="737"/>
                    </a:lnTo>
                    <a:lnTo>
                      <a:pt x="2761" y="751"/>
                    </a:lnTo>
                    <a:lnTo>
                      <a:pt x="2754" y="765"/>
                    </a:lnTo>
                    <a:lnTo>
                      <a:pt x="2741" y="792"/>
                    </a:lnTo>
                    <a:lnTo>
                      <a:pt x="2735" y="805"/>
                    </a:lnTo>
                    <a:lnTo>
                      <a:pt x="2728" y="816"/>
                    </a:lnTo>
                    <a:lnTo>
                      <a:pt x="2726" y="818"/>
                    </a:lnTo>
                    <a:lnTo>
                      <a:pt x="2724" y="821"/>
                    </a:lnTo>
                    <a:lnTo>
                      <a:pt x="2721" y="825"/>
                    </a:lnTo>
                    <a:lnTo>
                      <a:pt x="2719" y="826"/>
                    </a:lnTo>
                    <a:lnTo>
                      <a:pt x="2717" y="827"/>
                    </a:lnTo>
                    <a:lnTo>
                      <a:pt x="2715" y="827"/>
                    </a:lnTo>
                    <a:lnTo>
                      <a:pt x="2713" y="829"/>
                    </a:lnTo>
                    <a:lnTo>
                      <a:pt x="2710" y="832"/>
                    </a:lnTo>
                    <a:lnTo>
                      <a:pt x="2708" y="836"/>
                    </a:lnTo>
                    <a:lnTo>
                      <a:pt x="2706" y="839"/>
                    </a:lnTo>
                    <a:lnTo>
                      <a:pt x="2704" y="842"/>
                    </a:lnTo>
                    <a:lnTo>
                      <a:pt x="2704" y="845"/>
                    </a:lnTo>
                    <a:lnTo>
                      <a:pt x="2702" y="847"/>
                    </a:lnTo>
                    <a:lnTo>
                      <a:pt x="2702" y="849"/>
                    </a:lnTo>
                    <a:lnTo>
                      <a:pt x="2701" y="851"/>
                    </a:lnTo>
                    <a:lnTo>
                      <a:pt x="2699" y="853"/>
                    </a:lnTo>
                    <a:lnTo>
                      <a:pt x="2697" y="856"/>
                    </a:lnTo>
                    <a:lnTo>
                      <a:pt x="2695" y="858"/>
                    </a:lnTo>
                    <a:lnTo>
                      <a:pt x="2695" y="860"/>
                    </a:lnTo>
                    <a:lnTo>
                      <a:pt x="2685" y="872"/>
                    </a:lnTo>
                    <a:lnTo>
                      <a:pt x="2676" y="885"/>
                    </a:lnTo>
                    <a:lnTo>
                      <a:pt x="2667" y="898"/>
                    </a:lnTo>
                    <a:lnTo>
                      <a:pt x="2665" y="903"/>
                    </a:lnTo>
                    <a:lnTo>
                      <a:pt x="2662" y="907"/>
                    </a:lnTo>
                    <a:lnTo>
                      <a:pt x="2659" y="912"/>
                    </a:lnTo>
                    <a:lnTo>
                      <a:pt x="2659" y="914"/>
                    </a:lnTo>
                    <a:lnTo>
                      <a:pt x="2658" y="916"/>
                    </a:lnTo>
                    <a:lnTo>
                      <a:pt x="2658" y="919"/>
                    </a:lnTo>
                    <a:lnTo>
                      <a:pt x="2656" y="921"/>
                    </a:lnTo>
                    <a:lnTo>
                      <a:pt x="2655" y="927"/>
                    </a:lnTo>
                    <a:lnTo>
                      <a:pt x="2653" y="935"/>
                    </a:lnTo>
                    <a:lnTo>
                      <a:pt x="2652" y="943"/>
                    </a:lnTo>
                    <a:lnTo>
                      <a:pt x="2652" y="948"/>
                    </a:lnTo>
                    <a:lnTo>
                      <a:pt x="2652" y="952"/>
                    </a:lnTo>
                    <a:lnTo>
                      <a:pt x="2652" y="957"/>
                    </a:lnTo>
                    <a:lnTo>
                      <a:pt x="2652" y="960"/>
                    </a:lnTo>
                    <a:lnTo>
                      <a:pt x="2652" y="965"/>
                    </a:lnTo>
                    <a:lnTo>
                      <a:pt x="2651" y="968"/>
                    </a:lnTo>
                    <a:lnTo>
                      <a:pt x="2650" y="973"/>
                    </a:lnTo>
                    <a:lnTo>
                      <a:pt x="2648" y="978"/>
                    </a:lnTo>
                    <a:lnTo>
                      <a:pt x="2645" y="987"/>
                    </a:lnTo>
                    <a:lnTo>
                      <a:pt x="2643" y="993"/>
                    </a:lnTo>
                    <a:lnTo>
                      <a:pt x="2641" y="1000"/>
                    </a:lnTo>
                    <a:lnTo>
                      <a:pt x="2640" y="1003"/>
                    </a:lnTo>
                    <a:lnTo>
                      <a:pt x="2639" y="1007"/>
                    </a:lnTo>
                    <a:lnTo>
                      <a:pt x="2637" y="1011"/>
                    </a:lnTo>
                    <a:lnTo>
                      <a:pt x="2634" y="1014"/>
                    </a:lnTo>
                    <a:lnTo>
                      <a:pt x="2630" y="1017"/>
                    </a:lnTo>
                    <a:lnTo>
                      <a:pt x="2629" y="1020"/>
                    </a:lnTo>
                    <a:lnTo>
                      <a:pt x="2627" y="1021"/>
                    </a:lnTo>
                    <a:lnTo>
                      <a:pt x="2625" y="1023"/>
                    </a:lnTo>
                    <a:lnTo>
                      <a:pt x="2621" y="1026"/>
                    </a:lnTo>
                    <a:lnTo>
                      <a:pt x="2619" y="1028"/>
                    </a:lnTo>
                    <a:lnTo>
                      <a:pt x="2617" y="1032"/>
                    </a:lnTo>
                    <a:lnTo>
                      <a:pt x="2615" y="1035"/>
                    </a:lnTo>
                    <a:lnTo>
                      <a:pt x="2612" y="1036"/>
                    </a:lnTo>
                    <a:lnTo>
                      <a:pt x="2610" y="1037"/>
                    </a:lnTo>
                    <a:lnTo>
                      <a:pt x="2608" y="1039"/>
                    </a:lnTo>
                    <a:lnTo>
                      <a:pt x="2606" y="1042"/>
                    </a:lnTo>
                    <a:lnTo>
                      <a:pt x="2604" y="1045"/>
                    </a:lnTo>
                    <a:lnTo>
                      <a:pt x="2601" y="1048"/>
                    </a:lnTo>
                    <a:lnTo>
                      <a:pt x="2597" y="1054"/>
                    </a:lnTo>
                    <a:lnTo>
                      <a:pt x="2592" y="1060"/>
                    </a:lnTo>
                    <a:lnTo>
                      <a:pt x="2586" y="1068"/>
                    </a:lnTo>
                    <a:lnTo>
                      <a:pt x="2584" y="1070"/>
                    </a:lnTo>
                    <a:lnTo>
                      <a:pt x="2584" y="1074"/>
                    </a:lnTo>
                    <a:lnTo>
                      <a:pt x="2584" y="1076"/>
                    </a:lnTo>
                    <a:lnTo>
                      <a:pt x="2584" y="1078"/>
                    </a:lnTo>
                    <a:lnTo>
                      <a:pt x="2584" y="1081"/>
                    </a:lnTo>
                    <a:lnTo>
                      <a:pt x="2582" y="1086"/>
                    </a:lnTo>
                    <a:lnTo>
                      <a:pt x="2581" y="1090"/>
                    </a:lnTo>
                    <a:lnTo>
                      <a:pt x="2579" y="1094"/>
                    </a:lnTo>
                    <a:lnTo>
                      <a:pt x="2578" y="1097"/>
                    </a:lnTo>
                    <a:lnTo>
                      <a:pt x="2577" y="1099"/>
                    </a:lnTo>
                    <a:lnTo>
                      <a:pt x="2576" y="1102"/>
                    </a:lnTo>
                    <a:lnTo>
                      <a:pt x="2575" y="1105"/>
                    </a:lnTo>
                    <a:lnTo>
                      <a:pt x="2573" y="1110"/>
                    </a:lnTo>
                    <a:lnTo>
                      <a:pt x="2570" y="1113"/>
                    </a:lnTo>
                    <a:lnTo>
                      <a:pt x="2566" y="1115"/>
                    </a:lnTo>
                    <a:lnTo>
                      <a:pt x="2563" y="1118"/>
                    </a:lnTo>
                    <a:lnTo>
                      <a:pt x="2560" y="1121"/>
                    </a:lnTo>
                    <a:lnTo>
                      <a:pt x="2555" y="1124"/>
                    </a:lnTo>
                    <a:lnTo>
                      <a:pt x="2552" y="1129"/>
                    </a:lnTo>
                    <a:lnTo>
                      <a:pt x="2549" y="1133"/>
                    </a:lnTo>
                    <a:lnTo>
                      <a:pt x="2546" y="1138"/>
                    </a:lnTo>
                    <a:lnTo>
                      <a:pt x="2541" y="1148"/>
                    </a:lnTo>
                    <a:lnTo>
                      <a:pt x="2535" y="1157"/>
                    </a:lnTo>
                    <a:lnTo>
                      <a:pt x="2522" y="1177"/>
                    </a:lnTo>
                    <a:lnTo>
                      <a:pt x="2519" y="1180"/>
                    </a:lnTo>
                    <a:lnTo>
                      <a:pt x="2516" y="1184"/>
                    </a:lnTo>
                    <a:lnTo>
                      <a:pt x="2513" y="1187"/>
                    </a:lnTo>
                    <a:lnTo>
                      <a:pt x="2510" y="1191"/>
                    </a:lnTo>
                    <a:lnTo>
                      <a:pt x="2507" y="1195"/>
                    </a:lnTo>
                    <a:lnTo>
                      <a:pt x="2503" y="1198"/>
                    </a:lnTo>
                    <a:lnTo>
                      <a:pt x="2501" y="1200"/>
                    </a:lnTo>
                    <a:lnTo>
                      <a:pt x="2499" y="1202"/>
                    </a:lnTo>
                    <a:lnTo>
                      <a:pt x="2496" y="1203"/>
                    </a:lnTo>
                    <a:lnTo>
                      <a:pt x="2494" y="1208"/>
                    </a:lnTo>
                    <a:lnTo>
                      <a:pt x="2491" y="1211"/>
                    </a:lnTo>
                    <a:lnTo>
                      <a:pt x="2489" y="1214"/>
                    </a:lnTo>
                    <a:lnTo>
                      <a:pt x="2485" y="1217"/>
                    </a:lnTo>
                    <a:lnTo>
                      <a:pt x="2481" y="1219"/>
                    </a:lnTo>
                    <a:lnTo>
                      <a:pt x="2478" y="1221"/>
                    </a:lnTo>
                    <a:lnTo>
                      <a:pt x="2476" y="1223"/>
                    </a:lnTo>
                    <a:lnTo>
                      <a:pt x="2475" y="1224"/>
                    </a:lnTo>
                    <a:lnTo>
                      <a:pt x="2473" y="1225"/>
                    </a:lnTo>
                    <a:lnTo>
                      <a:pt x="2470" y="1227"/>
                    </a:lnTo>
                    <a:lnTo>
                      <a:pt x="2469" y="1228"/>
                    </a:lnTo>
                    <a:lnTo>
                      <a:pt x="2466" y="1230"/>
                    </a:lnTo>
                    <a:lnTo>
                      <a:pt x="2464" y="1232"/>
                    </a:lnTo>
                    <a:lnTo>
                      <a:pt x="2461" y="1234"/>
                    </a:lnTo>
                    <a:lnTo>
                      <a:pt x="2458" y="1236"/>
                    </a:lnTo>
                    <a:lnTo>
                      <a:pt x="2456" y="1236"/>
                    </a:lnTo>
                    <a:lnTo>
                      <a:pt x="2454" y="1238"/>
                    </a:lnTo>
                    <a:lnTo>
                      <a:pt x="2452" y="1239"/>
                    </a:lnTo>
                    <a:lnTo>
                      <a:pt x="2450" y="1239"/>
                    </a:lnTo>
                    <a:lnTo>
                      <a:pt x="2446" y="1241"/>
                    </a:lnTo>
                    <a:lnTo>
                      <a:pt x="2443" y="1243"/>
                    </a:lnTo>
                    <a:lnTo>
                      <a:pt x="2438" y="1243"/>
                    </a:lnTo>
                    <a:lnTo>
                      <a:pt x="2432" y="1250"/>
                    </a:lnTo>
                    <a:lnTo>
                      <a:pt x="2427" y="1253"/>
                    </a:lnTo>
                    <a:lnTo>
                      <a:pt x="2422" y="1256"/>
                    </a:lnTo>
                    <a:lnTo>
                      <a:pt x="2416" y="1257"/>
                    </a:lnTo>
                    <a:lnTo>
                      <a:pt x="2414" y="1258"/>
                    </a:lnTo>
                    <a:lnTo>
                      <a:pt x="2412" y="1258"/>
                    </a:lnTo>
                    <a:lnTo>
                      <a:pt x="2412" y="1257"/>
                    </a:lnTo>
                    <a:lnTo>
                      <a:pt x="2411" y="1256"/>
                    </a:lnTo>
                    <a:lnTo>
                      <a:pt x="2410" y="1256"/>
                    </a:lnTo>
                    <a:lnTo>
                      <a:pt x="2408" y="1256"/>
                    </a:lnTo>
                    <a:lnTo>
                      <a:pt x="2408" y="1255"/>
                    </a:lnTo>
                    <a:lnTo>
                      <a:pt x="2408" y="1254"/>
                    </a:lnTo>
                    <a:lnTo>
                      <a:pt x="2408" y="1252"/>
                    </a:lnTo>
                    <a:lnTo>
                      <a:pt x="2408" y="1251"/>
                    </a:lnTo>
                    <a:lnTo>
                      <a:pt x="2408" y="1250"/>
                    </a:lnTo>
                    <a:lnTo>
                      <a:pt x="2408" y="1249"/>
                    </a:lnTo>
                    <a:lnTo>
                      <a:pt x="2409" y="1247"/>
                    </a:lnTo>
                    <a:lnTo>
                      <a:pt x="2410" y="1245"/>
                    </a:lnTo>
                    <a:lnTo>
                      <a:pt x="2410" y="1244"/>
                    </a:lnTo>
                    <a:lnTo>
                      <a:pt x="2411" y="1243"/>
                    </a:lnTo>
                    <a:lnTo>
                      <a:pt x="2412" y="1241"/>
                    </a:lnTo>
                    <a:lnTo>
                      <a:pt x="2413" y="1239"/>
                    </a:lnTo>
                    <a:lnTo>
                      <a:pt x="2414" y="1236"/>
                    </a:lnTo>
                    <a:lnTo>
                      <a:pt x="2415" y="1233"/>
                    </a:lnTo>
                    <a:lnTo>
                      <a:pt x="2415" y="1230"/>
                    </a:lnTo>
                    <a:lnTo>
                      <a:pt x="2415" y="1228"/>
                    </a:lnTo>
                    <a:lnTo>
                      <a:pt x="2414" y="1225"/>
                    </a:lnTo>
                    <a:lnTo>
                      <a:pt x="2413" y="1225"/>
                    </a:lnTo>
                    <a:lnTo>
                      <a:pt x="2413" y="1224"/>
                    </a:lnTo>
                    <a:lnTo>
                      <a:pt x="2412" y="1224"/>
                    </a:lnTo>
                    <a:lnTo>
                      <a:pt x="2412" y="1224"/>
                    </a:lnTo>
                    <a:lnTo>
                      <a:pt x="2411" y="1223"/>
                    </a:lnTo>
                    <a:lnTo>
                      <a:pt x="2411" y="1223"/>
                    </a:lnTo>
                    <a:lnTo>
                      <a:pt x="2412" y="1221"/>
                    </a:lnTo>
                    <a:lnTo>
                      <a:pt x="2412" y="1220"/>
                    </a:lnTo>
                    <a:lnTo>
                      <a:pt x="2412" y="1218"/>
                    </a:lnTo>
                    <a:lnTo>
                      <a:pt x="2413" y="1217"/>
                    </a:lnTo>
                    <a:lnTo>
                      <a:pt x="2413" y="1216"/>
                    </a:lnTo>
                    <a:lnTo>
                      <a:pt x="2414" y="1214"/>
                    </a:lnTo>
                    <a:lnTo>
                      <a:pt x="2412" y="1211"/>
                    </a:lnTo>
                    <a:lnTo>
                      <a:pt x="2411" y="1209"/>
                    </a:lnTo>
                    <a:lnTo>
                      <a:pt x="2410" y="1206"/>
                    </a:lnTo>
                    <a:lnTo>
                      <a:pt x="2410" y="1203"/>
                    </a:lnTo>
                    <a:lnTo>
                      <a:pt x="2409" y="1202"/>
                    </a:lnTo>
                    <a:lnTo>
                      <a:pt x="2409" y="1200"/>
                    </a:lnTo>
                    <a:lnTo>
                      <a:pt x="2409" y="1198"/>
                    </a:lnTo>
                    <a:lnTo>
                      <a:pt x="2409" y="1197"/>
                    </a:lnTo>
                    <a:lnTo>
                      <a:pt x="2410" y="1195"/>
                    </a:lnTo>
                    <a:lnTo>
                      <a:pt x="2410" y="1186"/>
                    </a:lnTo>
                    <a:lnTo>
                      <a:pt x="2410" y="1185"/>
                    </a:lnTo>
                    <a:lnTo>
                      <a:pt x="2411" y="1183"/>
                    </a:lnTo>
                    <a:lnTo>
                      <a:pt x="2412" y="1180"/>
                    </a:lnTo>
                    <a:lnTo>
                      <a:pt x="2413" y="1179"/>
                    </a:lnTo>
                    <a:lnTo>
                      <a:pt x="2414" y="1177"/>
                    </a:lnTo>
                    <a:lnTo>
                      <a:pt x="2415" y="1174"/>
                    </a:lnTo>
                    <a:lnTo>
                      <a:pt x="2416" y="1172"/>
                    </a:lnTo>
                    <a:lnTo>
                      <a:pt x="2418" y="1168"/>
                    </a:lnTo>
                    <a:lnTo>
                      <a:pt x="2419" y="1166"/>
                    </a:lnTo>
                    <a:lnTo>
                      <a:pt x="2421" y="1156"/>
                    </a:lnTo>
                    <a:lnTo>
                      <a:pt x="2421" y="1147"/>
                    </a:lnTo>
                    <a:lnTo>
                      <a:pt x="2419" y="1141"/>
                    </a:lnTo>
                    <a:lnTo>
                      <a:pt x="2416" y="1134"/>
                    </a:lnTo>
                    <a:lnTo>
                      <a:pt x="2415" y="1131"/>
                    </a:lnTo>
                    <a:lnTo>
                      <a:pt x="2414" y="1129"/>
                    </a:lnTo>
                    <a:lnTo>
                      <a:pt x="2414" y="1125"/>
                    </a:lnTo>
                    <a:lnTo>
                      <a:pt x="2415" y="1121"/>
                    </a:lnTo>
                    <a:lnTo>
                      <a:pt x="2416" y="1116"/>
                    </a:lnTo>
                    <a:lnTo>
                      <a:pt x="2419" y="1113"/>
                    </a:lnTo>
                    <a:lnTo>
                      <a:pt x="2420" y="1110"/>
                    </a:lnTo>
                    <a:lnTo>
                      <a:pt x="2421" y="1105"/>
                    </a:lnTo>
                    <a:lnTo>
                      <a:pt x="2422" y="1103"/>
                    </a:lnTo>
                    <a:lnTo>
                      <a:pt x="2423" y="1101"/>
                    </a:lnTo>
                    <a:lnTo>
                      <a:pt x="2423" y="1098"/>
                    </a:lnTo>
                    <a:lnTo>
                      <a:pt x="2425" y="1097"/>
                    </a:lnTo>
                    <a:lnTo>
                      <a:pt x="2429" y="1092"/>
                    </a:lnTo>
                    <a:lnTo>
                      <a:pt x="2432" y="1088"/>
                    </a:lnTo>
                    <a:lnTo>
                      <a:pt x="2434" y="1086"/>
                    </a:lnTo>
                    <a:lnTo>
                      <a:pt x="2434" y="1082"/>
                    </a:lnTo>
                    <a:lnTo>
                      <a:pt x="2435" y="1080"/>
                    </a:lnTo>
                    <a:lnTo>
                      <a:pt x="2436" y="1078"/>
                    </a:lnTo>
                    <a:lnTo>
                      <a:pt x="2438" y="1075"/>
                    </a:lnTo>
                    <a:lnTo>
                      <a:pt x="2442" y="1071"/>
                    </a:lnTo>
                    <a:lnTo>
                      <a:pt x="2446" y="1068"/>
                    </a:lnTo>
                    <a:lnTo>
                      <a:pt x="2450" y="1064"/>
                    </a:lnTo>
                    <a:lnTo>
                      <a:pt x="2454" y="1059"/>
                    </a:lnTo>
                    <a:lnTo>
                      <a:pt x="2456" y="1056"/>
                    </a:lnTo>
                    <a:lnTo>
                      <a:pt x="2457" y="1053"/>
                    </a:lnTo>
                    <a:lnTo>
                      <a:pt x="2458" y="1048"/>
                    </a:lnTo>
                    <a:lnTo>
                      <a:pt x="2458" y="1047"/>
                    </a:lnTo>
                    <a:lnTo>
                      <a:pt x="2458" y="1046"/>
                    </a:lnTo>
                    <a:lnTo>
                      <a:pt x="2458" y="1046"/>
                    </a:lnTo>
                    <a:lnTo>
                      <a:pt x="2457" y="1045"/>
                    </a:lnTo>
                    <a:lnTo>
                      <a:pt x="2456" y="1044"/>
                    </a:lnTo>
                    <a:lnTo>
                      <a:pt x="2456" y="1042"/>
                    </a:lnTo>
                    <a:lnTo>
                      <a:pt x="2456" y="1041"/>
                    </a:lnTo>
                    <a:lnTo>
                      <a:pt x="2457" y="1038"/>
                    </a:lnTo>
                    <a:lnTo>
                      <a:pt x="2458" y="1035"/>
                    </a:lnTo>
                    <a:lnTo>
                      <a:pt x="2459" y="1032"/>
                    </a:lnTo>
                    <a:lnTo>
                      <a:pt x="2459" y="1029"/>
                    </a:lnTo>
                    <a:lnTo>
                      <a:pt x="2461" y="1027"/>
                    </a:lnTo>
                    <a:lnTo>
                      <a:pt x="2461" y="1024"/>
                    </a:lnTo>
                    <a:lnTo>
                      <a:pt x="2461" y="1015"/>
                    </a:lnTo>
                    <a:lnTo>
                      <a:pt x="2461" y="1013"/>
                    </a:lnTo>
                    <a:lnTo>
                      <a:pt x="2461" y="1011"/>
                    </a:lnTo>
                    <a:lnTo>
                      <a:pt x="2462" y="1009"/>
                    </a:lnTo>
                    <a:lnTo>
                      <a:pt x="2463" y="1006"/>
                    </a:lnTo>
                    <a:lnTo>
                      <a:pt x="2464" y="1002"/>
                    </a:lnTo>
                    <a:lnTo>
                      <a:pt x="2464" y="998"/>
                    </a:lnTo>
                    <a:lnTo>
                      <a:pt x="2464" y="995"/>
                    </a:lnTo>
                    <a:lnTo>
                      <a:pt x="2464" y="993"/>
                    </a:lnTo>
                    <a:lnTo>
                      <a:pt x="2463" y="991"/>
                    </a:lnTo>
                    <a:lnTo>
                      <a:pt x="2459" y="988"/>
                    </a:lnTo>
                    <a:lnTo>
                      <a:pt x="2457" y="983"/>
                    </a:lnTo>
                    <a:lnTo>
                      <a:pt x="2455" y="979"/>
                    </a:lnTo>
                    <a:lnTo>
                      <a:pt x="2454" y="976"/>
                    </a:lnTo>
                    <a:lnTo>
                      <a:pt x="2453" y="974"/>
                    </a:lnTo>
                    <a:lnTo>
                      <a:pt x="2452" y="973"/>
                    </a:lnTo>
                    <a:lnTo>
                      <a:pt x="2451" y="972"/>
                    </a:lnTo>
                    <a:lnTo>
                      <a:pt x="2450" y="971"/>
                    </a:lnTo>
                    <a:lnTo>
                      <a:pt x="2450" y="969"/>
                    </a:lnTo>
                    <a:lnTo>
                      <a:pt x="2450" y="966"/>
                    </a:lnTo>
                    <a:lnTo>
                      <a:pt x="2452" y="962"/>
                    </a:lnTo>
                    <a:lnTo>
                      <a:pt x="2458" y="949"/>
                    </a:lnTo>
                    <a:lnTo>
                      <a:pt x="2465" y="936"/>
                    </a:lnTo>
                    <a:lnTo>
                      <a:pt x="2467" y="933"/>
                    </a:lnTo>
                    <a:lnTo>
                      <a:pt x="2469" y="929"/>
                    </a:lnTo>
                    <a:lnTo>
                      <a:pt x="2472" y="925"/>
                    </a:lnTo>
                    <a:lnTo>
                      <a:pt x="2473" y="924"/>
                    </a:lnTo>
                    <a:lnTo>
                      <a:pt x="2474" y="921"/>
                    </a:lnTo>
                    <a:lnTo>
                      <a:pt x="2475" y="917"/>
                    </a:lnTo>
                    <a:lnTo>
                      <a:pt x="2476" y="914"/>
                    </a:lnTo>
                    <a:lnTo>
                      <a:pt x="2476" y="913"/>
                    </a:lnTo>
                    <a:lnTo>
                      <a:pt x="2475" y="912"/>
                    </a:lnTo>
                    <a:lnTo>
                      <a:pt x="2474" y="912"/>
                    </a:lnTo>
                    <a:lnTo>
                      <a:pt x="2473" y="911"/>
                    </a:lnTo>
                    <a:lnTo>
                      <a:pt x="2472" y="909"/>
                    </a:lnTo>
                    <a:lnTo>
                      <a:pt x="2470" y="909"/>
                    </a:lnTo>
                    <a:lnTo>
                      <a:pt x="2470" y="908"/>
                    </a:lnTo>
                    <a:lnTo>
                      <a:pt x="2470" y="907"/>
                    </a:lnTo>
                    <a:lnTo>
                      <a:pt x="2470" y="906"/>
                    </a:lnTo>
                    <a:lnTo>
                      <a:pt x="2469" y="905"/>
                    </a:lnTo>
                    <a:lnTo>
                      <a:pt x="2468" y="904"/>
                    </a:lnTo>
                    <a:lnTo>
                      <a:pt x="2466" y="905"/>
                    </a:lnTo>
                    <a:lnTo>
                      <a:pt x="2464" y="906"/>
                    </a:lnTo>
                    <a:lnTo>
                      <a:pt x="2462" y="907"/>
                    </a:lnTo>
                    <a:lnTo>
                      <a:pt x="2459" y="909"/>
                    </a:lnTo>
                    <a:lnTo>
                      <a:pt x="2456" y="913"/>
                    </a:lnTo>
                    <a:lnTo>
                      <a:pt x="2454" y="914"/>
                    </a:lnTo>
                    <a:lnTo>
                      <a:pt x="2451" y="916"/>
                    </a:lnTo>
                    <a:lnTo>
                      <a:pt x="2447" y="918"/>
                    </a:lnTo>
                    <a:lnTo>
                      <a:pt x="2445" y="918"/>
                    </a:lnTo>
                    <a:lnTo>
                      <a:pt x="2444" y="918"/>
                    </a:lnTo>
                    <a:lnTo>
                      <a:pt x="2443" y="917"/>
                    </a:lnTo>
                    <a:lnTo>
                      <a:pt x="2443" y="914"/>
                    </a:lnTo>
                    <a:lnTo>
                      <a:pt x="2443" y="912"/>
                    </a:lnTo>
                    <a:lnTo>
                      <a:pt x="2442" y="909"/>
                    </a:lnTo>
                    <a:lnTo>
                      <a:pt x="2442" y="907"/>
                    </a:lnTo>
                    <a:lnTo>
                      <a:pt x="2441" y="905"/>
                    </a:lnTo>
                    <a:lnTo>
                      <a:pt x="2440" y="904"/>
                    </a:lnTo>
                    <a:lnTo>
                      <a:pt x="2438" y="903"/>
                    </a:lnTo>
                    <a:lnTo>
                      <a:pt x="2436" y="904"/>
                    </a:lnTo>
                    <a:lnTo>
                      <a:pt x="2435" y="905"/>
                    </a:lnTo>
                    <a:lnTo>
                      <a:pt x="2433" y="906"/>
                    </a:lnTo>
                    <a:lnTo>
                      <a:pt x="2431" y="907"/>
                    </a:lnTo>
                    <a:lnTo>
                      <a:pt x="2430" y="907"/>
                    </a:lnTo>
                    <a:lnTo>
                      <a:pt x="2423" y="907"/>
                    </a:lnTo>
                    <a:lnTo>
                      <a:pt x="2421" y="908"/>
                    </a:lnTo>
                    <a:lnTo>
                      <a:pt x="2419" y="908"/>
                    </a:lnTo>
                    <a:lnTo>
                      <a:pt x="2416" y="909"/>
                    </a:lnTo>
                    <a:lnTo>
                      <a:pt x="2414" y="912"/>
                    </a:lnTo>
                    <a:lnTo>
                      <a:pt x="2414" y="914"/>
                    </a:lnTo>
                    <a:lnTo>
                      <a:pt x="2413" y="917"/>
                    </a:lnTo>
                    <a:lnTo>
                      <a:pt x="2412" y="918"/>
                    </a:lnTo>
                    <a:lnTo>
                      <a:pt x="2408" y="922"/>
                    </a:lnTo>
                    <a:lnTo>
                      <a:pt x="2404" y="925"/>
                    </a:lnTo>
                    <a:lnTo>
                      <a:pt x="2400" y="927"/>
                    </a:lnTo>
                    <a:lnTo>
                      <a:pt x="2397" y="929"/>
                    </a:lnTo>
                    <a:lnTo>
                      <a:pt x="2393" y="929"/>
                    </a:lnTo>
                    <a:lnTo>
                      <a:pt x="2392" y="930"/>
                    </a:lnTo>
                    <a:lnTo>
                      <a:pt x="2390" y="932"/>
                    </a:lnTo>
                    <a:lnTo>
                      <a:pt x="2388" y="933"/>
                    </a:lnTo>
                    <a:lnTo>
                      <a:pt x="2386" y="935"/>
                    </a:lnTo>
                    <a:lnTo>
                      <a:pt x="2385" y="937"/>
                    </a:lnTo>
                    <a:lnTo>
                      <a:pt x="2382" y="938"/>
                    </a:lnTo>
                    <a:lnTo>
                      <a:pt x="2377" y="941"/>
                    </a:lnTo>
                    <a:lnTo>
                      <a:pt x="2371" y="945"/>
                    </a:lnTo>
                    <a:lnTo>
                      <a:pt x="2366" y="947"/>
                    </a:lnTo>
                    <a:lnTo>
                      <a:pt x="2363" y="945"/>
                    </a:lnTo>
                    <a:lnTo>
                      <a:pt x="2360" y="940"/>
                    </a:lnTo>
                    <a:lnTo>
                      <a:pt x="2357" y="940"/>
                    </a:lnTo>
                    <a:lnTo>
                      <a:pt x="2352" y="943"/>
                    </a:lnTo>
                    <a:lnTo>
                      <a:pt x="2345" y="947"/>
                    </a:lnTo>
                    <a:lnTo>
                      <a:pt x="2334" y="955"/>
                    </a:lnTo>
                    <a:lnTo>
                      <a:pt x="2321" y="962"/>
                    </a:lnTo>
                    <a:lnTo>
                      <a:pt x="2317" y="963"/>
                    </a:lnTo>
                    <a:lnTo>
                      <a:pt x="2314" y="962"/>
                    </a:lnTo>
                    <a:lnTo>
                      <a:pt x="2311" y="961"/>
                    </a:lnTo>
                    <a:lnTo>
                      <a:pt x="2309" y="959"/>
                    </a:lnTo>
                    <a:lnTo>
                      <a:pt x="2305" y="956"/>
                    </a:lnTo>
                    <a:lnTo>
                      <a:pt x="2305" y="954"/>
                    </a:lnTo>
                    <a:lnTo>
                      <a:pt x="2303" y="952"/>
                    </a:lnTo>
                    <a:lnTo>
                      <a:pt x="2301" y="951"/>
                    </a:lnTo>
                    <a:lnTo>
                      <a:pt x="2300" y="950"/>
                    </a:lnTo>
                    <a:lnTo>
                      <a:pt x="2298" y="950"/>
                    </a:lnTo>
                    <a:lnTo>
                      <a:pt x="2296" y="950"/>
                    </a:lnTo>
                    <a:lnTo>
                      <a:pt x="2294" y="949"/>
                    </a:lnTo>
                    <a:lnTo>
                      <a:pt x="2294" y="948"/>
                    </a:lnTo>
                    <a:lnTo>
                      <a:pt x="2294" y="946"/>
                    </a:lnTo>
                    <a:lnTo>
                      <a:pt x="2294" y="945"/>
                    </a:lnTo>
                    <a:lnTo>
                      <a:pt x="2293" y="944"/>
                    </a:lnTo>
                    <a:lnTo>
                      <a:pt x="2292" y="943"/>
                    </a:lnTo>
                    <a:lnTo>
                      <a:pt x="2291" y="943"/>
                    </a:lnTo>
                    <a:lnTo>
                      <a:pt x="2289" y="941"/>
                    </a:lnTo>
                    <a:lnTo>
                      <a:pt x="2287" y="943"/>
                    </a:lnTo>
                    <a:lnTo>
                      <a:pt x="2285" y="943"/>
                    </a:lnTo>
                    <a:lnTo>
                      <a:pt x="2283" y="943"/>
                    </a:lnTo>
                    <a:lnTo>
                      <a:pt x="2281" y="943"/>
                    </a:lnTo>
                    <a:lnTo>
                      <a:pt x="2280" y="941"/>
                    </a:lnTo>
                    <a:lnTo>
                      <a:pt x="2279" y="940"/>
                    </a:lnTo>
                    <a:lnTo>
                      <a:pt x="2279" y="938"/>
                    </a:lnTo>
                    <a:lnTo>
                      <a:pt x="2279" y="936"/>
                    </a:lnTo>
                    <a:lnTo>
                      <a:pt x="2279" y="934"/>
                    </a:lnTo>
                    <a:lnTo>
                      <a:pt x="2279" y="930"/>
                    </a:lnTo>
                    <a:lnTo>
                      <a:pt x="2278" y="928"/>
                    </a:lnTo>
                    <a:lnTo>
                      <a:pt x="2277" y="925"/>
                    </a:lnTo>
                    <a:lnTo>
                      <a:pt x="2276" y="924"/>
                    </a:lnTo>
                    <a:lnTo>
                      <a:pt x="2274" y="921"/>
                    </a:lnTo>
                    <a:lnTo>
                      <a:pt x="2274" y="917"/>
                    </a:lnTo>
                    <a:lnTo>
                      <a:pt x="2274" y="914"/>
                    </a:lnTo>
                    <a:lnTo>
                      <a:pt x="2274" y="913"/>
                    </a:lnTo>
                    <a:lnTo>
                      <a:pt x="2274" y="909"/>
                    </a:lnTo>
                    <a:lnTo>
                      <a:pt x="2273" y="907"/>
                    </a:lnTo>
                    <a:lnTo>
                      <a:pt x="2272" y="905"/>
                    </a:lnTo>
                    <a:lnTo>
                      <a:pt x="2272" y="904"/>
                    </a:lnTo>
                    <a:lnTo>
                      <a:pt x="2270" y="902"/>
                    </a:lnTo>
                    <a:lnTo>
                      <a:pt x="2269" y="902"/>
                    </a:lnTo>
                    <a:lnTo>
                      <a:pt x="2266" y="902"/>
                    </a:lnTo>
                    <a:lnTo>
                      <a:pt x="2263" y="903"/>
                    </a:lnTo>
                    <a:lnTo>
                      <a:pt x="2260" y="903"/>
                    </a:lnTo>
                    <a:lnTo>
                      <a:pt x="2259" y="902"/>
                    </a:lnTo>
                    <a:lnTo>
                      <a:pt x="2257" y="901"/>
                    </a:lnTo>
                    <a:lnTo>
                      <a:pt x="2257" y="898"/>
                    </a:lnTo>
                    <a:lnTo>
                      <a:pt x="2256" y="895"/>
                    </a:lnTo>
                    <a:lnTo>
                      <a:pt x="2257" y="889"/>
                    </a:lnTo>
                    <a:lnTo>
                      <a:pt x="2260" y="883"/>
                    </a:lnTo>
                    <a:lnTo>
                      <a:pt x="2263" y="878"/>
                    </a:lnTo>
                    <a:lnTo>
                      <a:pt x="2266" y="868"/>
                    </a:lnTo>
                    <a:lnTo>
                      <a:pt x="2268" y="858"/>
                    </a:lnTo>
                    <a:lnTo>
                      <a:pt x="2272" y="849"/>
                    </a:lnTo>
                    <a:lnTo>
                      <a:pt x="2278" y="839"/>
                    </a:lnTo>
                    <a:lnTo>
                      <a:pt x="2282" y="830"/>
                    </a:lnTo>
                    <a:lnTo>
                      <a:pt x="2285" y="820"/>
                    </a:lnTo>
                    <a:lnTo>
                      <a:pt x="2287" y="816"/>
                    </a:lnTo>
                    <a:lnTo>
                      <a:pt x="2287" y="813"/>
                    </a:lnTo>
                    <a:lnTo>
                      <a:pt x="2287" y="810"/>
                    </a:lnTo>
                    <a:lnTo>
                      <a:pt x="2285" y="807"/>
                    </a:lnTo>
                    <a:lnTo>
                      <a:pt x="2285" y="805"/>
                    </a:lnTo>
                    <a:lnTo>
                      <a:pt x="2285" y="789"/>
                    </a:lnTo>
                    <a:lnTo>
                      <a:pt x="2288" y="780"/>
                    </a:lnTo>
                    <a:lnTo>
                      <a:pt x="2290" y="769"/>
                    </a:lnTo>
                    <a:lnTo>
                      <a:pt x="2294" y="759"/>
                    </a:lnTo>
                    <a:lnTo>
                      <a:pt x="2306" y="743"/>
                    </a:lnTo>
                    <a:lnTo>
                      <a:pt x="2314" y="728"/>
                    </a:lnTo>
                    <a:lnTo>
                      <a:pt x="2321" y="716"/>
                    </a:lnTo>
                    <a:lnTo>
                      <a:pt x="2327" y="705"/>
                    </a:lnTo>
                    <a:lnTo>
                      <a:pt x="2332" y="693"/>
                    </a:lnTo>
                    <a:lnTo>
                      <a:pt x="2336" y="688"/>
                    </a:lnTo>
                    <a:lnTo>
                      <a:pt x="2339" y="684"/>
                    </a:lnTo>
                    <a:lnTo>
                      <a:pt x="2343" y="679"/>
                    </a:lnTo>
                    <a:lnTo>
                      <a:pt x="2345" y="675"/>
                    </a:lnTo>
                    <a:lnTo>
                      <a:pt x="2347" y="672"/>
                    </a:lnTo>
                    <a:lnTo>
                      <a:pt x="2349" y="668"/>
                    </a:lnTo>
                    <a:lnTo>
                      <a:pt x="2353" y="666"/>
                    </a:lnTo>
                    <a:lnTo>
                      <a:pt x="2355" y="664"/>
                    </a:lnTo>
                    <a:lnTo>
                      <a:pt x="2357" y="662"/>
                    </a:lnTo>
                    <a:lnTo>
                      <a:pt x="2358" y="660"/>
                    </a:lnTo>
                    <a:lnTo>
                      <a:pt x="2361" y="658"/>
                    </a:lnTo>
                    <a:lnTo>
                      <a:pt x="2364" y="656"/>
                    </a:lnTo>
                    <a:lnTo>
                      <a:pt x="2367" y="654"/>
                    </a:lnTo>
                    <a:lnTo>
                      <a:pt x="2369" y="651"/>
                    </a:lnTo>
                    <a:lnTo>
                      <a:pt x="2377" y="643"/>
                    </a:lnTo>
                    <a:lnTo>
                      <a:pt x="2383" y="635"/>
                    </a:lnTo>
                    <a:lnTo>
                      <a:pt x="2390" y="625"/>
                    </a:lnTo>
                    <a:lnTo>
                      <a:pt x="2391" y="621"/>
                    </a:lnTo>
                    <a:lnTo>
                      <a:pt x="2391" y="617"/>
                    </a:lnTo>
                    <a:lnTo>
                      <a:pt x="2391" y="612"/>
                    </a:lnTo>
                    <a:lnTo>
                      <a:pt x="2392" y="608"/>
                    </a:lnTo>
                    <a:lnTo>
                      <a:pt x="2399" y="595"/>
                    </a:lnTo>
                    <a:lnTo>
                      <a:pt x="2402" y="584"/>
                    </a:lnTo>
                    <a:lnTo>
                      <a:pt x="2407" y="574"/>
                    </a:lnTo>
                    <a:lnTo>
                      <a:pt x="2414" y="566"/>
                    </a:lnTo>
                    <a:lnTo>
                      <a:pt x="2420" y="561"/>
                    </a:lnTo>
                    <a:lnTo>
                      <a:pt x="2425" y="555"/>
                    </a:lnTo>
                    <a:lnTo>
                      <a:pt x="2432" y="546"/>
                    </a:lnTo>
                    <a:lnTo>
                      <a:pt x="2434" y="538"/>
                    </a:lnTo>
                    <a:lnTo>
                      <a:pt x="2437" y="531"/>
                    </a:lnTo>
                    <a:lnTo>
                      <a:pt x="2441" y="524"/>
                    </a:lnTo>
                    <a:lnTo>
                      <a:pt x="2442" y="522"/>
                    </a:lnTo>
                    <a:lnTo>
                      <a:pt x="2443" y="522"/>
                    </a:lnTo>
                    <a:lnTo>
                      <a:pt x="2444" y="522"/>
                    </a:lnTo>
                    <a:lnTo>
                      <a:pt x="2445" y="523"/>
                    </a:lnTo>
                    <a:lnTo>
                      <a:pt x="2447" y="524"/>
                    </a:lnTo>
                    <a:lnTo>
                      <a:pt x="2448" y="524"/>
                    </a:lnTo>
                    <a:lnTo>
                      <a:pt x="2452" y="524"/>
                    </a:lnTo>
                    <a:lnTo>
                      <a:pt x="2454" y="525"/>
                    </a:lnTo>
                    <a:lnTo>
                      <a:pt x="2456" y="526"/>
                    </a:lnTo>
                    <a:lnTo>
                      <a:pt x="2457" y="526"/>
                    </a:lnTo>
                    <a:lnTo>
                      <a:pt x="2459" y="526"/>
                    </a:lnTo>
                    <a:lnTo>
                      <a:pt x="2462" y="525"/>
                    </a:lnTo>
                    <a:lnTo>
                      <a:pt x="2464" y="524"/>
                    </a:lnTo>
                    <a:lnTo>
                      <a:pt x="2467" y="524"/>
                    </a:lnTo>
                    <a:lnTo>
                      <a:pt x="2469" y="523"/>
                    </a:lnTo>
                    <a:lnTo>
                      <a:pt x="2472" y="522"/>
                    </a:lnTo>
                    <a:lnTo>
                      <a:pt x="2476" y="520"/>
                    </a:lnTo>
                    <a:lnTo>
                      <a:pt x="2479" y="516"/>
                    </a:lnTo>
                    <a:lnTo>
                      <a:pt x="2481" y="515"/>
                    </a:lnTo>
                    <a:lnTo>
                      <a:pt x="2485" y="514"/>
                    </a:lnTo>
                    <a:lnTo>
                      <a:pt x="2487" y="512"/>
                    </a:lnTo>
                    <a:lnTo>
                      <a:pt x="2489" y="510"/>
                    </a:lnTo>
                    <a:lnTo>
                      <a:pt x="2491" y="507"/>
                    </a:lnTo>
                    <a:lnTo>
                      <a:pt x="2492" y="503"/>
                    </a:lnTo>
                    <a:lnTo>
                      <a:pt x="2494" y="501"/>
                    </a:lnTo>
                    <a:lnTo>
                      <a:pt x="2496" y="500"/>
                    </a:lnTo>
                    <a:lnTo>
                      <a:pt x="2498" y="500"/>
                    </a:lnTo>
                    <a:lnTo>
                      <a:pt x="2500" y="500"/>
                    </a:lnTo>
                    <a:lnTo>
                      <a:pt x="2501" y="500"/>
                    </a:lnTo>
                    <a:lnTo>
                      <a:pt x="2503" y="500"/>
                    </a:lnTo>
                    <a:lnTo>
                      <a:pt x="2505" y="498"/>
                    </a:lnTo>
                    <a:lnTo>
                      <a:pt x="2507" y="496"/>
                    </a:lnTo>
                    <a:lnTo>
                      <a:pt x="2507" y="493"/>
                    </a:lnTo>
                    <a:lnTo>
                      <a:pt x="2507" y="490"/>
                    </a:lnTo>
                    <a:lnTo>
                      <a:pt x="2507" y="489"/>
                    </a:lnTo>
                    <a:lnTo>
                      <a:pt x="2508" y="487"/>
                    </a:lnTo>
                    <a:lnTo>
                      <a:pt x="2509" y="487"/>
                    </a:lnTo>
                    <a:lnTo>
                      <a:pt x="2511" y="486"/>
                    </a:lnTo>
                    <a:lnTo>
                      <a:pt x="2512" y="486"/>
                    </a:lnTo>
                    <a:lnTo>
                      <a:pt x="2513" y="486"/>
                    </a:lnTo>
                    <a:lnTo>
                      <a:pt x="2514" y="487"/>
                    </a:lnTo>
                    <a:lnTo>
                      <a:pt x="2516" y="487"/>
                    </a:lnTo>
                    <a:lnTo>
                      <a:pt x="2521" y="487"/>
                    </a:lnTo>
                    <a:lnTo>
                      <a:pt x="2527" y="483"/>
                    </a:lnTo>
                    <a:lnTo>
                      <a:pt x="2533" y="480"/>
                    </a:lnTo>
                    <a:lnTo>
                      <a:pt x="2535" y="480"/>
                    </a:lnTo>
                    <a:lnTo>
                      <a:pt x="2536" y="480"/>
                    </a:lnTo>
                    <a:lnTo>
                      <a:pt x="2539" y="479"/>
                    </a:lnTo>
                    <a:lnTo>
                      <a:pt x="2542" y="478"/>
                    </a:lnTo>
                    <a:lnTo>
                      <a:pt x="2543" y="476"/>
                    </a:lnTo>
                    <a:lnTo>
                      <a:pt x="2544" y="474"/>
                    </a:lnTo>
                    <a:lnTo>
                      <a:pt x="2545" y="471"/>
                    </a:lnTo>
                    <a:lnTo>
                      <a:pt x="2546" y="469"/>
                    </a:lnTo>
                    <a:lnTo>
                      <a:pt x="2549" y="469"/>
                    </a:lnTo>
                    <a:lnTo>
                      <a:pt x="2552" y="470"/>
                    </a:lnTo>
                    <a:lnTo>
                      <a:pt x="2554" y="471"/>
                    </a:lnTo>
                    <a:lnTo>
                      <a:pt x="2556" y="472"/>
                    </a:lnTo>
                    <a:lnTo>
                      <a:pt x="2557" y="474"/>
                    </a:lnTo>
                    <a:lnTo>
                      <a:pt x="2560" y="475"/>
                    </a:lnTo>
                    <a:lnTo>
                      <a:pt x="2563" y="474"/>
                    </a:lnTo>
                    <a:lnTo>
                      <a:pt x="2565" y="472"/>
                    </a:lnTo>
                    <a:lnTo>
                      <a:pt x="2567" y="469"/>
                    </a:lnTo>
                    <a:lnTo>
                      <a:pt x="2568" y="467"/>
                    </a:lnTo>
                    <a:lnTo>
                      <a:pt x="2570" y="466"/>
                    </a:lnTo>
                    <a:lnTo>
                      <a:pt x="2571" y="465"/>
                    </a:lnTo>
                    <a:lnTo>
                      <a:pt x="2572" y="464"/>
                    </a:lnTo>
                    <a:lnTo>
                      <a:pt x="2573" y="464"/>
                    </a:lnTo>
                    <a:lnTo>
                      <a:pt x="2574" y="464"/>
                    </a:lnTo>
                    <a:lnTo>
                      <a:pt x="2575" y="465"/>
                    </a:lnTo>
                    <a:lnTo>
                      <a:pt x="2575" y="467"/>
                    </a:lnTo>
                    <a:lnTo>
                      <a:pt x="2575" y="469"/>
                    </a:lnTo>
                    <a:lnTo>
                      <a:pt x="2575" y="471"/>
                    </a:lnTo>
                    <a:lnTo>
                      <a:pt x="2574" y="474"/>
                    </a:lnTo>
                    <a:lnTo>
                      <a:pt x="2574" y="476"/>
                    </a:lnTo>
                    <a:lnTo>
                      <a:pt x="2575" y="478"/>
                    </a:lnTo>
                    <a:lnTo>
                      <a:pt x="2576" y="485"/>
                    </a:lnTo>
                    <a:lnTo>
                      <a:pt x="2578" y="490"/>
                    </a:lnTo>
                    <a:lnTo>
                      <a:pt x="2579" y="498"/>
                    </a:lnTo>
                    <a:lnTo>
                      <a:pt x="2579" y="501"/>
                    </a:lnTo>
                    <a:lnTo>
                      <a:pt x="2577" y="503"/>
                    </a:lnTo>
                    <a:lnTo>
                      <a:pt x="2575" y="507"/>
                    </a:lnTo>
                    <a:lnTo>
                      <a:pt x="2573" y="510"/>
                    </a:lnTo>
                    <a:lnTo>
                      <a:pt x="2571" y="513"/>
                    </a:lnTo>
                    <a:lnTo>
                      <a:pt x="2570" y="515"/>
                    </a:lnTo>
                    <a:lnTo>
                      <a:pt x="2570" y="518"/>
                    </a:lnTo>
                    <a:lnTo>
                      <a:pt x="2571" y="519"/>
                    </a:lnTo>
                    <a:lnTo>
                      <a:pt x="2571" y="520"/>
                    </a:lnTo>
                    <a:lnTo>
                      <a:pt x="2572" y="520"/>
                    </a:lnTo>
                    <a:lnTo>
                      <a:pt x="2573" y="520"/>
                    </a:lnTo>
                    <a:lnTo>
                      <a:pt x="2573" y="522"/>
                    </a:lnTo>
                    <a:lnTo>
                      <a:pt x="2573" y="524"/>
                    </a:lnTo>
                    <a:lnTo>
                      <a:pt x="2574" y="526"/>
                    </a:lnTo>
                    <a:lnTo>
                      <a:pt x="2574" y="529"/>
                    </a:lnTo>
                    <a:lnTo>
                      <a:pt x="2575" y="531"/>
                    </a:lnTo>
                    <a:lnTo>
                      <a:pt x="2576" y="532"/>
                    </a:lnTo>
                    <a:lnTo>
                      <a:pt x="2577" y="532"/>
                    </a:lnTo>
                    <a:lnTo>
                      <a:pt x="2578" y="532"/>
                    </a:lnTo>
                    <a:lnTo>
                      <a:pt x="2581" y="532"/>
                    </a:lnTo>
                    <a:lnTo>
                      <a:pt x="2582" y="533"/>
                    </a:lnTo>
                    <a:lnTo>
                      <a:pt x="2583" y="533"/>
                    </a:lnTo>
                    <a:lnTo>
                      <a:pt x="2584" y="534"/>
                    </a:lnTo>
                    <a:lnTo>
                      <a:pt x="2584" y="535"/>
                    </a:lnTo>
                    <a:lnTo>
                      <a:pt x="2585" y="536"/>
                    </a:lnTo>
                    <a:lnTo>
                      <a:pt x="2586" y="537"/>
                    </a:lnTo>
                    <a:lnTo>
                      <a:pt x="2588" y="536"/>
                    </a:lnTo>
                    <a:lnTo>
                      <a:pt x="2590" y="535"/>
                    </a:lnTo>
                    <a:lnTo>
                      <a:pt x="2593" y="535"/>
                    </a:lnTo>
                    <a:lnTo>
                      <a:pt x="2595" y="535"/>
                    </a:lnTo>
                    <a:lnTo>
                      <a:pt x="2597" y="537"/>
                    </a:lnTo>
                    <a:lnTo>
                      <a:pt x="2597" y="540"/>
                    </a:lnTo>
                    <a:lnTo>
                      <a:pt x="2598" y="542"/>
                    </a:lnTo>
                    <a:lnTo>
                      <a:pt x="2599" y="544"/>
                    </a:lnTo>
                    <a:lnTo>
                      <a:pt x="2600" y="546"/>
                    </a:lnTo>
                    <a:lnTo>
                      <a:pt x="2601" y="548"/>
                    </a:lnTo>
                    <a:lnTo>
                      <a:pt x="2603" y="549"/>
                    </a:lnTo>
                    <a:lnTo>
                      <a:pt x="2603" y="551"/>
                    </a:lnTo>
                    <a:lnTo>
                      <a:pt x="2605" y="551"/>
                    </a:lnTo>
                    <a:lnTo>
                      <a:pt x="2606" y="551"/>
                    </a:lnTo>
                    <a:lnTo>
                      <a:pt x="2608" y="552"/>
                    </a:lnTo>
                    <a:lnTo>
                      <a:pt x="2610" y="553"/>
                    </a:lnTo>
                    <a:lnTo>
                      <a:pt x="2612" y="553"/>
                    </a:lnTo>
                    <a:lnTo>
                      <a:pt x="2614" y="554"/>
                    </a:lnTo>
                    <a:lnTo>
                      <a:pt x="2615" y="556"/>
                    </a:lnTo>
                    <a:lnTo>
                      <a:pt x="2616" y="556"/>
                    </a:lnTo>
                    <a:lnTo>
                      <a:pt x="2617" y="557"/>
                    </a:lnTo>
                    <a:lnTo>
                      <a:pt x="2620" y="557"/>
                    </a:lnTo>
                    <a:lnTo>
                      <a:pt x="2621" y="557"/>
                    </a:lnTo>
                    <a:lnTo>
                      <a:pt x="2623" y="555"/>
                    </a:lnTo>
                    <a:lnTo>
                      <a:pt x="2626" y="553"/>
                    </a:lnTo>
                    <a:lnTo>
                      <a:pt x="2628" y="551"/>
                    </a:lnTo>
                    <a:lnTo>
                      <a:pt x="2631" y="548"/>
                    </a:lnTo>
                    <a:lnTo>
                      <a:pt x="2632" y="546"/>
                    </a:lnTo>
                    <a:lnTo>
                      <a:pt x="2632" y="544"/>
                    </a:lnTo>
                    <a:lnTo>
                      <a:pt x="2632" y="541"/>
                    </a:lnTo>
                    <a:lnTo>
                      <a:pt x="2632" y="538"/>
                    </a:lnTo>
                    <a:lnTo>
                      <a:pt x="2632" y="535"/>
                    </a:lnTo>
                    <a:lnTo>
                      <a:pt x="2633" y="532"/>
                    </a:lnTo>
                    <a:lnTo>
                      <a:pt x="2633" y="531"/>
                    </a:lnTo>
                    <a:lnTo>
                      <a:pt x="2636" y="529"/>
                    </a:lnTo>
                    <a:lnTo>
                      <a:pt x="2637" y="527"/>
                    </a:lnTo>
                    <a:lnTo>
                      <a:pt x="2638" y="526"/>
                    </a:lnTo>
                    <a:lnTo>
                      <a:pt x="2639" y="524"/>
                    </a:lnTo>
                    <a:lnTo>
                      <a:pt x="2641" y="521"/>
                    </a:lnTo>
                    <a:lnTo>
                      <a:pt x="2643" y="518"/>
                    </a:lnTo>
                    <a:lnTo>
                      <a:pt x="2645" y="515"/>
                    </a:lnTo>
                    <a:lnTo>
                      <a:pt x="2648" y="514"/>
                    </a:lnTo>
                    <a:lnTo>
                      <a:pt x="2650" y="513"/>
                    </a:lnTo>
                    <a:lnTo>
                      <a:pt x="2651" y="514"/>
                    </a:lnTo>
                    <a:lnTo>
                      <a:pt x="2653" y="516"/>
                    </a:lnTo>
                    <a:lnTo>
                      <a:pt x="2655" y="519"/>
                    </a:lnTo>
                    <a:lnTo>
                      <a:pt x="2656" y="522"/>
                    </a:lnTo>
                    <a:lnTo>
                      <a:pt x="2659" y="524"/>
                    </a:lnTo>
                    <a:lnTo>
                      <a:pt x="2661" y="525"/>
                    </a:lnTo>
                    <a:lnTo>
                      <a:pt x="2663" y="526"/>
                    </a:lnTo>
                    <a:lnTo>
                      <a:pt x="2665" y="526"/>
                    </a:lnTo>
                    <a:lnTo>
                      <a:pt x="2667" y="526"/>
                    </a:lnTo>
                    <a:lnTo>
                      <a:pt x="2670" y="525"/>
                    </a:lnTo>
                    <a:lnTo>
                      <a:pt x="2672" y="525"/>
                    </a:lnTo>
                    <a:lnTo>
                      <a:pt x="2674" y="526"/>
                    </a:lnTo>
                    <a:lnTo>
                      <a:pt x="2675" y="526"/>
                    </a:lnTo>
                    <a:lnTo>
                      <a:pt x="2675" y="525"/>
                    </a:lnTo>
                    <a:lnTo>
                      <a:pt x="2675" y="523"/>
                    </a:lnTo>
                    <a:lnTo>
                      <a:pt x="2676" y="522"/>
                    </a:lnTo>
                    <a:lnTo>
                      <a:pt x="2676" y="522"/>
                    </a:lnTo>
                    <a:lnTo>
                      <a:pt x="2678" y="521"/>
                    </a:lnTo>
                    <a:lnTo>
                      <a:pt x="2681" y="521"/>
                    </a:lnTo>
                    <a:lnTo>
                      <a:pt x="2682" y="522"/>
                    </a:lnTo>
                    <a:lnTo>
                      <a:pt x="2684" y="523"/>
                    </a:lnTo>
                    <a:lnTo>
                      <a:pt x="2686" y="524"/>
                    </a:lnTo>
                    <a:lnTo>
                      <a:pt x="2686" y="525"/>
                    </a:lnTo>
                    <a:lnTo>
                      <a:pt x="2686" y="525"/>
                    </a:lnTo>
                    <a:lnTo>
                      <a:pt x="2687" y="524"/>
                    </a:lnTo>
                    <a:lnTo>
                      <a:pt x="2688" y="523"/>
                    </a:lnTo>
                    <a:lnTo>
                      <a:pt x="2691" y="522"/>
                    </a:lnTo>
                    <a:lnTo>
                      <a:pt x="2692" y="520"/>
                    </a:lnTo>
                    <a:lnTo>
                      <a:pt x="2692" y="519"/>
                    </a:lnTo>
                    <a:lnTo>
                      <a:pt x="2693" y="518"/>
                    </a:lnTo>
                    <a:lnTo>
                      <a:pt x="2694" y="518"/>
                    </a:lnTo>
                    <a:lnTo>
                      <a:pt x="2695" y="518"/>
                    </a:lnTo>
                    <a:lnTo>
                      <a:pt x="2696" y="515"/>
                    </a:lnTo>
                    <a:lnTo>
                      <a:pt x="2698" y="513"/>
                    </a:lnTo>
                    <a:lnTo>
                      <a:pt x="2701" y="510"/>
                    </a:lnTo>
                    <a:lnTo>
                      <a:pt x="2702" y="508"/>
                    </a:lnTo>
                    <a:lnTo>
                      <a:pt x="2704" y="505"/>
                    </a:lnTo>
                    <a:lnTo>
                      <a:pt x="2706" y="504"/>
                    </a:lnTo>
                    <a:lnTo>
                      <a:pt x="2707" y="504"/>
                    </a:lnTo>
                    <a:lnTo>
                      <a:pt x="2707" y="505"/>
                    </a:lnTo>
                    <a:lnTo>
                      <a:pt x="2708" y="505"/>
                    </a:lnTo>
                    <a:lnTo>
                      <a:pt x="2709" y="505"/>
                    </a:lnTo>
                    <a:lnTo>
                      <a:pt x="2710" y="504"/>
                    </a:lnTo>
                    <a:lnTo>
                      <a:pt x="2712" y="504"/>
                    </a:lnTo>
                    <a:lnTo>
                      <a:pt x="2713" y="503"/>
                    </a:lnTo>
                    <a:lnTo>
                      <a:pt x="2714" y="501"/>
                    </a:lnTo>
                    <a:lnTo>
                      <a:pt x="2714" y="500"/>
                    </a:lnTo>
                    <a:lnTo>
                      <a:pt x="2715" y="500"/>
                    </a:lnTo>
                    <a:lnTo>
                      <a:pt x="2716" y="500"/>
                    </a:lnTo>
                    <a:lnTo>
                      <a:pt x="2718" y="500"/>
                    </a:lnTo>
                    <a:lnTo>
                      <a:pt x="2719" y="500"/>
                    </a:lnTo>
                    <a:lnTo>
                      <a:pt x="2721" y="500"/>
                    </a:lnTo>
                    <a:lnTo>
                      <a:pt x="2723" y="499"/>
                    </a:lnTo>
                    <a:lnTo>
                      <a:pt x="2724" y="498"/>
                    </a:lnTo>
                    <a:lnTo>
                      <a:pt x="2724" y="497"/>
                    </a:lnTo>
                    <a:lnTo>
                      <a:pt x="2724" y="493"/>
                    </a:lnTo>
                    <a:lnTo>
                      <a:pt x="2723" y="491"/>
                    </a:lnTo>
                    <a:lnTo>
                      <a:pt x="2724" y="489"/>
                    </a:lnTo>
                    <a:lnTo>
                      <a:pt x="2725" y="488"/>
                    </a:lnTo>
                    <a:lnTo>
                      <a:pt x="2726" y="487"/>
                    </a:lnTo>
                    <a:lnTo>
                      <a:pt x="2727" y="486"/>
                    </a:lnTo>
                    <a:lnTo>
                      <a:pt x="2729" y="486"/>
                    </a:lnTo>
                    <a:lnTo>
                      <a:pt x="2730" y="485"/>
                    </a:lnTo>
                    <a:lnTo>
                      <a:pt x="2731" y="482"/>
                    </a:lnTo>
                    <a:lnTo>
                      <a:pt x="2732" y="480"/>
                    </a:lnTo>
                    <a:lnTo>
                      <a:pt x="2734" y="477"/>
                    </a:lnTo>
                    <a:lnTo>
                      <a:pt x="2735" y="474"/>
                    </a:lnTo>
                    <a:lnTo>
                      <a:pt x="2736" y="469"/>
                    </a:lnTo>
                    <a:lnTo>
                      <a:pt x="2737" y="465"/>
                    </a:lnTo>
                    <a:lnTo>
                      <a:pt x="2737" y="460"/>
                    </a:lnTo>
                    <a:lnTo>
                      <a:pt x="2739" y="453"/>
                    </a:lnTo>
                    <a:lnTo>
                      <a:pt x="2740" y="444"/>
                    </a:lnTo>
                    <a:lnTo>
                      <a:pt x="2741" y="436"/>
                    </a:lnTo>
                    <a:lnTo>
                      <a:pt x="2740" y="434"/>
                    </a:lnTo>
                    <a:lnTo>
                      <a:pt x="2740" y="432"/>
                    </a:lnTo>
                    <a:lnTo>
                      <a:pt x="2739" y="432"/>
                    </a:lnTo>
                    <a:lnTo>
                      <a:pt x="2737" y="432"/>
                    </a:lnTo>
                    <a:lnTo>
                      <a:pt x="2736" y="432"/>
                    </a:lnTo>
                    <a:lnTo>
                      <a:pt x="2735" y="433"/>
                    </a:lnTo>
                    <a:lnTo>
                      <a:pt x="2734" y="435"/>
                    </a:lnTo>
                    <a:lnTo>
                      <a:pt x="2732" y="436"/>
                    </a:lnTo>
                    <a:lnTo>
                      <a:pt x="2726" y="443"/>
                    </a:lnTo>
                    <a:lnTo>
                      <a:pt x="2725" y="444"/>
                    </a:lnTo>
                    <a:lnTo>
                      <a:pt x="2725" y="445"/>
                    </a:lnTo>
                    <a:lnTo>
                      <a:pt x="2724" y="446"/>
                    </a:lnTo>
                    <a:lnTo>
                      <a:pt x="2724" y="446"/>
                    </a:lnTo>
                    <a:lnTo>
                      <a:pt x="2724" y="445"/>
                    </a:lnTo>
                    <a:lnTo>
                      <a:pt x="2721" y="445"/>
                    </a:lnTo>
                    <a:lnTo>
                      <a:pt x="2720" y="443"/>
                    </a:lnTo>
                    <a:lnTo>
                      <a:pt x="2718" y="441"/>
                    </a:lnTo>
                    <a:lnTo>
                      <a:pt x="2717" y="438"/>
                    </a:lnTo>
                    <a:lnTo>
                      <a:pt x="2715" y="438"/>
                    </a:lnTo>
                    <a:lnTo>
                      <a:pt x="2713" y="438"/>
                    </a:lnTo>
                    <a:lnTo>
                      <a:pt x="2710" y="436"/>
                    </a:lnTo>
                    <a:lnTo>
                      <a:pt x="2708" y="436"/>
                    </a:lnTo>
                    <a:lnTo>
                      <a:pt x="2707" y="437"/>
                    </a:lnTo>
                    <a:lnTo>
                      <a:pt x="2705" y="438"/>
                    </a:lnTo>
                    <a:lnTo>
                      <a:pt x="2704" y="441"/>
                    </a:lnTo>
                    <a:lnTo>
                      <a:pt x="2703" y="442"/>
                    </a:lnTo>
                    <a:lnTo>
                      <a:pt x="2702" y="443"/>
                    </a:lnTo>
                    <a:lnTo>
                      <a:pt x="2699" y="444"/>
                    </a:lnTo>
                    <a:lnTo>
                      <a:pt x="2698" y="445"/>
                    </a:lnTo>
                    <a:lnTo>
                      <a:pt x="2697" y="446"/>
                    </a:lnTo>
                    <a:lnTo>
                      <a:pt x="2696" y="446"/>
                    </a:lnTo>
                    <a:lnTo>
                      <a:pt x="2695" y="445"/>
                    </a:lnTo>
                    <a:lnTo>
                      <a:pt x="2695" y="443"/>
                    </a:lnTo>
                    <a:lnTo>
                      <a:pt x="2694" y="441"/>
                    </a:lnTo>
                    <a:lnTo>
                      <a:pt x="2694" y="438"/>
                    </a:lnTo>
                    <a:lnTo>
                      <a:pt x="2693" y="436"/>
                    </a:lnTo>
                    <a:lnTo>
                      <a:pt x="2692" y="435"/>
                    </a:lnTo>
                    <a:lnTo>
                      <a:pt x="2691" y="433"/>
                    </a:lnTo>
                    <a:lnTo>
                      <a:pt x="2691" y="429"/>
                    </a:lnTo>
                    <a:lnTo>
                      <a:pt x="2689" y="427"/>
                    </a:lnTo>
                    <a:lnTo>
                      <a:pt x="2689" y="424"/>
                    </a:lnTo>
                    <a:lnTo>
                      <a:pt x="2688" y="422"/>
                    </a:lnTo>
                    <a:lnTo>
                      <a:pt x="2688" y="418"/>
                    </a:lnTo>
                    <a:lnTo>
                      <a:pt x="2688" y="416"/>
                    </a:lnTo>
                    <a:lnTo>
                      <a:pt x="2689" y="414"/>
                    </a:lnTo>
                    <a:lnTo>
                      <a:pt x="2689" y="411"/>
                    </a:lnTo>
                    <a:lnTo>
                      <a:pt x="2691" y="407"/>
                    </a:lnTo>
                    <a:lnTo>
                      <a:pt x="2691" y="394"/>
                    </a:lnTo>
                    <a:lnTo>
                      <a:pt x="2691" y="391"/>
                    </a:lnTo>
                    <a:lnTo>
                      <a:pt x="2691" y="388"/>
                    </a:lnTo>
                    <a:lnTo>
                      <a:pt x="2693" y="385"/>
                    </a:lnTo>
                    <a:lnTo>
                      <a:pt x="2694" y="383"/>
                    </a:lnTo>
                    <a:lnTo>
                      <a:pt x="2696" y="381"/>
                    </a:lnTo>
                    <a:lnTo>
                      <a:pt x="2697" y="381"/>
                    </a:lnTo>
                    <a:lnTo>
                      <a:pt x="2698" y="381"/>
                    </a:lnTo>
                    <a:lnTo>
                      <a:pt x="2701" y="381"/>
                    </a:lnTo>
                    <a:lnTo>
                      <a:pt x="2702" y="381"/>
                    </a:lnTo>
                    <a:lnTo>
                      <a:pt x="2704" y="381"/>
                    </a:lnTo>
                    <a:lnTo>
                      <a:pt x="2708" y="381"/>
                    </a:lnTo>
                    <a:lnTo>
                      <a:pt x="2710" y="378"/>
                    </a:lnTo>
                    <a:lnTo>
                      <a:pt x="2713" y="376"/>
                    </a:lnTo>
                    <a:lnTo>
                      <a:pt x="2715" y="374"/>
                    </a:lnTo>
                    <a:lnTo>
                      <a:pt x="2717" y="374"/>
                    </a:lnTo>
                    <a:lnTo>
                      <a:pt x="2719" y="372"/>
                    </a:lnTo>
                    <a:lnTo>
                      <a:pt x="2721" y="371"/>
                    </a:lnTo>
                    <a:lnTo>
                      <a:pt x="2721" y="367"/>
                    </a:lnTo>
                    <a:lnTo>
                      <a:pt x="2724" y="362"/>
                    </a:lnTo>
                    <a:lnTo>
                      <a:pt x="2726" y="360"/>
                    </a:lnTo>
                    <a:lnTo>
                      <a:pt x="2726" y="358"/>
                    </a:lnTo>
                    <a:lnTo>
                      <a:pt x="2727" y="358"/>
                    </a:lnTo>
                    <a:lnTo>
                      <a:pt x="2728" y="357"/>
                    </a:lnTo>
                    <a:lnTo>
                      <a:pt x="2730" y="356"/>
                    </a:lnTo>
                    <a:lnTo>
                      <a:pt x="2732" y="355"/>
                    </a:lnTo>
                    <a:lnTo>
                      <a:pt x="2735" y="352"/>
                    </a:lnTo>
                    <a:lnTo>
                      <a:pt x="2737" y="351"/>
                    </a:lnTo>
                    <a:lnTo>
                      <a:pt x="2742" y="350"/>
                    </a:lnTo>
                    <a:lnTo>
                      <a:pt x="2749" y="352"/>
                    </a:lnTo>
                    <a:lnTo>
                      <a:pt x="2753" y="357"/>
                    </a:lnTo>
                    <a:lnTo>
                      <a:pt x="2759" y="362"/>
                    </a:lnTo>
                    <a:lnTo>
                      <a:pt x="2760" y="363"/>
                    </a:lnTo>
                    <a:lnTo>
                      <a:pt x="2762" y="365"/>
                    </a:lnTo>
                    <a:lnTo>
                      <a:pt x="2764" y="365"/>
                    </a:lnTo>
                    <a:lnTo>
                      <a:pt x="2767" y="363"/>
                    </a:lnTo>
                    <a:lnTo>
                      <a:pt x="2770" y="361"/>
                    </a:lnTo>
                    <a:lnTo>
                      <a:pt x="2772" y="360"/>
                    </a:lnTo>
                    <a:lnTo>
                      <a:pt x="2773" y="358"/>
                    </a:lnTo>
                    <a:lnTo>
                      <a:pt x="2775" y="358"/>
                    </a:lnTo>
                    <a:lnTo>
                      <a:pt x="2778" y="356"/>
                    </a:lnTo>
                    <a:lnTo>
                      <a:pt x="2779" y="354"/>
                    </a:lnTo>
                    <a:lnTo>
                      <a:pt x="2781" y="351"/>
                    </a:lnTo>
                    <a:lnTo>
                      <a:pt x="2781" y="343"/>
                    </a:lnTo>
                    <a:lnTo>
                      <a:pt x="2780" y="341"/>
                    </a:lnTo>
                    <a:lnTo>
                      <a:pt x="2779" y="340"/>
                    </a:lnTo>
                    <a:lnTo>
                      <a:pt x="2778" y="339"/>
                    </a:lnTo>
                    <a:lnTo>
                      <a:pt x="2778" y="339"/>
                    </a:lnTo>
                    <a:lnTo>
                      <a:pt x="2779" y="338"/>
                    </a:lnTo>
                    <a:lnTo>
                      <a:pt x="2779" y="336"/>
                    </a:lnTo>
                    <a:lnTo>
                      <a:pt x="2780" y="334"/>
                    </a:lnTo>
                    <a:lnTo>
                      <a:pt x="2781" y="332"/>
                    </a:lnTo>
                    <a:lnTo>
                      <a:pt x="2781" y="329"/>
                    </a:lnTo>
                    <a:lnTo>
                      <a:pt x="2780" y="329"/>
                    </a:lnTo>
                    <a:lnTo>
                      <a:pt x="2779" y="328"/>
                    </a:lnTo>
                    <a:lnTo>
                      <a:pt x="2779" y="327"/>
                    </a:lnTo>
                    <a:lnTo>
                      <a:pt x="2776" y="324"/>
                    </a:lnTo>
                    <a:lnTo>
                      <a:pt x="2774" y="321"/>
                    </a:lnTo>
                    <a:lnTo>
                      <a:pt x="2772" y="318"/>
                    </a:lnTo>
                    <a:lnTo>
                      <a:pt x="2772" y="316"/>
                    </a:lnTo>
                    <a:lnTo>
                      <a:pt x="2770" y="312"/>
                    </a:lnTo>
                    <a:lnTo>
                      <a:pt x="2770" y="309"/>
                    </a:lnTo>
                    <a:lnTo>
                      <a:pt x="2768" y="307"/>
                    </a:lnTo>
                    <a:lnTo>
                      <a:pt x="2767" y="305"/>
                    </a:lnTo>
                    <a:lnTo>
                      <a:pt x="2765" y="303"/>
                    </a:lnTo>
                    <a:lnTo>
                      <a:pt x="2764" y="303"/>
                    </a:lnTo>
                    <a:lnTo>
                      <a:pt x="2763" y="303"/>
                    </a:lnTo>
                    <a:lnTo>
                      <a:pt x="2762" y="302"/>
                    </a:lnTo>
                    <a:lnTo>
                      <a:pt x="2761" y="301"/>
                    </a:lnTo>
                    <a:lnTo>
                      <a:pt x="2761" y="298"/>
                    </a:lnTo>
                    <a:lnTo>
                      <a:pt x="2760" y="296"/>
                    </a:lnTo>
                    <a:lnTo>
                      <a:pt x="2760" y="295"/>
                    </a:lnTo>
                    <a:lnTo>
                      <a:pt x="2761" y="293"/>
                    </a:lnTo>
                    <a:lnTo>
                      <a:pt x="2762" y="291"/>
                    </a:lnTo>
                    <a:lnTo>
                      <a:pt x="2763" y="290"/>
                    </a:lnTo>
                    <a:lnTo>
                      <a:pt x="2765" y="285"/>
                    </a:lnTo>
                    <a:lnTo>
                      <a:pt x="2768" y="282"/>
                    </a:lnTo>
                    <a:lnTo>
                      <a:pt x="2770" y="279"/>
                    </a:lnTo>
                    <a:lnTo>
                      <a:pt x="2770" y="275"/>
                    </a:lnTo>
                    <a:lnTo>
                      <a:pt x="2769" y="274"/>
                    </a:lnTo>
                    <a:lnTo>
                      <a:pt x="2768" y="272"/>
                    </a:lnTo>
                    <a:lnTo>
                      <a:pt x="2767" y="271"/>
                    </a:lnTo>
                    <a:lnTo>
                      <a:pt x="2765" y="270"/>
                    </a:lnTo>
                    <a:lnTo>
                      <a:pt x="2765" y="268"/>
                    </a:lnTo>
                    <a:lnTo>
                      <a:pt x="2825" y="219"/>
                    </a:lnTo>
                    <a:lnTo>
                      <a:pt x="2882" y="172"/>
                    </a:lnTo>
                    <a:lnTo>
                      <a:pt x="2936" y="127"/>
                    </a:lnTo>
                    <a:lnTo>
                      <a:pt x="2989" y="86"/>
                    </a:lnTo>
                    <a:lnTo>
                      <a:pt x="3042" y="51"/>
                    </a:lnTo>
                    <a:lnTo>
                      <a:pt x="3055" y="43"/>
                    </a:lnTo>
                    <a:lnTo>
                      <a:pt x="3068" y="35"/>
                    </a:lnTo>
                    <a:close/>
                    <a:moveTo>
                      <a:pt x="2655" y="29"/>
                    </a:moveTo>
                    <a:lnTo>
                      <a:pt x="2656" y="30"/>
                    </a:lnTo>
                    <a:lnTo>
                      <a:pt x="2658" y="31"/>
                    </a:lnTo>
                    <a:lnTo>
                      <a:pt x="2659" y="34"/>
                    </a:lnTo>
                    <a:lnTo>
                      <a:pt x="2659" y="36"/>
                    </a:lnTo>
                    <a:lnTo>
                      <a:pt x="2659" y="40"/>
                    </a:lnTo>
                    <a:lnTo>
                      <a:pt x="2658" y="42"/>
                    </a:lnTo>
                    <a:lnTo>
                      <a:pt x="2658" y="44"/>
                    </a:lnTo>
                    <a:lnTo>
                      <a:pt x="2658" y="45"/>
                    </a:lnTo>
                    <a:lnTo>
                      <a:pt x="2656" y="47"/>
                    </a:lnTo>
                    <a:lnTo>
                      <a:pt x="2656" y="49"/>
                    </a:lnTo>
                    <a:lnTo>
                      <a:pt x="2655" y="50"/>
                    </a:lnTo>
                    <a:lnTo>
                      <a:pt x="2654" y="50"/>
                    </a:lnTo>
                    <a:lnTo>
                      <a:pt x="2653" y="49"/>
                    </a:lnTo>
                    <a:lnTo>
                      <a:pt x="2652" y="44"/>
                    </a:lnTo>
                    <a:lnTo>
                      <a:pt x="2652" y="40"/>
                    </a:lnTo>
                    <a:lnTo>
                      <a:pt x="2652" y="36"/>
                    </a:lnTo>
                    <a:lnTo>
                      <a:pt x="2653" y="33"/>
                    </a:lnTo>
                    <a:lnTo>
                      <a:pt x="2653" y="31"/>
                    </a:lnTo>
                    <a:lnTo>
                      <a:pt x="2654" y="30"/>
                    </a:lnTo>
                    <a:lnTo>
                      <a:pt x="2654" y="29"/>
                    </a:lnTo>
                    <a:lnTo>
                      <a:pt x="2655" y="29"/>
                    </a:lnTo>
                    <a:close/>
                    <a:moveTo>
                      <a:pt x="1333" y="18"/>
                    </a:moveTo>
                    <a:lnTo>
                      <a:pt x="1335" y="18"/>
                    </a:lnTo>
                    <a:lnTo>
                      <a:pt x="1338" y="19"/>
                    </a:lnTo>
                    <a:lnTo>
                      <a:pt x="1339" y="21"/>
                    </a:lnTo>
                    <a:lnTo>
                      <a:pt x="1340" y="22"/>
                    </a:lnTo>
                    <a:lnTo>
                      <a:pt x="1340" y="24"/>
                    </a:lnTo>
                    <a:lnTo>
                      <a:pt x="1341" y="31"/>
                    </a:lnTo>
                    <a:lnTo>
                      <a:pt x="1345" y="36"/>
                    </a:lnTo>
                    <a:lnTo>
                      <a:pt x="1350" y="42"/>
                    </a:lnTo>
                    <a:lnTo>
                      <a:pt x="1351" y="47"/>
                    </a:lnTo>
                    <a:lnTo>
                      <a:pt x="1350" y="53"/>
                    </a:lnTo>
                    <a:lnTo>
                      <a:pt x="1343" y="57"/>
                    </a:lnTo>
                    <a:lnTo>
                      <a:pt x="1334" y="61"/>
                    </a:lnTo>
                    <a:lnTo>
                      <a:pt x="1328" y="61"/>
                    </a:lnTo>
                    <a:lnTo>
                      <a:pt x="1324" y="57"/>
                    </a:lnTo>
                    <a:lnTo>
                      <a:pt x="1324" y="52"/>
                    </a:lnTo>
                    <a:lnTo>
                      <a:pt x="1326" y="46"/>
                    </a:lnTo>
                    <a:lnTo>
                      <a:pt x="1328" y="40"/>
                    </a:lnTo>
                    <a:lnTo>
                      <a:pt x="1330" y="34"/>
                    </a:lnTo>
                    <a:lnTo>
                      <a:pt x="1330" y="30"/>
                    </a:lnTo>
                    <a:lnTo>
                      <a:pt x="1330" y="29"/>
                    </a:lnTo>
                    <a:lnTo>
                      <a:pt x="1330" y="28"/>
                    </a:lnTo>
                    <a:lnTo>
                      <a:pt x="1329" y="25"/>
                    </a:lnTo>
                    <a:lnTo>
                      <a:pt x="1328" y="23"/>
                    </a:lnTo>
                    <a:lnTo>
                      <a:pt x="1328" y="21"/>
                    </a:lnTo>
                    <a:lnTo>
                      <a:pt x="1329" y="20"/>
                    </a:lnTo>
                    <a:lnTo>
                      <a:pt x="1330" y="19"/>
                    </a:lnTo>
                    <a:lnTo>
                      <a:pt x="1333" y="18"/>
                    </a:lnTo>
                    <a:close/>
                    <a:moveTo>
                      <a:pt x="2768" y="10"/>
                    </a:moveTo>
                    <a:lnTo>
                      <a:pt x="2768" y="10"/>
                    </a:lnTo>
                    <a:lnTo>
                      <a:pt x="2768" y="11"/>
                    </a:lnTo>
                    <a:lnTo>
                      <a:pt x="2768" y="13"/>
                    </a:lnTo>
                    <a:lnTo>
                      <a:pt x="2768" y="16"/>
                    </a:lnTo>
                    <a:lnTo>
                      <a:pt x="2769" y="17"/>
                    </a:lnTo>
                    <a:lnTo>
                      <a:pt x="2769" y="18"/>
                    </a:lnTo>
                    <a:lnTo>
                      <a:pt x="2770" y="19"/>
                    </a:lnTo>
                    <a:lnTo>
                      <a:pt x="2770" y="20"/>
                    </a:lnTo>
                    <a:lnTo>
                      <a:pt x="2771" y="22"/>
                    </a:lnTo>
                    <a:lnTo>
                      <a:pt x="2772" y="24"/>
                    </a:lnTo>
                    <a:lnTo>
                      <a:pt x="2772" y="27"/>
                    </a:lnTo>
                    <a:lnTo>
                      <a:pt x="2772" y="29"/>
                    </a:lnTo>
                    <a:lnTo>
                      <a:pt x="2773" y="30"/>
                    </a:lnTo>
                    <a:lnTo>
                      <a:pt x="2775" y="30"/>
                    </a:lnTo>
                    <a:lnTo>
                      <a:pt x="2776" y="29"/>
                    </a:lnTo>
                    <a:lnTo>
                      <a:pt x="2776" y="27"/>
                    </a:lnTo>
                    <a:lnTo>
                      <a:pt x="2778" y="24"/>
                    </a:lnTo>
                    <a:lnTo>
                      <a:pt x="2778" y="22"/>
                    </a:lnTo>
                    <a:lnTo>
                      <a:pt x="2776" y="21"/>
                    </a:lnTo>
                    <a:lnTo>
                      <a:pt x="2775" y="20"/>
                    </a:lnTo>
                    <a:lnTo>
                      <a:pt x="2774" y="18"/>
                    </a:lnTo>
                    <a:lnTo>
                      <a:pt x="2774" y="17"/>
                    </a:lnTo>
                    <a:lnTo>
                      <a:pt x="2774" y="16"/>
                    </a:lnTo>
                    <a:lnTo>
                      <a:pt x="2773" y="14"/>
                    </a:lnTo>
                    <a:lnTo>
                      <a:pt x="2772" y="13"/>
                    </a:lnTo>
                    <a:lnTo>
                      <a:pt x="2771" y="13"/>
                    </a:lnTo>
                    <a:lnTo>
                      <a:pt x="2770" y="12"/>
                    </a:lnTo>
                    <a:lnTo>
                      <a:pt x="2769" y="11"/>
                    </a:lnTo>
                    <a:lnTo>
                      <a:pt x="2769" y="11"/>
                    </a:lnTo>
                    <a:lnTo>
                      <a:pt x="2768" y="10"/>
                    </a:lnTo>
                    <a:close/>
                    <a:moveTo>
                      <a:pt x="357" y="2"/>
                    </a:moveTo>
                    <a:lnTo>
                      <a:pt x="359" y="2"/>
                    </a:lnTo>
                    <a:lnTo>
                      <a:pt x="361" y="5"/>
                    </a:lnTo>
                    <a:lnTo>
                      <a:pt x="367" y="17"/>
                    </a:lnTo>
                    <a:lnTo>
                      <a:pt x="368" y="18"/>
                    </a:lnTo>
                    <a:lnTo>
                      <a:pt x="369" y="19"/>
                    </a:lnTo>
                    <a:lnTo>
                      <a:pt x="370" y="20"/>
                    </a:lnTo>
                    <a:lnTo>
                      <a:pt x="371" y="21"/>
                    </a:lnTo>
                    <a:lnTo>
                      <a:pt x="371" y="23"/>
                    </a:lnTo>
                    <a:lnTo>
                      <a:pt x="371" y="27"/>
                    </a:lnTo>
                    <a:lnTo>
                      <a:pt x="370" y="29"/>
                    </a:lnTo>
                    <a:lnTo>
                      <a:pt x="369" y="30"/>
                    </a:lnTo>
                    <a:lnTo>
                      <a:pt x="368" y="30"/>
                    </a:lnTo>
                    <a:lnTo>
                      <a:pt x="367" y="30"/>
                    </a:lnTo>
                    <a:lnTo>
                      <a:pt x="366" y="29"/>
                    </a:lnTo>
                    <a:lnTo>
                      <a:pt x="364" y="28"/>
                    </a:lnTo>
                    <a:lnTo>
                      <a:pt x="362" y="27"/>
                    </a:lnTo>
                    <a:lnTo>
                      <a:pt x="361" y="24"/>
                    </a:lnTo>
                    <a:lnTo>
                      <a:pt x="361" y="23"/>
                    </a:lnTo>
                    <a:lnTo>
                      <a:pt x="360" y="22"/>
                    </a:lnTo>
                    <a:lnTo>
                      <a:pt x="359" y="21"/>
                    </a:lnTo>
                    <a:lnTo>
                      <a:pt x="359" y="21"/>
                    </a:lnTo>
                    <a:lnTo>
                      <a:pt x="357" y="21"/>
                    </a:lnTo>
                    <a:lnTo>
                      <a:pt x="356" y="20"/>
                    </a:lnTo>
                    <a:lnTo>
                      <a:pt x="355" y="19"/>
                    </a:lnTo>
                    <a:lnTo>
                      <a:pt x="353" y="17"/>
                    </a:lnTo>
                    <a:lnTo>
                      <a:pt x="353" y="11"/>
                    </a:lnTo>
                    <a:lnTo>
                      <a:pt x="355" y="7"/>
                    </a:lnTo>
                    <a:lnTo>
                      <a:pt x="356" y="3"/>
                    </a:lnTo>
                    <a:lnTo>
                      <a:pt x="357" y="2"/>
                    </a:lnTo>
                    <a:close/>
                    <a:moveTo>
                      <a:pt x="183" y="0"/>
                    </a:moveTo>
                    <a:lnTo>
                      <a:pt x="183" y="0"/>
                    </a:lnTo>
                    <a:lnTo>
                      <a:pt x="184" y="1"/>
                    </a:lnTo>
                    <a:lnTo>
                      <a:pt x="184" y="3"/>
                    </a:lnTo>
                    <a:lnTo>
                      <a:pt x="183" y="6"/>
                    </a:lnTo>
                    <a:lnTo>
                      <a:pt x="183" y="7"/>
                    </a:lnTo>
                    <a:lnTo>
                      <a:pt x="182" y="9"/>
                    </a:lnTo>
                    <a:lnTo>
                      <a:pt x="181" y="10"/>
                    </a:lnTo>
                    <a:lnTo>
                      <a:pt x="181" y="17"/>
                    </a:lnTo>
                    <a:lnTo>
                      <a:pt x="183" y="23"/>
                    </a:lnTo>
                    <a:lnTo>
                      <a:pt x="181" y="29"/>
                    </a:lnTo>
                    <a:lnTo>
                      <a:pt x="179" y="31"/>
                    </a:lnTo>
                    <a:lnTo>
                      <a:pt x="177" y="33"/>
                    </a:lnTo>
                    <a:lnTo>
                      <a:pt x="175" y="34"/>
                    </a:lnTo>
                    <a:lnTo>
                      <a:pt x="173" y="36"/>
                    </a:lnTo>
                    <a:lnTo>
                      <a:pt x="171" y="38"/>
                    </a:lnTo>
                    <a:lnTo>
                      <a:pt x="170" y="41"/>
                    </a:lnTo>
                    <a:lnTo>
                      <a:pt x="167" y="42"/>
                    </a:lnTo>
                    <a:lnTo>
                      <a:pt x="166" y="42"/>
                    </a:lnTo>
                    <a:lnTo>
                      <a:pt x="166" y="43"/>
                    </a:lnTo>
                    <a:lnTo>
                      <a:pt x="165" y="43"/>
                    </a:lnTo>
                    <a:lnTo>
                      <a:pt x="164" y="43"/>
                    </a:lnTo>
                    <a:lnTo>
                      <a:pt x="162" y="42"/>
                    </a:lnTo>
                    <a:lnTo>
                      <a:pt x="160" y="42"/>
                    </a:lnTo>
                    <a:lnTo>
                      <a:pt x="159" y="41"/>
                    </a:lnTo>
                    <a:lnTo>
                      <a:pt x="157" y="39"/>
                    </a:lnTo>
                    <a:lnTo>
                      <a:pt x="159" y="34"/>
                    </a:lnTo>
                    <a:lnTo>
                      <a:pt x="160" y="31"/>
                    </a:lnTo>
                    <a:lnTo>
                      <a:pt x="162" y="29"/>
                    </a:lnTo>
                    <a:lnTo>
                      <a:pt x="164" y="27"/>
                    </a:lnTo>
                    <a:lnTo>
                      <a:pt x="165" y="24"/>
                    </a:lnTo>
                    <a:lnTo>
                      <a:pt x="168" y="22"/>
                    </a:lnTo>
                    <a:lnTo>
                      <a:pt x="171" y="21"/>
                    </a:lnTo>
                    <a:lnTo>
                      <a:pt x="172" y="18"/>
                    </a:lnTo>
                    <a:lnTo>
                      <a:pt x="174" y="16"/>
                    </a:lnTo>
                    <a:lnTo>
                      <a:pt x="174" y="11"/>
                    </a:lnTo>
                    <a:lnTo>
                      <a:pt x="174" y="8"/>
                    </a:lnTo>
                    <a:lnTo>
                      <a:pt x="176" y="5"/>
                    </a:lnTo>
                    <a:lnTo>
                      <a:pt x="178" y="1"/>
                    </a:lnTo>
                    <a:lnTo>
                      <a:pt x="181" y="0"/>
                    </a:lnTo>
                    <a:lnTo>
                      <a:pt x="183"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36" name="Freeform 33"/>
              <p:cNvSpPr>
                <a:spLocks noEditPoints="1"/>
              </p:cNvSpPr>
              <p:nvPr/>
            </p:nvSpPr>
            <p:spPr bwMode="auto">
              <a:xfrm>
                <a:off x="5569" y="806"/>
                <a:ext cx="391" cy="258"/>
              </a:xfrm>
              <a:custGeom>
                <a:avLst/>
                <a:gdLst>
                  <a:gd name="T0" fmla="*/ 2478 w 2739"/>
                  <a:gd name="T1" fmla="*/ 300 h 1807"/>
                  <a:gd name="T2" fmla="*/ 2447 w 2739"/>
                  <a:gd name="T3" fmla="*/ 417 h 1807"/>
                  <a:gd name="T4" fmla="*/ 2459 w 2739"/>
                  <a:gd name="T5" fmla="*/ 309 h 1807"/>
                  <a:gd name="T6" fmla="*/ 2439 w 2739"/>
                  <a:gd name="T7" fmla="*/ 235 h 1807"/>
                  <a:gd name="T8" fmla="*/ 2458 w 2739"/>
                  <a:gd name="T9" fmla="*/ 180 h 1807"/>
                  <a:gd name="T10" fmla="*/ 2704 w 2739"/>
                  <a:gd name="T11" fmla="*/ 125 h 1807"/>
                  <a:gd name="T12" fmla="*/ 703 w 2739"/>
                  <a:gd name="T13" fmla="*/ 154 h 1807"/>
                  <a:gd name="T14" fmla="*/ 2734 w 2739"/>
                  <a:gd name="T15" fmla="*/ 120 h 1807"/>
                  <a:gd name="T16" fmla="*/ 1551 w 2739"/>
                  <a:gd name="T17" fmla="*/ 70 h 1807"/>
                  <a:gd name="T18" fmla="*/ 6 w 2739"/>
                  <a:gd name="T19" fmla="*/ 67 h 1807"/>
                  <a:gd name="T20" fmla="*/ 95 w 2739"/>
                  <a:gd name="T21" fmla="*/ 1 h 1807"/>
                  <a:gd name="T22" fmla="*/ 1088 w 2739"/>
                  <a:gd name="T23" fmla="*/ 558 h 1807"/>
                  <a:gd name="T24" fmla="*/ 1155 w 2739"/>
                  <a:gd name="T25" fmla="*/ 617 h 1807"/>
                  <a:gd name="T26" fmla="*/ 1233 w 2739"/>
                  <a:gd name="T27" fmla="*/ 604 h 1807"/>
                  <a:gd name="T28" fmla="*/ 1304 w 2739"/>
                  <a:gd name="T29" fmla="*/ 617 h 1807"/>
                  <a:gd name="T30" fmla="*/ 1383 w 2739"/>
                  <a:gd name="T31" fmla="*/ 650 h 1807"/>
                  <a:gd name="T32" fmla="*/ 1459 w 2739"/>
                  <a:gd name="T33" fmla="*/ 709 h 1807"/>
                  <a:gd name="T34" fmla="*/ 1379 w 2739"/>
                  <a:gd name="T35" fmla="*/ 842 h 1807"/>
                  <a:gd name="T36" fmla="*/ 1298 w 2739"/>
                  <a:gd name="T37" fmla="*/ 1027 h 1807"/>
                  <a:gd name="T38" fmla="*/ 1116 w 2739"/>
                  <a:gd name="T39" fmla="*/ 944 h 1807"/>
                  <a:gd name="T40" fmla="*/ 977 w 2739"/>
                  <a:gd name="T41" fmla="*/ 1044 h 1807"/>
                  <a:gd name="T42" fmla="*/ 1100 w 2739"/>
                  <a:gd name="T43" fmla="*/ 1137 h 1807"/>
                  <a:gd name="T44" fmla="*/ 1163 w 2739"/>
                  <a:gd name="T45" fmla="*/ 1180 h 1807"/>
                  <a:gd name="T46" fmla="*/ 1297 w 2739"/>
                  <a:gd name="T47" fmla="*/ 1268 h 1807"/>
                  <a:gd name="T48" fmla="*/ 1464 w 2739"/>
                  <a:gd name="T49" fmla="*/ 1220 h 1807"/>
                  <a:gd name="T50" fmla="*/ 1482 w 2739"/>
                  <a:gd name="T51" fmla="*/ 1227 h 1807"/>
                  <a:gd name="T52" fmla="*/ 1592 w 2739"/>
                  <a:gd name="T53" fmla="*/ 1228 h 1807"/>
                  <a:gd name="T54" fmla="*/ 1658 w 2739"/>
                  <a:gd name="T55" fmla="*/ 1262 h 1807"/>
                  <a:gd name="T56" fmla="*/ 1771 w 2739"/>
                  <a:gd name="T57" fmla="*/ 1338 h 1807"/>
                  <a:gd name="T58" fmla="*/ 1789 w 2739"/>
                  <a:gd name="T59" fmla="*/ 1345 h 1807"/>
                  <a:gd name="T60" fmla="*/ 1856 w 2739"/>
                  <a:gd name="T61" fmla="*/ 1357 h 1807"/>
                  <a:gd name="T62" fmla="*/ 1902 w 2739"/>
                  <a:gd name="T63" fmla="*/ 1452 h 1807"/>
                  <a:gd name="T64" fmla="*/ 1814 w 2739"/>
                  <a:gd name="T65" fmla="*/ 1560 h 1807"/>
                  <a:gd name="T66" fmla="*/ 1728 w 2739"/>
                  <a:gd name="T67" fmla="*/ 1623 h 1807"/>
                  <a:gd name="T68" fmla="*/ 1618 w 2739"/>
                  <a:gd name="T69" fmla="*/ 1677 h 1807"/>
                  <a:gd name="T70" fmla="*/ 1574 w 2739"/>
                  <a:gd name="T71" fmla="*/ 1731 h 1807"/>
                  <a:gd name="T72" fmla="*/ 1537 w 2739"/>
                  <a:gd name="T73" fmla="*/ 1763 h 1807"/>
                  <a:gd name="T74" fmla="*/ 1506 w 2739"/>
                  <a:gd name="T75" fmla="*/ 1806 h 1807"/>
                  <a:gd name="T76" fmla="*/ 1453 w 2739"/>
                  <a:gd name="T77" fmla="*/ 1774 h 1807"/>
                  <a:gd name="T78" fmla="*/ 1446 w 2739"/>
                  <a:gd name="T79" fmla="*/ 1729 h 1807"/>
                  <a:gd name="T80" fmla="*/ 1446 w 2739"/>
                  <a:gd name="T81" fmla="*/ 1648 h 1807"/>
                  <a:gd name="T82" fmla="*/ 1450 w 2739"/>
                  <a:gd name="T83" fmla="*/ 1571 h 1807"/>
                  <a:gd name="T84" fmla="*/ 1323 w 2739"/>
                  <a:gd name="T85" fmla="*/ 1492 h 1807"/>
                  <a:gd name="T86" fmla="*/ 1278 w 2739"/>
                  <a:gd name="T87" fmla="*/ 1412 h 1807"/>
                  <a:gd name="T88" fmla="*/ 1328 w 2739"/>
                  <a:gd name="T89" fmla="*/ 1354 h 1807"/>
                  <a:gd name="T90" fmla="*/ 1260 w 2739"/>
                  <a:gd name="T91" fmla="*/ 1293 h 1807"/>
                  <a:gd name="T92" fmla="*/ 1080 w 2739"/>
                  <a:gd name="T93" fmla="*/ 1186 h 1807"/>
                  <a:gd name="T94" fmla="*/ 798 w 2739"/>
                  <a:gd name="T95" fmla="*/ 1021 h 1807"/>
                  <a:gd name="T96" fmla="*/ 741 w 2739"/>
                  <a:gd name="T97" fmla="*/ 992 h 1807"/>
                  <a:gd name="T98" fmla="*/ 692 w 2739"/>
                  <a:gd name="T99" fmla="*/ 967 h 1807"/>
                  <a:gd name="T100" fmla="*/ 490 w 2739"/>
                  <a:gd name="T101" fmla="*/ 606 h 1807"/>
                  <a:gd name="T102" fmla="*/ 433 w 2739"/>
                  <a:gd name="T103" fmla="*/ 371 h 1807"/>
                  <a:gd name="T104" fmla="*/ 393 w 2739"/>
                  <a:gd name="T105" fmla="*/ 286 h 1807"/>
                  <a:gd name="T106" fmla="*/ 351 w 2739"/>
                  <a:gd name="T107" fmla="*/ 190 h 1807"/>
                  <a:gd name="T108" fmla="*/ 289 w 2739"/>
                  <a:gd name="T109" fmla="*/ 116 h 1807"/>
                  <a:gd name="T110" fmla="*/ 199 w 2739"/>
                  <a:gd name="T111" fmla="*/ 136 h 1807"/>
                  <a:gd name="T112" fmla="*/ 177 w 2739"/>
                  <a:gd name="T113" fmla="*/ 98 h 1807"/>
                  <a:gd name="T114" fmla="*/ 134 w 2739"/>
                  <a:gd name="T115" fmla="*/ 205 h 1807"/>
                  <a:gd name="T116" fmla="*/ 102 w 2739"/>
                  <a:gd name="T117" fmla="*/ 222 h 1807"/>
                  <a:gd name="T118" fmla="*/ 80 w 2739"/>
                  <a:gd name="T119" fmla="*/ 182 h 1807"/>
                  <a:gd name="T120" fmla="*/ 39 w 2739"/>
                  <a:gd name="T121" fmla="*/ 137 h 1807"/>
                  <a:gd name="T122" fmla="*/ 54 w 2739"/>
                  <a:gd name="T123" fmla="*/ 57 h 1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39" h="1807">
                    <a:moveTo>
                      <a:pt x="2459" y="188"/>
                    </a:moveTo>
                    <a:lnTo>
                      <a:pt x="2460" y="189"/>
                    </a:lnTo>
                    <a:lnTo>
                      <a:pt x="2461" y="191"/>
                    </a:lnTo>
                    <a:lnTo>
                      <a:pt x="2461" y="196"/>
                    </a:lnTo>
                    <a:lnTo>
                      <a:pt x="2458" y="202"/>
                    </a:lnTo>
                    <a:lnTo>
                      <a:pt x="2456" y="209"/>
                    </a:lnTo>
                    <a:lnTo>
                      <a:pt x="2455" y="215"/>
                    </a:lnTo>
                    <a:lnTo>
                      <a:pt x="2457" y="220"/>
                    </a:lnTo>
                    <a:lnTo>
                      <a:pt x="2459" y="221"/>
                    </a:lnTo>
                    <a:lnTo>
                      <a:pt x="2460" y="221"/>
                    </a:lnTo>
                    <a:lnTo>
                      <a:pt x="2463" y="220"/>
                    </a:lnTo>
                    <a:lnTo>
                      <a:pt x="2464" y="220"/>
                    </a:lnTo>
                    <a:lnTo>
                      <a:pt x="2466" y="220"/>
                    </a:lnTo>
                    <a:lnTo>
                      <a:pt x="2468" y="221"/>
                    </a:lnTo>
                    <a:lnTo>
                      <a:pt x="2470" y="222"/>
                    </a:lnTo>
                    <a:lnTo>
                      <a:pt x="2471" y="223"/>
                    </a:lnTo>
                    <a:lnTo>
                      <a:pt x="2472" y="224"/>
                    </a:lnTo>
                    <a:lnTo>
                      <a:pt x="2472" y="226"/>
                    </a:lnTo>
                    <a:lnTo>
                      <a:pt x="2474" y="229"/>
                    </a:lnTo>
                    <a:lnTo>
                      <a:pt x="2474" y="232"/>
                    </a:lnTo>
                    <a:lnTo>
                      <a:pt x="2472" y="234"/>
                    </a:lnTo>
                    <a:lnTo>
                      <a:pt x="2471" y="237"/>
                    </a:lnTo>
                    <a:lnTo>
                      <a:pt x="2470" y="240"/>
                    </a:lnTo>
                    <a:lnTo>
                      <a:pt x="2469" y="244"/>
                    </a:lnTo>
                    <a:lnTo>
                      <a:pt x="2468" y="247"/>
                    </a:lnTo>
                    <a:lnTo>
                      <a:pt x="2467" y="252"/>
                    </a:lnTo>
                    <a:lnTo>
                      <a:pt x="2466" y="256"/>
                    </a:lnTo>
                    <a:lnTo>
                      <a:pt x="2466" y="258"/>
                    </a:lnTo>
                    <a:lnTo>
                      <a:pt x="2465" y="261"/>
                    </a:lnTo>
                    <a:lnTo>
                      <a:pt x="2465" y="263"/>
                    </a:lnTo>
                    <a:lnTo>
                      <a:pt x="2466" y="265"/>
                    </a:lnTo>
                    <a:lnTo>
                      <a:pt x="2468" y="266"/>
                    </a:lnTo>
                    <a:lnTo>
                      <a:pt x="2470" y="267"/>
                    </a:lnTo>
                    <a:lnTo>
                      <a:pt x="2472" y="269"/>
                    </a:lnTo>
                    <a:lnTo>
                      <a:pt x="2472" y="270"/>
                    </a:lnTo>
                    <a:lnTo>
                      <a:pt x="2472" y="272"/>
                    </a:lnTo>
                    <a:lnTo>
                      <a:pt x="2474" y="274"/>
                    </a:lnTo>
                    <a:lnTo>
                      <a:pt x="2474" y="277"/>
                    </a:lnTo>
                    <a:lnTo>
                      <a:pt x="2474" y="280"/>
                    </a:lnTo>
                    <a:lnTo>
                      <a:pt x="2475" y="283"/>
                    </a:lnTo>
                    <a:lnTo>
                      <a:pt x="2475" y="284"/>
                    </a:lnTo>
                    <a:lnTo>
                      <a:pt x="2476" y="286"/>
                    </a:lnTo>
                    <a:lnTo>
                      <a:pt x="2476" y="287"/>
                    </a:lnTo>
                    <a:lnTo>
                      <a:pt x="2476" y="289"/>
                    </a:lnTo>
                    <a:lnTo>
                      <a:pt x="2477" y="291"/>
                    </a:lnTo>
                    <a:lnTo>
                      <a:pt x="2477" y="295"/>
                    </a:lnTo>
                    <a:lnTo>
                      <a:pt x="2477" y="297"/>
                    </a:lnTo>
                    <a:lnTo>
                      <a:pt x="2477" y="299"/>
                    </a:lnTo>
                    <a:lnTo>
                      <a:pt x="2478" y="300"/>
                    </a:lnTo>
                    <a:lnTo>
                      <a:pt x="2479" y="302"/>
                    </a:lnTo>
                    <a:lnTo>
                      <a:pt x="2480" y="305"/>
                    </a:lnTo>
                    <a:lnTo>
                      <a:pt x="2481" y="307"/>
                    </a:lnTo>
                    <a:lnTo>
                      <a:pt x="2482" y="308"/>
                    </a:lnTo>
                    <a:lnTo>
                      <a:pt x="2482" y="309"/>
                    </a:lnTo>
                    <a:lnTo>
                      <a:pt x="2483" y="313"/>
                    </a:lnTo>
                    <a:lnTo>
                      <a:pt x="2485" y="318"/>
                    </a:lnTo>
                    <a:lnTo>
                      <a:pt x="2487" y="322"/>
                    </a:lnTo>
                    <a:lnTo>
                      <a:pt x="2489" y="331"/>
                    </a:lnTo>
                    <a:lnTo>
                      <a:pt x="2491" y="341"/>
                    </a:lnTo>
                    <a:lnTo>
                      <a:pt x="2493" y="344"/>
                    </a:lnTo>
                    <a:lnTo>
                      <a:pt x="2494" y="347"/>
                    </a:lnTo>
                    <a:lnTo>
                      <a:pt x="2497" y="352"/>
                    </a:lnTo>
                    <a:lnTo>
                      <a:pt x="2500" y="358"/>
                    </a:lnTo>
                    <a:lnTo>
                      <a:pt x="2500" y="366"/>
                    </a:lnTo>
                    <a:lnTo>
                      <a:pt x="2499" y="376"/>
                    </a:lnTo>
                    <a:lnTo>
                      <a:pt x="2497" y="382"/>
                    </a:lnTo>
                    <a:lnTo>
                      <a:pt x="2496" y="387"/>
                    </a:lnTo>
                    <a:lnTo>
                      <a:pt x="2494" y="394"/>
                    </a:lnTo>
                    <a:lnTo>
                      <a:pt x="2494" y="397"/>
                    </a:lnTo>
                    <a:lnTo>
                      <a:pt x="2494" y="399"/>
                    </a:lnTo>
                    <a:lnTo>
                      <a:pt x="2493" y="400"/>
                    </a:lnTo>
                    <a:lnTo>
                      <a:pt x="2492" y="401"/>
                    </a:lnTo>
                    <a:lnTo>
                      <a:pt x="2491" y="403"/>
                    </a:lnTo>
                    <a:lnTo>
                      <a:pt x="2489" y="405"/>
                    </a:lnTo>
                    <a:lnTo>
                      <a:pt x="2488" y="405"/>
                    </a:lnTo>
                    <a:lnTo>
                      <a:pt x="2487" y="404"/>
                    </a:lnTo>
                    <a:lnTo>
                      <a:pt x="2486" y="403"/>
                    </a:lnTo>
                    <a:lnTo>
                      <a:pt x="2485" y="400"/>
                    </a:lnTo>
                    <a:lnTo>
                      <a:pt x="2480" y="400"/>
                    </a:lnTo>
                    <a:lnTo>
                      <a:pt x="2480" y="401"/>
                    </a:lnTo>
                    <a:lnTo>
                      <a:pt x="2480" y="401"/>
                    </a:lnTo>
                    <a:lnTo>
                      <a:pt x="2479" y="403"/>
                    </a:lnTo>
                    <a:lnTo>
                      <a:pt x="2478" y="403"/>
                    </a:lnTo>
                    <a:lnTo>
                      <a:pt x="2477" y="405"/>
                    </a:lnTo>
                    <a:lnTo>
                      <a:pt x="2474" y="405"/>
                    </a:lnTo>
                    <a:lnTo>
                      <a:pt x="2471" y="405"/>
                    </a:lnTo>
                    <a:lnTo>
                      <a:pt x="2470" y="405"/>
                    </a:lnTo>
                    <a:lnTo>
                      <a:pt x="2467" y="406"/>
                    </a:lnTo>
                    <a:lnTo>
                      <a:pt x="2465" y="407"/>
                    </a:lnTo>
                    <a:lnTo>
                      <a:pt x="2463" y="409"/>
                    </a:lnTo>
                    <a:lnTo>
                      <a:pt x="2461" y="411"/>
                    </a:lnTo>
                    <a:lnTo>
                      <a:pt x="2459" y="414"/>
                    </a:lnTo>
                    <a:lnTo>
                      <a:pt x="2457" y="415"/>
                    </a:lnTo>
                    <a:lnTo>
                      <a:pt x="2455" y="416"/>
                    </a:lnTo>
                    <a:lnTo>
                      <a:pt x="2453" y="417"/>
                    </a:lnTo>
                    <a:lnTo>
                      <a:pt x="2450" y="418"/>
                    </a:lnTo>
                    <a:lnTo>
                      <a:pt x="2448" y="418"/>
                    </a:lnTo>
                    <a:lnTo>
                      <a:pt x="2447" y="417"/>
                    </a:lnTo>
                    <a:lnTo>
                      <a:pt x="2445" y="412"/>
                    </a:lnTo>
                    <a:lnTo>
                      <a:pt x="2447" y="407"/>
                    </a:lnTo>
                    <a:lnTo>
                      <a:pt x="2450" y="403"/>
                    </a:lnTo>
                    <a:lnTo>
                      <a:pt x="2455" y="398"/>
                    </a:lnTo>
                    <a:lnTo>
                      <a:pt x="2457" y="396"/>
                    </a:lnTo>
                    <a:lnTo>
                      <a:pt x="2459" y="393"/>
                    </a:lnTo>
                    <a:lnTo>
                      <a:pt x="2463" y="387"/>
                    </a:lnTo>
                    <a:lnTo>
                      <a:pt x="2464" y="382"/>
                    </a:lnTo>
                    <a:lnTo>
                      <a:pt x="2461" y="376"/>
                    </a:lnTo>
                    <a:lnTo>
                      <a:pt x="2461" y="376"/>
                    </a:lnTo>
                    <a:lnTo>
                      <a:pt x="2460" y="377"/>
                    </a:lnTo>
                    <a:lnTo>
                      <a:pt x="2459" y="377"/>
                    </a:lnTo>
                    <a:lnTo>
                      <a:pt x="2458" y="377"/>
                    </a:lnTo>
                    <a:lnTo>
                      <a:pt x="2457" y="376"/>
                    </a:lnTo>
                    <a:lnTo>
                      <a:pt x="2457" y="369"/>
                    </a:lnTo>
                    <a:lnTo>
                      <a:pt x="2456" y="367"/>
                    </a:lnTo>
                    <a:lnTo>
                      <a:pt x="2455" y="366"/>
                    </a:lnTo>
                    <a:lnTo>
                      <a:pt x="2455" y="364"/>
                    </a:lnTo>
                    <a:lnTo>
                      <a:pt x="2455" y="363"/>
                    </a:lnTo>
                    <a:lnTo>
                      <a:pt x="2455" y="360"/>
                    </a:lnTo>
                    <a:lnTo>
                      <a:pt x="2455" y="356"/>
                    </a:lnTo>
                    <a:lnTo>
                      <a:pt x="2455" y="354"/>
                    </a:lnTo>
                    <a:lnTo>
                      <a:pt x="2454" y="351"/>
                    </a:lnTo>
                    <a:lnTo>
                      <a:pt x="2453" y="347"/>
                    </a:lnTo>
                    <a:lnTo>
                      <a:pt x="2452" y="343"/>
                    </a:lnTo>
                    <a:lnTo>
                      <a:pt x="2452" y="339"/>
                    </a:lnTo>
                    <a:lnTo>
                      <a:pt x="2452" y="334"/>
                    </a:lnTo>
                    <a:lnTo>
                      <a:pt x="2452" y="333"/>
                    </a:lnTo>
                    <a:lnTo>
                      <a:pt x="2453" y="335"/>
                    </a:lnTo>
                    <a:lnTo>
                      <a:pt x="2454" y="336"/>
                    </a:lnTo>
                    <a:lnTo>
                      <a:pt x="2456" y="339"/>
                    </a:lnTo>
                    <a:lnTo>
                      <a:pt x="2457" y="341"/>
                    </a:lnTo>
                    <a:lnTo>
                      <a:pt x="2458" y="343"/>
                    </a:lnTo>
                    <a:lnTo>
                      <a:pt x="2460" y="343"/>
                    </a:lnTo>
                    <a:lnTo>
                      <a:pt x="2461" y="343"/>
                    </a:lnTo>
                    <a:lnTo>
                      <a:pt x="2463" y="340"/>
                    </a:lnTo>
                    <a:lnTo>
                      <a:pt x="2463" y="336"/>
                    </a:lnTo>
                    <a:lnTo>
                      <a:pt x="2463" y="333"/>
                    </a:lnTo>
                    <a:lnTo>
                      <a:pt x="2461" y="330"/>
                    </a:lnTo>
                    <a:lnTo>
                      <a:pt x="2461" y="327"/>
                    </a:lnTo>
                    <a:lnTo>
                      <a:pt x="2463" y="324"/>
                    </a:lnTo>
                    <a:lnTo>
                      <a:pt x="2463" y="323"/>
                    </a:lnTo>
                    <a:lnTo>
                      <a:pt x="2463" y="322"/>
                    </a:lnTo>
                    <a:lnTo>
                      <a:pt x="2463" y="320"/>
                    </a:lnTo>
                    <a:lnTo>
                      <a:pt x="2461" y="318"/>
                    </a:lnTo>
                    <a:lnTo>
                      <a:pt x="2461" y="317"/>
                    </a:lnTo>
                    <a:lnTo>
                      <a:pt x="2461" y="314"/>
                    </a:lnTo>
                    <a:lnTo>
                      <a:pt x="2460" y="312"/>
                    </a:lnTo>
                    <a:lnTo>
                      <a:pt x="2459" y="309"/>
                    </a:lnTo>
                    <a:lnTo>
                      <a:pt x="2459" y="308"/>
                    </a:lnTo>
                    <a:lnTo>
                      <a:pt x="2459" y="306"/>
                    </a:lnTo>
                    <a:lnTo>
                      <a:pt x="2459" y="303"/>
                    </a:lnTo>
                    <a:lnTo>
                      <a:pt x="2459" y="301"/>
                    </a:lnTo>
                    <a:lnTo>
                      <a:pt x="2459" y="299"/>
                    </a:lnTo>
                    <a:lnTo>
                      <a:pt x="2458" y="298"/>
                    </a:lnTo>
                    <a:lnTo>
                      <a:pt x="2457" y="298"/>
                    </a:lnTo>
                    <a:lnTo>
                      <a:pt x="2455" y="298"/>
                    </a:lnTo>
                    <a:lnTo>
                      <a:pt x="2455" y="299"/>
                    </a:lnTo>
                    <a:lnTo>
                      <a:pt x="2454" y="299"/>
                    </a:lnTo>
                    <a:lnTo>
                      <a:pt x="2452" y="300"/>
                    </a:lnTo>
                    <a:lnTo>
                      <a:pt x="2450" y="301"/>
                    </a:lnTo>
                    <a:lnTo>
                      <a:pt x="2449" y="300"/>
                    </a:lnTo>
                    <a:lnTo>
                      <a:pt x="2447" y="298"/>
                    </a:lnTo>
                    <a:lnTo>
                      <a:pt x="2447" y="296"/>
                    </a:lnTo>
                    <a:lnTo>
                      <a:pt x="2447" y="294"/>
                    </a:lnTo>
                    <a:lnTo>
                      <a:pt x="2448" y="291"/>
                    </a:lnTo>
                    <a:lnTo>
                      <a:pt x="2449" y="290"/>
                    </a:lnTo>
                    <a:lnTo>
                      <a:pt x="2449" y="288"/>
                    </a:lnTo>
                    <a:lnTo>
                      <a:pt x="2452" y="285"/>
                    </a:lnTo>
                    <a:lnTo>
                      <a:pt x="2450" y="283"/>
                    </a:lnTo>
                    <a:lnTo>
                      <a:pt x="2450" y="281"/>
                    </a:lnTo>
                    <a:lnTo>
                      <a:pt x="2449" y="279"/>
                    </a:lnTo>
                    <a:lnTo>
                      <a:pt x="2449" y="276"/>
                    </a:lnTo>
                    <a:lnTo>
                      <a:pt x="2448" y="274"/>
                    </a:lnTo>
                    <a:lnTo>
                      <a:pt x="2448" y="272"/>
                    </a:lnTo>
                    <a:lnTo>
                      <a:pt x="2447" y="272"/>
                    </a:lnTo>
                    <a:lnTo>
                      <a:pt x="2446" y="272"/>
                    </a:lnTo>
                    <a:lnTo>
                      <a:pt x="2445" y="270"/>
                    </a:lnTo>
                    <a:lnTo>
                      <a:pt x="2444" y="270"/>
                    </a:lnTo>
                    <a:lnTo>
                      <a:pt x="2444" y="269"/>
                    </a:lnTo>
                    <a:lnTo>
                      <a:pt x="2443" y="267"/>
                    </a:lnTo>
                    <a:lnTo>
                      <a:pt x="2443" y="265"/>
                    </a:lnTo>
                    <a:lnTo>
                      <a:pt x="2443" y="262"/>
                    </a:lnTo>
                    <a:lnTo>
                      <a:pt x="2444" y="259"/>
                    </a:lnTo>
                    <a:lnTo>
                      <a:pt x="2445" y="257"/>
                    </a:lnTo>
                    <a:lnTo>
                      <a:pt x="2445" y="256"/>
                    </a:lnTo>
                    <a:lnTo>
                      <a:pt x="2443" y="254"/>
                    </a:lnTo>
                    <a:lnTo>
                      <a:pt x="2442" y="254"/>
                    </a:lnTo>
                    <a:lnTo>
                      <a:pt x="2441" y="254"/>
                    </a:lnTo>
                    <a:lnTo>
                      <a:pt x="2439" y="252"/>
                    </a:lnTo>
                    <a:lnTo>
                      <a:pt x="2438" y="249"/>
                    </a:lnTo>
                    <a:lnTo>
                      <a:pt x="2438" y="246"/>
                    </a:lnTo>
                    <a:lnTo>
                      <a:pt x="2438" y="244"/>
                    </a:lnTo>
                    <a:lnTo>
                      <a:pt x="2439" y="242"/>
                    </a:lnTo>
                    <a:lnTo>
                      <a:pt x="2441" y="240"/>
                    </a:lnTo>
                    <a:lnTo>
                      <a:pt x="2441" y="237"/>
                    </a:lnTo>
                    <a:lnTo>
                      <a:pt x="2441" y="236"/>
                    </a:lnTo>
                    <a:lnTo>
                      <a:pt x="2439" y="235"/>
                    </a:lnTo>
                    <a:lnTo>
                      <a:pt x="2438" y="233"/>
                    </a:lnTo>
                    <a:lnTo>
                      <a:pt x="2438" y="232"/>
                    </a:lnTo>
                    <a:lnTo>
                      <a:pt x="2439" y="229"/>
                    </a:lnTo>
                    <a:lnTo>
                      <a:pt x="2439" y="226"/>
                    </a:lnTo>
                    <a:lnTo>
                      <a:pt x="2441" y="224"/>
                    </a:lnTo>
                    <a:lnTo>
                      <a:pt x="2441" y="222"/>
                    </a:lnTo>
                    <a:lnTo>
                      <a:pt x="2441" y="219"/>
                    </a:lnTo>
                    <a:lnTo>
                      <a:pt x="2442" y="215"/>
                    </a:lnTo>
                    <a:lnTo>
                      <a:pt x="2443" y="211"/>
                    </a:lnTo>
                    <a:lnTo>
                      <a:pt x="2443" y="207"/>
                    </a:lnTo>
                    <a:lnTo>
                      <a:pt x="2443" y="201"/>
                    </a:lnTo>
                    <a:lnTo>
                      <a:pt x="2445" y="194"/>
                    </a:lnTo>
                    <a:lnTo>
                      <a:pt x="2447" y="189"/>
                    </a:lnTo>
                    <a:lnTo>
                      <a:pt x="2448" y="191"/>
                    </a:lnTo>
                    <a:lnTo>
                      <a:pt x="2450" y="193"/>
                    </a:lnTo>
                    <a:lnTo>
                      <a:pt x="2452" y="193"/>
                    </a:lnTo>
                    <a:lnTo>
                      <a:pt x="2453" y="192"/>
                    </a:lnTo>
                    <a:lnTo>
                      <a:pt x="2455" y="191"/>
                    </a:lnTo>
                    <a:lnTo>
                      <a:pt x="2456" y="190"/>
                    </a:lnTo>
                    <a:lnTo>
                      <a:pt x="2457" y="189"/>
                    </a:lnTo>
                    <a:lnTo>
                      <a:pt x="2458" y="188"/>
                    </a:lnTo>
                    <a:lnTo>
                      <a:pt x="2459" y="188"/>
                    </a:lnTo>
                    <a:close/>
                    <a:moveTo>
                      <a:pt x="1310" y="180"/>
                    </a:moveTo>
                    <a:lnTo>
                      <a:pt x="1312" y="181"/>
                    </a:lnTo>
                    <a:lnTo>
                      <a:pt x="1313" y="182"/>
                    </a:lnTo>
                    <a:lnTo>
                      <a:pt x="1313" y="185"/>
                    </a:lnTo>
                    <a:lnTo>
                      <a:pt x="1314" y="187"/>
                    </a:lnTo>
                    <a:lnTo>
                      <a:pt x="1313" y="188"/>
                    </a:lnTo>
                    <a:lnTo>
                      <a:pt x="1312" y="188"/>
                    </a:lnTo>
                    <a:lnTo>
                      <a:pt x="1310" y="188"/>
                    </a:lnTo>
                    <a:lnTo>
                      <a:pt x="1308" y="187"/>
                    </a:lnTo>
                    <a:lnTo>
                      <a:pt x="1307" y="185"/>
                    </a:lnTo>
                    <a:lnTo>
                      <a:pt x="1307" y="182"/>
                    </a:lnTo>
                    <a:lnTo>
                      <a:pt x="1308" y="181"/>
                    </a:lnTo>
                    <a:lnTo>
                      <a:pt x="1310" y="180"/>
                    </a:lnTo>
                    <a:close/>
                    <a:moveTo>
                      <a:pt x="2459" y="171"/>
                    </a:moveTo>
                    <a:lnTo>
                      <a:pt x="2460" y="171"/>
                    </a:lnTo>
                    <a:lnTo>
                      <a:pt x="2461" y="171"/>
                    </a:lnTo>
                    <a:lnTo>
                      <a:pt x="2461" y="172"/>
                    </a:lnTo>
                    <a:lnTo>
                      <a:pt x="2463" y="175"/>
                    </a:lnTo>
                    <a:lnTo>
                      <a:pt x="2464" y="177"/>
                    </a:lnTo>
                    <a:lnTo>
                      <a:pt x="2464" y="179"/>
                    </a:lnTo>
                    <a:lnTo>
                      <a:pt x="2463" y="181"/>
                    </a:lnTo>
                    <a:lnTo>
                      <a:pt x="2461" y="182"/>
                    </a:lnTo>
                    <a:lnTo>
                      <a:pt x="2461" y="185"/>
                    </a:lnTo>
                    <a:lnTo>
                      <a:pt x="2460" y="185"/>
                    </a:lnTo>
                    <a:lnTo>
                      <a:pt x="2460" y="183"/>
                    </a:lnTo>
                    <a:lnTo>
                      <a:pt x="2458" y="182"/>
                    </a:lnTo>
                    <a:lnTo>
                      <a:pt x="2458" y="180"/>
                    </a:lnTo>
                    <a:lnTo>
                      <a:pt x="2457" y="178"/>
                    </a:lnTo>
                    <a:lnTo>
                      <a:pt x="2457" y="175"/>
                    </a:lnTo>
                    <a:lnTo>
                      <a:pt x="2457" y="172"/>
                    </a:lnTo>
                    <a:lnTo>
                      <a:pt x="2458" y="171"/>
                    </a:lnTo>
                    <a:lnTo>
                      <a:pt x="2459" y="171"/>
                    </a:lnTo>
                    <a:close/>
                    <a:moveTo>
                      <a:pt x="39" y="155"/>
                    </a:moveTo>
                    <a:lnTo>
                      <a:pt x="42" y="155"/>
                    </a:lnTo>
                    <a:lnTo>
                      <a:pt x="43" y="156"/>
                    </a:lnTo>
                    <a:lnTo>
                      <a:pt x="44" y="158"/>
                    </a:lnTo>
                    <a:lnTo>
                      <a:pt x="43" y="161"/>
                    </a:lnTo>
                    <a:lnTo>
                      <a:pt x="42" y="164"/>
                    </a:lnTo>
                    <a:lnTo>
                      <a:pt x="41" y="167"/>
                    </a:lnTo>
                    <a:lnTo>
                      <a:pt x="39" y="169"/>
                    </a:lnTo>
                    <a:lnTo>
                      <a:pt x="38" y="171"/>
                    </a:lnTo>
                    <a:lnTo>
                      <a:pt x="37" y="174"/>
                    </a:lnTo>
                    <a:lnTo>
                      <a:pt x="36" y="174"/>
                    </a:lnTo>
                    <a:lnTo>
                      <a:pt x="36" y="174"/>
                    </a:lnTo>
                    <a:lnTo>
                      <a:pt x="35" y="172"/>
                    </a:lnTo>
                    <a:lnTo>
                      <a:pt x="34" y="170"/>
                    </a:lnTo>
                    <a:lnTo>
                      <a:pt x="34" y="168"/>
                    </a:lnTo>
                    <a:lnTo>
                      <a:pt x="33" y="167"/>
                    </a:lnTo>
                    <a:lnTo>
                      <a:pt x="32" y="166"/>
                    </a:lnTo>
                    <a:lnTo>
                      <a:pt x="31" y="165"/>
                    </a:lnTo>
                    <a:lnTo>
                      <a:pt x="31" y="161"/>
                    </a:lnTo>
                    <a:lnTo>
                      <a:pt x="31" y="159"/>
                    </a:lnTo>
                    <a:lnTo>
                      <a:pt x="32" y="157"/>
                    </a:lnTo>
                    <a:lnTo>
                      <a:pt x="34" y="156"/>
                    </a:lnTo>
                    <a:lnTo>
                      <a:pt x="37" y="155"/>
                    </a:lnTo>
                    <a:lnTo>
                      <a:pt x="39" y="155"/>
                    </a:lnTo>
                    <a:close/>
                    <a:moveTo>
                      <a:pt x="2476" y="134"/>
                    </a:moveTo>
                    <a:lnTo>
                      <a:pt x="2477" y="134"/>
                    </a:lnTo>
                    <a:lnTo>
                      <a:pt x="2479" y="134"/>
                    </a:lnTo>
                    <a:lnTo>
                      <a:pt x="2481" y="134"/>
                    </a:lnTo>
                    <a:lnTo>
                      <a:pt x="2482" y="135"/>
                    </a:lnTo>
                    <a:lnTo>
                      <a:pt x="2482" y="137"/>
                    </a:lnTo>
                    <a:lnTo>
                      <a:pt x="2482" y="139"/>
                    </a:lnTo>
                    <a:lnTo>
                      <a:pt x="2481" y="143"/>
                    </a:lnTo>
                    <a:lnTo>
                      <a:pt x="2480" y="146"/>
                    </a:lnTo>
                    <a:lnTo>
                      <a:pt x="2479" y="148"/>
                    </a:lnTo>
                    <a:lnTo>
                      <a:pt x="2478" y="150"/>
                    </a:lnTo>
                    <a:lnTo>
                      <a:pt x="2477" y="150"/>
                    </a:lnTo>
                    <a:lnTo>
                      <a:pt x="2477" y="148"/>
                    </a:lnTo>
                    <a:lnTo>
                      <a:pt x="2476" y="146"/>
                    </a:lnTo>
                    <a:lnTo>
                      <a:pt x="2475" y="143"/>
                    </a:lnTo>
                    <a:lnTo>
                      <a:pt x="2475" y="139"/>
                    </a:lnTo>
                    <a:lnTo>
                      <a:pt x="2475" y="136"/>
                    </a:lnTo>
                    <a:lnTo>
                      <a:pt x="2475" y="134"/>
                    </a:lnTo>
                    <a:lnTo>
                      <a:pt x="2476" y="134"/>
                    </a:lnTo>
                    <a:close/>
                    <a:moveTo>
                      <a:pt x="2704" y="125"/>
                    </a:moveTo>
                    <a:lnTo>
                      <a:pt x="2701" y="126"/>
                    </a:lnTo>
                    <a:lnTo>
                      <a:pt x="2701" y="129"/>
                    </a:lnTo>
                    <a:lnTo>
                      <a:pt x="2703" y="135"/>
                    </a:lnTo>
                    <a:lnTo>
                      <a:pt x="2704" y="141"/>
                    </a:lnTo>
                    <a:lnTo>
                      <a:pt x="2704" y="145"/>
                    </a:lnTo>
                    <a:lnTo>
                      <a:pt x="2706" y="149"/>
                    </a:lnTo>
                    <a:lnTo>
                      <a:pt x="2708" y="154"/>
                    </a:lnTo>
                    <a:lnTo>
                      <a:pt x="2708" y="158"/>
                    </a:lnTo>
                    <a:lnTo>
                      <a:pt x="2709" y="161"/>
                    </a:lnTo>
                    <a:lnTo>
                      <a:pt x="2709" y="165"/>
                    </a:lnTo>
                    <a:lnTo>
                      <a:pt x="2709" y="168"/>
                    </a:lnTo>
                    <a:lnTo>
                      <a:pt x="2710" y="171"/>
                    </a:lnTo>
                    <a:lnTo>
                      <a:pt x="2711" y="172"/>
                    </a:lnTo>
                    <a:lnTo>
                      <a:pt x="2714" y="174"/>
                    </a:lnTo>
                    <a:lnTo>
                      <a:pt x="2715" y="172"/>
                    </a:lnTo>
                    <a:lnTo>
                      <a:pt x="2716" y="171"/>
                    </a:lnTo>
                    <a:lnTo>
                      <a:pt x="2717" y="170"/>
                    </a:lnTo>
                    <a:lnTo>
                      <a:pt x="2717" y="169"/>
                    </a:lnTo>
                    <a:lnTo>
                      <a:pt x="2717" y="167"/>
                    </a:lnTo>
                    <a:lnTo>
                      <a:pt x="2717" y="165"/>
                    </a:lnTo>
                    <a:lnTo>
                      <a:pt x="2718" y="163"/>
                    </a:lnTo>
                    <a:lnTo>
                      <a:pt x="2719" y="160"/>
                    </a:lnTo>
                    <a:lnTo>
                      <a:pt x="2719" y="154"/>
                    </a:lnTo>
                    <a:lnTo>
                      <a:pt x="2720" y="152"/>
                    </a:lnTo>
                    <a:lnTo>
                      <a:pt x="2720" y="149"/>
                    </a:lnTo>
                    <a:lnTo>
                      <a:pt x="2720" y="147"/>
                    </a:lnTo>
                    <a:lnTo>
                      <a:pt x="2719" y="145"/>
                    </a:lnTo>
                    <a:lnTo>
                      <a:pt x="2719" y="143"/>
                    </a:lnTo>
                    <a:lnTo>
                      <a:pt x="2718" y="142"/>
                    </a:lnTo>
                    <a:lnTo>
                      <a:pt x="2716" y="141"/>
                    </a:lnTo>
                    <a:lnTo>
                      <a:pt x="2715" y="138"/>
                    </a:lnTo>
                    <a:lnTo>
                      <a:pt x="2712" y="136"/>
                    </a:lnTo>
                    <a:lnTo>
                      <a:pt x="2712" y="134"/>
                    </a:lnTo>
                    <a:lnTo>
                      <a:pt x="2712" y="132"/>
                    </a:lnTo>
                    <a:lnTo>
                      <a:pt x="2711" y="129"/>
                    </a:lnTo>
                    <a:lnTo>
                      <a:pt x="2710" y="127"/>
                    </a:lnTo>
                    <a:lnTo>
                      <a:pt x="2708" y="127"/>
                    </a:lnTo>
                    <a:lnTo>
                      <a:pt x="2706" y="126"/>
                    </a:lnTo>
                    <a:lnTo>
                      <a:pt x="2704" y="125"/>
                    </a:lnTo>
                    <a:close/>
                    <a:moveTo>
                      <a:pt x="731" y="113"/>
                    </a:moveTo>
                    <a:lnTo>
                      <a:pt x="729" y="113"/>
                    </a:lnTo>
                    <a:lnTo>
                      <a:pt x="728" y="115"/>
                    </a:lnTo>
                    <a:lnTo>
                      <a:pt x="725" y="118"/>
                    </a:lnTo>
                    <a:lnTo>
                      <a:pt x="719" y="127"/>
                    </a:lnTo>
                    <a:lnTo>
                      <a:pt x="712" y="134"/>
                    </a:lnTo>
                    <a:lnTo>
                      <a:pt x="707" y="141"/>
                    </a:lnTo>
                    <a:lnTo>
                      <a:pt x="703" y="149"/>
                    </a:lnTo>
                    <a:lnTo>
                      <a:pt x="703" y="153"/>
                    </a:lnTo>
                    <a:lnTo>
                      <a:pt x="703" y="154"/>
                    </a:lnTo>
                    <a:lnTo>
                      <a:pt x="703" y="155"/>
                    </a:lnTo>
                    <a:lnTo>
                      <a:pt x="704" y="155"/>
                    </a:lnTo>
                    <a:lnTo>
                      <a:pt x="706" y="154"/>
                    </a:lnTo>
                    <a:lnTo>
                      <a:pt x="707" y="153"/>
                    </a:lnTo>
                    <a:lnTo>
                      <a:pt x="708" y="152"/>
                    </a:lnTo>
                    <a:lnTo>
                      <a:pt x="709" y="149"/>
                    </a:lnTo>
                    <a:lnTo>
                      <a:pt x="710" y="148"/>
                    </a:lnTo>
                    <a:lnTo>
                      <a:pt x="711" y="146"/>
                    </a:lnTo>
                    <a:lnTo>
                      <a:pt x="712" y="145"/>
                    </a:lnTo>
                    <a:lnTo>
                      <a:pt x="717" y="142"/>
                    </a:lnTo>
                    <a:lnTo>
                      <a:pt x="722" y="139"/>
                    </a:lnTo>
                    <a:lnTo>
                      <a:pt x="728" y="139"/>
                    </a:lnTo>
                    <a:lnTo>
                      <a:pt x="733" y="137"/>
                    </a:lnTo>
                    <a:lnTo>
                      <a:pt x="736" y="134"/>
                    </a:lnTo>
                    <a:lnTo>
                      <a:pt x="737" y="131"/>
                    </a:lnTo>
                    <a:lnTo>
                      <a:pt x="739" y="127"/>
                    </a:lnTo>
                    <a:lnTo>
                      <a:pt x="739" y="124"/>
                    </a:lnTo>
                    <a:lnTo>
                      <a:pt x="737" y="121"/>
                    </a:lnTo>
                    <a:lnTo>
                      <a:pt x="736" y="117"/>
                    </a:lnTo>
                    <a:lnTo>
                      <a:pt x="735" y="115"/>
                    </a:lnTo>
                    <a:lnTo>
                      <a:pt x="733" y="113"/>
                    </a:lnTo>
                    <a:lnTo>
                      <a:pt x="731" y="113"/>
                    </a:lnTo>
                    <a:close/>
                    <a:moveTo>
                      <a:pt x="2728" y="103"/>
                    </a:moveTo>
                    <a:lnTo>
                      <a:pt x="2727" y="104"/>
                    </a:lnTo>
                    <a:lnTo>
                      <a:pt x="2726" y="105"/>
                    </a:lnTo>
                    <a:lnTo>
                      <a:pt x="2726" y="118"/>
                    </a:lnTo>
                    <a:lnTo>
                      <a:pt x="2726" y="121"/>
                    </a:lnTo>
                    <a:lnTo>
                      <a:pt x="2726" y="123"/>
                    </a:lnTo>
                    <a:lnTo>
                      <a:pt x="2727" y="125"/>
                    </a:lnTo>
                    <a:lnTo>
                      <a:pt x="2728" y="127"/>
                    </a:lnTo>
                    <a:lnTo>
                      <a:pt x="2728" y="131"/>
                    </a:lnTo>
                    <a:lnTo>
                      <a:pt x="2729" y="133"/>
                    </a:lnTo>
                    <a:lnTo>
                      <a:pt x="2731" y="135"/>
                    </a:lnTo>
                    <a:lnTo>
                      <a:pt x="2732" y="138"/>
                    </a:lnTo>
                    <a:lnTo>
                      <a:pt x="2733" y="142"/>
                    </a:lnTo>
                    <a:lnTo>
                      <a:pt x="2734" y="144"/>
                    </a:lnTo>
                    <a:lnTo>
                      <a:pt x="2736" y="146"/>
                    </a:lnTo>
                    <a:lnTo>
                      <a:pt x="2737" y="149"/>
                    </a:lnTo>
                    <a:lnTo>
                      <a:pt x="2737" y="149"/>
                    </a:lnTo>
                    <a:lnTo>
                      <a:pt x="2737" y="148"/>
                    </a:lnTo>
                    <a:lnTo>
                      <a:pt x="2738" y="147"/>
                    </a:lnTo>
                    <a:lnTo>
                      <a:pt x="2739" y="147"/>
                    </a:lnTo>
                    <a:lnTo>
                      <a:pt x="2739" y="143"/>
                    </a:lnTo>
                    <a:lnTo>
                      <a:pt x="2738" y="138"/>
                    </a:lnTo>
                    <a:lnTo>
                      <a:pt x="2737" y="134"/>
                    </a:lnTo>
                    <a:lnTo>
                      <a:pt x="2736" y="129"/>
                    </a:lnTo>
                    <a:lnTo>
                      <a:pt x="2734" y="125"/>
                    </a:lnTo>
                    <a:lnTo>
                      <a:pt x="2734" y="121"/>
                    </a:lnTo>
                    <a:lnTo>
                      <a:pt x="2734" y="120"/>
                    </a:lnTo>
                    <a:lnTo>
                      <a:pt x="2733" y="116"/>
                    </a:lnTo>
                    <a:lnTo>
                      <a:pt x="2732" y="114"/>
                    </a:lnTo>
                    <a:lnTo>
                      <a:pt x="2731" y="111"/>
                    </a:lnTo>
                    <a:lnTo>
                      <a:pt x="2730" y="109"/>
                    </a:lnTo>
                    <a:lnTo>
                      <a:pt x="2729" y="106"/>
                    </a:lnTo>
                    <a:lnTo>
                      <a:pt x="2728" y="104"/>
                    </a:lnTo>
                    <a:lnTo>
                      <a:pt x="2728" y="103"/>
                    </a:lnTo>
                    <a:close/>
                    <a:moveTo>
                      <a:pt x="1306" y="87"/>
                    </a:moveTo>
                    <a:lnTo>
                      <a:pt x="1308" y="89"/>
                    </a:lnTo>
                    <a:lnTo>
                      <a:pt x="1309" y="91"/>
                    </a:lnTo>
                    <a:lnTo>
                      <a:pt x="1309" y="93"/>
                    </a:lnTo>
                    <a:lnTo>
                      <a:pt x="1308" y="95"/>
                    </a:lnTo>
                    <a:lnTo>
                      <a:pt x="1307" y="98"/>
                    </a:lnTo>
                    <a:lnTo>
                      <a:pt x="1304" y="99"/>
                    </a:lnTo>
                    <a:lnTo>
                      <a:pt x="1302" y="101"/>
                    </a:lnTo>
                    <a:lnTo>
                      <a:pt x="1300" y="102"/>
                    </a:lnTo>
                    <a:lnTo>
                      <a:pt x="1299" y="103"/>
                    </a:lnTo>
                    <a:lnTo>
                      <a:pt x="1292" y="112"/>
                    </a:lnTo>
                    <a:lnTo>
                      <a:pt x="1287" y="122"/>
                    </a:lnTo>
                    <a:lnTo>
                      <a:pt x="1285" y="131"/>
                    </a:lnTo>
                    <a:lnTo>
                      <a:pt x="1282" y="131"/>
                    </a:lnTo>
                    <a:lnTo>
                      <a:pt x="1282" y="126"/>
                    </a:lnTo>
                    <a:lnTo>
                      <a:pt x="1283" y="120"/>
                    </a:lnTo>
                    <a:lnTo>
                      <a:pt x="1285" y="114"/>
                    </a:lnTo>
                    <a:lnTo>
                      <a:pt x="1287" y="109"/>
                    </a:lnTo>
                    <a:lnTo>
                      <a:pt x="1287" y="105"/>
                    </a:lnTo>
                    <a:lnTo>
                      <a:pt x="1289" y="104"/>
                    </a:lnTo>
                    <a:lnTo>
                      <a:pt x="1290" y="102"/>
                    </a:lnTo>
                    <a:lnTo>
                      <a:pt x="1293" y="101"/>
                    </a:lnTo>
                    <a:lnTo>
                      <a:pt x="1296" y="101"/>
                    </a:lnTo>
                    <a:lnTo>
                      <a:pt x="1297" y="100"/>
                    </a:lnTo>
                    <a:lnTo>
                      <a:pt x="1299" y="99"/>
                    </a:lnTo>
                    <a:lnTo>
                      <a:pt x="1300" y="96"/>
                    </a:lnTo>
                    <a:lnTo>
                      <a:pt x="1300" y="94"/>
                    </a:lnTo>
                    <a:lnTo>
                      <a:pt x="1300" y="92"/>
                    </a:lnTo>
                    <a:lnTo>
                      <a:pt x="1300" y="91"/>
                    </a:lnTo>
                    <a:lnTo>
                      <a:pt x="1299" y="90"/>
                    </a:lnTo>
                    <a:lnTo>
                      <a:pt x="1300" y="89"/>
                    </a:lnTo>
                    <a:lnTo>
                      <a:pt x="1301" y="88"/>
                    </a:lnTo>
                    <a:lnTo>
                      <a:pt x="1302" y="88"/>
                    </a:lnTo>
                    <a:lnTo>
                      <a:pt x="1306" y="87"/>
                    </a:lnTo>
                    <a:close/>
                    <a:moveTo>
                      <a:pt x="1540" y="69"/>
                    </a:moveTo>
                    <a:lnTo>
                      <a:pt x="1540" y="69"/>
                    </a:lnTo>
                    <a:lnTo>
                      <a:pt x="1541" y="69"/>
                    </a:lnTo>
                    <a:lnTo>
                      <a:pt x="1541" y="69"/>
                    </a:lnTo>
                    <a:lnTo>
                      <a:pt x="1542" y="69"/>
                    </a:lnTo>
                    <a:lnTo>
                      <a:pt x="1544" y="69"/>
                    </a:lnTo>
                    <a:lnTo>
                      <a:pt x="1547" y="70"/>
                    </a:lnTo>
                    <a:lnTo>
                      <a:pt x="1551" y="70"/>
                    </a:lnTo>
                    <a:lnTo>
                      <a:pt x="1555" y="71"/>
                    </a:lnTo>
                    <a:lnTo>
                      <a:pt x="1555" y="72"/>
                    </a:lnTo>
                    <a:lnTo>
                      <a:pt x="1554" y="74"/>
                    </a:lnTo>
                    <a:lnTo>
                      <a:pt x="1552" y="76"/>
                    </a:lnTo>
                    <a:lnTo>
                      <a:pt x="1550" y="78"/>
                    </a:lnTo>
                    <a:lnTo>
                      <a:pt x="1547" y="78"/>
                    </a:lnTo>
                    <a:lnTo>
                      <a:pt x="1543" y="77"/>
                    </a:lnTo>
                    <a:lnTo>
                      <a:pt x="1541" y="77"/>
                    </a:lnTo>
                    <a:lnTo>
                      <a:pt x="1539" y="76"/>
                    </a:lnTo>
                    <a:lnTo>
                      <a:pt x="1538" y="74"/>
                    </a:lnTo>
                    <a:lnTo>
                      <a:pt x="1538" y="72"/>
                    </a:lnTo>
                    <a:lnTo>
                      <a:pt x="1538" y="72"/>
                    </a:lnTo>
                    <a:lnTo>
                      <a:pt x="1538" y="71"/>
                    </a:lnTo>
                    <a:lnTo>
                      <a:pt x="1538" y="70"/>
                    </a:lnTo>
                    <a:lnTo>
                      <a:pt x="1539" y="69"/>
                    </a:lnTo>
                    <a:lnTo>
                      <a:pt x="1540" y="69"/>
                    </a:lnTo>
                    <a:close/>
                    <a:moveTo>
                      <a:pt x="4" y="51"/>
                    </a:moveTo>
                    <a:lnTo>
                      <a:pt x="5" y="52"/>
                    </a:lnTo>
                    <a:lnTo>
                      <a:pt x="5" y="52"/>
                    </a:lnTo>
                    <a:lnTo>
                      <a:pt x="6" y="54"/>
                    </a:lnTo>
                    <a:lnTo>
                      <a:pt x="8" y="55"/>
                    </a:lnTo>
                    <a:lnTo>
                      <a:pt x="8" y="55"/>
                    </a:lnTo>
                    <a:lnTo>
                      <a:pt x="10" y="56"/>
                    </a:lnTo>
                    <a:lnTo>
                      <a:pt x="12" y="57"/>
                    </a:lnTo>
                    <a:lnTo>
                      <a:pt x="13" y="58"/>
                    </a:lnTo>
                    <a:lnTo>
                      <a:pt x="14" y="59"/>
                    </a:lnTo>
                    <a:lnTo>
                      <a:pt x="15" y="61"/>
                    </a:lnTo>
                    <a:lnTo>
                      <a:pt x="17" y="62"/>
                    </a:lnTo>
                    <a:lnTo>
                      <a:pt x="17" y="65"/>
                    </a:lnTo>
                    <a:lnTo>
                      <a:pt x="19" y="65"/>
                    </a:lnTo>
                    <a:lnTo>
                      <a:pt x="20" y="66"/>
                    </a:lnTo>
                    <a:lnTo>
                      <a:pt x="22" y="66"/>
                    </a:lnTo>
                    <a:lnTo>
                      <a:pt x="23" y="67"/>
                    </a:lnTo>
                    <a:lnTo>
                      <a:pt x="23" y="68"/>
                    </a:lnTo>
                    <a:lnTo>
                      <a:pt x="22" y="69"/>
                    </a:lnTo>
                    <a:lnTo>
                      <a:pt x="21" y="70"/>
                    </a:lnTo>
                    <a:lnTo>
                      <a:pt x="19" y="71"/>
                    </a:lnTo>
                    <a:lnTo>
                      <a:pt x="17" y="72"/>
                    </a:lnTo>
                    <a:lnTo>
                      <a:pt x="16" y="74"/>
                    </a:lnTo>
                    <a:lnTo>
                      <a:pt x="16" y="77"/>
                    </a:lnTo>
                    <a:lnTo>
                      <a:pt x="15" y="78"/>
                    </a:lnTo>
                    <a:lnTo>
                      <a:pt x="15" y="78"/>
                    </a:lnTo>
                    <a:lnTo>
                      <a:pt x="14" y="76"/>
                    </a:lnTo>
                    <a:lnTo>
                      <a:pt x="13" y="72"/>
                    </a:lnTo>
                    <a:lnTo>
                      <a:pt x="13" y="70"/>
                    </a:lnTo>
                    <a:lnTo>
                      <a:pt x="11" y="68"/>
                    </a:lnTo>
                    <a:lnTo>
                      <a:pt x="10" y="67"/>
                    </a:lnTo>
                    <a:lnTo>
                      <a:pt x="8" y="67"/>
                    </a:lnTo>
                    <a:lnTo>
                      <a:pt x="6" y="67"/>
                    </a:lnTo>
                    <a:lnTo>
                      <a:pt x="5" y="68"/>
                    </a:lnTo>
                    <a:lnTo>
                      <a:pt x="3" y="70"/>
                    </a:lnTo>
                    <a:lnTo>
                      <a:pt x="1" y="69"/>
                    </a:lnTo>
                    <a:lnTo>
                      <a:pt x="0" y="65"/>
                    </a:lnTo>
                    <a:lnTo>
                      <a:pt x="1" y="58"/>
                    </a:lnTo>
                    <a:lnTo>
                      <a:pt x="3" y="52"/>
                    </a:lnTo>
                    <a:lnTo>
                      <a:pt x="4" y="51"/>
                    </a:lnTo>
                    <a:close/>
                    <a:moveTo>
                      <a:pt x="1602" y="15"/>
                    </a:moveTo>
                    <a:lnTo>
                      <a:pt x="1604" y="15"/>
                    </a:lnTo>
                    <a:lnTo>
                      <a:pt x="1605" y="16"/>
                    </a:lnTo>
                    <a:lnTo>
                      <a:pt x="1607" y="17"/>
                    </a:lnTo>
                    <a:lnTo>
                      <a:pt x="1607" y="19"/>
                    </a:lnTo>
                    <a:lnTo>
                      <a:pt x="1607" y="22"/>
                    </a:lnTo>
                    <a:lnTo>
                      <a:pt x="1606" y="24"/>
                    </a:lnTo>
                    <a:lnTo>
                      <a:pt x="1604" y="25"/>
                    </a:lnTo>
                    <a:lnTo>
                      <a:pt x="1603" y="26"/>
                    </a:lnTo>
                    <a:lnTo>
                      <a:pt x="1601" y="26"/>
                    </a:lnTo>
                    <a:lnTo>
                      <a:pt x="1598" y="26"/>
                    </a:lnTo>
                    <a:lnTo>
                      <a:pt x="1597" y="24"/>
                    </a:lnTo>
                    <a:lnTo>
                      <a:pt x="1596" y="21"/>
                    </a:lnTo>
                    <a:lnTo>
                      <a:pt x="1596" y="18"/>
                    </a:lnTo>
                    <a:lnTo>
                      <a:pt x="1597" y="16"/>
                    </a:lnTo>
                    <a:lnTo>
                      <a:pt x="1599" y="15"/>
                    </a:lnTo>
                    <a:lnTo>
                      <a:pt x="1602" y="15"/>
                    </a:lnTo>
                    <a:close/>
                    <a:moveTo>
                      <a:pt x="90" y="4"/>
                    </a:moveTo>
                    <a:lnTo>
                      <a:pt x="90" y="7"/>
                    </a:lnTo>
                    <a:lnTo>
                      <a:pt x="89" y="8"/>
                    </a:lnTo>
                    <a:lnTo>
                      <a:pt x="88" y="11"/>
                    </a:lnTo>
                    <a:lnTo>
                      <a:pt x="86" y="14"/>
                    </a:lnTo>
                    <a:lnTo>
                      <a:pt x="82" y="16"/>
                    </a:lnTo>
                    <a:lnTo>
                      <a:pt x="80" y="17"/>
                    </a:lnTo>
                    <a:lnTo>
                      <a:pt x="78" y="18"/>
                    </a:lnTo>
                    <a:lnTo>
                      <a:pt x="76" y="21"/>
                    </a:lnTo>
                    <a:lnTo>
                      <a:pt x="74" y="24"/>
                    </a:lnTo>
                    <a:lnTo>
                      <a:pt x="69" y="27"/>
                    </a:lnTo>
                    <a:lnTo>
                      <a:pt x="64" y="27"/>
                    </a:lnTo>
                    <a:lnTo>
                      <a:pt x="59" y="25"/>
                    </a:lnTo>
                    <a:lnTo>
                      <a:pt x="56" y="24"/>
                    </a:lnTo>
                    <a:lnTo>
                      <a:pt x="54" y="25"/>
                    </a:lnTo>
                    <a:lnTo>
                      <a:pt x="50" y="24"/>
                    </a:lnTo>
                    <a:lnTo>
                      <a:pt x="48" y="21"/>
                    </a:lnTo>
                    <a:lnTo>
                      <a:pt x="46" y="17"/>
                    </a:lnTo>
                    <a:lnTo>
                      <a:pt x="45" y="12"/>
                    </a:lnTo>
                    <a:lnTo>
                      <a:pt x="47" y="8"/>
                    </a:lnTo>
                    <a:lnTo>
                      <a:pt x="68" y="5"/>
                    </a:lnTo>
                    <a:lnTo>
                      <a:pt x="90" y="4"/>
                    </a:lnTo>
                    <a:close/>
                    <a:moveTo>
                      <a:pt x="92" y="0"/>
                    </a:moveTo>
                    <a:lnTo>
                      <a:pt x="95" y="0"/>
                    </a:lnTo>
                    <a:lnTo>
                      <a:pt x="95" y="1"/>
                    </a:lnTo>
                    <a:lnTo>
                      <a:pt x="95" y="2"/>
                    </a:lnTo>
                    <a:lnTo>
                      <a:pt x="110" y="2"/>
                    </a:lnTo>
                    <a:lnTo>
                      <a:pt x="155" y="7"/>
                    </a:lnTo>
                    <a:lnTo>
                      <a:pt x="200" y="18"/>
                    </a:lnTo>
                    <a:lnTo>
                      <a:pt x="248" y="36"/>
                    </a:lnTo>
                    <a:lnTo>
                      <a:pt x="296" y="57"/>
                    </a:lnTo>
                    <a:lnTo>
                      <a:pt x="347" y="83"/>
                    </a:lnTo>
                    <a:lnTo>
                      <a:pt x="399" y="114"/>
                    </a:lnTo>
                    <a:lnTo>
                      <a:pt x="456" y="149"/>
                    </a:lnTo>
                    <a:lnTo>
                      <a:pt x="515" y="188"/>
                    </a:lnTo>
                    <a:lnTo>
                      <a:pt x="579" y="230"/>
                    </a:lnTo>
                    <a:lnTo>
                      <a:pt x="646" y="274"/>
                    </a:lnTo>
                    <a:lnTo>
                      <a:pt x="717" y="320"/>
                    </a:lnTo>
                    <a:lnTo>
                      <a:pt x="789" y="366"/>
                    </a:lnTo>
                    <a:lnTo>
                      <a:pt x="866" y="412"/>
                    </a:lnTo>
                    <a:lnTo>
                      <a:pt x="947" y="458"/>
                    </a:lnTo>
                    <a:lnTo>
                      <a:pt x="1020" y="496"/>
                    </a:lnTo>
                    <a:lnTo>
                      <a:pt x="1093" y="531"/>
                    </a:lnTo>
                    <a:lnTo>
                      <a:pt x="1091" y="531"/>
                    </a:lnTo>
                    <a:lnTo>
                      <a:pt x="1088" y="532"/>
                    </a:lnTo>
                    <a:lnTo>
                      <a:pt x="1084" y="534"/>
                    </a:lnTo>
                    <a:lnTo>
                      <a:pt x="1082" y="536"/>
                    </a:lnTo>
                    <a:lnTo>
                      <a:pt x="1079" y="538"/>
                    </a:lnTo>
                    <a:lnTo>
                      <a:pt x="1077" y="540"/>
                    </a:lnTo>
                    <a:lnTo>
                      <a:pt x="1073" y="542"/>
                    </a:lnTo>
                    <a:lnTo>
                      <a:pt x="1071" y="545"/>
                    </a:lnTo>
                    <a:lnTo>
                      <a:pt x="1069" y="546"/>
                    </a:lnTo>
                    <a:lnTo>
                      <a:pt x="1066" y="547"/>
                    </a:lnTo>
                    <a:lnTo>
                      <a:pt x="1062" y="548"/>
                    </a:lnTo>
                    <a:lnTo>
                      <a:pt x="1060" y="549"/>
                    </a:lnTo>
                    <a:lnTo>
                      <a:pt x="1058" y="551"/>
                    </a:lnTo>
                    <a:lnTo>
                      <a:pt x="1056" y="553"/>
                    </a:lnTo>
                    <a:lnTo>
                      <a:pt x="1056" y="554"/>
                    </a:lnTo>
                    <a:lnTo>
                      <a:pt x="1057" y="556"/>
                    </a:lnTo>
                    <a:lnTo>
                      <a:pt x="1059" y="556"/>
                    </a:lnTo>
                    <a:lnTo>
                      <a:pt x="1061" y="556"/>
                    </a:lnTo>
                    <a:lnTo>
                      <a:pt x="1064" y="556"/>
                    </a:lnTo>
                    <a:lnTo>
                      <a:pt x="1067" y="556"/>
                    </a:lnTo>
                    <a:lnTo>
                      <a:pt x="1069" y="556"/>
                    </a:lnTo>
                    <a:lnTo>
                      <a:pt x="1071" y="556"/>
                    </a:lnTo>
                    <a:lnTo>
                      <a:pt x="1071" y="556"/>
                    </a:lnTo>
                    <a:lnTo>
                      <a:pt x="1074" y="556"/>
                    </a:lnTo>
                    <a:lnTo>
                      <a:pt x="1077" y="554"/>
                    </a:lnTo>
                    <a:lnTo>
                      <a:pt x="1080" y="553"/>
                    </a:lnTo>
                    <a:lnTo>
                      <a:pt x="1082" y="553"/>
                    </a:lnTo>
                    <a:lnTo>
                      <a:pt x="1084" y="553"/>
                    </a:lnTo>
                    <a:lnTo>
                      <a:pt x="1086" y="554"/>
                    </a:lnTo>
                    <a:lnTo>
                      <a:pt x="1086" y="557"/>
                    </a:lnTo>
                    <a:lnTo>
                      <a:pt x="1088" y="558"/>
                    </a:lnTo>
                    <a:lnTo>
                      <a:pt x="1089" y="558"/>
                    </a:lnTo>
                    <a:lnTo>
                      <a:pt x="1099" y="556"/>
                    </a:lnTo>
                    <a:lnTo>
                      <a:pt x="1107" y="551"/>
                    </a:lnTo>
                    <a:lnTo>
                      <a:pt x="1115" y="547"/>
                    </a:lnTo>
                    <a:lnTo>
                      <a:pt x="1117" y="546"/>
                    </a:lnTo>
                    <a:lnTo>
                      <a:pt x="1121" y="545"/>
                    </a:lnTo>
                    <a:lnTo>
                      <a:pt x="1122" y="545"/>
                    </a:lnTo>
                    <a:lnTo>
                      <a:pt x="1128" y="547"/>
                    </a:lnTo>
                    <a:lnTo>
                      <a:pt x="1138" y="550"/>
                    </a:lnTo>
                    <a:lnTo>
                      <a:pt x="1138" y="550"/>
                    </a:lnTo>
                    <a:lnTo>
                      <a:pt x="1139" y="550"/>
                    </a:lnTo>
                    <a:lnTo>
                      <a:pt x="1138" y="550"/>
                    </a:lnTo>
                    <a:lnTo>
                      <a:pt x="1138" y="549"/>
                    </a:lnTo>
                    <a:lnTo>
                      <a:pt x="1138" y="548"/>
                    </a:lnTo>
                    <a:lnTo>
                      <a:pt x="1141" y="549"/>
                    </a:lnTo>
                    <a:lnTo>
                      <a:pt x="1143" y="550"/>
                    </a:lnTo>
                    <a:lnTo>
                      <a:pt x="1144" y="551"/>
                    </a:lnTo>
                    <a:lnTo>
                      <a:pt x="1145" y="552"/>
                    </a:lnTo>
                    <a:lnTo>
                      <a:pt x="1146" y="553"/>
                    </a:lnTo>
                    <a:lnTo>
                      <a:pt x="1149" y="554"/>
                    </a:lnTo>
                    <a:lnTo>
                      <a:pt x="1150" y="557"/>
                    </a:lnTo>
                    <a:lnTo>
                      <a:pt x="1152" y="558"/>
                    </a:lnTo>
                    <a:lnTo>
                      <a:pt x="1155" y="560"/>
                    </a:lnTo>
                    <a:lnTo>
                      <a:pt x="1157" y="560"/>
                    </a:lnTo>
                    <a:lnTo>
                      <a:pt x="1163" y="560"/>
                    </a:lnTo>
                    <a:lnTo>
                      <a:pt x="1168" y="561"/>
                    </a:lnTo>
                    <a:lnTo>
                      <a:pt x="1167" y="562"/>
                    </a:lnTo>
                    <a:lnTo>
                      <a:pt x="1165" y="563"/>
                    </a:lnTo>
                    <a:lnTo>
                      <a:pt x="1187" y="573"/>
                    </a:lnTo>
                    <a:lnTo>
                      <a:pt x="1201" y="580"/>
                    </a:lnTo>
                    <a:lnTo>
                      <a:pt x="1197" y="580"/>
                    </a:lnTo>
                    <a:lnTo>
                      <a:pt x="1195" y="580"/>
                    </a:lnTo>
                    <a:lnTo>
                      <a:pt x="1193" y="580"/>
                    </a:lnTo>
                    <a:lnTo>
                      <a:pt x="1191" y="579"/>
                    </a:lnTo>
                    <a:lnTo>
                      <a:pt x="1189" y="579"/>
                    </a:lnTo>
                    <a:lnTo>
                      <a:pt x="1187" y="580"/>
                    </a:lnTo>
                    <a:lnTo>
                      <a:pt x="1186" y="581"/>
                    </a:lnTo>
                    <a:lnTo>
                      <a:pt x="1183" y="582"/>
                    </a:lnTo>
                    <a:lnTo>
                      <a:pt x="1181" y="581"/>
                    </a:lnTo>
                    <a:lnTo>
                      <a:pt x="1177" y="583"/>
                    </a:lnTo>
                    <a:lnTo>
                      <a:pt x="1170" y="587"/>
                    </a:lnTo>
                    <a:lnTo>
                      <a:pt x="1165" y="592"/>
                    </a:lnTo>
                    <a:lnTo>
                      <a:pt x="1160" y="596"/>
                    </a:lnTo>
                    <a:lnTo>
                      <a:pt x="1157" y="600"/>
                    </a:lnTo>
                    <a:lnTo>
                      <a:pt x="1157" y="603"/>
                    </a:lnTo>
                    <a:lnTo>
                      <a:pt x="1156" y="606"/>
                    </a:lnTo>
                    <a:lnTo>
                      <a:pt x="1156" y="609"/>
                    </a:lnTo>
                    <a:lnTo>
                      <a:pt x="1156" y="613"/>
                    </a:lnTo>
                    <a:lnTo>
                      <a:pt x="1155" y="617"/>
                    </a:lnTo>
                    <a:lnTo>
                      <a:pt x="1155" y="620"/>
                    </a:lnTo>
                    <a:lnTo>
                      <a:pt x="1154" y="623"/>
                    </a:lnTo>
                    <a:lnTo>
                      <a:pt x="1151" y="626"/>
                    </a:lnTo>
                    <a:lnTo>
                      <a:pt x="1150" y="628"/>
                    </a:lnTo>
                    <a:lnTo>
                      <a:pt x="1148" y="630"/>
                    </a:lnTo>
                    <a:lnTo>
                      <a:pt x="1141" y="645"/>
                    </a:lnTo>
                    <a:lnTo>
                      <a:pt x="1139" y="660"/>
                    </a:lnTo>
                    <a:lnTo>
                      <a:pt x="1141" y="674"/>
                    </a:lnTo>
                    <a:lnTo>
                      <a:pt x="1143" y="678"/>
                    </a:lnTo>
                    <a:lnTo>
                      <a:pt x="1145" y="683"/>
                    </a:lnTo>
                    <a:lnTo>
                      <a:pt x="1146" y="691"/>
                    </a:lnTo>
                    <a:lnTo>
                      <a:pt x="1148" y="698"/>
                    </a:lnTo>
                    <a:lnTo>
                      <a:pt x="1151" y="701"/>
                    </a:lnTo>
                    <a:lnTo>
                      <a:pt x="1155" y="701"/>
                    </a:lnTo>
                    <a:lnTo>
                      <a:pt x="1157" y="699"/>
                    </a:lnTo>
                    <a:lnTo>
                      <a:pt x="1158" y="694"/>
                    </a:lnTo>
                    <a:lnTo>
                      <a:pt x="1160" y="691"/>
                    </a:lnTo>
                    <a:lnTo>
                      <a:pt x="1161" y="688"/>
                    </a:lnTo>
                    <a:lnTo>
                      <a:pt x="1163" y="685"/>
                    </a:lnTo>
                    <a:lnTo>
                      <a:pt x="1166" y="684"/>
                    </a:lnTo>
                    <a:lnTo>
                      <a:pt x="1168" y="683"/>
                    </a:lnTo>
                    <a:lnTo>
                      <a:pt x="1170" y="681"/>
                    </a:lnTo>
                    <a:lnTo>
                      <a:pt x="1170" y="679"/>
                    </a:lnTo>
                    <a:lnTo>
                      <a:pt x="1171" y="669"/>
                    </a:lnTo>
                    <a:lnTo>
                      <a:pt x="1168" y="659"/>
                    </a:lnTo>
                    <a:lnTo>
                      <a:pt x="1168" y="646"/>
                    </a:lnTo>
                    <a:lnTo>
                      <a:pt x="1168" y="635"/>
                    </a:lnTo>
                    <a:lnTo>
                      <a:pt x="1170" y="628"/>
                    </a:lnTo>
                    <a:lnTo>
                      <a:pt x="1171" y="622"/>
                    </a:lnTo>
                    <a:lnTo>
                      <a:pt x="1173" y="615"/>
                    </a:lnTo>
                    <a:lnTo>
                      <a:pt x="1177" y="611"/>
                    </a:lnTo>
                    <a:lnTo>
                      <a:pt x="1180" y="609"/>
                    </a:lnTo>
                    <a:lnTo>
                      <a:pt x="1183" y="609"/>
                    </a:lnTo>
                    <a:lnTo>
                      <a:pt x="1187" y="609"/>
                    </a:lnTo>
                    <a:lnTo>
                      <a:pt x="1190" y="609"/>
                    </a:lnTo>
                    <a:lnTo>
                      <a:pt x="1192" y="608"/>
                    </a:lnTo>
                    <a:lnTo>
                      <a:pt x="1195" y="603"/>
                    </a:lnTo>
                    <a:lnTo>
                      <a:pt x="1199" y="595"/>
                    </a:lnTo>
                    <a:lnTo>
                      <a:pt x="1202" y="589"/>
                    </a:lnTo>
                    <a:lnTo>
                      <a:pt x="1208" y="584"/>
                    </a:lnTo>
                    <a:lnTo>
                      <a:pt x="1214" y="584"/>
                    </a:lnTo>
                    <a:lnTo>
                      <a:pt x="1217" y="585"/>
                    </a:lnTo>
                    <a:lnTo>
                      <a:pt x="1220" y="587"/>
                    </a:lnTo>
                    <a:lnTo>
                      <a:pt x="1222" y="591"/>
                    </a:lnTo>
                    <a:lnTo>
                      <a:pt x="1223" y="594"/>
                    </a:lnTo>
                    <a:lnTo>
                      <a:pt x="1225" y="596"/>
                    </a:lnTo>
                    <a:lnTo>
                      <a:pt x="1227" y="600"/>
                    </a:lnTo>
                    <a:lnTo>
                      <a:pt x="1230" y="602"/>
                    </a:lnTo>
                    <a:lnTo>
                      <a:pt x="1233" y="604"/>
                    </a:lnTo>
                    <a:lnTo>
                      <a:pt x="1235" y="605"/>
                    </a:lnTo>
                    <a:lnTo>
                      <a:pt x="1237" y="606"/>
                    </a:lnTo>
                    <a:lnTo>
                      <a:pt x="1239" y="608"/>
                    </a:lnTo>
                    <a:lnTo>
                      <a:pt x="1241" y="609"/>
                    </a:lnTo>
                    <a:lnTo>
                      <a:pt x="1241" y="613"/>
                    </a:lnTo>
                    <a:lnTo>
                      <a:pt x="1241" y="619"/>
                    </a:lnTo>
                    <a:lnTo>
                      <a:pt x="1238" y="627"/>
                    </a:lnTo>
                    <a:lnTo>
                      <a:pt x="1238" y="634"/>
                    </a:lnTo>
                    <a:lnTo>
                      <a:pt x="1241" y="639"/>
                    </a:lnTo>
                    <a:lnTo>
                      <a:pt x="1243" y="640"/>
                    </a:lnTo>
                    <a:lnTo>
                      <a:pt x="1245" y="641"/>
                    </a:lnTo>
                    <a:lnTo>
                      <a:pt x="1247" y="641"/>
                    </a:lnTo>
                    <a:lnTo>
                      <a:pt x="1249" y="641"/>
                    </a:lnTo>
                    <a:lnTo>
                      <a:pt x="1252" y="643"/>
                    </a:lnTo>
                    <a:lnTo>
                      <a:pt x="1253" y="644"/>
                    </a:lnTo>
                    <a:lnTo>
                      <a:pt x="1254" y="646"/>
                    </a:lnTo>
                    <a:lnTo>
                      <a:pt x="1256" y="648"/>
                    </a:lnTo>
                    <a:lnTo>
                      <a:pt x="1257" y="650"/>
                    </a:lnTo>
                    <a:lnTo>
                      <a:pt x="1258" y="652"/>
                    </a:lnTo>
                    <a:lnTo>
                      <a:pt x="1259" y="655"/>
                    </a:lnTo>
                    <a:lnTo>
                      <a:pt x="1261" y="657"/>
                    </a:lnTo>
                    <a:lnTo>
                      <a:pt x="1263" y="658"/>
                    </a:lnTo>
                    <a:lnTo>
                      <a:pt x="1265" y="659"/>
                    </a:lnTo>
                    <a:lnTo>
                      <a:pt x="1268" y="658"/>
                    </a:lnTo>
                    <a:lnTo>
                      <a:pt x="1269" y="652"/>
                    </a:lnTo>
                    <a:lnTo>
                      <a:pt x="1269" y="644"/>
                    </a:lnTo>
                    <a:lnTo>
                      <a:pt x="1268" y="634"/>
                    </a:lnTo>
                    <a:lnTo>
                      <a:pt x="1268" y="626"/>
                    </a:lnTo>
                    <a:lnTo>
                      <a:pt x="1267" y="622"/>
                    </a:lnTo>
                    <a:lnTo>
                      <a:pt x="1268" y="620"/>
                    </a:lnTo>
                    <a:lnTo>
                      <a:pt x="1269" y="618"/>
                    </a:lnTo>
                    <a:lnTo>
                      <a:pt x="1269" y="615"/>
                    </a:lnTo>
                    <a:lnTo>
                      <a:pt x="1269" y="613"/>
                    </a:lnTo>
                    <a:lnTo>
                      <a:pt x="1270" y="609"/>
                    </a:lnTo>
                    <a:lnTo>
                      <a:pt x="1271" y="607"/>
                    </a:lnTo>
                    <a:lnTo>
                      <a:pt x="1271" y="606"/>
                    </a:lnTo>
                    <a:lnTo>
                      <a:pt x="1272" y="605"/>
                    </a:lnTo>
                    <a:lnTo>
                      <a:pt x="1274" y="606"/>
                    </a:lnTo>
                    <a:lnTo>
                      <a:pt x="1276" y="608"/>
                    </a:lnTo>
                    <a:lnTo>
                      <a:pt x="1278" y="612"/>
                    </a:lnTo>
                    <a:lnTo>
                      <a:pt x="1280" y="615"/>
                    </a:lnTo>
                    <a:lnTo>
                      <a:pt x="1285" y="617"/>
                    </a:lnTo>
                    <a:lnTo>
                      <a:pt x="1289" y="620"/>
                    </a:lnTo>
                    <a:lnTo>
                      <a:pt x="1294" y="623"/>
                    </a:lnTo>
                    <a:lnTo>
                      <a:pt x="1299" y="624"/>
                    </a:lnTo>
                    <a:lnTo>
                      <a:pt x="1302" y="622"/>
                    </a:lnTo>
                    <a:lnTo>
                      <a:pt x="1304" y="619"/>
                    </a:lnTo>
                    <a:lnTo>
                      <a:pt x="1304" y="617"/>
                    </a:lnTo>
                    <a:lnTo>
                      <a:pt x="1304" y="617"/>
                    </a:lnTo>
                    <a:lnTo>
                      <a:pt x="1306" y="617"/>
                    </a:lnTo>
                    <a:lnTo>
                      <a:pt x="1304" y="620"/>
                    </a:lnTo>
                    <a:lnTo>
                      <a:pt x="1329" y="629"/>
                    </a:lnTo>
                    <a:lnTo>
                      <a:pt x="1347" y="636"/>
                    </a:lnTo>
                    <a:lnTo>
                      <a:pt x="1343" y="638"/>
                    </a:lnTo>
                    <a:lnTo>
                      <a:pt x="1336" y="641"/>
                    </a:lnTo>
                    <a:lnTo>
                      <a:pt x="1329" y="644"/>
                    </a:lnTo>
                    <a:lnTo>
                      <a:pt x="1322" y="646"/>
                    </a:lnTo>
                    <a:lnTo>
                      <a:pt x="1318" y="651"/>
                    </a:lnTo>
                    <a:lnTo>
                      <a:pt x="1315" y="657"/>
                    </a:lnTo>
                    <a:lnTo>
                      <a:pt x="1311" y="663"/>
                    </a:lnTo>
                    <a:lnTo>
                      <a:pt x="1306" y="667"/>
                    </a:lnTo>
                    <a:lnTo>
                      <a:pt x="1299" y="669"/>
                    </a:lnTo>
                    <a:lnTo>
                      <a:pt x="1291" y="672"/>
                    </a:lnTo>
                    <a:lnTo>
                      <a:pt x="1291" y="671"/>
                    </a:lnTo>
                    <a:lnTo>
                      <a:pt x="1289" y="671"/>
                    </a:lnTo>
                    <a:lnTo>
                      <a:pt x="1287" y="670"/>
                    </a:lnTo>
                    <a:lnTo>
                      <a:pt x="1285" y="670"/>
                    </a:lnTo>
                    <a:lnTo>
                      <a:pt x="1282" y="670"/>
                    </a:lnTo>
                    <a:lnTo>
                      <a:pt x="1279" y="672"/>
                    </a:lnTo>
                    <a:lnTo>
                      <a:pt x="1276" y="674"/>
                    </a:lnTo>
                    <a:lnTo>
                      <a:pt x="1274" y="677"/>
                    </a:lnTo>
                    <a:lnTo>
                      <a:pt x="1268" y="681"/>
                    </a:lnTo>
                    <a:lnTo>
                      <a:pt x="1261" y="684"/>
                    </a:lnTo>
                    <a:lnTo>
                      <a:pt x="1254" y="688"/>
                    </a:lnTo>
                    <a:lnTo>
                      <a:pt x="1253" y="689"/>
                    </a:lnTo>
                    <a:lnTo>
                      <a:pt x="1252" y="690"/>
                    </a:lnTo>
                    <a:lnTo>
                      <a:pt x="1250" y="692"/>
                    </a:lnTo>
                    <a:lnTo>
                      <a:pt x="1249" y="693"/>
                    </a:lnTo>
                    <a:lnTo>
                      <a:pt x="1249" y="695"/>
                    </a:lnTo>
                    <a:lnTo>
                      <a:pt x="1249" y="696"/>
                    </a:lnTo>
                    <a:lnTo>
                      <a:pt x="1252" y="698"/>
                    </a:lnTo>
                    <a:lnTo>
                      <a:pt x="1254" y="699"/>
                    </a:lnTo>
                    <a:lnTo>
                      <a:pt x="1268" y="698"/>
                    </a:lnTo>
                    <a:lnTo>
                      <a:pt x="1282" y="694"/>
                    </a:lnTo>
                    <a:lnTo>
                      <a:pt x="1296" y="690"/>
                    </a:lnTo>
                    <a:lnTo>
                      <a:pt x="1303" y="688"/>
                    </a:lnTo>
                    <a:lnTo>
                      <a:pt x="1311" y="684"/>
                    </a:lnTo>
                    <a:lnTo>
                      <a:pt x="1318" y="680"/>
                    </a:lnTo>
                    <a:lnTo>
                      <a:pt x="1322" y="673"/>
                    </a:lnTo>
                    <a:lnTo>
                      <a:pt x="1322" y="666"/>
                    </a:lnTo>
                    <a:lnTo>
                      <a:pt x="1324" y="659"/>
                    </a:lnTo>
                    <a:lnTo>
                      <a:pt x="1330" y="656"/>
                    </a:lnTo>
                    <a:lnTo>
                      <a:pt x="1337" y="654"/>
                    </a:lnTo>
                    <a:lnTo>
                      <a:pt x="1347" y="654"/>
                    </a:lnTo>
                    <a:lnTo>
                      <a:pt x="1357" y="654"/>
                    </a:lnTo>
                    <a:lnTo>
                      <a:pt x="1367" y="655"/>
                    </a:lnTo>
                    <a:lnTo>
                      <a:pt x="1376" y="654"/>
                    </a:lnTo>
                    <a:lnTo>
                      <a:pt x="1383" y="650"/>
                    </a:lnTo>
                    <a:lnTo>
                      <a:pt x="1386" y="646"/>
                    </a:lnTo>
                    <a:lnTo>
                      <a:pt x="1386" y="649"/>
                    </a:lnTo>
                    <a:lnTo>
                      <a:pt x="1437" y="666"/>
                    </a:lnTo>
                    <a:lnTo>
                      <a:pt x="1487" y="680"/>
                    </a:lnTo>
                    <a:lnTo>
                      <a:pt x="1486" y="679"/>
                    </a:lnTo>
                    <a:lnTo>
                      <a:pt x="1487" y="677"/>
                    </a:lnTo>
                    <a:lnTo>
                      <a:pt x="1487" y="677"/>
                    </a:lnTo>
                    <a:lnTo>
                      <a:pt x="1488" y="677"/>
                    </a:lnTo>
                    <a:lnTo>
                      <a:pt x="1488" y="678"/>
                    </a:lnTo>
                    <a:lnTo>
                      <a:pt x="1489" y="678"/>
                    </a:lnTo>
                    <a:lnTo>
                      <a:pt x="1490" y="679"/>
                    </a:lnTo>
                    <a:lnTo>
                      <a:pt x="1493" y="679"/>
                    </a:lnTo>
                    <a:lnTo>
                      <a:pt x="1494" y="680"/>
                    </a:lnTo>
                    <a:lnTo>
                      <a:pt x="1495" y="680"/>
                    </a:lnTo>
                    <a:lnTo>
                      <a:pt x="1495" y="681"/>
                    </a:lnTo>
                    <a:lnTo>
                      <a:pt x="1497" y="681"/>
                    </a:lnTo>
                    <a:lnTo>
                      <a:pt x="1500" y="681"/>
                    </a:lnTo>
                    <a:lnTo>
                      <a:pt x="1503" y="682"/>
                    </a:lnTo>
                    <a:lnTo>
                      <a:pt x="1506" y="682"/>
                    </a:lnTo>
                    <a:lnTo>
                      <a:pt x="1508" y="683"/>
                    </a:lnTo>
                    <a:lnTo>
                      <a:pt x="1509" y="688"/>
                    </a:lnTo>
                    <a:lnTo>
                      <a:pt x="1508" y="691"/>
                    </a:lnTo>
                    <a:lnTo>
                      <a:pt x="1504" y="693"/>
                    </a:lnTo>
                    <a:lnTo>
                      <a:pt x="1498" y="693"/>
                    </a:lnTo>
                    <a:lnTo>
                      <a:pt x="1493" y="694"/>
                    </a:lnTo>
                    <a:lnTo>
                      <a:pt x="1488" y="696"/>
                    </a:lnTo>
                    <a:lnTo>
                      <a:pt x="1485" y="696"/>
                    </a:lnTo>
                    <a:lnTo>
                      <a:pt x="1484" y="698"/>
                    </a:lnTo>
                    <a:lnTo>
                      <a:pt x="1482" y="700"/>
                    </a:lnTo>
                    <a:lnTo>
                      <a:pt x="1481" y="701"/>
                    </a:lnTo>
                    <a:lnTo>
                      <a:pt x="1479" y="703"/>
                    </a:lnTo>
                    <a:lnTo>
                      <a:pt x="1466" y="703"/>
                    </a:lnTo>
                    <a:lnTo>
                      <a:pt x="1453" y="703"/>
                    </a:lnTo>
                    <a:lnTo>
                      <a:pt x="1440" y="703"/>
                    </a:lnTo>
                    <a:lnTo>
                      <a:pt x="1438" y="704"/>
                    </a:lnTo>
                    <a:lnTo>
                      <a:pt x="1435" y="705"/>
                    </a:lnTo>
                    <a:lnTo>
                      <a:pt x="1434" y="707"/>
                    </a:lnTo>
                    <a:lnTo>
                      <a:pt x="1433" y="710"/>
                    </a:lnTo>
                    <a:lnTo>
                      <a:pt x="1434" y="712"/>
                    </a:lnTo>
                    <a:lnTo>
                      <a:pt x="1438" y="714"/>
                    </a:lnTo>
                    <a:lnTo>
                      <a:pt x="1439" y="714"/>
                    </a:lnTo>
                    <a:lnTo>
                      <a:pt x="1441" y="714"/>
                    </a:lnTo>
                    <a:lnTo>
                      <a:pt x="1444" y="714"/>
                    </a:lnTo>
                    <a:lnTo>
                      <a:pt x="1448" y="713"/>
                    </a:lnTo>
                    <a:lnTo>
                      <a:pt x="1451" y="712"/>
                    </a:lnTo>
                    <a:lnTo>
                      <a:pt x="1453" y="711"/>
                    </a:lnTo>
                    <a:lnTo>
                      <a:pt x="1455" y="710"/>
                    </a:lnTo>
                    <a:lnTo>
                      <a:pt x="1456" y="709"/>
                    </a:lnTo>
                    <a:lnTo>
                      <a:pt x="1459" y="709"/>
                    </a:lnTo>
                    <a:lnTo>
                      <a:pt x="1462" y="709"/>
                    </a:lnTo>
                    <a:lnTo>
                      <a:pt x="1464" y="709"/>
                    </a:lnTo>
                    <a:lnTo>
                      <a:pt x="1466" y="710"/>
                    </a:lnTo>
                    <a:lnTo>
                      <a:pt x="1466" y="710"/>
                    </a:lnTo>
                    <a:lnTo>
                      <a:pt x="1464" y="711"/>
                    </a:lnTo>
                    <a:lnTo>
                      <a:pt x="1462" y="712"/>
                    </a:lnTo>
                    <a:lnTo>
                      <a:pt x="1460" y="713"/>
                    </a:lnTo>
                    <a:lnTo>
                      <a:pt x="1457" y="714"/>
                    </a:lnTo>
                    <a:lnTo>
                      <a:pt x="1455" y="715"/>
                    </a:lnTo>
                    <a:lnTo>
                      <a:pt x="1455" y="716"/>
                    </a:lnTo>
                    <a:lnTo>
                      <a:pt x="1446" y="718"/>
                    </a:lnTo>
                    <a:lnTo>
                      <a:pt x="1438" y="721"/>
                    </a:lnTo>
                    <a:lnTo>
                      <a:pt x="1430" y="723"/>
                    </a:lnTo>
                    <a:lnTo>
                      <a:pt x="1427" y="727"/>
                    </a:lnTo>
                    <a:lnTo>
                      <a:pt x="1420" y="742"/>
                    </a:lnTo>
                    <a:lnTo>
                      <a:pt x="1412" y="755"/>
                    </a:lnTo>
                    <a:lnTo>
                      <a:pt x="1407" y="768"/>
                    </a:lnTo>
                    <a:lnTo>
                      <a:pt x="1405" y="772"/>
                    </a:lnTo>
                    <a:lnTo>
                      <a:pt x="1401" y="780"/>
                    </a:lnTo>
                    <a:lnTo>
                      <a:pt x="1398" y="788"/>
                    </a:lnTo>
                    <a:lnTo>
                      <a:pt x="1396" y="790"/>
                    </a:lnTo>
                    <a:lnTo>
                      <a:pt x="1391" y="789"/>
                    </a:lnTo>
                    <a:lnTo>
                      <a:pt x="1388" y="785"/>
                    </a:lnTo>
                    <a:lnTo>
                      <a:pt x="1387" y="779"/>
                    </a:lnTo>
                    <a:lnTo>
                      <a:pt x="1386" y="775"/>
                    </a:lnTo>
                    <a:lnTo>
                      <a:pt x="1385" y="770"/>
                    </a:lnTo>
                    <a:lnTo>
                      <a:pt x="1381" y="768"/>
                    </a:lnTo>
                    <a:lnTo>
                      <a:pt x="1380" y="769"/>
                    </a:lnTo>
                    <a:lnTo>
                      <a:pt x="1379" y="770"/>
                    </a:lnTo>
                    <a:lnTo>
                      <a:pt x="1379" y="772"/>
                    </a:lnTo>
                    <a:lnTo>
                      <a:pt x="1379" y="775"/>
                    </a:lnTo>
                    <a:lnTo>
                      <a:pt x="1379" y="778"/>
                    </a:lnTo>
                    <a:lnTo>
                      <a:pt x="1380" y="780"/>
                    </a:lnTo>
                    <a:lnTo>
                      <a:pt x="1381" y="783"/>
                    </a:lnTo>
                    <a:lnTo>
                      <a:pt x="1381" y="785"/>
                    </a:lnTo>
                    <a:lnTo>
                      <a:pt x="1381" y="786"/>
                    </a:lnTo>
                    <a:lnTo>
                      <a:pt x="1383" y="789"/>
                    </a:lnTo>
                    <a:lnTo>
                      <a:pt x="1383" y="792"/>
                    </a:lnTo>
                    <a:lnTo>
                      <a:pt x="1383" y="796"/>
                    </a:lnTo>
                    <a:lnTo>
                      <a:pt x="1383" y="800"/>
                    </a:lnTo>
                    <a:lnTo>
                      <a:pt x="1381" y="803"/>
                    </a:lnTo>
                    <a:lnTo>
                      <a:pt x="1384" y="810"/>
                    </a:lnTo>
                    <a:lnTo>
                      <a:pt x="1387" y="814"/>
                    </a:lnTo>
                    <a:lnTo>
                      <a:pt x="1390" y="820"/>
                    </a:lnTo>
                    <a:lnTo>
                      <a:pt x="1392" y="825"/>
                    </a:lnTo>
                    <a:lnTo>
                      <a:pt x="1390" y="832"/>
                    </a:lnTo>
                    <a:lnTo>
                      <a:pt x="1388" y="836"/>
                    </a:lnTo>
                    <a:lnTo>
                      <a:pt x="1384" y="840"/>
                    </a:lnTo>
                    <a:lnTo>
                      <a:pt x="1379" y="842"/>
                    </a:lnTo>
                    <a:lnTo>
                      <a:pt x="1376" y="844"/>
                    </a:lnTo>
                    <a:lnTo>
                      <a:pt x="1375" y="847"/>
                    </a:lnTo>
                    <a:lnTo>
                      <a:pt x="1375" y="852"/>
                    </a:lnTo>
                    <a:lnTo>
                      <a:pt x="1376" y="855"/>
                    </a:lnTo>
                    <a:lnTo>
                      <a:pt x="1375" y="856"/>
                    </a:lnTo>
                    <a:lnTo>
                      <a:pt x="1374" y="857"/>
                    </a:lnTo>
                    <a:lnTo>
                      <a:pt x="1372" y="858"/>
                    </a:lnTo>
                    <a:lnTo>
                      <a:pt x="1369" y="859"/>
                    </a:lnTo>
                    <a:lnTo>
                      <a:pt x="1368" y="859"/>
                    </a:lnTo>
                    <a:lnTo>
                      <a:pt x="1366" y="860"/>
                    </a:lnTo>
                    <a:lnTo>
                      <a:pt x="1362" y="863"/>
                    </a:lnTo>
                    <a:lnTo>
                      <a:pt x="1357" y="865"/>
                    </a:lnTo>
                    <a:lnTo>
                      <a:pt x="1353" y="867"/>
                    </a:lnTo>
                    <a:lnTo>
                      <a:pt x="1348" y="869"/>
                    </a:lnTo>
                    <a:lnTo>
                      <a:pt x="1340" y="875"/>
                    </a:lnTo>
                    <a:lnTo>
                      <a:pt x="1331" y="879"/>
                    </a:lnTo>
                    <a:lnTo>
                      <a:pt x="1321" y="885"/>
                    </a:lnTo>
                    <a:lnTo>
                      <a:pt x="1313" y="891"/>
                    </a:lnTo>
                    <a:lnTo>
                      <a:pt x="1308" y="896"/>
                    </a:lnTo>
                    <a:lnTo>
                      <a:pt x="1300" y="898"/>
                    </a:lnTo>
                    <a:lnTo>
                      <a:pt x="1293" y="900"/>
                    </a:lnTo>
                    <a:lnTo>
                      <a:pt x="1290" y="902"/>
                    </a:lnTo>
                    <a:lnTo>
                      <a:pt x="1286" y="905"/>
                    </a:lnTo>
                    <a:lnTo>
                      <a:pt x="1282" y="908"/>
                    </a:lnTo>
                    <a:lnTo>
                      <a:pt x="1280" y="910"/>
                    </a:lnTo>
                    <a:lnTo>
                      <a:pt x="1278" y="913"/>
                    </a:lnTo>
                    <a:lnTo>
                      <a:pt x="1278" y="918"/>
                    </a:lnTo>
                    <a:lnTo>
                      <a:pt x="1278" y="921"/>
                    </a:lnTo>
                    <a:lnTo>
                      <a:pt x="1278" y="924"/>
                    </a:lnTo>
                    <a:lnTo>
                      <a:pt x="1276" y="928"/>
                    </a:lnTo>
                    <a:lnTo>
                      <a:pt x="1274" y="931"/>
                    </a:lnTo>
                    <a:lnTo>
                      <a:pt x="1274" y="936"/>
                    </a:lnTo>
                    <a:lnTo>
                      <a:pt x="1275" y="942"/>
                    </a:lnTo>
                    <a:lnTo>
                      <a:pt x="1276" y="949"/>
                    </a:lnTo>
                    <a:lnTo>
                      <a:pt x="1279" y="956"/>
                    </a:lnTo>
                    <a:lnTo>
                      <a:pt x="1283" y="963"/>
                    </a:lnTo>
                    <a:lnTo>
                      <a:pt x="1287" y="971"/>
                    </a:lnTo>
                    <a:lnTo>
                      <a:pt x="1288" y="973"/>
                    </a:lnTo>
                    <a:lnTo>
                      <a:pt x="1288" y="975"/>
                    </a:lnTo>
                    <a:lnTo>
                      <a:pt x="1289" y="978"/>
                    </a:lnTo>
                    <a:lnTo>
                      <a:pt x="1289" y="980"/>
                    </a:lnTo>
                    <a:lnTo>
                      <a:pt x="1290" y="983"/>
                    </a:lnTo>
                    <a:lnTo>
                      <a:pt x="1291" y="984"/>
                    </a:lnTo>
                    <a:lnTo>
                      <a:pt x="1297" y="995"/>
                    </a:lnTo>
                    <a:lnTo>
                      <a:pt x="1298" y="1007"/>
                    </a:lnTo>
                    <a:lnTo>
                      <a:pt x="1298" y="1019"/>
                    </a:lnTo>
                    <a:lnTo>
                      <a:pt x="1299" y="1021"/>
                    </a:lnTo>
                    <a:lnTo>
                      <a:pt x="1299" y="1025"/>
                    </a:lnTo>
                    <a:lnTo>
                      <a:pt x="1298" y="1027"/>
                    </a:lnTo>
                    <a:lnTo>
                      <a:pt x="1297" y="1029"/>
                    </a:lnTo>
                    <a:lnTo>
                      <a:pt x="1293" y="1032"/>
                    </a:lnTo>
                    <a:lnTo>
                      <a:pt x="1292" y="1034"/>
                    </a:lnTo>
                    <a:lnTo>
                      <a:pt x="1290" y="1037"/>
                    </a:lnTo>
                    <a:lnTo>
                      <a:pt x="1288" y="1039"/>
                    </a:lnTo>
                    <a:lnTo>
                      <a:pt x="1286" y="1039"/>
                    </a:lnTo>
                    <a:lnTo>
                      <a:pt x="1282" y="1039"/>
                    </a:lnTo>
                    <a:lnTo>
                      <a:pt x="1278" y="1033"/>
                    </a:lnTo>
                    <a:lnTo>
                      <a:pt x="1275" y="1026"/>
                    </a:lnTo>
                    <a:lnTo>
                      <a:pt x="1271" y="1019"/>
                    </a:lnTo>
                    <a:lnTo>
                      <a:pt x="1269" y="1015"/>
                    </a:lnTo>
                    <a:lnTo>
                      <a:pt x="1265" y="1011"/>
                    </a:lnTo>
                    <a:lnTo>
                      <a:pt x="1260" y="1008"/>
                    </a:lnTo>
                    <a:lnTo>
                      <a:pt x="1257" y="1006"/>
                    </a:lnTo>
                    <a:lnTo>
                      <a:pt x="1255" y="1005"/>
                    </a:lnTo>
                    <a:lnTo>
                      <a:pt x="1253" y="1001"/>
                    </a:lnTo>
                    <a:lnTo>
                      <a:pt x="1253" y="998"/>
                    </a:lnTo>
                    <a:lnTo>
                      <a:pt x="1252" y="995"/>
                    </a:lnTo>
                    <a:lnTo>
                      <a:pt x="1250" y="990"/>
                    </a:lnTo>
                    <a:lnTo>
                      <a:pt x="1248" y="987"/>
                    </a:lnTo>
                    <a:lnTo>
                      <a:pt x="1247" y="984"/>
                    </a:lnTo>
                    <a:lnTo>
                      <a:pt x="1245" y="979"/>
                    </a:lnTo>
                    <a:lnTo>
                      <a:pt x="1245" y="977"/>
                    </a:lnTo>
                    <a:lnTo>
                      <a:pt x="1245" y="974"/>
                    </a:lnTo>
                    <a:lnTo>
                      <a:pt x="1245" y="972"/>
                    </a:lnTo>
                    <a:lnTo>
                      <a:pt x="1245" y="969"/>
                    </a:lnTo>
                    <a:lnTo>
                      <a:pt x="1245" y="966"/>
                    </a:lnTo>
                    <a:lnTo>
                      <a:pt x="1243" y="964"/>
                    </a:lnTo>
                    <a:lnTo>
                      <a:pt x="1239" y="958"/>
                    </a:lnTo>
                    <a:lnTo>
                      <a:pt x="1235" y="953"/>
                    </a:lnTo>
                    <a:lnTo>
                      <a:pt x="1231" y="950"/>
                    </a:lnTo>
                    <a:lnTo>
                      <a:pt x="1226" y="950"/>
                    </a:lnTo>
                    <a:lnTo>
                      <a:pt x="1221" y="953"/>
                    </a:lnTo>
                    <a:lnTo>
                      <a:pt x="1213" y="957"/>
                    </a:lnTo>
                    <a:lnTo>
                      <a:pt x="1204" y="957"/>
                    </a:lnTo>
                    <a:lnTo>
                      <a:pt x="1195" y="954"/>
                    </a:lnTo>
                    <a:lnTo>
                      <a:pt x="1188" y="951"/>
                    </a:lnTo>
                    <a:lnTo>
                      <a:pt x="1178" y="945"/>
                    </a:lnTo>
                    <a:lnTo>
                      <a:pt x="1167" y="943"/>
                    </a:lnTo>
                    <a:lnTo>
                      <a:pt x="1156" y="944"/>
                    </a:lnTo>
                    <a:lnTo>
                      <a:pt x="1144" y="944"/>
                    </a:lnTo>
                    <a:lnTo>
                      <a:pt x="1140" y="943"/>
                    </a:lnTo>
                    <a:lnTo>
                      <a:pt x="1133" y="941"/>
                    </a:lnTo>
                    <a:lnTo>
                      <a:pt x="1124" y="940"/>
                    </a:lnTo>
                    <a:lnTo>
                      <a:pt x="1117" y="940"/>
                    </a:lnTo>
                    <a:lnTo>
                      <a:pt x="1113" y="940"/>
                    </a:lnTo>
                    <a:lnTo>
                      <a:pt x="1114" y="941"/>
                    </a:lnTo>
                    <a:lnTo>
                      <a:pt x="1115" y="943"/>
                    </a:lnTo>
                    <a:lnTo>
                      <a:pt x="1116" y="944"/>
                    </a:lnTo>
                    <a:lnTo>
                      <a:pt x="1117" y="946"/>
                    </a:lnTo>
                    <a:lnTo>
                      <a:pt x="1119" y="949"/>
                    </a:lnTo>
                    <a:lnTo>
                      <a:pt x="1122" y="950"/>
                    </a:lnTo>
                    <a:lnTo>
                      <a:pt x="1123" y="952"/>
                    </a:lnTo>
                    <a:lnTo>
                      <a:pt x="1124" y="953"/>
                    </a:lnTo>
                    <a:lnTo>
                      <a:pt x="1124" y="954"/>
                    </a:lnTo>
                    <a:lnTo>
                      <a:pt x="1123" y="955"/>
                    </a:lnTo>
                    <a:lnTo>
                      <a:pt x="1121" y="955"/>
                    </a:lnTo>
                    <a:lnTo>
                      <a:pt x="1117" y="955"/>
                    </a:lnTo>
                    <a:lnTo>
                      <a:pt x="1113" y="956"/>
                    </a:lnTo>
                    <a:lnTo>
                      <a:pt x="1110" y="960"/>
                    </a:lnTo>
                    <a:lnTo>
                      <a:pt x="1107" y="963"/>
                    </a:lnTo>
                    <a:lnTo>
                      <a:pt x="1105" y="965"/>
                    </a:lnTo>
                    <a:lnTo>
                      <a:pt x="1100" y="964"/>
                    </a:lnTo>
                    <a:lnTo>
                      <a:pt x="1093" y="961"/>
                    </a:lnTo>
                    <a:lnTo>
                      <a:pt x="1088" y="956"/>
                    </a:lnTo>
                    <a:lnTo>
                      <a:pt x="1083" y="953"/>
                    </a:lnTo>
                    <a:lnTo>
                      <a:pt x="1077" y="951"/>
                    </a:lnTo>
                    <a:lnTo>
                      <a:pt x="1069" y="953"/>
                    </a:lnTo>
                    <a:lnTo>
                      <a:pt x="1061" y="954"/>
                    </a:lnTo>
                    <a:lnTo>
                      <a:pt x="1052" y="953"/>
                    </a:lnTo>
                    <a:lnTo>
                      <a:pt x="1043" y="951"/>
                    </a:lnTo>
                    <a:lnTo>
                      <a:pt x="1035" y="950"/>
                    </a:lnTo>
                    <a:lnTo>
                      <a:pt x="1027" y="951"/>
                    </a:lnTo>
                    <a:lnTo>
                      <a:pt x="1026" y="953"/>
                    </a:lnTo>
                    <a:lnTo>
                      <a:pt x="1025" y="955"/>
                    </a:lnTo>
                    <a:lnTo>
                      <a:pt x="1023" y="957"/>
                    </a:lnTo>
                    <a:lnTo>
                      <a:pt x="1020" y="957"/>
                    </a:lnTo>
                    <a:lnTo>
                      <a:pt x="1018" y="958"/>
                    </a:lnTo>
                    <a:lnTo>
                      <a:pt x="1016" y="960"/>
                    </a:lnTo>
                    <a:lnTo>
                      <a:pt x="1006" y="962"/>
                    </a:lnTo>
                    <a:lnTo>
                      <a:pt x="996" y="966"/>
                    </a:lnTo>
                    <a:lnTo>
                      <a:pt x="987" y="969"/>
                    </a:lnTo>
                    <a:lnTo>
                      <a:pt x="981" y="973"/>
                    </a:lnTo>
                    <a:lnTo>
                      <a:pt x="977" y="978"/>
                    </a:lnTo>
                    <a:lnTo>
                      <a:pt x="974" y="986"/>
                    </a:lnTo>
                    <a:lnTo>
                      <a:pt x="974" y="989"/>
                    </a:lnTo>
                    <a:lnTo>
                      <a:pt x="974" y="992"/>
                    </a:lnTo>
                    <a:lnTo>
                      <a:pt x="973" y="995"/>
                    </a:lnTo>
                    <a:lnTo>
                      <a:pt x="973" y="998"/>
                    </a:lnTo>
                    <a:lnTo>
                      <a:pt x="974" y="1001"/>
                    </a:lnTo>
                    <a:lnTo>
                      <a:pt x="976" y="1005"/>
                    </a:lnTo>
                    <a:lnTo>
                      <a:pt x="977" y="1008"/>
                    </a:lnTo>
                    <a:lnTo>
                      <a:pt x="980" y="1010"/>
                    </a:lnTo>
                    <a:lnTo>
                      <a:pt x="982" y="1014"/>
                    </a:lnTo>
                    <a:lnTo>
                      <a:pt x="983" y="1017"/>
                    </a:lnTo>
                    <a:lnTo>
                      <a:pt x="983" y="1027"/>
                    </a:lnTo>
                    <a:lnTo>
                      <a:pt x="981" y="1036"/>
                    </a:lnTo>
                    <a:lnTo>
                      <a:pt x="977" y="1044"/>
                    </a:lnTo>
                    <a:lnTo>
                      <a:pt x="976" y="1054"/>
                    </a:lnTo>
                    <a:lnTo>
                      <a:pt x="977" y="1061"/>
                    </a:lnTo>
                    <a:lnTo>
                      <a:pt x="980" y="1067"/>
                    </a:lnTo>
                    <a:lnTo>
                      <a:pt x="981" y="1076"/>
                    </a:lnTo>
                    <a:lnTo>
                      <a:pt x="983" y="1078"/>
                    </a:lnTo>
                    <a:lnTo>
                      <a:pt x="984" y="1080"/>
                    </a:lnTo>
                    <a:lnTo>
                      <a:pt x="986" y="1081"/>
                    </a:lnTo>
                    <a:lnTo>
                      <a:pt x="988" y="1083"/>
                    </a:lnTo>
                    <a:lnTo>
                      <a:pt x="990" y="1085"/>
                    </a:lnTo>
                    <a:lnTo>
                      <a:pt x="993" y="1088"/>
                    </a:lnTo>
                    <a:lnTo>
                      <a:pt x="994" y="1092"/>
                    </a:lnTo>
                    <a:lnTo>
                      <a:pt x="995" y="1095"/>
                    </a:lnTo>
                    <a:lnTo>
                      <a:pt x="996" y="1098"/>
                    </a:lnTo>
                    <a:lnTo>
                      <a:pt x="1001" y="1104"/>
                    </a:lnTo>
                    <a:lnTo>
                      <a:pt x="1005" y="1109"/>
                    </a:lnTo>
                    <a:lnTo>
                      <a:pt x="1009" y="1114"/>
                    </a:lnTo>
                    <a:lnTo>
                      <a:pt x="1012" y="1116"/>
                    </a:lnTo>
                    <a:lnTo>
                      <a:pt x="1014" y="1119"/>
                    </a:lnTo>
                    <a:lnTo>
                      <a:pt x="1015" y="1123"/>
                    </a:lnTo>
                    <a:lnTo>
                      <a:pt x="1016" y="1126"/>
                    </a:lnTo>
                    <a:lnTo>
                      <a:pt x="1018" y="1129"/>
                    </a:lnTo>
                    <a:lnTo>
                      <a:pt x="1023" y="1130"/>
                    </a:lnTo>
                    <a:lnTo>
                      <a:pt x="1026" y="1131"/>
                    </a:lnTo>
                    <a:lnTo>
                      <a:pt x="1029" y="1131"/>
                    </a:lnTo>
                    <a:lnTo>
                      <a:pt x="1032" y="1132"/>
                    </a:lnTo>
                    <a:lnTo>
                      <a:pt x="1036" y="1134"/>
                    </a:lnTo>
                    <a:lnTo>
                      <a:pt x="1038" y="1135"/>
                    </a:lnTo>
                    <a:lnTo>
                      <a:pt x="1040" y="1136"/>
                    </a:lnTo>
                    <a:lnTo>
                      <a:pt x="1042" y="1137"/>
                    </a:lnTo>
                    <a:lnTo>
                      <a:pt x="1046" y="1138"/>
                    </a:lnTo>
                    <a:lnTo>
                      <a:pt x="1048" y="1138"/>
                    </a:lnTo>
                    <a:lnTo>
                      <a:pt x="1049" y="1138"/>
                    </a:lnTo>
                    <a:lnTo>
                      <a:pt x="1052" y="1136"/>
                    </a:lnTo>
                    <a:lnTo>
                      <a:pt x="1055" y="1135"/>
                    </a:lnTo>
                    <a:lnTo>
                      <a:pt x="1057" y="1135"/>
                    </a:lnTo>
                    <a:lnTo>
                      <a:pt x="1059" y="1135"/>
                    </a:lnTo>
                    <a:lnTo>
                      <a:pt x="1062" y="1136"/>
                    </a:lnTo>
                    <a:lnTo>
                      <a:pt x="1075" y="1136"/>
                    </a:lnTo>
                    <a:lnTo>
                      <a:pt x="1078" y="1135"/>
                    </a:lnTo>
                    <a:lnTo>
                      <a:pt x="1080" y="1134"/>
                    </a:lnTo>
                    <a:lnTo>
                      <a:pt x="1082" y="1134"/>
                    </a:lnTo>
                    <a:lnTo>
                      <a:pt x="1085" y="1135"/>
                    </a:lnTo>
                    <a:lnTo>
                      <a:pt x="1088" y="1136"/>
                    </a:lnTo>
                    <a:lnTo>
                      <a:pt x="1089" y="1137"/>
                    </a:lnTo>
                    <a:lnTo>
                      <a:pt x="1091" y="1138"/>
                    </a:lnTo>
                    <a:lnTo>
                      <a:pt x="1093" y="1138"/>
                    </a:lnTo>
                    <a:lnTo>
                      <a:pt x="1095" y="1138"/>
                    </a:lnTo>
                    <a:lnTo>
                      <a:pt x="1099" y="1137"/>
                    </a:lnTo>
                    <a:lnTo>
                      <a:pt x="1100" y="1137"/>
                    </a:lnTo>
                    <a:lnTo>
                      <a:pt x="1101" y="1135"/>
                    </a:lnTo>
                    <a:lnTo>
                      <a:pt x="1101" y="1134"/>
                    </a:lnTo>
                    <a:lnTo>
                      <a:pt x="1101" y="1132"/>
                    </a:lnTo>
                    <a:lnTo>
                      <a:pt x="1100" y="1131"/>
                    </a:lnTo>
                    <a:lnTo>
                      <a:pt x="1101" y="1129"/>
                    </a:lnTo>
                    <a:lnTo>
                      <a:pt x="1101" y="1127"/>
                    </a:lnTo>
                    <a:lnTo>
                      <a:pt x="1102" y="1126"/>
                    </a:lnTo>
                    <a:lnTo>
                      <a:pt x="1104" y="1125"/>
                    </a:lnTo>
                    <a:lnTo>
                      <a:pt x="1106" y="1123"/>
                    </a:lnTo>
                    <a:lnTo>
                      <a:pt x="1108" y="1119"/>
                    </a:lnTo>
                    <a:lnTo>
                      <a:pt x="1110" y="1116"/>
                    </a:lnTo>
                    <a:lnTo>
                      <a:pt x="1111" y="1113"/>
                    </a:lnTo>
                    <a:lnTo>
                      <a:pt x="1111" y="1108"/>
                    </a:lnTo>
                    <a:lnTo>
                      <a:pt x="1111" y="1105"/>
                    </a:lnTo>
                    <a:lnTo>
                      <a:pt x="1114" y="1100"/>
                    </a:lnTo>
                    <a:lnTo>
                      <a:pt x="1121" y="1099"/>
                    </a:lnTo>
                    <a:lnTo>
                      <a:pt x="1128" y="1098"/>
                    </a:lnTo>
                    <a:lnTo>
                      <a:pt x="1136" y="1098"/>
                    </a:lnTo>
                    <a:lnTo>
                      <a:pt x="1141" y="1098"/>
                    </a:lnTo>
                    <a:lnTo>
                      <a:pt x="1148" y="1097"/>
                    </a:lnTo>
                    <a:lnTo>
                      <a:pt x="1156" y="1096"/>
                    </a:lnTo>
                    <a:lnTo>
                      <a:pt x="1163" y="1096"/>
                    </a:lnTo>
                    <a:lnTo>
                      <a:pt x="1171" y="1097"/>
                    </a:lnTo>
                    <a:lnTo>
                      <a:pt x="1176" y="1100"/>
                    </a:lnTo>
                    <a:lnTo>
                      <a:pt x="1177" y="1105"/>
                    </a:lnTo>
                    <a:lnTo>
                      <a:pt x="1174" y="1108"/>
                    </a:lnTo>
                    <a:lnTo>
                      <a:pt x="1172" y="1112"/>
                    </a:lnTo>
                    <a:lnTo>
                      <a:pt x="1170" y="1114"/>
                    </a:lnTo>
                    <a:lnTo>
                      <a:pt x="1168" y="1117"/>
                    </a:lnTo>
                    <a:lnTo>
                      <a:pt x="1167" y="1120"/>
                    </a:lnTo>
                    <a:lnTo>
                      <a:pt x="1166" y="1124"/>
                    </a:lnTo>
                    <a:lnTo>
                      <a:pt x="1166" y="1127"/>
                    </a:lnTo>
                    <a:lnTo>
                      <a:pt x="1165" y="1137"/>
                    </a:lnTo>
                    <a:lnTo>
                      <a:pt x="1159" y="1145"/>
                    </a:lnTo>
                    <a:lnTo>
                      <a:pt x="1150" y="1149"/>
                    </a:lnTo>
                    <a:lnTo>
                      <a:pt x="1148" y="1149"/>
                    </a:lnTo>
                    <a:lnTo>
                      <a:pt x="1145" y="1149"/>
                    </a:lnTo>
                    <a:lnTo>
                      <a:pt x="1143" y="1150"/>
                    </a:lnTo>
                    <a:lnTo>
                      <a:pt x="1140" y="1151"/>
                    </a:lnTo>
                    <a:lnTo>
                      <a:pt x="1139" y="1153"/>
                    </a:lnTo>
                    <a:lnTo>
                      <a:pt x="1141" y="1156"/>
                    </a:lnTo>
                    <a:lnTo>
                      <a:pt x="1144" y="1157"/>
                    </a:lnTo>
                    <a:lnTo>
                      <a:pt x="1146" y="1158"/>
                    </a:lnTo>
                    <a:lnTo>
                      <a:pt x="1148" y="1160"/>
                    </a:lnTo>
                    <a:lnTo>
                      <a:pt x="1150" y="1163"/>
                    </a:lnTo>
                    <a:lnTo>
                      <a:pt x="1152" y="1169"/>
                    </a:lnTo>
                    <a:lnTo>
                      <a:pt x="1155" y="1173"/>
                    </a:lnTo>
                    <a:lnTo>
                      <a:pt x="1158" y="1178"/>
                    </a:lnTo>
                    <a:lnTo>
                      <a:pt x="1163" y="1180"/>
                    </a:lnTo>
                    <a:lnTo>
                      <a:pt x="1172" y="1180"/>
                    </a:lnTo>
                    <a:lnTo>
                      <a:pt x="1181" y="1178"/>
                    </a:lnTo>
                    <a:lnTo>
                      <a:pt x="1188" y="1180"/>
                    </a:lnTo>
                    <a:lnTo>
                      <a:pt x="1197" y="1180"/>
                    </a:lnTo>
                    <a:lnTo>
                      <a:pt x="1204" y="1179"/>
                    </a:lnTo>
                    <a:lnTo>
                      <a:pt x="1212" y="1178"/>
                    </a:lnTo>
                    <a:lnTo>
                      <a:pt x="1215" y="1178"/>
                    </a:lnTo>
                    <a:lnTo>
                      <a:pt x="1219" y="1178"/>
                    </a:lnTo>
                    <a:lnTo>
                      <a:pt x="1223" y="1178"/>
                    </a:lnTo>
                    <a:lnTo>
                      <a:pt x="1226" y="1179"/>
                    </a:lnTo>
                    <a:lnTo>
                      <a:pt x="1227" y="1180"/>
                    </a:lnTo>
                    <a:lnTo>
                      <a:pt x="1230" y="1182"/>
                    </a:lnTo>
                    <a:lnTo>
                      <a:pt x="1231" y="1184"/>
                    </a:lnTo>
                    <a:lnTo>
                      <a:pt x="1232" y="1185"/>
                    </a:lnTo>
                    <a:lnTo>
                      <a:pt x="1234" y="1186"/>
                    </a:lnTo>
                    <a:lnTo>
                      <a:pt x="1236" y="1186"/>
                    </a:lnTo>
                    <a:lnTo>
                      <a:pt x="1238" y="1186"/>
                    </a:lnTo>
                    <a:lnTo>
                      <a:pt x="1241" y="1186"/>
                    </a:lnTo>
                    <a:lnTo>
                      <a:pt x="1243" y="1185"/>
                    </a:lnTo>
                    <a:lnTo>
                      <a:pt x="1248" y="1187"/>
                    </a:lnTo>
                    <a:lnTo>
                      <a:pt x="1250" y="1192"/>
                    </a:lnTo>
                    <a:lnTo>
                      <a:pt x="1250" y="1198"/>
                    </a:lnTo>
                    <a:lnTo>
                      <a:pt x="1250" y="1204"/>
                    </a:lnTo>
                    <a:lnTo>
                      <a:pt x="1249" y="1207"/>
                    </a:lnTo>
                    <a:lnTo>
                      <a:pt x="1248" y="1212"/>
                    </a:lnTo>
                    <a:lnTo>
                      <a:pt x="1247" y="1215"/>
                    </a:lnTo>
                    <a:lnTo>
                      <a:pt x="1247" y="1219"/>
                    </a:lnTo>
                    <a:lnTo>
                      <a:pt x="1245" y="1223"/>
                    </a:lnTo>
                    <a:lnTo>
                      <a:pt x="1245" y="1227"/>
                    </a:lnTo>
                    <a:lnTo>
                      <a:pt x="1244" y="1230"/>
                    </a:lnTo>
                    <a:lnTo>
                      <a:pt x="1243" y="1233"/>
                    </a:lnTo>
                    <a:lnTo>
                      <a:pt x="1242" y="1236"/>
                    </a:lnTo>
                    <a:lnTo>
                      <a:pt x="1241" y="1238"/>
                    </a:lnTo>
                    <a:lnTo>
                      <a:pt x="1241" y="1254"/>
                    </a:lnTo>
                    <a:lnTo>
                      <a:pt x="1243" y="1257"/>
                    </a:lnTo>
                    <a:lnTo>
                      <a:pt x="1245" y="1258"/>
                    </a:lnTo>
                    <a:lnTo>
                      <a:pt x="1248" y="1260"/>
                    </a:lnTo>
                    <a:lnTo>
                      <a:pt x="1252" y="1261"/>
                    </a:lnTo>
                    <a:lnTo>
                      <a:pt x="1254" y="1262"/>
                    </a:lnTo>
                    <a:lnTo>
                      <a:pt x="1255" y="1263"/>
                    </a:lnTo>
                    <a:lnTo>
                      <a:pt x="1256" y="1266"/>
                    </a:lnTo>
                    <a:lnTo>
                      <a:pt x="1258" y="1267"/>
                    </a:lnTo>
                    <a:lnTo>
                      <a:pt x="1259" y="1268"/>
                    </a:lnTo>
                    <a:lnTo>
                      <a:pt x="1263" y="1269"/>
                    </a:lnTo>
                    <a:lnTo>
                      <a:pt x="1267" y="1271"/>
                    </a:lnTo>
                    <a:lnTo>
                      <a:pt x="1271" y="1271"/>
                    </a:lnTo>
                    <a:lnTo>
                      <a:pt x="1276" y="1271"/>
                    </a:lnTo>
                    <a:lnTo>
                      <a:pt x="1288" y="1270"/>
                    </a:lnTo>
                    <a:lnTo>
                      <a:pt x="1297" y="1268"/>
                    </a:lnTo>
                    <a:lnTo>
                      <a:pt x="1304" y="1265"/>
                    </a:lnTo>
                    <a:lnTo>
                      <a:pt x="1317" y="1263"/>
                    </a:lnTo>
                    <a:lnTo>
                      <a:pt x="1328" y="1266"/>
                    </a:lnTo>
                    <a:lnTo>
                      <a:pt x="1337" y="1269"/>
                    </a:lnTo>
                    <a:lnTo>
                      <a:pt x="1339" y="1270"/>
                    </a:lnTo>
                    <a:lnTo>
                      <a:pt x="1340" y="1271"/>
                    </a:lnTo>
                    <a:lnTo>
                      <a:pt x="1342" y="1272"/>
                    </a:lnTo>
                    <a:lnTo>
                      <a:pt x="1345" y="1273"/>
                    </a:lnTo>
                    <a:lnTo>
                      <a:pt x="1347" y="1274"/>
                    </a:lnTo>
                    <a:lnTo>
                      <a:pt x="1350" y="1276"/>
                    </a:lnTo>
                    <a:lnTo>
                      <a:pt x="1352" y="1277"/>
                    </a:lnTo>
                    <a:lnTo>
                      <a:pt x="1353" y="1276"/>
                    </a:lnTo>
                    <a:lnTo>
                      <a:pt x="1357" y="1274"/>
                    </a:lnTo>
                    <a:lnTo>
                      <a:pt x="1359" y="1272"/>
                    </a:lnTo>
                    <a:lnTo>
                      <a:pt x="1363" y="1270"/>
                    </a:lnTo>
                    <a:lnTo>
                      <a:pt x="1365" y="1268"/>
                    </a:lnTo>
                    <a:lnTo>
                      <a:pt x="1368" y="1265"/>
                    </a:lnTo>
                    <a:lnTo>
                      <a:pt x="1375" y="1261"/>
                    </a:lnTo>
                    <a:lnTo>
                      <a:pt x="1377" y="1257"/>
                    </a:lnTo>
                    <a:lnTo>
                      <a:pt x="1379" y="1252"/>
                    </a:lnTo>
                    <a:lnTo>
                      <a:pt x="1381" y="1247"/>
                    </a:lnTo>
                    <a:lnTo>
                      <a:pt x="1386" y="1243"/>
                    </a:lnTo>
                    <a:lnTo>
                      <a:pt x="1388" y="1243"/>
                    </a:lnTo>
                    <a:lnTo>
                      <a:pt x="1389" y="1240"/>
                    </a:lnTo>
                    <a:lnTo>
                      <a:pt x="1391" y="1239"/>
                    </a:lnTo>
                    <a:lnTo>
                      <a:pt x="1392" y="1238"/>
                    </a:lnTo>
                    <a:lnTo>
                      <a:pt x="1395" y="1239"/>
                    </a:lnTo>
                    <a:lnTo>
                      <a:pt x="1397" y="1239"/>
                    </a:lnTo>
                    <a:lnTo>
                      <a:pt x="1398" y="1240"/>
                    </a:lnTo>
                    <a:lnTo>
                      <a:pt x="1398" y="1240"/>
                    </a:lnTo>
                    <a:lnTo>
                      <a:pt x="1400" y="1240"/>
                    </a:lnTo>
                    <a:lnTo>
                      <a:pt x="1401" y="1241"/>
                    </a:lnTo>
                    <a:lnTo>
                      <a:pt x="1402" y="1240"/>
                    </a:lnTo>
                    <a:lnTo>
                      <a:pt x="1403" y="1239"/>
                    </a:lnTo>
                    <a:lnTo>
                      <a:pt x="1405" y="1238"/>
                    </a:lnTo>
                    <a:lnTo>
                      <a:pt x="1406" y="1237"/>
                    </a:lnTo>
                    <a:lnTo>
                      <a:pt x="1407" y="1235"/>
                    </a:lnTo>
                    <a:lnTo>
                      <a:pt x="1408" y="1234"/>
                    </a:lnTo>
                    <a:lnTo>
                      <a:pt x="1430" y="1229"/>
                    </a:lnTo>
                    <a:lnTo>
                      <a:pt x="1449" y="1220"/>
                    </a:lnTo>
                    <a:lnTo>
                      <a:pt x="1450" y="1219"/>
                    </a:lnTo>
                    <a:lnTo>
                      <a:pt x="1452" y="1218"/>
                    </a:lnTo>
                    <a:lnTo>
                      <a:pt x="1454" y="1217"/>
                    </a:lnTo>
                    <a:lnTo>
                      <a:pt x="1457" y="1217"/>
                    </a:lnTo>
                    <a:lnTo>
                      <a:pt x="1460" y="1217"/>
                    </a:lnTo>
                    <a:lnTo>
                      <a:pt x="1462" y="1217"/>
                    </a:lnTo>
                    <a:lnTo>
                      <a:pt x="1463" y="1218"/>
                    </a:lnTo>
                    <a:lnTo>
                      <a:pt x="1464" y="1219"/>
                    </a:lnTo>
                    <a:lnTo>
                      <a:pt x="1464" y="1220"/>
                    </a:lnTo>
                    <a:lnTo>
                      <a:pt x="1462" y="1224"/>
                    </a:lnTo>
                    <a:lnTo>
                      <a:pt x="1460" y="1225"/>
                    </a:lnTo>
                    <a:lnTo>
                      <a:pt x="1457" y="1226"/>
                    </a:lnTo>
                    <a:lnTo>
                      <a:pt x="1454" y="1226"/>
                    </a:lnTo>
                    <a:lnTo>
                      <a:pt x="1452" y="1227"/>
                    </a:lnTo>
                    <a:lnTo>
                      <a:pt x="1450" y="1228"/>
                    </a:lnTo>
                    <a:lnTo>
                      <a:pt x="1449" y="1229"/>
                    </a:lnTo>
                    <a:lnTo>
                      <a:pt x="1446" y="1232"/>
                    </a:lnTo>
                    <a:lnTo>
                      <a:pt x="1448" y="1234"/>
                    </a:lnTo>
                    <a:lnTo>
                      <a:pt x="1448" y="1236"/>
                    </a:lnTo>
                    <a:lnTo>
                      <a:pt x="1449" y="1238"/>
                    </a:lnTo>
                    <a:lnTo>
                      <a:pt x="1450" y="1241"/>
                    </a:lnTo>
                    <a:lnTo>
                      <a:pt x="1451" y="1244"/>
                    </a:lnTo>
                    <a:lnTo>
                      <a:pt x="1451" y="1245"/>
                    </a:lnTo>
                    <a:lnTo>
                      <a:pt x="1449" y="1247"/>
                    </a:lnTo>
                    <a:lnTo>
                      <a:pt x="1446" y="1249"/>
                    </a:lnTo>
                    <a:lnTo>
                      <a:pt x="1443" y="1250"/>
                    </a:lnTo>
                    <a:lnTo>
                      <a:pt x="1440" y="1252"/>
                    </a:lnTo>
                    <a:lnTo>
                      <a:pt x="1438" y="1255"/>
                    </a:lnTo>
                    <a:lnTo>
                      <a:pt x="1438" y="1256"/>
                    </a:lnTo>
                    <a:lnTo>
                      <a:pt x="1438" y="1257"/>
                    </a:lnTo>
                    <a:lnTo>
                      <a:pt x="1439" y="1258"/>
                    </a:lnTo>
                    <a:lnTo>
                      <a:pt x="1441" y="1259"/>
                    </a:lnTo>
                    <a:lnTo>
                      <a:pt x="1442" y="1259"/>
                    </a:lnTo>
                    <a:lnTo>
                      <a:pt x="1444" y="1260"/>
                    </a:lnTo>
                    <a:lnTo>
                      <a:pt x="1445" y="1261"/>
                    </a:lnTo>
                    <a:lnTo>
                      <a:pt x="1446" y="1262"/>
                    </a:lnTo>
                    <a:lnTo>
                      <a:pt x="1446" y="1263"/>
                    </a:lnTo>
                    <a:lnTo>
                      <a:pt x="1449" y="1265"/>
                    </a:lnTo>
                    <a:lnTo>
                      <a:pt x="1450" y="1266"/>
                    </a:lnTo>
                    <a:lnTo>
                      <a:pt x="1451" y="1265"/>
                    </a:lnTo>
                    <a:lnTo>
                      <a:pt x="1453" y="1263"/>
                    </a:lnTo>
                    <a:lnTo>
                      <a:pt x="1454" y="1261"/>
                    </a:lnTo>
                    <a:lnTo>
                      <a:pt x="1455" y="1260"/>
                    </a:lnTo>
                    <a:lnTo>
                      <a:pt x="1457" y="1258"/>
                    </a:lnTo>
                    <a:lnTo>
                      <a:pt x="1459" y="1256"/>
                    </a:lnTo>
                    <a:lnTo>
                      <a:pt x="1459" y="1254"/>
                    </a:lnTo>
                    <a:lnTo>
                      <a:pt x="1457" y="1251"/>
                    </a:lnTo>
                    <a:lnTo>
                      <a:pt x="1456" y="1250"/>
                    </a:lnTo>
                    <a:lnTo>
                      <a:pt x="1455" y="1248"/>
                    </a:lnTo>
                    <a:lnTo>
                      <a:pt x="1454" y="1245"/>
                    </a:lnTo>
                    <a:lnTo>
                      <a:pt x="1453" y="1243"/>
                    </a:lnTo>
                    <a:lnTo>
                      <a:pt x="1454" y="1240"/>
                    </a:lnTo>
                    <a:lnTo>
                      <a:pt x="1455" y="1238"/>
                    </a:lnTo>
                    <a:lnTo>
                      <a:pt x="1457" y="1236"/>
                    </a:lnTo>
                    <a:lnTo>
                      <a:pt x="1465" y="1234"/>
                    </a:lnTo>
                    <a:lnTo>
                      <a:pt x="1474" y="1232"/>
                    </a:lnTo>
                    <a:lnTo>
                      <a:pt x="1484" y="1229"/>
                    </a:lnTo>
                    <a:lnTo>
                      <a:pt x="1482" y="1227"/>
                    </a:lnTo>
                    <a:lnTo>
                      <a:pt x="1481" y="1226"/>
                    </a:lnTo>
                    <a:lnTo>
                      <a:pt x="1478" y="1225"/>
                    </a:lnTo>
                    <a:lnTo>
                      <a:pt x="1477" y="1223"/>
                    </a:lnTo>
                    <a:lnTo>
                      <a:pt x="1477" y="1220"/>
                    </a:lnTo>
                    <a:lnTo>
                      <a:pt x="1478" y="1219"/>
                    </a:lnTo>
                    <a:lnTo>
                      <a:pt x="1481" y="1219"/>
                    </a:lnTo>
                    <a:lnTo>
                      <a:pt x="1483" y="1219"/>
                    </a:lnTo>
                    <a:lnTo>
                      <a:pt x="1485" y="1220"/>
                    </a:lnTo>
                    <a:lnTo>
                      <a:pt x="1486" y="1222"/>
                    </a:lnTo>
                    <a:lnTo>
                      <a:pt x="1488" y="1223"/>
                    </a:lnTo>
                    <a:lnTo>
                      <a:pt x="1487" y="1224"/>
                    </a:lnTo>
                    <a:lnTo>
                      <a:pt x="1487" y="1225"/>
                    </a:lnTo>
                    <a:lnTo>
                      <a:pt x="1486" y="1226"/>
                    </a:lnTo>
                    <a:lnTo>
                      <a:pt x="1486" y="1227"/>
                    </a:lnTo>
                    <a:lnTo>
                      <a:pt x="1486" y="1227"/>
                    </a:lnTo>
                    <a:lnTo>
                      <a:pt x="1488" y="1227"/>
                    </a:lnTo>
                    <a:lnTo>
                      <a:pt x="1499" y="1227"/>
                    </a:lnTo>
                    <a:lnTo>
                      <a:pt x="1503" y="1228"/>
                    </a:lnTo>
                    <a:lnTo>
                      <a:pt x="1505" y="1228"/>
                    </a:lnTo>
                    <a:lnTo>
                      <a:pt x="1506" y="1229"/>
                    </a:lnTo>
                    <a:lnTo>
                      <a:pt x="1507" y="1230"/>
                    </a:lnTo>
                    <a:lnTo>
                      <a:pt x="1508" y="1232"/>
                    </a:lnTo>
                    <a:lnTo>
                      <a:pt x="1508" y="1234"/>
                    </a:lnTo>
                    <a:lnTo>
                      <a:pt x="1508" y="1236"/>
                    </a:lnTo>
                    <a:lnTo>
                      <a:pt x="1508" y="1238"/>
                    </a:lnTo>
                    <a:lnTo>
                      <a:pt x="1509" y="1239"/>
                    </a:lnTo>
                    <a:lnTo>
                      <a:pt x="1511" y="1240"/>
                    </a:lnTo>
                    <a:lnTo>
                      <a:pt x="1515" y="1240"/>
                    </a:lnTo>
                    <a:lnTo>
                      <a:pt x="1521" y="1239"/>
                    </a:lnTo>
                    <a:lnTo>
                      <a:pt x="1530" y="1237"/>
                    </a:lnTo>
                    <a:lnTo>
                      <a:pt x="1539" y="1237"/>
                    </a:lnTo>
                    <a:lnTo>
                      <a:pt x="1545" y="1238"/>
                    </a:lnTo>
                    <a:lnTo>
                      <a:pt x="1547" y="1239"/>
                    </a:lnTo>
                    <a:lnTo>
                      <a:pt x="1547" y="1239"/>
                    </a:lnTo>
                    <a:lnTo>
                      <a:pt x="1547" y="1241"/>
                    </a:lnTo>
                    <a:lnTo>
                      <a:pt x="1549" y="1241"/>
                    </a:lnTo>
                    <a:lnTo>
                      <a:pt x="1550" y="1243"/>
                    </a:lnTo>
                    <a:lnTo>
                      <a:pt x="1551" y="1243"/>
                    </a:lnTo>
                    <a:lnTo>
                      <a:pt x="1552" y="1243"/>
                    </a:lnTo>
                    <a:lnTo>
                      <a:pt x="1554" y="1243"/>
                    </a:lnTo>
                    <a:lnTo>
                      <a:pt x="1563" y="1241"/>
                    </a:lnTo>
                    <a:lnTo>
                      <a:pt x="1572" y="1238"/>
                    </a:lnTo>
                    <a:lnTo>
                      <a:pt x="1574" y="1236"/>
                    </a:lnTo>
                    <a:lnTo>
                      <a:pt x="1576" y="1235"/>
                    </a:lnTo>
                    <a:lnTo>
                      <a:pt x="1580" y="1234"/>
                    </a:lnTo>
                    <a:lnTo>
                      <a:pt x="1583" y="1234"/>
                    </a:lnTo>
                    <a:lnTo>
                      <a:pt x="1586" y="1233"/>
                    </a:lnTo>
                    <a:lnTo>
                      <a:pt x="1590" y="1229"/>
                    </a:lnTo>
                    <a:lnTo>
                      <a:pt x="1592" y="1228"/>
                    </a:lnTo>
                    <a:lnTo>
                      <a:pt x="1594" y="1228"/>
                    </a:lnTo>
                    <a:lnTo>
                      <a:pt x="1596" y="1228"/>
                    </a:lnTo>
                    <a:lnTo>
                      <a:pt x="1597" y="1228"/>
                    </a:lnTo>
                    <a:lnTo>
                      <a:pt x="1598" y="1229"/>
                    </a:lnTo>
                    <a:lnTo>
                      <a:pt x="1599" y="1230"/>
                    </a:lnTo>
                    <a:lnTo>
                      <a:pt x="1599" y="1232"/>
                    </a:lnTo>
                    <a:lnTo>
                      <a:pt x="1601" y="1233"/>
                    </a:lnTo>
                    <a:lnTo>
                      <a:pt x="1602" y="1234"/>
                    </a:lnTo>
                    <a:lnTo>
                      <a:pt x="1603" y="1234"/>
                    </a:lnTo>
                    <a:lnTo>
                      <a:pt x="1604" y="1235"/>
                    </a:lnTo>
                    <a:lnTo>
                      <a:pt x="1604" y="1236"/>
                    </a:lnTo>
                    <a:lnTo>
                      <a:pt x="1604" y="1237"/>
                    </a:lnTo>
                    <a:lnTo>
                      <a:pt x="1604" y="1238"/>
                    </a:lnTo>
                    <a:lnTo>
                      <a:pt x="1604" y="1239"/>
                    </a:lnTo>
                    <a:lnTo>
                      <a:pt x="1605" y="1239"/>
                    </a:lnTo>
                    <a:lnTo>
                      <a:pt x="1607" y="1240"/>
                    </a:lnTo>
                    <a:lnTo>
                      <a:pt x="1609" y="1241"/>
                    </a:lnTo>
                    <a:lnTo>
                      <a:pt x="1613" y="1243"/>
                    </a:lnTo>
                    <a:lnTo>
                      <a:pt x="1615" y="1244"/>
                    </a:lnTo>
                    <a:lnTo>
                      <a:pt x="1618" y="1245"/>
                    </a:lnTo>
                    <a:lnTo>
                      <a:pt x="1618" y="1243"/>
                    </a:lnTo>
                    <a:lnTo>
                      <a:pt x="1619" y="1241"/>
                    </a:lnTo>
                    <a:lnTo>
                      <a:pt x="1620" y="1241"/>
                    </a:lnTo>
                    <a:lnTo>
                      <a:pt x="1621" y="1241"/>
                    </a:lnTo>
                    <a:lnTo>
                      <a:pt x="1625" y="1243"/>
                    </a:lnTo>
                    <a:lnTo>
                      <a:pt x="1626" y="1244"/>
                    </a:lnTo>
                    <a:lnTo>
                      <a:pt x="1628" y="1245"/>
                    </a:lnTo>
                    <a:lnTo>
                      <a:pt x="1629" y="1246"/>
                    </a:lnTo>
                    <a:lnTo>
                      <a:pt x="1630" y="1246"/>
                    </a:lnTo>
                    <a:lnTo>
                      <a:pt x="1631" y="1247"/>
                    </a:lnTo>
                    <a:lnTo>
                      <a:pt x="1632" y="1249"/>
                    </a:lnTo>
                    <a:lnTo>
                      <a:pt x="1631" y="1250"/>
                    </a:lnTo>
                    <a:lnTo>
                      <a:pt x="1630" y="1252"/>
                    </a:lnTo>
                    <a:lnTo>
                      <a:pt x="1628" y="1254"/>
                    </a:lnTo>
                    <a:lnTo>
                      <a:pt x="1626" y="1255"/>
                    </a:lnTo>
                    <a:lnTo>
                      <a:pt x="1624" y="1255"/>
                    </a:lnTo>
                    <a:lnTo>
                      <a:pt x="1623" y="1256"/>
                    </a:lnTo>
                    <a:lnTo>
                      <a:pt x="1621" y="1257"/>
                    </a:lnTo>
                    <a:lnTo>
                      <a:pt x="1621" y="1258"/>
                    </a:lnTo>
                    <a:lnTo>
                      <a:pt x="1621" y="1258"/>
                    </a:lnTo>
                    <a:lnTo>
                      <a:pt x="1624" y="1258"/>
                    </a:lnTo>
                    <a:lnTo>
                      <a:pt x="1625" y="1258"/>
                    </a:lnTo>
                    <a:lnTo>
                      <a:pt x="1627" y="1257"/>
                    </a:lnTo>
                    <a:lnTo>
                      <a:pt x="1628" y="1257"/>
                    </a:lnTo>
                    <a:lnTo>
                      <a:pt x="1630" y="1256"/>
                    </a:lnTo>
                    <a:lnTo>
                      <a:pt x="1631" y="1256"/>
                    </a:lnTo>
                    <a:lnTo>
                      <a:pt x="1641" y="1255"/>
                    </a:lnTo>
                    <a:lnTo>
                      <a:pt x="1651" y="1257"/>
                    </a:lnTo>
                    <a:lnTo>
                      <a:pt x="1658" y="1262"/>
                    </a:lnTo>
                    <a:lnTo>
                      <a:pt x="1659" y="1265"/>
                    </a:lnTo>
                    <a:lnTo>
                      <a:pt x="1661" y="1266"/>
                    </a:lnTo>
                    <a:lnTo>
                      <a:pt x="1662" y="1268"/>
                    </a:lnTo>
                    <a:lnTo>
                      <a:pt x="1663" y="1270"/>
                    </a:lnTo>
                    <a:lnTo>
                      <a:pt x="1664" y="1271"/>
                    </a:lnTo>
                    <a:lnTo>
                      <a:pt x="1662" y="1278"/>
                    </a:lnTo>
                    <a:lnTo>
                      <a:pt x="1664" y="1276"/>
                    </a:lnTo>
                    <a:lnTo>
                      <a:pt x="1669" y="1276"/>
                    </a:lnTo>
                    <a:lnTo>
                      <a:pt x="1673" y="1277"/>
                    </a:lnTo>
                    <a:lnTo>
                      <a:pt x="1677" y="1279"/>
                    </a:lnTo>
                    <a:lnTo>
                      <a:pt x="1680" y="1280"/>
                    </a:lnTo>
                    <a:lnTo>
                      <a:pt x="1681" y="1281"/>
                    </a:lnTo>
                    <a:lnTo>
                      <a:pt x="1682" y="1281"/>
                    </a:lnTo>
                    <a:lnTo>
                      <a:pt x="1682" y="1283"/>
                    </a:lnTo>
                    <a:lnTo>
                      <a:pt x="1684" y="1284"/>
                    </a:lnTo>
                    <a:lnTo>
                      <a:pt x="1685" y="1285"/>
                    </a:lnTo>
                    <a:lnTo>
                      <a:pt x="1688" y="1285"/>
                    </a:lnTo>
                    <a:lnTo>
                      <a:pt x="1690" y="1285"/>
                    </a:lnTo>
                    <a:lnTo>
                      <a:pt x="1693" y="1285"/>
                    </a:lnTo>
                    <a:lnTo>
                      <a:pt x="1695" y="1285"/>
                    </a:lnTo>
                    <a:lnTo>
                      <a:pt x="1697" y="1284"/>
                    </a:lnTo>
                    <a:lnTo>
                      <a:pt x="1700" y="1284"/>
                    </a:lnTo>
                    <a:lnTo>
                      <a:pt x="1717" y="1280"/>
                    </a:lnTo>
                    <a:lnTo>
                      <a:pt x="1735" y="1280"/>
                    </a:lnTo>
                    <a:lnTo>
                      <a:pt x="1739" y="1281"/>
                    </a:lnTo>
                    <a:lnTo>
                      <a:pt x="1744" y="1282"/>
                    </a:lnTo>
                    <a:lnTo>
                      <a:pt x="1748" y="1284"/>
                    </a:lnTo>
                    <a:lnTo>
                      <a:pt x="1754" y="1287"/>
                    </a:lnTo>
                    <a:lnTo>
                      <a:pt x="1759" y="1289"/>
                    </a:lnTo>
                    <a:lnTo>
                      <a:pt x="1763" y="1291"/>
                    </a:lnTo>
                    <a:lnTo>
                      <a:pt x="1765" y="1293"/>
                    </a:lnTo>
                    <a:lnTo>
                      <a:pt x="1766" y="1295"/>
                    </a:lnTo>
                    <a:lnTo>
                      <a:pt x="1767" y="1296"/>
                    </a:lnTo>
                    <a:lnTo>
                      <a:pt x="1767" y="1299"/>
                    </a:lnTo>
                    <a:lnTo>
                      <a:pt x="1768" y="1302"/>
                    </a:lnTo>
                    <a:lnTo>
                      <a:pt x="1768" y="1306"/>
                    </a:lnTo>
                    <a:lnTo>
                      <a:pt x="1768" y="1311"/>
                    </a:lnTo>
                    <a:lnTo>
                      <a:pt x="1770" y="1315"/>
                    </a:lnTo>
                    <a:lnTo>
                      <a:pt x="1771" y="1316"/>
                    </a:lnTo>
                    <a:lnTo>
                      <a:pt x="1773" y="1318"/>
                    </a:lnTo>
                    <a:lnTo>
                      <a:pt x="1774" y="1320"/>
                    </a:lnTo>
                    <a:lnTo>
                      <a:pt x="1777" y="1321"/>
                    </a:lnTo>
                    <a:lnTo>
                      <a:pt x="1778" y="1323"/>
                    </a:lnTo>
                    <a:lnTo>
                      <a:pt x="1779" y="1324"/>
                    </a:lnTo>
                    <a:lnTo>
                      <a:pt x="1779" y="1327"/>
                    </a:lnTo>
                    <a:lnTo>
                      <a:pt x="1778" y="1329"/>
                    </a:lnTo>
                    <a:lnTo>
                      <a:pt x="1777" y="1333"/>
                    </a:lnTo>
                    <a:lnTo>
                      <a:pt x="1773" y="1336"/>
                    </a:lnTo>
                    <a:lnTo>
                      <a:pt x="1771" y="1338"/>
                    </a:lnTo>
                    <a:lnTo>
                      <a:pt x="1768" y="1340"/>
                    </a:lnTo>
                    <a:lnTo>
                      <a:pt x="1766" y="1344"/>
                    </a:lnTo>
                    <a:lnTo>
                      <a:pt x="1752" y="1350"/>
                    </a:lnTo>
                    <a:lnTo>
                      <a:pt x="1751" y="1352"/>
                    </a:lnTo>
                    <a:lnTo>
                      <a:pt x="1750" y="1354"/>
                    </a:lnTo>
                    <a:lnTo>
                      <a:pt x="1749" y="1356"/>
                    </a:lnTo>
                    <a:lnTo>
                      <a:pt x="1747" y="1359"/>
                    </a:lnTo>
                    <a:lnTo>
                      <a:pt x="1744" y="1361"/>
                    </a:lnTo>
                    <a:lnTo>
                      <a:pt x="1741" y="1364"/>
                    </a:lnTo>
                    <a:lnTo>
                      <a:pt x="1739" y="1366"/>
                    </a:lnTo>
                    <a:lnTo>
                      <a:pt x="1738" y="1368"/>
                    </a:lnTo>
                    <a:lnTo>
                      <a:pt x="1737" y="1368"/>
                    </a:lnTo>
                    <a:lnTo>
                      <a:pt x="1744" y="1366"/>
                    </a:lnTo>
                    <a:lnTo>
                      <a:pt x="1749" y="1363"/>
                    </a:lnTo>
                    <a:lnTo>
                      <a:pt x="1755" y="1359"/>
                    </a:lnTo>
                    <a:lnTo>
                      <a:pt x="1756" y="1359"/>
                    </a:lnTo>
                    <a:lnTo>
                      <a:pt x="1757" y="1359"/>
                    </a:lnTo>
                    <a:lnTo>
                      <a:pt x="1757" y="1361"/>
                    </a:lnTo>
                    <a:lnTo>
                      <a:pt x="1757" y="1363"/>
                    </a:lnTo>
                    <a:lnTo>
                      <a:pt x="1758" y="1365"/>
                    </a:lnTo>
                    <a:lnTo>
                      <a:pt x="1758" y="1367"/>
                    </a:lnTo>
                    <a:lnTo>
                      <a:pt x="1758" y="1368"/>
                    </a:lnTo>
                    <a:lnTo>
                      <a:pt x="1759" y="1368"/>
                    </a:lnTo>
                    <a:lnTo>
                      <a:pt x="1763" y="1368"/>
                    </a:lnTo>
                    <a:lnTo>
                      <a:pt x="1772" y="1366"/>
                    </a:lnTo>
                    <a:lnTo>
                      <a:pt x="1779" y="1364"/>
                    </a:lnTo>
                    <a:lnTo>
                      <a:pt x="1780" y="1364"/>
                    </a:lnTo>
                    <a:lnTo>
                      <a:pt x="1781" y="1363"/>
                    </a:lnTo>
                    <a:lnTo>
                      <a:pt x="1780" y="1363"/>
                    </a:lnTo>
                    <a:lnTo>
                      <a:pt x="1779" y="1361"/>
                    </a:lnTo>
                    <a:lnTo>
                      <a:pt x="1777" y="1361"/>
                    </a:lnTo>
                    <a:lnTo>
                      <a:pt x="1773" y="1363"/>
                    </a:lnTo>
                    <a:lnTo>
                      <a:pt x="1771" y="1364"/>
                    </a:lnTo>
                    <a:lnTo>
                      <a:pt x="1768" y="1365"/>
                    </a:lnTo>
                    <a:lnTo>
                      <a:pt x="1766" y="1366"/>
                    </a:lnTo>
                    <a:lnTo>
                      <a:pt x="1763" y="1366"/>
                    </a:lnTo>
                    <a:lnTo>
                      <a:pt x="1762" y="1365"/>
                    </a:lnTo>
                    <a:lnTo>
                      <a:pt x="1761" y="1364"/>
                    </a:lnTo>
                    <a:lnTo>
                      <a:pt x="1760" y="1361"/>
                    </a:lnTo>
                    <a:lnTo>
                      <a:pt x="1760" y="1359"/>
                    </a:lnTo>
                    <a:lnTo>
                      <a:pt x="1761" y="1356"/>
                    </a:lnTo>
                    <a:lnTo>
                      <a:pt x="1762" y="1354"/>
                    </a:lnTo>
                    <a:lnTo>
                      <a:pt x="1763" y="1350"/>
                    </a:lnTo>
                    <a:lnTo>
                      <a:pt x="1769" y="1346"/>
                    </a:lnTo>
                    <a:lnTo>
                      <a:pt x="1776" y="1345"/>
                    </a:lnTo>
                    <a:lnTo>
                      <a:pt x="1781" y="1346"/>
                    </a:lnTo>
                    <a:lnTo>
                      <a:pt x="1783" y="1346"/>
                    </a:lnTo>
                    <a:lnTo>
                      <a:pt x="1785" y="1345"/>
                    </a:lnTo>
                    <a:lnTo>
                      <a:pt x="1789" y="1345"/>
                    </a:lnTo>
                    <a:lnTo>
                      <a:pt x="1791" y="1344"/>
                    </a:lnTo>
                    <a:lnTo>
                      <a:pt x="1794" y="1344"/>
                    </a:lnTo>
                    <a:lnTo>
                      <a:pt x="1795" y="1344"/>
                    </a:lnTo>
                    <a:lnTo>
                      <a:pt x="1796" y="1344"/>
                    </a:lnTo>
                    <a:lnTo>
                      <a:pt x="1796" y="1345"/>
                    </a:lnTo>
                    <a:lnTo>
                      <a:pt x="1796" y="1347"/>
                    </a:lnTo>
                    <a:lnTo>
                      <a:pt x="1794" y="1348"/>
                    </a:lnTo>
                    <a:lnTo>
                      <a:pt x="1793" y="1350"/>
                    </a:lnTo>
                    <a:lnTo>
                      <a:pt x="1791" y="1352"/>
                    </a:lnTo>
                    <a:lnTo>
                      <a:pt x="1790" y="1353"/>
                    </a:lnTo>
                    <a:lnTo>
                      <a:pt x="1790" y="1354"/>
                    </a:lnTo>
                    <a:lnTo>
                      <a:pt x="1789" y="1355"/>
                    </a:lnTo>
                    <a:lnTo>
                      <a:pt x="1788" y="1356"/>
                    </a:lnTo>
                    <a:lnTo>
                      <a:pt x="1788" y="1358"/>
                    </a:lnTo>
                    <a:lnTo>
                      <a:pt x="1787" y="1359"/>
                    </a:lnTo>
                    <a:lnTo>
                      <a:pt x="1787" y="1359"/>
                    </a:lnTo>
                    <a:lnTo>
                      <a:pt x="1788" y="1359"/>
                    </a:lnTo>
                    <a:lnTo>
                      <a:pt x="1793" y="1356"/>
                    </a:lnTo>
                    <a:lnTo>
                      <a:pt x="1798" y="1350"/>
                    </a:lnTo>
                    <a:lnTo>
                      <a:pt x="1803" y="1347"/>
                    </a:lnTo>
                    <a:lnTo>
                      <a:pt x="1812" y="1344"/>
                    </a:lnTo>
                    <a:lnTo>
                      <a:pt x="1814" y="1345"/>
                    </a:lnTo>
                    <a:lnTo>
                      <a:pt x="1816" y="1346"/>
                    </a:lnTo>
                    <a:lnTo>
                      <a:pt x="1819" y="1346"/>
                    </a:lnTo>
                    <a:lnTo>
                      <a:pt x="1827" y="1346"/>
                    </a:lnTo>
                    <a:lnTo>
                      <a:pt x="1828" y="1345"/>
                    </a:lnTo>
                    <a:lnTo>
                      <a:pt x="1831" y="1345"/>
                    </a:lnTo>
                    <a:lnTo>
                      <a:pt x="1831" y="1346"/>
                    </a:lnTo>
                    <a:lnTo>
                      <a:pt x="1832" y="1346"/>
                    </a:lnTo>
                    <a:lnTo>
                      <a:pt x="1833" y="1347"/>
                    </a:lnTo>
                    <a:lnTo>
                      <a:pt x="1835" y="1347"/>
                    </a:lnTo>
                    <a:lnTo>
                      <a:pt x="1836" y="1347"/>
                    </a:lnTo>
                    <a:lnTo>
                      <a:pt x="1838" y="1348"/>
                    </a:lnTo>
                    <a:lnTo>
                      <a:pt x="1842" y="1349"/>
                    </a:lnTo>
                    <a:lnTo>
                      <a:pt x="1845" y="1350"/>
                    </a:lnTo>
                    <a:lnTo>
                      <a:pt x="1847" y="1353"/>
                    </a:lnTo>
                    <a:lnTo>
                      <a:pt x="1849" y="1355"/>
                    </a:lnTo>
                    <a:lnTo>
                      <a:pt x="1848" y="1357"/>
                    </a:lnTo>
                    <a:lnTo>
                      <a:pt x="1847" y="1359"/>
                    </a:lnTo>
                    <a:lnTo>
                      <a:pt x="1845" y="1361"/>
                    </a:lnTo>
                    <a:lnTo>
                      <a:pt x="1844" y="1361"/>
                    </a:lnTo>
                    <a:lnTo>
                      <a:pt x="1844" y="1363"/>
                    </a:lnTo>
                    <a:lnTo>
                      <a:pt x="1844" y="1363"/>
                    </a:lnTo>
                    <a:lnTo>
                      <a:pt x="1845" y="1364"/>
                    </a:lnTo>
                    <a:lnTo>
                      <a:pt x="1845" y="1364"/>
                    </a:lnTo>
                    <a:lnTo>
                      <a:pt x="1848" y="1364"/>
                    </a:lnTo>
                    <a:lnTo>
                      <a:pt x="1850" y="1361"/>
                    </a:lnTo>
                    <a:lnTo>
                      <a:pt x="1854" y="1359"/>
                    </a:lnTo>
                    <a:lnTo>
                      <a:pt x="1856" y="1357"/>
                    </a:lnTo>
                    <a:lnTo>
                      <a:pt x="1859" y="1356"/>
                    </a:lnTo>
                    <a:lnTo>
                      <a:pt x="1863" y="1355"/>
                    </a:lnTo>
                    <a:lnTo>
                      <a:pt x="1866" y="1355"/>
                    </a:lnTo>
                    <a:lnTo>
                      <a:pt x="1868" y="1356"/>
                    </a:lnTo>
                    <a:lnTo>
                      <a:pt x="1871" y="1356"/>
                    </a:lnTo>
                    <a:lnTo>
                      <a:pt x="1874" y="1357"/>
                    </a:lnTo>
                    <a:lnTo>
                      <a:pt x="1876" y="1357"/>
                    </a:lnTo>
                    <a:lnTo>
                      <a:pt x="1878" y="1357"/>
                    </a:lnTo>
                    <a:lnTo>
                      <a:pt x="1880" y="1356"/>
                    </a:lnTo>
                    <a:lnTo>
                      <a:pt x="1882" y="1355"/>
                    </a:lnTo>
                    <a:lnTo>
                      <a:pt x="1883" y="1356"/>
                    </a:lnTo>
                    <a:lnTo>
                      <a:pt x="1886" y="1357"/>
                    </a:lnTo>
                    <a:lnTo>
                      <a:pt x="1888" y="1356"/>
                    </a:lnTo>
                    <a:lnTo>
                      <a:pt x="1891" y="1355"/>
                    </a:lnTo>
                    <a:lnTo>
                      <a:pt x="1893" y="1355"/>
                    </a:lnTo>
                    <a:lnTo>
                      <a:pt x="1896" y="1354"/>
                    </a:lnTo>
                    <a:lnTo>
                      <a:pt x="1899" y="1353"/>
                    </a:lnTo>
                    <a:lnTo>
                      <a:pt x="1902" y="1350"/>
                    </a:lnTo>
                    <a:lnTo>
                      <a:pt x="1909" y="1350"/>
                    </a:lnTo>
                    <a:lnTo>
                      <a:pt x="1912" y="1352"/>
                    </a:lnTo>
                    <a:lnTo>
                      <a:pt x="1915" y="1353"/>
                    </a:lnTo>
                    <a:lnTo>
                      <a:pt x="1918" y="1354"/>
                    </a:lnTo>
                    <a:lnTo>
                      <a:pt x="1920" y="1356"/>
                    </a:lnTo>
                    <a:lnTo>
                      <a:pt x="1922" y="1357"/>
                    </a:lnTo>
                    <a:lnTo>
                      <a:pt x="1925" y="1358"/>
                    </a:lnTo>
                    <a:lnTo>
                      <a:pt x="1930" y="1359"/>
                    </a:lnTo>
                    <a:lnTo>
                      <a:pt x="1933" y="1360"/>
                    </a:lnTo>
                    <a:lnTo>
                      <a:pt x="1935" y="1361"/>
                    </a:lnTo>
                    <a:lnTo>
                      <a:pt x="1937" y="1364"/>
                    </a:lnTo>
                    <a:lnTo>
                      <a:pt x="1942" y="1365"/>
                    </a:lnTo>
                    <a:lnTo>
                      <a:pt x="1946" y="1365"/>
                    </a:lnTo>
                    <a:lnTo>
                      <a:pt x="1952" y="1364"/>
                    </a:lnTo>
                    <a:lnTo>
                      <a:pt x="1956" y="1363"/>
                    </a:lnTo>
                    <a:lnTo>
                      <a:pt x="1961" y="1363"/>
                    </a:lnTo>
                    <a:lnTo>
                      <a:pt x="1962" y="1366"/>
                    </a:lnTo>
                    <a:lnTo>
                      <a:pt x="1962" y="1375"/>
                    </a:lnTo>
                    <a:lnTo>
                      <a:pt x="1962" y="1382"/>
                    </a:lnTo>
                    <a:lnTo>
                      <a:pt x="1958" y="1391"/>
                    </a:lnTo>
                    <a:lnTo>
                      <a:pt x="1953" y="1399"/>
                    </a:lnTo>
                    <a:lnTo>
                      <a:pt x="1933" y="1419"/>
                    </a:lnTo>
                    <a:lnTo>
                      <a:pt x="1930" y="1421"/>
                    </a:lnTo>
                    <a:lnTo>
                      <a:pt x="1926" y="1424"/>
                    </a:lnTo>
                    <a:lnTo>
                      <a:pt x="1922" y="1427"/>
                    </a:lnTo>
                    <a:lnTo>
                      <a:pt x="1920" y="1431"/>
                    </a:lnTo>
                    <a:lnTo>
                      <a:pt x="1918" y="1434"/>
                    </a:lnTo>
                    <a:lnTo>
                      <a:pt x="1915" y="1437"/>
                    </a:lnTo>
                    <a:lnTo>
                      <a:pt x="1911" y="1442"/>
                    </a:lnTo>
                    <a:lnTo>
                      <a:pt x="1907" y="1447"/>
                    </a:lnTo>
                    <a:lnTo>
                      <a:pt x="1902" y="1452"/>
                    </a:lnTo>
                    <a:lnTo>
                      <a:pt x="1898" y="1454"/>
                    </a:lnTo>
                    <a:lnTo>
                      <a:pt x="1894" y="1454"/>
                    </a:lnTo>
                    <a:lnTo>
                      <a:pt x="1891" y="1455"/>
                    </a:lnTo>
                    <a:lnTo>
                      <a:pt x="1889" y="1457"/>
                    </a:lnTo>
                    <a:lnTo>
                      <a:pt x="1887" y="1460"/>
                    </a:lnTo>
                    <a:lnTo>
                      <a:pt x="1885" y="1464"/>
                    </a:lnTo>
                    <a:lnTo>
                      <a:pt x="1883" y="1466"/>
                    </a:lnTo>
                    <a:lnTo>
                      <a:pt x="1882" y="1469"/>
                    </a:lnTo>
                    <a:lnTo>
                      <a:pt x="1882" y="1472"/>
                    </a:lnTo>
                    <a:lnTo>
                      <a:pt x="1882" y="1474"/>
                    </a:lnTo>
                    <a:lnTo>
                      <a:pt x="1882" y="1477"/>
                    </a:lnTo>
                    <a:lnTo>
                      <a:pt x="1883" y="1479"/>
                    </a:lnTo>
                    <a:lnTo>
                      <a:pt x="1883" y="1483"/>
                    </a:lnTo>
                    <a:lnTo>
                      <a:pt x="1882" y="1487"/>
                    </a:lnTo>
                    <a:lnTo>
                      <a:pt x="1880" y="1491"/>
                    </a:lnTo>
                    <a:lnTo>
                      <a:pt x="1877" y="1498"/>
                    </a:lnTo>
                    <a:lnTo>
                      <a:pt x="1874" y="1505"/>
                    </a:lnTo>
                    <a:lnTo>
                      <a:pt x="1870" y="1507"/>
                    </a:lnTo>
                    <a:lnTo>
                      <a:pt x="1868" y="1509"/>
                    </a:lnTo>
                    <a:lnTo>
                      <a:pt x="1866" y="1511"/>
                    </a:lnTo>
                    <a:lnTo>
                      <a:pt x="1865" y="1513"/>
                    </a:lnTo>
                    <a:lnTo>
                      <a:pt x="1865" y="1516"/>
                    </a:lnTo>
                    <a:lnTo>
                      <a:pt x="1865" y="1518"/>
                    </a:lnTo>
                    <a:lnTo>
                      <a:pt x="1864" y="1521"/>
                    </a:lnTo>
                    <a:lnTo>
                      <a:pt x="1860" y="1523"/>
                    </a:lnTo>
                    <a:lnTo>
                      <a:pt x="1857" y="1527"/>
                    </a:lnTo>
                    <a:lnTo>
                      <a:pt x="1854" y="1531"/>
                    </a:lnTo>
                    <a:lnTo>
                      <a:pt x="1847" y="1538"/>
                    </a:lnTo>
                    <a:lnTo>
                      <a:pt x="1845" y="1539"/>
                    </a:lnTo>
                    <a:lnTo>
                      <a:pt x="1844" y="1540"/>
                    </a:lnTo>
                    <a:lnTo>
                      <a:pt x="1844" y="1542"/>
                    </a:lnTo>
                    <a:lnTo>
                      <a:pt x="1844" y="1543"/>
                    </a:lnTo>
                    <a:lnTo>
                      <a:pt x="1843" y="1546"/>
                    </a:lnTo>
                    <a:lnTo>
                      <a:pt x="1841" y="1547"/>
                    </a:lnTo>
                    <a:lnTo>
                      <a:pt x="1838" y="1549"/>
                    </a:lnTo>
                    <a:lnTo>
                      <a:pt x="1835" y="1549"/>
                    </a:lnTo>
                    <a:lnTo>
                      <a:pt x="1832" y="1551"/>
                    </a:lnTo>
                    <a:lnTo>
                      <a:pt x="1830" y="1553"/>
                    </a:lnTo>
                    <a:lnTo>
                      <a:pt x="1827" y="1555"/>
                    </a:lnTo>
                    <a:lnTo>
                      <a:pt x="1826" y="1556"/>
                    </a:lnTo>
                    <a:lnTo>
                      <a:pt x="1824" y="1557"/>
                    </a:lnTo>
                    <a:lnTo>
                      <a:pt x="1821" y="1560"/>
                    </a:lnTo>
                    <a:lnTo>
                      <a:pt x="1819" y="1560"/>
                    </a:lnTo>
                    <a:lnTo>
                      <a:pt x="1817" y="1560"/>
                    </a:lnTo>
                    <a:lnTo>
                      <a:pt x="1815" y="1561"/>
                    </a:lnTo>
                    <a:lnTo>
                      <a:pt x="1814" y="1561"/>
                    </a:lnTo>
                    <a:lnTo>
                      <a:pt x="1814" y="1562"/>
                    </a:lnTo>
                    <a:lnTo>
                      <a:pt x="1814" y="1560"/>
                    </a:lnTo>
                    <a:lnTo>
                      <a:pt x="1814" y="1560"/>
                    </a:lnTo>
                    <a:lnTo>
                      <a:pt x="1815" y="1558"/>
                    </a:lnTo>
                    <a:lnTo>
                      <a:pt x="1815" y="1558"/>
                    </a:lnTo>
                    <a:lnTo>
                      <a:pt x="1814" y="1560"/>
                    </a:lnTo>
                    <a:lnTo>
                      <a:pt x="1813" y="1561"/>
                    </a:lnTo>
                    <a:lnTo>
                      <a:pt x="1812" y="1561"/>
                    </a:lnTo>
                    <a:lnTo>
                      <a:pt x="1811" y="1562"/>
                    </a:lnTo>
                    <a:lnTo>
                      <a:pt x="1810" y="1562"/>
                    </a:lnTo>
                    <a:lnTo>
                      <a:pt x="1806" y="1562"/>
                    </a:lnTo>
                    <a:lnTo>
                      <a:pt x="1804" y="1563"/>
                    </a:lnTo>
                    <a:lnTo>
                      <a:pt x="1802" y="1563"/>
                    </a:lnTo>
                    <a:lnTo>
                      <a:pt x="1801" y="1564"/>
                    </a:lnTo>
                    <a:lnTo>
                      <a:pt x="1801" y="1563"/>
                    </a:lnTo>
                    <a:lnTo>
                      <a:pt x="1801" y="1563"/>
                    </a:lnTo>
                    <a:lnTo>
                      <a:pt x="1802" y="1562"/>
                    </a:lnTo>
                    <a:lnTo>
                      <a:pt x="1802" y="1562"/>
                    </a:lnTo>
                    <a:lnTo>
                      <a:pt x="1801" y="1562"/>
                    </a:lnTo>
                    <a:lnTo>
                      <a:pt x="1799" y="1562"/>
                    </a:lnTo>
                    <a:lnTo>
                      <a:pt x="1798" y="1563"/>
                    </a:lnTo>
                    <a:lnTo>
                      <a:pt x="1796" y="1563"/>
                    </a:lnTo>
                    <a:lnTo>
                      <a:pt x="1796" y="1564"/>
                    </a:lnTo>
                    <a:lnTo>
                      <a:pt x="1792" y="1566"/>
                    </a:lnTo>
                    <a:lnTo>
                      <a:pt x="1790" y="1568"/>
                    </a:lnTo>
                    <a:lnTo>
                      <a:pt x="1788" y="1571"/>
                    </a:lnTo>
                    <a:lnTo>
                      <a:pt x="1787" y="1571"/>
                    </a:lnTo>
                    <a:lnTo>
                      <a:pt x="1785" y="1572"/>
                    </a:lnTo>
                    <a:lnTo>
                      <a:pt x="1784" y="1573"/>
                    </a:lnTo>
                    <a:lnTo>
                      <a:pt x="1784" y="1574"/>
                    </a:lnTo>
                    <a:lnTo>
                      <a:pt x="1783" y="1575"/>
                    </a:lnTo>
                    <a:lnTo>
                      <a:pt x="1780" y="1575"/>
                    </a:lnTo>
                    <a:lnTo>
                      <a:pt x="1778" y="1575"/>
                    </a:lnTo>
                    <a:lnTo>
                      <a:pt x="1774" y="1575"/>
                    </a:lnTo>
                    <a:lnTo>
                      <a:pt x="1772" y="1577"/>
                    </a:lnTo>
                    <a:lnTo>
                      <a:pt x="1759" y="1584"/>
                    </a:lnTo>
                    <a:lnTo>
                      <a:pt x="1750" y="1590"/>
                    </a:lnTo>
                    <a:lnTo>
                      <a:pt x="1746" y="1593"/>
                    </a:lnTo>
                    <a:lnTo>
                      <a:pt x="1744" y="1595"/>
                    </a:lnTo>
                    <a:lnTo>
                      <a:pt x="1744" y="1597"/>
                    </a:lnTo>
                    <a:lnTo>
                      <a:pt x="1743" y="1599"/>
                    </a:lnTo>
                    <a:lnTo>
                      <a:pt x="1741" y="1601"/>
                    </a:lnTo>
                    <a:lnTo>
                      <a:pt x="1740" y="1604"/>
                    </a:lnTo>
                    <a:lnTo>
                      <a:pt x="1739" y="1606"/>
                    </a:lnTo>
                    <a:lnTo>
                      <a:pt x="1739" y="1608"/>
                    </a:lnTo>
                    <a:lnTo>
                      <a:pt x="1739" y="1610"/>
                    </a:lnTo>
                    <a:lnTo>
                      <a:pt x="1739" y="1612"/>
                    </a:lnTo>
                    <a:lnTo>
                      <a:pt x="1738" y="1616"/>
                    </a:lnTo>
                    <a:lnTo>
                      <a:pt x="1737" y="1618"/>
                    </a:lnTo>
                    <a:lnTo>
                      <a:pt x="1734" y="1620"/>
                    </a:lnTo>
                    <a:lnTo>
                      <a:pt x="1730" y="1622"/>
                    </a:lnTo>
                    <a:lnTo>
                      <a:pt x="1728" y="1623"/>
                    </a:lnTo>
                    <a:lnTo>
                      <a:pt x="1726" y="1626"/>
                    </a:lnTo>
                    <a:lnTo>
                      <a:pt x="1724" y="1627"/>
                    </a:lnTo>
                    <a:lnTo>
                      <a:pt x="1722" y="1629"/>
                    </a:lnTo>
                    <a:lnTo>
                      <a:pt x="1719" y="1630"/>
                    </a:lnTo>
                    <a:lnTo>
                      <a:pt x="1717" y="1632"/>
                    </a:lnTo>
                    <a:lnTo>
                      <a:pt x="1717" y="1633"/>
                    </a:lnTo>
                    <a:lnTo>
                      <a:pt x="1716" y="1636"/>
                    </a:lnTo>
                    <a:lnTo>
                      <a:pt x="1716" y="1637"/>
                    </a:lnTo>
                    <a:lnTo>
                      <a:pt x="1715" y="1638"/>
                    </a:lnTo>
                    <a:lnTo>
                      <a:pt x="1714" y="1638"/>
                    </a:lnTo>
                    <a:lnTo>
                      <a:pt x="1713" y="1638"/>
                    </a:lnTo>
                    <a:lnTo>
                      <a:pt x="1712" y="1639"/>
                    </a:lnTo>
                    <a:lnTo>
                      <a:pt x="1712" y="1639"/>
                    </a:lnTo>
                    <a:lnTo>
                      <a:pt x="1712" y="1639"/>
                    </a:lnTo>
                    <a:lnTo>
                      <a:pt x="1712" y="1638"/>
                    </a:lnTo>
                    <a:lnTo>
                      <a:pt x="1713" y="1636"/>
                    </a:lnTo>
                    <a:lnTo>
                      <a:pt x="1710" y="1637"/>
                    </a:lnTo>
                    <a:lnTo>
                      <a:pt x="1707" y="1638"/>
                    </a:lnTo>
                    <a:lnTo>
                      <a:pt x="1705" y="1639"/>
                    </a:lnTo>
                    <a:lnTo>
                      <a:pt x="1704" y="1640"/>
                    </a:lnTo>
                    <a:lnTo>
                      <a:pt x="1701" y="1642"/>
                    </a:lnTo>
                    <a:lnTo>
                      <a:pt x="1697" y="1644"/>
                    </a:lnTo>
                    <a:lnTo>
                      <a:pt x="1695" y="1647"/>
                    </a:lnTo>
                    <a:lnTo>
                      <a:pt x="1694" y="1649"/>
                    </a:lnTo>
                    <a:lnTo>
                      <a:pt x="1694" y="1650"/>
                    </a:lnTo>
                    <a:lnTo>
                      <a:pt x="1693" y="1651"/>
                    </a:lnTo>
                    <a:lnTo>
                      <a:pt x="1692" y="1652"/>
                    </a:lnTo>
                    <a:lnTo>
                      <a:pt x="1691" y="1653"/>
                    </a:lnTo>
                    <a:lnTo>
                      <a:pt x="1690" y="1655"/>
                    </a:lnTo>
                    <a:lnTo>
                      <a:pt x="1689" y="1658"/>
                    </a:lnTo>
                    <a:lnTo>
                      <a:pt x="1688" y="1661"/>
                    </a:lnTo>
                    <a:lnTo>
                      <a:pt x="1686" y="1662"/>
                    </a:lnTo>
                    <a:lnTo>
                      <a:pt x="1684" y="1664"/>
                    </a:lnTo>
                    <a:lnTo>
                      <a:pt x="1682" y="1665"/>
                    </a:lnTo>
                    <a:lnTo>
                      <a:pt x="1680" y="1666"/>
                    </a:lnTo>
                    <a:lnTo>
                      <a:pt x="1678" y="1666"/>
                    </a:lnTo>
                    <a:lnTo>
                      <a:pt x="1674" y="1669"/>
                    </a:lnTo>
                    <a:lnTo>
                      <a:pt x="1673" y="1670"/>
                    </a:lnTo>
                    <a:lnTo>
                      <a:pt x="1672" y="1672"/>
                    </a:lnTo>
                    <a:lnTo>
                      <a:pt x="1671" y="1673"/>
                    </a:lnTo>
                    <a:lnTo>
                      <a:pt x="1656" y="1678"/>
                    </a:lnTo>
                    <a:lnTo>
                      <a:pt x="1640" y="1680"/>
                    </a:lnTo>
                    <a:lnTo>
                      <a:pt x="1638" y="1680"/>
                    </a:lnTo>
                    <a:lnTo>
                      <a:pt x="1636" y="1680"/>
                    </a:lnTo>
                    <a:lnTo>
                      <a:pt x="1635" y="1678"/>
                    </a:lnTo>
                    <a:lnTo>
                      <a:pt x="1634" y="1678"/>
                    </a:lnTo>
                    <a:lnTo>
                      <a:pt x="1631" y="1677"/>
                    </a:lnTo>
                    <a:lnTo>
                      <a:pt x="1620" y="1677"/>
                    </a:lnTo>
                    <a:lnTo>
                      <a:pt x="1618" y="1677"/>
                    </a:lnTo>
                    <a:lnTo>
                      <a:pt x="1617" y="1677"/>
                    </a:lnTo>
                    <a:lnTo>
                      <a:pt x="1617" y="1680"/>
                    </a:lnTo>
                    <a:lnTo>
                      <a:pt x="1617" y="1681"/>
                    </a:lnTo>
                    <a:lnTo>
                      <a:pt x="1618" y="1682"/>
                    </a:lnTo>
                    <a:lnTo>
                      <a:pt x="1620" y="1682"/>
                    </a:lnTo>
                    <a:lnTo>
                      <a:pt x="1623" y="1683"/>
                    </a:lnTo>
                    <a:lnTo>
                      <a:pt x="1625" y="1683"/>
                    </a:lnTo>
                    <a:lnTo>
                      <a:pt x="1627" y="1684"/>
                    </a:lnTo>
                    <a:lnTo>
                      <a:pt x="1630" y="1684"/>
                    </a:lnTo>
                    <a:lnTo>
                      <a:pt x="1631" y="1685"/>
                    </a:lnTo>
                    <a:lnTo>
                      <a:pt x="1634" y="1686"/>
                    </a:lnTo>
                    <a:lnTo>
                      <a:pt x="1632" y="1687"/>
                    </a:lnTo>
                    <a:lnTo>
                      <a:pt x="1632" y="1688"/>
                    </a:lnTo>
                    <a:lnTo>
                      <a:pt x="1632" y="1689"/>
                    </a:lnTo>
                    <a:lnTo>
                      <a:pt x="1634" y="1691"/>
                    </a:lnTo>
                    <a:lnTo>
                      <a:pt x="1635" y="1691"/>
                    </a:lnTo>
                    <a:lnTo>
                      <a:pt x="1637" y="1691"/>
                    </a:lnTo>
                    <a:lnTo>
                      <a:pt x="1638" y="1692"/>
                    </a:lnTo>
                    <a:lnTo>
                      <a:pt x="1639" y="1692"/>
                    </a:lnTo>
                    <a:lnTo>
                      <a:pt x="1640" y="1693"/>
                    </a:lnTo>
                    <a:lnTo>
                      <a:pt x="1639" y="1696"/>
                    </a:lnTo>
                    <a:lnTo>
                      <a:pt x="1637" y="1698"/>
                    </a:lnTo>
                    <a:lnTo>
                      <a:pt x="1635" y="1700"/>
                    </a:lnTo>
                    <a:lnTo>
                      <a:pt x="1631" y="1703"/>
                    </a:lnTo>
                    <a:lnTo>
                      <a:pt x="1629" y="1704"/>
                    </a:lnTo>
                    <a:lnTo>
                      <a:pt x="1623" y="1708"/>
                    </a:lnTo>
                    <a:lnTo>
                      <a:pt x="1615" y="1710"/>
                    </a:lnTo>
                    <a:lnTo>
                      <a:pt x="1607" y="1713"/>
                    </a:lnTo>
                    <a:lnTo>
                      <a:pt x="1603" y="1714"/>
                    </a:lnTo>
                    <a:lnTo>
                      <a:pt x="1598" y="1715"/>
                    </a:lnTo>
                    <a:lnTo>
                      <a:pt x="1594" y="1715"/>
                    </a:lnTo>
                    <a:lnTo>
                      <a:pt x="1583" y="1715"/>
                    </a:lnTo>
                    <a:lnTo>
                      <a:pt x="1581" y="1716"/>
                    </a:lnTo>
                    <a:lnTo>
                      <a:pt x="1580" y="1718"/>
                    </a:lnTo>
                    <a:lnTo>
                      <a:pt x="1580" y="1719"/>
                    </a:lnTo>
                    <a:lnTo>
                      <a:pt x="1580" y="1720"/>
                    </a:lnTo>
                    <a:lnTo>
                      <a:pt x="1581" y="1721"/>
                    </a:lnTo>
                    <a:lnTo>
                      <a:pt x="1581" y="1723"/>
                    </a:lnTo>
                    <a:lnTo>
                      <a:pt x="1580" y="1723"/>
                    </a:lnTo>
                    <a:lnTo>
                      <a:pt x="1580" y="1724"/>
                    </a:lnTo>
                    <a:lnTo>
                      <a:pt x="1579" y="1724"/>
                    </a:lnTo>
                    <a:lnTo>
                      <a:pt x="1576" y="1725"/>
                    </a:lnTo>
                    <a:lnTo>
                      <a:pt x="1576" y="1726"/>
                    </a:lnTo>
                    <a:lnTo>
                      <a:pt x="1576" y="1726"/>
                    </a:lnTo>
                    <a:lnTo>
                      <a:pt x="1576" y="1726"/>
                    </a:lnTo>
                    <a:lnTo>
                      <a:pt x="1577" y="1728"/>
                    </a:lnTo>
                    <a:lnTo>
                      <a:pt x="1577" y="1729"/>
                    </a:lnTo>
                    <a:lnTo>
                      <a:pt x="1576" y="1730"/>
                    </a:lnTo>
                    <a:lnTo>
                      <a:pt x="1574" y="1731"/>
                    </a:lnTo>
                    <a:lnTo>
                      <a:pt x="1572" y="1731"/>
                    </a:lnTo>
                    <a:lnTo>
                      <a:pt x="1569" y="1732"/>
                    </a:lnTo>
                    <a:lnTo>
                      <a:pt x="1565" y="1732"/>
                    </a:lnTo>
                    <a:lnTo>
                      <a:pt x="1563" y="1732"/>
                    </a:lnTo>
                    <a:lnTo>
                      <a:pt x="1561" y="1732"/>
                    </a:lnTo>
                    <a:lnTo>
                      <a:pt x="1559" y="1732"/>
                    </a:lnTo>
                    <a:lnTo>
                      <a:pt x="1555" y="1731"/>
                    </a:lnTo>
                    <a:lnTo>
                      <a:pt x="1554" y="1730"/>
                    </a:lnTo>
                    <a:lnTo>
                      <a:pt x="1551" y="1730"/>
                    </a:lnTo>
                    <a:lnTo>
                      <a:pt x="1550" y="1731"/>
                    </a:lnTo>
                    <a:lnTo>
                      <a:pt x="1549" y="1732"/>
                    </a:lnTo>
                    <a:lnTo>
                      <a:pt x="1549" y="1734"/>
                    </a:lnTo>
                    <a:lnTo>
                      <a:pt x="1549" y="1734"/>
                    </a:lnTo>
                    <a:lnTo>
                      <a:pt x="1550" y="1735"/>
                    </a:lnTo>
                    <a:lnTo>
                      <a:pt x="1550" y="1735"/>
                    </a:lnTo>
                    <a:lnTo>
                      <a:pt x="1551" y="1737"/>
                    </a:lnTo>
                    <a:lnTo>
                      <a:pt x="1552" y="1738"/>
                    </a:lnTo>
                    <a:lnTo>
                      <a:pt x="1552" y="1739"/>
                    </a:lnTo>
                    <a:lnTo>
                      <a:pt x="1554" y="1739"/>
                    </a:lnTo>
                    <a:lnTo>
                      <a:pt x="1555" y="1740"/>
                    </a:lnTo>
                    <a:lnTo>
                      <a:pt x="1557" y="1741"/>
                    </a:lnTo>
                    <a:lnTo>
                      <a:pt x="1557" y="1741"/>
                    </a:lnTo>
                    <a:lnTo>
                      <a:pt x="1557" y="1742"/>
                    </a:lnTo>
                    <a:lnTo>
                      <a:pt x="1557" y="1743"/>
                    </a:lnTo>
                    <a:lnTo>
                      <a:pt x="1555" y="1745"/>
                    </a:lnTo>
                    <a:lnTo>
                      <a:pt x="1555" y="1745"/>
                    </a:lnTo>
                    <a:lnTo>
                      <a:pt x="1557" y="1745"/>
                    </a:lnTo>
                    <a:lnTo>
                      <a:pt x="1558" y="1745"/>
                    </a:lnTo>
                    <a:lnTo>
                      <a:pt x="1559" y="1745"/>
                    </a:lnTo>
                    <a:lnTo>
                      <a:pt x="1559" y="1746"/>
                    </a:lnTo>
                    <a:lnTo>
                      <a:pt x="1559" y="1746"/>
                    </a:lnTo>
                    <a:lnTo>
                      <a:pt x="1558" y="1747"/>
                    </a:lnTo>
                    <a:lnTo>
                      <a:pt x="1557" y="1748"/>
                    </a:lnTo>
                    <a:lnTo>
                      <a:pt x="1555" y="1749"/>
                    </a:lnTo>
                    <a:lnTo>
                      <a:pt x="1554" y="1749"/>
                    </a:lnTo>
                    <a:lnTo>
                      <a:pt x="1554" y="1750"/>
                    </a:lnTo>
                    <a:lnTo>
                      <a:pt x="1554" y="1752"/>
                    </a:lnTo>
                    <a:lnTo>
                      <a:pt x="1554" y="1753"/>
                    </a:lnTo>
                    <a:lnTo>
                      <a:pt x="1554" y="1756"/>
                    </a:lnTo>
                    <a:lnTo>
                      <a:pt x="1553" y="1758"/>
                    </a:lnTo>
                    <a:lnTo>
                      <a:pt x="1552" y="1759"/>
                    </a:lnTo>
                    <a:lnTo>
                      <a:pt x="1549" y="1759"/>
                    </a:lnTo>
                    <a:lnTo>
                      <a:pt x="1547" y="1759"/>
                    </a:lnTo>
                    <a:lnTo>
                      <a:pt x="1543" y="1760"/>
                    </a:lnTo>
                    <a:lnTo>
                      <a:pt x="1541" y="1761"/>
                    </a:lnTo>
                    <a:lnTo>
                      <a:pt x="1539" y="1761"/>
                    </a:lnTo>
                    <a:lnTo>
                      <a:pt x="1539" y="1762"/>
                    </a:lnTo>
                    <a:lnTo>
                      <a:pt x="1538" y="1763"/>
                    </a:lnTo>
                    <a:lnTo>
                      <a:pt x="1537" y="1763"/>
                    </a:lnTo>
                    <a:lnTo>
                      <a:pt x="1536" y="1765"/>
                    </a:lnTo>
                    <a:lnTo>
                      <a:pt x="1536" y="1767"/>
                    </a:lnTo>
                    <a:lnTo>
                      <a:pt x="1536" y="1769"/>
                    </a:lnTo>
                    <a:lnTo>
                      <a:pt x="1537" y="1770"/>
                    </a:lnTo>
                    <a:lnTo>
                      <a:pt x="1539" y="1770"/>
                    </a:lnTo>
                    <a:lnTo>
                      <a:pt x="1540" y="1771"/>
                    </a:lnTo>
                    <a:lnTo>
                      <a:pt x="1542" y="1772"/>
                    </a:lnTo>
                    <a:lnTo>
                      <a:pt x="1545" y="1772"/>
                    </a:lnTo>
                    <a:lnTo>
                      <a:pt x="1548" y="1772"/>
                    </a:lnTo>
                    <a:lnTo>
                      <a:pt x="1550" y="1772"/>
                    </a:lnTo>
                    <a:lnTo>
                      <a:pt x="1559" y="1772"/>
                    </a:lnTo>
                    <a:lnTo>
                      <a:pt x="1560" y="1774"/>
                    </a:lnTo>
                    <a:lnTo>
                      <a:pt x="1560" y="1775"/>
                    </a:lnTo>
                    <a:lnTo>
                      <a:pt x="1560" y="1776"/>
                    </a:lnTo>
                    <a:lnTo>
                      <a:pt x="1559" y="1776"/>
                    </a:lnTo>
                    <a:lnTo>
                      <a:pt x="1557" y="1779"/>
                    </a:lnTo>
                    <a:lnTo>
                      <a:pt x="1554" y="1780"/>
                    </a:lnTo>
                    <a:lnTo>
                      <a:pt x="1552" y="1781"/>
                    </a:lnTo>
                    <a:lnTo>
                      <a:pt x="1550" y="1781"/>
                    </a:lnTo>
                    <a:lnTo>
                      <a:pt x="1550" y="1781"/>
                    </a:lnTo>
                    <a:lnTo>
                      <a:pt x="1549" y="1782"/>
                    </a:lnTo>
                    <a:lnTo>
                      <a:pt x="1548" y="1783"/>
                    </a:lnTo>
                    <a:lnTo>
                      <a:pt x="1545" y="1783"/>
                    </a:lnTo>
                    <a:lnTo>
                      <a:pt x="1545" y="1790"/>
                    </a:lnTo>
                    <a:lnTo>
                      <a:pt x="1543" y="1791"/>
                    </a:lnTo>
                    <a:lnTo>
                      <a:pt x="1541" y="1792"/>
                    </a:lnTo>
                    <a:lnTo>
                      <a:pt x="1539" y="1792"/>
                    </a:lnTo>
                    <a:lnTo>
                      <a:pt x="1536" y="1793"/>
                    </a:lnTo>
                    <a:lnTo>
                      <a:pt x="1534" y="1794"/>
                    </a:lnTo>
                    <a:lnTo>
                      <a:pt x="1536" y="1795"/>
                    </a:lnTo>
                    <a:lnTo>
                      <a:pt x="1536" y="1796"/>
                    </a:lnTo>
                    <a:lnTo>
                      <a:pt x="1537" y="1797"/>
                    </a:lnTo>
                    <a:lnTo>
                      <a:pt x="1539" y="1798"/>
                    </a:lnTo>
                    <a:lnTo>
                      <a:pt x="1541" y="1801"/>
                    </a:lnTo>
                    <a:lnTo>
                      <a:pt x="1542" y="1801"/>
                    </a:lnTo>
                    <a:lnTo>
                      <a:pt x="1544" y="1802"/>
                    </a:lnTo>
                    <a:lnTo>
                      <a:pt x="1545" y="1802"/>
                    </a:lnTo>
                    <a:lnTo>
                      <a:pt x="1547" y="1803"/>
                    </a:lnTo>
                    <a:lnTo>
                      <a:pt x="1548" y="1803"/>
                    </a:lnTo>
                    <a:lnTo>
                      <a:pt x="1547" y="1803"/>
                    </a:lnTo>
                    <a:lnTo>
                      <a:pt x="1544" y="1803"/>
                    </a:lnTo>
                    <a:lnTo>
                      <a:pt x="1543" y="1804"/>
                    </a:lnTo>
                    <a:lnTo>
                      <a:pt x="1541" y="1804"/>
                    </a:lnTo>
                    <a:lnTo>
                      <a:pt x="1541" y="1805"/>
                    </a:lnTo>
                    <a:lnTo>
                      <a:pt x="1550" y="1805"/>
                    </a:lnTo>
                    <a:lnTo>
                      <a:pt x="1532" y="1806"/>
                    </a:lnTo>
                    <a:lnTo>
                      <a:pt x="1515" y="1807"/>
                    </a:lnTo>
                    <a:lnTo>
                      <a:pt x="1510" y="1807"/>
                    </a:lnTo>
                    <a:lnTo>
                      <a:pt x="1506" y="1806"/>
                    </a:lnTo>
                    <a:lnTo>
                      <a:pt x="1501" y="1805"/>
                    </a:lnTo>
                    <a:lnTo>
                      <a:pt x="1497" y="1805"/>
                    </a:lnTo>
                    <a:lnTo>
                      <a:pt x="1498" y="1805"/>
                    </a:lnTo>
                    <a:lnTo>
                      <a:pt x="1499" y="1805"/>
                    </a:lnTo>
                    <a:lnTo>
                      <a:pt x="1501" y="1805"/>
                    </a:lnTo>
                    <a:lnTo>
                      <a:pt x="1501" y="1804"/>
                    </a:lnTo>
                    <a:lnTo>
                      <a:pt x="1501" y="1803"/>
                    </a:lnTo>
                    <a:lnTo>
                      <a:pt x="1486" y="1803"/>
                    </a:lnTo>
                    <a:lnTo>
                      <a:pt x="1485" y="1802"/>
                    </a:lnTo>
                    <a:lnTo>
                      <a:pt x="1484" y="1801"/>
                    </a:lnTo>
                    <a:lnTo>
                      <a:pt x="1483" y="1800"/>
                    </a:lnTo>
                    <a:lnTo>
                      <a:pt x="1482" y="1798"/>
                    </a:lnTo>
                    <a:lnTo>
                      <a:pt x="1482" y="1796"/>
                    </a:lnTo>
                    <a:lnTo>
                      <a:pt x="1479" y="1795"/>
                    </a:lnTo>
                    <a:lnTo>
                      <a:pt x="1478" y="1795"/>
                    </a:lnTo>
                    <a:lnTo>
                      <a:pt x="1477" y="1795"/>
                    </a:lnTo>
                    <a:lnTo>
                      <a:pt x="1477" y="1795"/>
                    </a:lnTo>
                    <a:lnTo>
                      <a:pt x="1477" y="1794"/>
                    </a:lnTo>
                    <a:lnTo>
                      <a:pt x="1477" y="1792"/>
                    </a:lnTo>
                    <a:lnTo>
                      <a:pt x="1475" y="1793"/>
                    </a:lnTo>
                    <a:lnTo>
                      <a:pt x="1474" y="1794"/>
                    </a:lnTo>
                    <a:lnTo>
                      <a:pt x="1472" y="1795"/>
                    </a:lnTo>
                    <a:lnTo>
                      <a:pt x="1471" y="1796"/>
                    </a:lnTo>
                    <a:lnTo>
                      <a:pt x="1468" y="1796"/>
                    </a:lnTo>
                    <a:lnTo>
                      <a:pt x="1466" y="1795"/>
                    </a:lnTo>
                    <a:lnTo>
                      <a:pt x="1466" y="1794"/>
                    </a:lnTo>
                    <a:lnTo>
                      <a:pt x="1466" y="1793"/>
                    </a:lnTo>
                    <a:lnTo>
                      <a:pt x="1466" y="1792"/>
                    </a:lnTo>
                    <a:lnTo>
                      <a:pt x="1464" y="1793"/>
                    </a:lnTo>
                    <a:lnTo>
                      <a:pt x="1463" y="1793"/>
                    </a:lnTo>
                    <a:lnTo>
                      <a:pt x="1462" y="1792"/>
                    </a:lnTo>
                    <a:lnTo>
                      <a:pt x="1462" y="1790"/>
                    </a:lnTo>
                    <a:lnTo>
                      <a:pt x="1468" y="1790"/>
                    </a:lnTo>
                    <a:lnTo>
                      <a:pt x="1471" y="1789"/>
                    </a:lnTo>
                    <a:lnTo>
                      <a:pt x="1472" y="1786"/>
                    </a:lnTo>
                    <a:lnTo>
                      <a:pt x="1472" y="1785"/>
                    </a:lnTo>
                    <a:lnTo>
                      <a:pt x="1471" y="1783"/>
                    </a:lnTo>
                    <a:lnTo>
                      <a:pt x="1466" y="1783"/>
                    </a:lnTo>
                    <a:lnTo>
                      <a:pt x="1465" y="1783"/>
                    </a:lnTo>
                    <a:lnTo>
                      <a:pt x="1465" y="1783"/>
                    </a:lnTo>
                    <a:lnTo>
                      <a:pt x="1465" y="1782"/>
                    </a:lnTo>
                    <a:lnTo>
                      <a:pt x="1466" y="1781"/>
                    </a:lnTo>
                    <a:lnTo>
                      <a:pt x="1462" y="1779"/>
                    </a:lnTo>
                    <a:lnTo>
                      <a:pt x="1455" y="1779"/>
                    </a:lnTo>
                    <a:lnTo>
                      <a:pt x="1453" y="1778"/>
                    </a:lnTo>
                    <a:lnTo>
                      <a:pt x="1452" y="1776"/>
                    </a:lnTo>
                    <a:lnTo>
                      <a:pt x="1451" y="1776"/>
                    </a:lnTo>
                    <a:lnTo>
                      <a:pt x="1452" y="1775"/>
                    </a:lnTo>
                    <a:lnTo>
                      <a:pt x="1453" y="1774"/>
                    </a:lnTo>
                    <a:lnTo>
                      <a:pt x="1453" y="1774"/>
                    </a:lnTo>
                    <a:lnTo>
                      <a:pt x="1453" y="1773"/>
                    </a:lnTo>
                    <a:lnTo>
                      <a:pt x="1453" y="1773"/>
                    </a:lnTo>
                    <a:lnTo>
                      <a:pt x="1455" y="1772"/>
                    </a:lnTo>
                    <a:lnTo>
                      <a:pt x="1456" y="1772"/>
                    </a:lnTo>
                    <a:lnTo>
                      <a:pt x="1456" y="1772"/>
                    </a:lnTo>
                    <a:lnTo>
                      <a:pt x="1457" y="1773"/>
                    </a:lnTo>
                    <a:lnTo>
                      <a:pt x="1460" y="1773"/>
                    </a:lnTo>
                    <a:lnTo>
                      <a:pt x="1460" y="1773"/>
                    </a:lnTo>
                    <a:lnTo>
                      <a:pt x="1461" y="1773"/>
                    </a:lnTo>
                    <a:lnTo>
                      <a:pt x="1462" y="1774"/>
                    </a:lnTo>
                    <a:lnTo>
                      <a:pt x="1464" y="1775"/>
                    </a:lnTo>
                    <a:lnTo>
                      <a:pt x="1466" y="1774"/>
                    </a:lnTo>
                    <a:lnTo>
                      <a:pt x="1464" y="1772"/>
                    </a:lnTo>
                    <a:lnTo>
                      <a:pt x="1468" y="1772"/>
                    </a:lnTo>
                    <a:lnTo>
                      <a:pt x="1468" y="1768"/>
                    </a:lnTo>
                    <a:lnTo>
                      <a:pt x="1468" y="1767"/>
                    </a:lnTo>
                    <a:lnTo>
                      <a:pt x="1468" y="1765"/>
                    </a:lnTo>
                    <a:lnTo>
                      <a:pt x="1467" y="1765"/>
                    </a:lnTo>
                    <a:lnTo>
                      <a:pt x="1466" y="1764"/>
                    </a:lnTo>
                    <a:lnTo>
                      <a:pt x="1466" y="1763"/>
                    </a:lnTo>
                    <a:lnTo>
                      <a:pt x="1465" y="1761"/>
                    </a:lnTo>
                    <a:lnTo>
                      <a:pt x="1465" y="1759"/>
                    </a:lnTo>
                    <a:lnTo>
                      <a:pt x="1465" y="1757"/>
                    </a:lnTo>
                    <a:lnTo>
                      <a:pt x="1465" y="1754"/>
                    </a:lnTo>
                    <a:lnTo>
                      <a:pt x="1466" y="1752"/>
                    </a:lnTo>
                    <a:lnTo>
                      <a:pt x="1466" y="1751"/>
                    </a:lnTo>
                    <a:lnTo>
                      <a:pt x="1466" y="1750"/>
                    </a:lnTo>
                    <a:lnTo>
                      <a:pt x="1466" y="1748"/>
                    </a:lnTo>
                    <a:lnTo>
                      <a:pt x="1466" y="1747"/>
                    </a:lnTo>
                    <a:lnTo>
                      <a:pt x="1465" y="1745"/>
                    </a:lnTo>
                    <a:lnTo>
                      <a:pt x="1464" y="1743"/>
                    </a:lnTo>
                    <a:lnTo>
                      <a:pt x="1462" y="1743"/>
                    </a:lnTo>
                    <a:lnTo>
                      <a:pt x="1459" y="1745"/>
                    </a:lnTo>
                    <a:lnTo>
                      <a:pt x="1456" y="1745"/>
                    </a:lnTo>
                    <a:lnTo>
                      <a:pt x="1455" y="1746"/>
                    </a:lnTo>
                    <a:lnTo>
                      <a:pt x="1453" y="1747"/>
                    </a:lnTo>
                    <a:lnTo>
                      <a:pt x="1451" y="1746"/>
                    </a:lnTo>
                    <a:lnTo>
                      <a:pt x="1448" y="1745"/>
                    </a:lnTo>
                    <a:lnTo>
                      <a:pt x="1445" y="1742"/>
                    </a:lnTo>
                    <a:lnTo>
                      <a:pt x="1444" y="1740"/>
                    </a:lnTo>
                    <a:lnTo>
                      <a:pt x="1443" y="1739"/>
                    </a:lnTo>
                    <a:lnTo>
                      <a:pt x="1444" y="1737"/>
                    </a:lnTo>
                    <a:lnTo>
                      <a:pt x="1444" y="1736"/>
                    </a:lnTo>
                    <a:lnTo>
                      <a:pt x="1445" y="1736"/>
                    </a:lnTo>
                    <a:lnTo>
                      <a:pt x="1446" y="1735"/>
                    </a:lnTo>
                    <a:lnTo>
                      <a:pt x="1449" y="1735"/>
                    </a:lnTo>
                    <a:lnTo>
                      <a:pt x="1449" y="1730"/>
                    </a:lnTo>
                    <a:lnTo>
                      <a:pt x="1446" y="1729"/>
                    </a:lnTo>
                    <a:lnTo>
                      <a:pt x="1445" y="1729"/>
                    </a:lnTo>
                    <a:lnTo>
                      <a:pt x="1443" y="1728"/>
                    </a:lnTo>
                    <a:lnTo>
                      <a:pt x="1442" y="1727"/>
                    </a:lnTo>
                    <a:lnTo>
                      <a:pt x="1442" y="1726"/>
                    </a:lnTo>
                    <a:lnTo>
                      <a:pt x="1440" y="1724"/>
                    </a:lnTo>
                    <a:lnTo>
                      <a:pt x="1439" y="1721"/>
                    </a:lnTo>
                    <a:lnTo>
                      <a:pt x="1437" y="1720"/>
                    </a:lnTo>
                    <a:lnTo>
                      <a:pt x="1437" y="1718"/>
                    </a:lnTo>
                    <a:lnTo>
                      <a:pt x="1438" y="1717"/>
                    </a:lnTo>
                    <a:lnTo>
                      <a:pt x="1439" y="1717"/>
                    </a:lnTo>
                    <a:lnTo>
                      <a:pt x="1439" y="1718"/>
                    </a:lnTo>
                    <a:lnTo>
                      <a:pt x="1440" y="1718"/>
                    </a:lnTo>
                    <a:lnTo>
                      <a:pt x="1441" y="1718"/>
                    </a:lnTo>
                    <a:lnTo>
                      <a:pt x="1442" y="1717"/>
                    </a:lnTo>
                    <a:lnTo>
                      <a:pt x="1442" y="1716"/>
                    </a:lnTo>
                    <a:lnTo>
                      <a:pt x="1442" y="1716"/>
                    </a:lnTo>
                    <a:lnTo>
                      <a:pt x="1442" y="1715"/>
                    </a:lnTo>
                    <a:lnTo>
                      <a:pt x="1442" y="1714"/>
                    </a:lnTo>
                    <a:lnTo>
                      <a:pt x="1442" y="1713"/>
                    </a:lnTo>
                    <a:lnTo>
                      <a:pt x="1443" y="1710"/>
                    </a:lnTo>
                    <a:lnTo>
                      <a:pt x="1443" y="1708"/>
                    </a:lnTo>
                    <a:lnTo>
                      <a:pt x="1444" y="1706"/>
                    </a:lnTo>
                    <a:lnTo>
                      <a:pt x="1445" y="1703"/>
                    </a:lnTo>
                    <a:lnTo>
                      <a:pt x="1448" y="1699"/>
                    </a:lnTo>
                    <a:lnTo>
                      <a:pt x="1449" y="1697"/>
                    </a:lnTo>
                    <a:lnTo>
                      <a:pt x="1450" y="1695"/>
                    </a:lnTo>
                    <a:lnTo>
                      <a:pt x="1450" y="1692"/>
                    </a:lnTo>
                    <a:lnTo>
                      <a:pt x="1450" y="1689"/>
                    </a:lnTo>
                    <a:lnTo>
                      <a:pt x="1451" y="1686"/>
                    </a:lnTo>
                    <a:lnTo>
                      <a:pt x="1451" y="1684"/>
                    </a:lnTo>
                    <a:lnTo>
                      <a:pt x="1450" y="1682"/>
                    </a:lnTo>
                    <a:lnTo>
                      <a:pt x="1448" y="1680"/>
                    </a:lnTo>
                    <a:lnTo>
                      <a:pt x="1445" y="1677"/>
                    </a:lnTo>
                    <a:lnTo>
                      <a:pt x="1443" y="1675"/>
                    </a:lnTo>
                    <a:lnTo>
                      <a:pt x="1442" y="1673"/>
                    </a:lnTo>
                    <a:lnTo>
                      <a:pt x="1442" y="1671"/>
                    </a:lnTo>
                    <a:lnTo>
                      <a:pt x="1443" y="1667"/>
                    </a:lnTo>
                    <a:lnTo>
                      <a:pt x="1444" y="1665"/>
                    </a:lnTo>
                    <a:lnTo>
                      <a:pt x="1446" y="1662"/>
                    </a:lnTo>
                    <a:lnTo>
                      <a:pt x="1445" y="1661"/>
                    </a:lnTo>
                    <a:lnTo>
                      <a:pt x="1444" y="1660"/>
                    </a:lnTo>
                    <a:lnTo>
                      <a:pt x="1443" y="1659"/>
                    </a:lnTo>
                    <a:lnTo>
                      <a:pt x="1443" y="1658"/>
                    </a:lnTo>
                    <a:lnTo>
                      <a:pt x="1444" y="1655"/>
                    </a:lnTo>
                    <a:lnTo>
                      <a:pt x="1444" y="1654"/>
                    </a:lnTo>
                    <a:lnTo>
                      <a:pt x="1445" y="1652"/>
                    </a:lnTo>
                    <a:lnTo>
                      <a:pt x="1445" y="1651"/>
                    </a:lnTo>
                    <a:lnTo>
                      <a:pt x="1446" y="1649"/>
                    </a:lnTo>
                    <a:lnTo>
                      <a:pt x="1446" y="1648"/>
                    </a:lnTo>
                    <a:lnTo>
                      <a:pt x="1448" y="1647"/>
                    </a:lnTo>
                    <a:lnTo>
                      <a:pt x="1448" y="1647"/>
                    </a:lnTo>
                    <a:lnTo>
                      <a:pt x="1449" y="1644"/>
                    </a:lnTo>
                    <a:lnTo>
                      <a:pt x="1449" y="1642"/>
                    </a:lnTo>
                    <a:lnTo>
                      <a:pt x="1449" y="1641"/>
                    </a:lnTo>
                    <a:lnTo>
                      <a:pt x="1450" y="1640"/>
                    </a:lnTo>
                    <a:lnTo>
                      <a:pt x="1450" y="1639"/>
                    </a:lnTo>
                    <a:lnTo>
                      <a:pt x="1451" y="1638"/>
                    </a:lnTo>
                    <a:lnTo>
                      <a:pt x="1451" y="1632"/>
                    </a:lnTo>
                    <a:lnTo>
                      <a:pt x="1451" y="1630"/>
                    </a:lnTo>
                    <a:lnTo>
                      <a:pt x="1452" y="1629"/>
                    </a:lnTo>
                    <a:lnTo>
                      <a:pt x="1452" y="1628"/>
                    </a:lnTo>
                    <a:lnTo>
                      <a:pt x="1453" y="1627"/>
                    </a:lnTo>
                    <a:lnTo>
                      <a:pt x="1452" y="1625"/>
                    </a:lnTo>
                    <a:lnTo>
                      <a:pt x="1451" y="1622"/>
                    </a:lnTo>
                    <a:lnTo>
                      <a:pt x="1451" y="1620"/>
                    </a:lnTo>
                    <a:lnTo>
                      <a:pt x="1450" y="1619"/>
                    </a:lnTo>
                    <a:lnTo>
                      <a:pt x="1450" y="1617"/>
                    </a:lnTo>
                    <a:lnTo>
                      <a:pt x="1451" y="1616"/>
                    </a:lnTo>
                    <a:lnTo>
                      <a:pt x="1451" y="1614"/>
                    </a:lnTo>
                    <a:lnTo>
                      <a:pt x="1451" y="1612"/>
                    </a:lnTo>
                    <a:lnTo>
                      <a:pt x="1449" y="1611"/>
                    </a:lnTo>
                    <a:lnTo>
                      <a:pt x="1449" y="1610"/>
                    </a:lnTo>
                    <a:lnTo>
                      <a:pt x="1450" y="1609"/>
                    </a:lnTo>
                    <a:lnTo>
                      <a:pt x="1451" y="1608"/>
                    </a:lnTo>
                    <a:lnTo>
                      <a:pt x="1452" y="1607"/>
                    </a:lnTo>
                    <a:lnTo>
                      <a:pt x="1453" y="1606"/>
                    </a:lnTo>
                    <a:lnTo>
                      <a:pt x="1452" y="1604"/>
                    </a:lnTo>
                    <a:lnTo>
                      <a:pt x="1452" y="1603"/>
                    </a:lnTo>
                    <a:lnTo>
                      <a:pt x="1452" y="1600"/>
                    </a:lnTo>
                    <a:lnTo>
                      <a:pt x="1453" y="1599"/>
                    </a:lnTo>
                    <a:lnTo>
                      <a:pt x="1454" y="1598"/>
                    </a:lnTo>
                    <a:lnTo>
                      <a:pt x="1456" y="1597"/>
                    </a:lnTo>
                    <a:lnTo>
                      <a:pt x="1456" y="1596"/>
                    </a:lnTo>
                    <a:lnTo>
                      <a:pt x="1455" y="1596"/>
                    </a:lnTo>
                    <a:lnTo>
                      <a:pt x="1455" y="1595"/>
                    </a:lnTo>
                    <a:lnTo>
                      <a:pt x="1455" y="1590"/>
                    </a:lnTo>
                    <a:lnTo>
                      <a:pt x="1454" y="1590"/>
                    </a:lnTo>
                    <a:lnTo>
                      <a:pt x="1454" y="1589"/>
                    </a:lnTo>
                    <a:lnTo>
                      <a:pt x="1453" y="1589"/>
                    </a:lnTo>
                    <a:lnTo>
                      <a:pt x="1453" y="1588"/>
                    </a:lnTo>
                    <a:lnTo>
                      <a:pt x="1453" y="1582"/>
                    </a:lnTo>
                    <a:lnTo>
                      <a:pt x="1451" y="1579"/>
                    </a:lnTo>
                    <a:lnTo>
                      <a:pt x="1450" y="1577"/>
                    </a:lnTo>
                    <a:lnTo>
                      <a:pt x="1449" y="1576"/>
                    </a:lnTo>
                    <a:lnTo>
                      <a:pt x="1449" y="1575"/>
                    </a:lnTo>
                    <a:lnTo>
                      <a:pt x="1449" y="1573"/>
                    </a:lnTo>
                    <a:lnTo>
                      <a:pt x="1449" y="1572"/>
                    </a:lnTo>
                    <a:lnTo>
                      <a:pt x="1450" y="1571"/>
                    </a:lnTo>
                    <a:lnTo>
                      <a:pt x="1450" y="1569"/>
                    </a:lnTo>
                    <a:lnTo>
                      <a:pt x="1448" y="1569"/>
                    </a:lnTo>
                    <a:lnTo>
                      <a:pt x="1446" y="1568"/>
                    </a:lnTo>
                    <a:lnTo>
                      <a:pt x="1439" y="1565"/>
                    </a:lnTo>
                    <a:lnTo>
                      <a:pt x="1432" y="1562"/>
                    </a:lnTo>
                    <a:lnTo>
                      <a:pt x="1427" y="1560"/>
                    </a:lnTo>
                    <a:lnTo>
                      <a:pt x="1422" y="1557"/>
                    </a:lnTo>
                    <a:lnTo>
                      <a:pt x="1418" y="1556"/>
                    </a:lnTo>
                    <a:lnTo>
                      <a:pt x="1413" y="1555"/>
                    </a:lnTo>
                    <a:lnTo>
                      <a:pt x="1411" y="1554"/>
                    </a:lnTo>
                    <a:lnTo>
                      <a:pt x="1409" y="1554"/>
                    </a:lnTo>
                    <a:lnTo>
                      <a:pt x="1408" y="1553"/>
                    </a:lnTo>
                    <a:lnTo>
                      <a:pt x="1406" y="1553"/>
                    </a:lnTo>
                    <a:lnTo>
                      <a:pt x="1403" y="1553"/>
                    </a:lnTo>
                    <a:lnTo>
                      <a:pt x="1392" y="1551"/>
                    </a:lnTo>
                    <a:lnTo>
                      <a:pt x="1381" y="1549"/>
                    </a:lnTo>
                    <a:lnTo>
                      <a:pt x="1379" y="1546"/>
                    </a:lnTo>
                    <a:lnTo>
                      <a:pt x="1377" y="1545"/>
                    </a:lnTo>
                    <a:lnTo>
                      <a:pt x="1376" y="1543"/>
                    </a:lnTo>
                    <a:lnTo>
                      <a:pt x="1373" y="1542"/>
                    </a:lnTo>
                    <a:lnTo>
                      <a:pt x="1370" y="1541"/>
                    </a:lnTo>
                    <a:lnTo>
                      <a:pt x="1368" y="1540"/>
                    </a:lnTo>
                    <a:lnTo>
                      <a:pt x="1366" y="1539"/>
                    </a:lnTo>
                    <a:lnTo>
                      <a:pt x="1364" y="1538"/>
                    </a:lnTo>
                    <a:lnTo>
                      <a:pt x="1362" y="1534"/>
                    </a:lnTo>
                    <a:lnTo>
                      <a:pt x="1359" y="1532"/>
                    </a:lnTo>
                    <a:lnTo>
                      <a:pt x="1357" y="1529"/>
                    </a:lnTo>
                    <a:lnTo>
                      <a:pt x="1355" y="1525"/>
                    </a:lnTo>
                    <a:lnTo>
                      <a:pt x="1353" y="1522"/>
                    </a:lnTo>
                    <a:lnTo>
                      <a:pt x="1352" y="1521"/>
                    </a:lnTo>
                    <a:lnTo>
                      <a:pt x="1351" y="1520"/>
                    </a:lnTo>
                    <a:lnTo>
                      <a:pt x="1351" y="1519"/>
                    </a:lnTo>
                    <a:lnTo>
                      <a:pt x="1348" y="1518"/>
                    </a:lnTo>
                    <a:lnTo>
                      <a:pt x="1347" y="1518"/>
                    </a:lnTo>
                    <a:lnTo>
                      <a:pt x="1346" y="1518"/>
                    </a:lnTo>
                    <a:lnTo>
                      <a:pt x="1345" y="1517"/>
                    </a:lnTo>
                    <a:lnTo>
                      <a:pt x="1344" y="1516"/>
                    </a:lnTo>
                    <a:lnTo>
                      <a:pt x="1344" y="1513"/>
                    </a:lnTo>
                    <a:lnTo>
                      <a:pt x="1343" y="1512"/>
                    </a:lnTo>
                    <a:lnTo>
                      <a:pt x="1343" y="1510"/>
                    </a:lnTo>
                    <a:lnTo>
                      <a:pt x="1342" y="1509"/>
                    </a:lnTo>
                    <a:lnTo>
                      <a:pt x="1339" y="1508"/>
                    </a:lnTo>
                    <a:lnTo>
                      <a:pt x="1336" y="1507"/>
                    </a:lnTo>
                    <a:lnTo>
                      <a:pt x="1333" y="1506"/>
                    </a:lnTo>
                    <a:lnTo>
                      <a:pt x="1331" y="1505"/>
                    </a:lnTo>
                    <a:lnTo>
                      <a:pt x="1329" y="1501"/>
                    </a:lnTo>
                    <a:lnTo>
                      <a:pt x="1326" y="1498"/>
                    </a:lnTo>
                    <a:lnTo>
                      <a:pt x="1324" y="1496"/>
                    </a:lnTo>
                    <a:lnTo>
                      <a:pt x="1323" y="1492"/>
                    </a:lnTo>
                    <a:lnTo>
                      <a:pt x="1320" y="1490"/>
                    </a:lnTo>
                    <a:lnTo>
                      <a:pt x="1318" y="1487"/>
                    </a:lnTo>
                    <a:lnTo>
                      <a:pt x="1315" y="1485"/>
                    </a:lnTo>
                    <a:lnTo>
                      <a:pt x="1313" y="1481"/>
                    </a:lnTo>
                    <a:lnTo>
                      <a:pt x="1311" y="1478"/>
                    </a:lnTo>
                    <a:lnTo>
                      <a:pt x="1309" y="1476"/>
                    </a:lnTo>
                    <a:lnTo>
                      <a:pt x="1303" y="1469"/>
                    </a:lnTo>
                    <a:lnTo>
                      <a:pt x="1298" y="1463"/>
                    </a:lnTo>
                    <a:lnTo>
                      <a:pt x="1289" y="1458"/>
                    </a:lnTo>
                    <a:lnTo>
                      <a:pt x="1287" y="1457"/>
                    </a:lnTo>
                    <a:lnTo>
                      <a:pt x="1283" y="1456"/>
                    </a:lnTo>
                    <a:lnTo>
                      <a:pt x="1280" y="1456"/>
                    </a:lnTo>
                    <a:lnTo>
                      <a:pt x="1278" y="1455"/>
                    </a:lnTo>
                    <a:lnTo>
                      <a:pt x="1276" y="1454"/>
                    </a:lnTo>
                    <a:lnTo>
                      <a:pt x="1276" y="1453"/>
                    </a:lnTo>
                    <a:lnTo>
                      <a:pt x="1276" y="1452"/>
                    </a:lnTo>
                    <a:lnTo>
                      <a:pt x="1277" y="1452"/>
                    </a:lnTo>
                    <a:lnTo>
                      <a:pt x="1278" y="1452"/>
                    </a:lnTo>
                    <a:lnTo>
                      <a:pt x="1278" y="1452"/>
                    </a:lnTo>
                    <a:lnTo>
                      <a:pt x="1279" y="1448"/>
                    </a:lnTo>
                    <a:lnTo>
                      <a:pt x="1278" y="1446"/>
                    </a:lnTo>
                    <a:lnTo>
                      <a:pt x="1277" y="1444"/>
                    </a:lnTo>
                    <a:lnTo>
                      <a:pt x="1275" y="1442"/>
                    </a:lnTo>
                    <a:lnTo>
                      <a:pt x="1271" y="1441"/>
                    </a:lnTo>
                    <a:lnTo>
                      <a:pt x="1271" y="1438"/>
                    </a:lnTo>
                    <a:lnTo>
                      <a:pt x="1271" y="1436"/>
                    </a:lnTo>
                    <a:lnTo>
                      <a:pt x="1274" y="1434"/>
                    </a:lnTo>
                    <a:lnTo>
                      <a:pt x="1276" y="1432"/>
                    </a:lnTo>
                    <a:lnTo>
                      <a:pt x="1279" y="1430"/>
                    </a:lnTo>
                    <a:lnTo>
                      <a:pt x="1282" y="1429"/>
                    </a:lnTo>
                    <a:lnTo>
                      <a:pt x="1285" y="1427"/>
                    </a:lnTo>
                    <a:lnTo>
                      <a:pt x="1288" y="1426"/>
                    </a:lnTo>
                    <a:lnTo>
                      <a:pt x="1291" y="1424"/>
                    </a:lnTo>
                    <a:lnTo>
                      <a:pt x="1293" y="1423"/>
                    </a:lnTo>
                    <a:lnTo>
                      <a:pt x="1296" y="1421"/>
                    </a:lnTo>
                    <a:lnTo>
                      <a:pt x="1297" y="1419"/>
                    </a:lnTo>
                    <a:lnTo>
                      <a:pt x="1296" y="1416"/>
                    </a:lnTo>
                    <a:lnTo>
                      <a:pt x="1293" y="1414"/>
                    </a:lnTo>
                    <a:lnTo>
                      <a:pt x="1293" y="1415"/>
                    </a:lnTo>
                    <a:lnTo>
                      <a:pt x="1292" y="1416"/>
                    </a:lnTo>
                    <a:lnTo>
                      <a:pt x="1291" y="1418"/>
                    </a:lnTo>
                    <a:lnTo>
                      <a:pt x="1290" y="1418"/>
                    </a:lnTo>
                    <a:lnTo>
                      <a:pt x="1287" y="1416"/>
                    </a:lnTo>
                    <a:lnTo>
                      <a:pt x="1286" y="1416"/>
                    </a:lnTo>
                    <a:lnTo>
                      <a:pt x="1285" y="1415"/>
                    </a:lnTo>
                    <a:lnTo>
                      <a:pt x="1283" y="1413"/>
                    </a:lnTo>
                    <a:lnTo>
                      <a:pt x="1280" y="1412"/>
                    </a:lnTo>
                    <a:lnTo>
                      <a:pt x="1279" y="1412"/>
                    </a:lnTo>
                    <a:lnTo>
                      <a:pt x="1278" y="1412"/>
                    </a:lnTo>
                    <a:lnTo>
                      <a:pt x="1278" y="1411"/>
                    </a:lnTo>
                    <a:lnTo>
                      <a:pt x="1279" y="1411"/>
                    </a:lnTo>
                    <a:lnTo>
                      <a:pt x="1279" y="1410"/>
                    </a:lnTo>
                    <a:lnTo>
                      <a:pt x="1280" y="1410"/>
                    </a:lnTo>
                    <a:lnTo>
                      <a:pt x="1280" y="1410"/>
                    </a:lnTo>
                    <a:lnTo>
                      <a:pt x="1281" y="1409"/>
                    </a:lnTo>
                    <a:lnTo>
                      <a:pt x="1281" y="1407"/>
                    </a:lnTo>
                    <a:lnTo>
                      <a:pt x="1280" y="1405"/>
                    </a:lnTo>
                    <a:lnTo>
                      <a:pt x="1278" y="1405"/>
                    </a:lnTo>
                    <a:lnTo>
                      <a:pt x="1278" y="1399"/>
                    </a:lnTo>
                    <a:lnTo>
                      <a:pt x="1278" y="1398"/>
                    </a:lnTo>
                    <a:lnTo>
                      <a:pt x="1278" y="1398"/>
                    </a:lnTo>
                    <a:lnTo>
                      <a:pt x="1279" y="1398"/>
                    </a:lnTo>
                    <a:lnTo>
                      <a:pt x="1280" y="1398"/>
                    </a:lnTo>
                    <a:lnTo>
                      <a:pt x="1281" y="1398"/>
                    </a:lnTo>
                    <a:lnTo>
                      <a:pt x="1282" y="1397"/>
                    </a:lnTo>
                    <a:lnTo>
                      <a:pt x="1283" y="1396"/>
                    </a:lnTo>
                    <a:lnTo>
                      <a:pt x="1283" y="1394"/>
                    </a:lnTo>
                    <a:lnTo>
                      <a:pt x="1285" y="1393"/>
                    </a:lnTo>
                    <a:lnTo>
                      <a:pt x="1285" y="1392"/>
                    </a:lnTo>
                    <a:lnTo>
                      <a:pt x="1286" y="1391"/>
                    </a:lnTo>
                    <a:lnTo>
                      <a:pt x="1287" y="1390"/>
                    </a:lnTo>
                    <a:lnTo>
                      <a:pt x="1288" y="1390"/>
                    </a:lnTo>
                    <a:lnTo>
                      <a:pt x="1290" y="1389"/>
                    </a:lnTo>
                    <a:lnTo>
                      <a:pt x="1291" y="1388"/>
                    </a:lnTo>
                    <a:lnTo>
                      <a:pt x="1292" y="1386"/>
                    </a:lnTo>
                    <a:lnTo>
                      <a:pt x="1292" y="1385"/>
                    </a:lnTo>
                    <a:lnTo>
                      <a:pt x="1292" y="1382"/>
                    </a:lnTo>
                    <a:lnTo>
                      <a:pt x="1291" y="1380"/>
                    </a:lnTo>
                    <a:lnTo>
                      <a:pt x="1290" y="1378"/>
                    </a:lnTo>
                    <a:lnTo>
                      <a:pt x="1290" y="1377"/>
                    </a:lnTo>
                    <a:lnTo>
                      <a:pt x="1291" y="1375"/>
                    </a:lnTo>
                    <a:lnTo>
                      <a:pt x="1298" y="1374"/>
                    </a:lnTo>
                    <a:lnTo>
                      <a:pt x="1304" y="1372"/>
                    </a:lnTo>
                    <a:lnTo>
                      <a:pt x="1309" y="1370"/>
                    </a:lnTo>
                    <a:lnTo>
                      <a:pt x="1311" y="1369"/>
                    </a:lnTo>
                    <a:lnTo>
                      <a:pt x="1311" y="1368"/>
                    </a:lnTo>
                    <a:lnTo>
                      <a:pt x="1310" y="1367"/>
                    </a:lnTo>
                    <a:lnTo>
                      <a:pt x="1310" y="1366"/>
                    </a:lnTo>
                    <a:lnTo>
                      <a:pt x="1310" y="1365"/>
                    </a:lnTo>
                    <a:lnTo>
                      <a:pt x="1311" y="1364"/>
                    </a:lnTo>
                    <a:lnTo>
                      <a:pt x="1313" y="1361"/>
                    </a:lnTo>
                    <a:lnTo>
                      <a:pt x="1315" y="1359"/>
                    </a:lnTo>
                    <a:lnTo>
                      <a:pt x="1315" y="1357"/>
                    </a:lnTo>
                    <a:lnTo>
                      <a:pt x="1318" y="1356"/>
                    </a:lnTo>
                    <a:lnTo>
                      <a:pt x="1320" y="1355"/>
                    </a:lnTo>
                    <a:lnTo>
                      <a:pt x="1322" y="1354"/>
                    </a:lnTo>
                    <a:lnTo>
                      <a:pt x="1325" y="1354"/>
                    </a:lnTo>
                    <a:lnTo>
                      <a:pt x="1328" y="1354"/>
                    </a:lnTo>
                    <a:lnTo>
                      <a:pt x="1330" y="1354"/>
                    </a:lnTo>
                    <a:lnTo>
                      <a:pt x="1331" y="1353"/>
                    </a:lnTo>
                    <a:lnTo>
                      <a:pt x="1333" y="1350"/>
                    </a:lnTo>
                    <a:lnTo>
                      <a:pt x="1334" y="1348"/>
                    </a:lnTo>
                    <a:lnTo>
                      <a:pt x="1335" y="1347"/>
                    </a:lnTo>
                    <a:lnTo>
                      <a:pt x="1337" y="1345"/>
                    </a:lnTo>
                    <a:lnTo>
                      <a:pt x="1340" y="1344"/>
                    </a:lnTo>
                    <a:lnTo>
                      <a:pt x="1342" y="1342"/>
                    </a:lnTo>
                    <a:lnTo>
                      <a:pt x="1343" y="1339"/>
                    </a:lnTo>
                    <a:lnTo>
                      <a:pt x="1343" y="1336"/>
                    </a:lnTo>
                    <a:lnTo>
                      <a:pt x="1342" y="1333"/>
                    </a:lnTo>
                    <a:lnTo>
                      <a:pt x="1341" y="1332"/>
                    </a:lnTo>
                    <a:lnTo>
                      <a:pt x="1340" y="1329"/>
                    </a:lnTo>
                    <a:lnTo>
                      <a:pt x="1340" y="1328"/>
                    </a:lnTo>
                    <a:lnTo>
                      <a:pt x="1340" y="1326"/>
                    </a:lnTo>
                    <a:lnTo>
                      <a:pt x="1341" y="1323"/>
                    </a:lnTo>
                    <a:lnTo>
                      <a:pt x="1342" y="1321"/>
                    </a:lnTo>
                    <a:lnTo>
                      <a:pt x="1343" y="1318"/>
                    </a:lnTo>
                    <a:lnTo>
                      <a:pt x="1344" y="1315"/>
                    </a:lnTo>
                    <a:lnTo>
                      <a:pt x="1344" y="1314"/>
                    </a:lnTo>
                    <a:lnTo>
                      <a:pt x="1343" y="1313"/>
                    </a:lnTo>
                    <a:lnTo>
                      <a:pt x="1342" y="1311"/>
                    </a:lnTo>
                    <a:lnTo>
                      <a:pt x="1342" y="1309"/>
                    </a:lnTo>
                    <a:lnTo>
                      <a:pt x="1342" y="1306"/>
                    </a:lnTo>
                    <a:lnTo>
                      <a:pt x="1343" y="1305"/>
                    </a:lnTo>
                    <a:lnTo>
                      <a:pt x="1344" y="1304"/>
                    </a:lnTo>
                    <a:lnTo>
                      <a:pt x="1343" y="1303"/>
                    </a:lnTo>
                    <a:lnTo>
                      <a:pt x="1342" y="1302"/>
                    </a:lnTo>
                    <a:lnTo>
                      <a:pt x="1340" y="1300"/>
                    </a:lnTo>
                    <a:lnTo>
                      <a:pt x="1339" y="1299"/>
                    </a:lnTo>
                    <a:lnTo>
                      <a:pt x="1336" y="1296"/>
                    </a:lnTo>
                    <a:lnTo>
                      <a:pt x="1335" y="1294"/>
                    </a:lnTo>
                    <a:lnTo>
                      <a:pt x="1333" y="1291"/>
                    </a:lnTo>
                    <a:lnTo>
                      <a:pt x="1331" y="1289"/>
                    </a:lnTo>
                    <a:lnTo>
                      <a:pt x="1329" y="1288"/>
                    </a:lnTo>
                    <a:lnTo>
                      <a:pt x="1324" y="1287"/>
                    </a:lnTo>
                    <a:lnTo>
                      <a:pt x="1320" y="1288"/>
                    </a:lnTo>
                    <a:lnTo>
                      <a:pt x="1317" y="1288"/>
                    </a:lnTo>
                    <a:lnTo>
                      <a:pt x="1312" y="1289"/>
                    </a:lnTo>
                    <a:lnTo>
                      <a:pt x="1309" y="1289"/>
                    </a:lnTo>
                    <a:lnTo>
                      <a:pt x="1308" y="1289"/>
                    </a:lnTo>
                    <a:lnTo>
                      <a:pt x="1307" y="1288"/>
                    </a:lnTo>
                    <a:lnTo>
                      <a:pt x="1304" y="1287"/>
                    </a:lnTo>
                    <a:lnTo>
                      <a:pt x="1303" y="1287"/>
                    </a:lnTo>
                    <a:lnTo>
                      <a:pt x="1300" y="1287"/>
                    </a:lnTo>
                    <a:lnTo>
                      <a:pt x="1289" y="1289"/>
                    </a:lnTo>
                    <a:lnTo>
                      <a:pt x="1278" y="1292"/>
                    </a:lnTo>
                    <a:lnTo>
                      <a:pt x="1267" y="1293"/>
                    </a:lnTo>
                    <a:lnTo>
                      <a:pt x="1260" y="1293"/>
                    </a:lnTo>
                    <a:lnTo>
                      <a:pt x="1254" y="1291"/>
                    </a:lnTo>
                    <a:lnTo>
                      <a:pt x="1247" y="1289"/>
                    </a:lnTo>
                    <a:lnTo>
                      <a:pt x="1236" y="1290"/>
                    </a:lnTo>
                    <a:lnTo>
                      <a:pt x="1225" y="1291"/>
                    </a:lnTo>
                    <a:lnTo>
                      <a:pt x="1219" y="1291"/>
                    </a:lnTo>
                    <a:lnTo>
                      <a:pt x="1210" y="1291"/>
                    </a:lnTo>
                    <a:lnTo>
                      <a:pt x="1201" y="1290"/>
                    </a:lnTo>
                    <a:lnTo>
                      <a:pt x="1194" y="1288"/>
                    </a:lnTo>
                    <a:lnTo>
                      <a:pt x="1190" y="1284"/>
                    </a:lnTo>
                    <a:lnTo>
                      <a:pt x="1191" y="1281"/>
                    </a:lnTo>
                    <a:lnTo>
                      <a:pt x="1191" y="1279"/>
                    </a:lnTo>
                    <a:lnTo>
                      <a:pt x="1193" y="1277"/>
                    </a:lnTo>
                    <a:lnTo>
                      <a:pt x="1194" y="1274"/>
                    </a:lnTo>
                    <a:lnTo>
                      <a:pt x="1197" y="1271"/>
                    </a:lnTo>
                    <a:lnTo>
                      <a:pt x="1198" y="1270"/>
                    </a:lnTo>
                    <a:lnTo>
                      <a:pt x="1198" y="1267"/>
                    </a:lnTo>
                    <a:lnTo>
                      <a:pt x="1198" y="1265"/>
                    </a:lnTo>
                    <a:lnTo>
                      <a:pt x="1198" y="1262"/>
                    </a:lnTo>
                    <a:lnTo>
                      <a:pt x="1197" y="1260"/>
                    </a:lnTo>
                    <a:lnTo>
                      <a:pt x="1197" y="1258"/>
                    </a:lnTo>
                    <a:lnTo>
                      <a:pt x="1195" y="1255"/>
                    </a:lnTo>
                    <a:lnTo>
                      <a:pt x="1197" y="1251"/>
                    </a:lnTo>
                    <a:lnTo>
                      <a:pt x="1197" y="1248"/>
                    </a:lnTo>
                    <a:lnTo>
                      <a:pt x="1197" y="1245"/>
                    </a:lnTo>
                    <a:lnTo>
                      <a:pt x="1197" y="1244"/>
                    </a:lnTo>
                    <a:lnTo>
                      <a:pt x="1194" y="1241"/>
                    </a:lnTo>
                    <a:lnTo>
                      <a:pt x="1191" y="1240"/>
                    </a:lnTo>
                    <a:lnTo>
                      <a:pt x="1188" y="1238"/>
                    </a:lnTo>
                    <a:lnTo>
                      <a:pt x="1177" y="1229"/>
                    </a:lnTo>
                    <a:lnTo>
                      <a:pt x="1166" y="1220"/>
                    </a:lnTo>
                    <a:lnTo>
                      <a:pt x="1160" y="1220"/>
                    </a:lnTo>
                    <a:lnTo>
                      <a:pt x="1154" y="1222"/>
                    </a:lnTo>
                    <a:lnTo>
                      <a:pt x="1147" y="1224"/>
                    </a:lnTo>
                    <a:lnTo>
                      <a:pt x="1139" y="1223"/>
                    </a:lnTo>
                    <a:lnTo>
                      <a:pt x="1130" y="1219"/>
                    </a:lnTo>
                    <a:lnTo>
                      <a:pt x="1122" y="1216"/>
                    </a:lnTo>
                    <a:lnTo>
                      <a:pt x="1111" y="1214"/>
                    </a:lnTo>
                    <a:lnTo>
                      <a:pt x="1105" y="1213"/>
                    </a:lnTo>
                    <a:lnTo>
                      <a:pt x="1099" y="1212"/>
                    </a:lnTo>
                    <a:lnTo>
                      <a:pt x="1093" y="1209"/>
                    </a:lnTo>
                    <a:lnTo>
                      <a:pt x="1091" y="1205"/>
                    </a:lnTo>
                    <a:lnTo>
                      <a:pt x="1092" y="1203"/>
                    </a:lnTo>
                    <a:lnTo>
                      <a:pt x="1092" y="1201"/>
                    </a:lnTo>
                    <a:lnTo>
                      <a:pt x="1093" y="1198"/>
                    </a:lnTo>
                    <a:lnTo>
                      <a:pt x="1092" y="1196"/>
                    </a:lnTo>
                    <a:lnTo>
                      <a:pt x="1092" y="1194"/>
                    </a:lnTo>
                    <a:lnTo>
                      <a:pt x="1089" y="1193"/>
                    </a:lnTo>
                    <a:lnTo>
                      <a:pt x="1084" y="1189"/>
                    </a:lnTo>
                    <a:lnTo>
                      <a:pt x="1080" y="1186"/>
                    </a:lnTo>
                    <a:lnTo>
                      <a:pt x="1075" y="1184"/>
                    </a:lnTo>
                    <a:lnTo>
                      <a:pt x="1066" y="1183"/>
                    </a:lnTo>
                    <a:lnTo>
                      <a:pt x="1055" y="1183"/>
                    </a:lnTo>
                    <a:lnTo>
                      <a:pt x="1045" y="1184"/>
                    </a:lnTo>
                    <a:lnTo>
                      <a:pt x="1042" y="1184"/>
                    </a:lnTo>
                    <a:lnTo>
                      <a:pt x="1041" y="1185"/>
                    </a:lnTo>
                    <a:lnTo>
                      <a:pt x="1040" y="1186"/>
                    </a:lnTo>
                    <a:lnTo>
                      <a:pt x="1040" y="1187"/>
                    </a:lnTo>
                    <a:lnTo>
                      <a:pt x="1041" y="1189"/>
                    </a:lnTo>
                    <a:lnTo>
                      <a:pt x="1041" y="1191"/>
                    </a:lnTo>
                    <a:lnTo>
                      <a:pt x="1041" y="1192"/>
                    </a:lnTo>
                    <a:lnTo>
                      <a:pt x="1041" y="1193"/>
                    </a:lnTo>
                    <a:lnTo>
                      <a:pt x="1041" y="1194"/>
                    </a:lnTo>
                    <a:lnTo>
                      <a:pt x="1040" y="1194"/>
                    </a:lnTo>
                    <a:lnTo>
                      <a:pt x="1039" y="1194"/>
                    </a:lnTo>
                    <a:lnTo>
                      <a:pt x="1036" y="1193"/>
                    </a:lnTo>
                    <a:lnTo>
                      <a:pt x="1027" y="1186"/>
                    </a:lnTo>
                    <a:lnTo>
                      <a:pt x="1017" y="1181"/>
                    </a:lnTo>
                    <a:lnTo>
                      <a:pt x="1007" y="1175"/>
                    </a:lnTo>
                    <a:lnTo>
                      <a:pt x="993" y="1168"/>
                    </a:lnTo>
                    <a:lnTo>
                      <a:pt x="979" y="1163"/>
                    </a:lnTo>
                    <a:lnTo>
                      <a:pt x="963" y="1160"/>
                    </a:lnTo>
                    <a:lnTo>
                      <a:pt x="943" y="1153"/>
                    </a:lnTo>
                    <a:lnTo>
                      <a:pt x="926" y="1145"/>
                    </a:lnTo>
                    <a:lnTo>
                      <a:pt x="915" y="1138"/>
                    </a:lnTo>
                    <a:lnTo>
                      <a:pt x="906" y="1131"/>
                    </a:lnTo>
                    <a:lnTo>
                      <a:pt x="896" y="1127"/>
                    </a:lnTo>
                    <a:lnTo>
                      <a:pt x="886" y="1123"/>
                    </a:lnTo>
                    <a:lnTo>
                      <a:pt x="871" y="1113"/>
                    </a:lnTo>
                    <a:lnTo>
                      <a:pt x="855" y="1103"/>
                    </a:lnTo>
                    <a:lnTo>
                      <a:pt x="853" y="1099"/>
                    </a:lnTo>
                    <a:lnTo>
                      <a:pt x="850" y="1097"/>
                    </a:lnTo>
                    <a:lnTo>
                      <a:pt x="848" y="1095"/>
                    </a:lnTo>
                    <a:lnTo>
                      <a:pt x="845" y="1093"/>
                    </a:lnTo>
                    <a:lnTo>
                      <a:pt x="844" y="1092"/>
                    </a:lnTo>
                    <a:lnTo>
                      <a:pt x="845" y="1088"/>
                    </a:lnTo>
                    <a:lnTo>
                      <a:pt x="846" y="1085"/>
                    </a:lnTo>
                    <a:lnTo>
                      <a:pt x="848" y="1083"/>
                    </a:lnTo>
                    <a:lnTo>
                      <a:pt x="849" y="1081"/>
                    </a:lnTo>
                    <a:lnTo>
                      <a:pt x="849" y="1078"/>
                    </a:lnTo>
                    <a:lnTo>
                      <a:pt x="844" y="1067"/>
                    </a:lnTo>
                    <a:lnTo>
                      <a:pt x="838" y="1058"/>
                    </a:lnTo>
                    <a:lnTo>
                      <a:pt x="829" y="1050"/>
                    </a:lnTo>
                    <a:lnTo>
                      <a:pt x="824" y="1043"/>
                    </a:lnTo>
                    <a:lnTo>
                      <a:pt x="820" y="1039"/>
                    </a:lnTo>
                    <a:lnTo>
                      <a:pt x="816" y="1034"/>
                    </a:lnTo>
                    <a:lnTo>
                      <a:pt x="810" y="1030"/>
                    </a:lnTo>
                    <a:lnTo>
                      <a:pt x="805" y="1026"/>
                    </a:lnTo>
                    <a:lnTo>
                      <a:pt x="798" y="1021"/>
                    </a:lnTo>
                    <a:lnTo>
                      <a:pt x="788" y="1010"/>
                    </a:lnTo>
                    <a:lnTo>
                      <a:pt x="778" y="1001"/>
                    </a:lnTo>
                    <a:lnTo>
                      <a:pt x="772" y="997"/>
                    </a:lnTo>
                    <a:lnTo>
                      <a:pt x="767" y="990"/>
                    </a:lnTo>
                    <a:lnTo>
                      <a:pt x="764" y="983"/>
                    </a:lnTo>
                    <a:lnTo>
                      <a:pt x="761" y="977"/>
                    </a:lnTo>
                    <a:lnTo>
                      <a:pt x="752" y="967"/>
                    </a:lnTo>
                    <a:lnTo>
                      <a:pt x="742" y="960"/>
                    </a:lnTo>
                    <a:lnTo>
                      <a:pt x="732" y="951"/>
                    </a:lnTo>
                    <a:lnTo>
                      <a:pt x="728" y="946"/>
                    </a:lnTo>
                    <a:lnTo>
                      <a:pt x="723" y="942"/>
                    </a:lnTo>
                    <a:lnTo>
                      <a:pt x="719" y="939"/>
                    </a:lnTo>
                    <a:lnTo>
                      <a:pt x="714" y="935"/>
                    </a:lnTo>
                    <a:lnTo>
                      <a:pt x="711" y="931"/>
                    </a:lnTo>
                    <a:lnTo>
                      <a:pt x="708" y="927"/>
                    </a:lnTo>
                    <a:lnTo>
                      <a:pt x="706" y="920"/>
                    </a:lnTo>
                    <a:lnTo>
                      <a:pt x="698" y="903"/>
                    </a:lnTo>
                    <a:lnTo>
                      <a:pt x="686" y="889"/>
                    </a:lnTo>
                    <a:lnTo>
                      <a:pt x="685" y="887"/>
                    </a:lnTo>
                    <a:lnTo>
                      <a:pt x="682" y="885"/>
                    </a:lnTo>
                    <a:lnTo>
                      <a:pt x="680" y="883"/>
                    </a:lnTo>
                    <a:lnTo>
                      <a:pt x="678" y="881"/>
                    </a:lnTo>
                    <a:lnTo>
                      <a:pt x="677" y="879"/>
                    </a:lnTo>
                    <a:lnTo>
                      <a:pt x="675" y="878"/>
                    </a:lnTo>
                    <a:lnTo>
                      <a:pt x="672" y="878"/>
                    </a:lnTo>
                    <a:lnTo>
                      <a:pt x="671" y="878"/>
                    </a:lnTo>
                    <a:lnTo>
                      <a:pt x="670" y="880"/>
                    </a:lnTo>
                    <a:lnTo>
                      <a:pt x="670" y="883"/>
                    </a:lnTo>
                    <a:lnTo>
                      <a:pt x="674" y="895"/>
                    </a:lnTo>
                    <a:lnTo>
                      <a:pt x="672" y="905"/>
                    </a:lnTo>
                    <a:lnTo>
                      <a:pt x="672" y="908"/>
                    </a:lnTo>
                    <a:lnTo>
                      <a:pt x="672" y="910"/>
                    </a:lnTo>
                    <a:lnTo>
                      <a:pt x="674" y="912"/>
                    </a:lnTo>
                    <a:lnTo>
                      <a:pt x="676" y="916"/>
                    </a:lnTo>
                    <a:lnTo>
                      <a:pt x="679" y="918"/>
                    </a:lnTo>
                    <a:lnTo>
                      <a:pt x="687" y="923"/>
                    </a:lnTo>
                    <a:lnTo>
                      <a:pt x="695" y="929"/>
                    </a:lnTo>
                    <a:lnTo>
                      <a:pt x="699" y="934"/>
                    </a:lnTo>
                    <a:lnTo>
                      <a:pt x="701" y="942"/>
                    </a:lnTo>
                    <a:lnTo>
                      <a:pt x="704" y="946"/>
                    </a:lnTo>
                    <a:lnTo>
                      <a:pt x="708" y="951"/>
                    </a:lnTo>
                    <a:lnTo>
                      <a:pt x="712" y="955"/>
                    </a:lnTo>
                    <a:lnTo>
                      <a:pt x="717" y="961"/>
                    </a:lnTo>
                    <a:lnTo>
                      <a:pt x="721" y="966"/>
                    </a:lnTo>
                    <a:lnTo>
                      <a:pt x="725" y="973"/>
                    </a:lnTo>
                    <a:lnTo>
                      <a:pt x="730" y="978"/>
                    </a:lnTo>
                    <a:lnTo>
                      <a:pt x="734" y="984"/>
                    </a:lnTo>
                    <a:lnTo>
                      <a:pt x="739" y="988"/>
                    </a:lnTo>
                    <a:lnTo>
                      <a:pt x="741" y="992"/>
                    </a:lnTo>
                    <a:lnTo>
                      <a:pt x="742" y="995"/>
                    </a:lnTo>
                    <a:lnTo>
                      <a:pt x="744" y="997"/>
                    </a:lnTo>
                    <a:lnTo>
                      <a:pt x="745" y="999"/>
                    </a:lnTo>
                    <a:lnTo>
                      <a:pt x="747" y="1001"/>
                    </a:lnTo>
                    <a:lnTo>
                      <a:pt x="751" y="1005"/>
                    </a:lnTo>
                    <a:lnTo>
                      <a:pt x="753" y="1009"/>
                    </a:lnTo>
                    <a:lnTo>
                      <a:pt x="755" y="1014"/>
                    </a:lnTo>
                    <a:lnTo>
                      <a:pt x="756" y="1017"/>
                    </a:lnTo>
                    <a:lnTo>
                      <a:pt x="758" y="1019"/>
                    </a:lnTo>
                    <a:lnTo>
                      <a:pt x="761" y="1020"/>
                    </a:lnTo>
                    <a:lnTo>
                      <a:pt x="763" y="1022"/>
                    </a:lnTo>
                    <a:lnTo>
                      <a:pt x="765" y="1023"/>
                    </a:lnTo>
                    <a:lnTo>
                      <a:pt x="767" y="1026"/>
                    </a:lnTo>
                    <a:lnTo>
                      <a:pt x="770" y="1029"/>
                    </a:lnTo>
                    <a:lnTo>
                      <a:pt x="774" y="1033"/>
                    </a:lnTo>
                    <a:lnTo>
                      <a:pt x="776" y="1038"/>
                    </a:lnTo>
                    <a:lnTo>
                      <a:pt x="778" y="1041"/>
                    </a:lnTo>
                    <a:lnTo>
                      <a:pt x="778" y="1042"/>
                    </a:lnTo>
                    <a:lnTo>
                      <a:pt x="777" y="1043"/>
                    </a:lnTo>
                    <a:lnTo>
                      <a:pt x="776" y="1043"/>
                    </a:lnTo>
                    <a:lnTo>
                      <a:pt x="775" y="1043"/>
                    </a:lnTo>
                    <a:lnTo>
                      <a:pt x="773" y="1043"/>
                    </a:lnTo>
                    <a:lnTo>
                      <a:pt x="772" y="1043"/>
                    </a:lnTo>
                    <a:lnTo>
                      <a:pt x="768" y="1041"/>
                    </a:lnTo>
                    <a:lnTo>
                      <a:pt x="766" y="1039"/>
                    </a:lnTo>
                    <a:lnTo>
                      <a:pt x="764" y="1037"/>
                    </a:lnTo>
                    <a:lnTo>
                      <a:pt x="762" y="1033"/>
                    </a:lnTo>
                    <a:lnTo>
                      <a:pt x="761" y="1032"/>
                    </a:lnTo>
                    <a:lnTo>
                      <a:pt x="758" y="1030"/>
                    </a:lnTo>
                    <a:lnTo>
                      <a:pt x="755" y="1028"/>
                    </a:lnTo>
                    <a:lnTo>
                      <a:pt x="752" y="1026"/>
                    </a:lnTo>
                    <a:lnTo>
                      <a:pt x="750" y="1023"/>
                    </a:lnTo>
                    <a:lnTo>
                      <a:pt x="747" y="1021"/>
                    </a:lnTo>
                    <a:lnTo>
                      <a:pt x="745" y="1018"/>
                    </a:lnTo>
                    <a:lnTo>
                      <a:pt x="742" y="1016"/>
                    </a:lnTo>
                    <a:lnTo>
                      <a:pt x="739" y="1012"/>
                    </a:lnTo>
                    <a:lnTo>
                      <a:pt x="735" y="1011"/>
                    </a:lnTo>
                    <a:lnTo>
                      <a:pt x="732" y="1010"/>
                    </a:lnTo>
                    <a:lnTo>
                      <a:pt x="729" y="1010"/>
                    </a:lnTo>
                    <a:lnTo>
                      <a:pt x="726" y="1008"/>
                    </a:lnTo>
                    <a:lnTo>
                      <a:pt x="725" y="1007"/>
                    </a:lnTo>
                    <a:lnTo>
                      <a:pt x="723" y="1004"/>
                    </a:lnTo>
                    <a:lnTo>
                      <a:pt x="722" y="996"/>
                    </a:lnTo>
                    <a:lnTo>
                      <a:pt x="722" y="988"/>
                    </a:lnTo>
                    <a:lnTo>
                      <a:pt x="719" y="983"/>
                    </a:lnTo>
                    <a:lnTo>
                      <a:pt x="712" y="977"/>
                    </a:lnTo>
                    <a:lnTo>
                      <a:pt x="707" y="973"/>
                    </a:lnTo>
                    <a:lnTo>
                      <a:pt x="699" y="971"/>
                    </a:lnTo>
                    <a:lnTo>
                      <a:pt x="692" y="967"/>
                    </a:lnTo>
                    <a:lnTo>
                      <a:pt x="688" y="962"/>
                    </a:lnTo>
                    <a:lnTo>
                      <a:pt x="686" y="955"/>
                    </a:lnTo>
                    <a:lnTo>
                      <a:pt x="687" y="949"/>
                    </a:lnTo>
                    <a:lnTo>
                      <a:pt x="687" y="942"/>
                    </a:lnTo>
                    <a:lnTo>
                      <a:pt x="684" y="935"/>
                    </a:lnTo>
                    <a:lnTo>
                      <a:pt x="679" y="932"/>
                    </a:lnTo>
                    <a:lnTo>
                      <a:pt x="674" y="928"/>
                    </a:lnTo>
                    <a:lnTo>
                      <a:pt x="669" y="923"/>
                    </a:lnTo>
                    <a:lnTo>
                      <a:pt x="666" y="920"/>
                    </a:lnTo>
                    <a:lnTo>
                      <a:pt x="664" y="918"/>
                    </a:lnTo>
                    <a:lnTo>
                      <a:pt x="661" y="916"/>
                    </a:lnTo>
                    <a:lnTo>
                      <a:pt x="660" y="913"/>
                    </a:lnTo>
                    <a:lnTo>
                      <a:pt x="658" y="910"/>
                    </a:lnTo>
                    <a:lnTo>
                      <a:pt x="657" y="907"/>
                    </a:lnTo>
                    <a:lnTo>
                      <a:pt x="650" y="897"/>
                    </a:lnTo>
                    <a:lnTo>
                      <a:pt x="643" y="887"/>
                    </a:lnTo>
                    <a:lnTo>
                      <a:pt x="635" y="876"/>
                    </a:lnTo>
                    <a:lnTo>
                      <a:pt x="621" y="856"/>
                    </a:lnTo>
                    <a:lnTo>
                      <a:pt x="609" y="836"/>
                    </a:lnTo>
                    <a:lnTo>
                      <a:pt x="601" y="827"/>
                    </a:lnTo>
                    <a:lnTo>
                      <a:pt x="591" y="821"/>
                    </a:lnTo>
                    <a:lnTo>
                      <a:pt x="582" y="814"/>
                    </a:lnTo>
                    <a:lnTo>
                      <a:pt x="569" y="804"/>
                    </a:lnTo>
                    <a:lnTo>
                      <a:pt x="557" y="792"/>
                    </a:lnTo>
                    <a:lnTo>
                      <a:pt x="546" y="777"/>
                    </a:lnTo>
                    <a:lnTo>
                      <a:pt x="538" y="760"/>
                    </a:lnTo>
                    <a:lnTo>
                      <a:pt x="532" y="745"/>
                    </a:lnTo>
                    <a:lnTo>
                      <a:pt x="527" y="735"/>
                    </a:lnTo>
                    <a:lnTo>
                      <a:pt x="523" y="725"/>
                    </a:lnTo>
                    <a:lnTo>
                      <a:pt x="522" y="721"/>
                    </a:lnTo>
                    <a:lnTo>
                      <a:pt x="519" y="718"/>
                    </a:lnTo>
                    <a:lnTo>
                      <a:pt x="517" y="715"/>
                    </a:lnTo>
                    <a:lnTo>
                      <a:pt x="514" y="713"/>
                    </a:lnTo>
                    <a:lnTo>
                      <a:pt x="512" y="710"/>
                    </a:lnTo>
                    <a:lnTo>
                      <a:pt x="510" y="704"/>
                    </a:lnTo>
                    <a:lnTo>
                      <a:pt x="507" y="699"/>
                    </a:lnTo>
                    <a:lnTo>
                      <a:pt x="505" y="692"/>
                    </a:lnTo>
                    <a:lnTo>
                      <a:pt x="504" y="689"/>
                    </a:lnTo>
                    <a:lnTo>
                      <a:pt x="502" y="687"/>
                    </a:lnTo>
                    <a:lnTo>
                      <a:pt x="500" y="683"/>
                    </a:lnTo>
                    <a:lnTo>
                      <a:pt x="499" y="680"/>
                    </a:lnTo>
                    <a:lnTo>
                      <a:pt x="499" y="677"/>
                    </a:lnTo>
                    <a:lnTo>
                      <a:pt x="497" y="668"/>
                    </a:lnTo>
                    <a:lnTo>
                      <a:pt x="497" y="661"/>
                    </a:lnTo>
                    <a:lnTo>
                      <a:pt x="499" y="655"/>
                    </a:lnTo>
                    <a:lnTo>
                      <a:pt x="497" y="645"/>
                    </a:lnTo>
                    <a:lnTo>
                      <a:pt x="496" y="635"/>
                    </a:lnTo>
                    <a:lnTo>
                      <a:pt x="490" y="615"/>
                    </a:lnTo>
                    <a:lnTo>
                      <a:pt x="490" y="606"/>
                    </a:lnTo>
                    <a:lnTo>
                      <a:pt x="491" y="600"/>
                    </a:lnTo>
                    <a:lnTo>
                      <a:pt x="492" y="593"/>
                    </a:lnTo>
                    <a:lnTo>
                      <a:pt x="493" y="574"/>
                    </a:lnTo>
                    <a:lnTo>
                      <a:pt x="492" y="556"/>
                    </a:lnTo>
                    <a:lnTo>
                      <a:pt x="490" y="538"/>
                    </a:lnTo>
                    <a:lnTo>
                      <a:pt x="490" y="516"/>
                    </a:lnTo>
                    <a:lnTo>
                      <a:pt x="488" y="512"/>
                    </a:lnTo>
                    <a:lnTo>
                      <a:pt x="486" y="508"/>
                    </a:lnTo>
                    <a:lnTo>
                      <a:pt x="484" y="506"/>
                    </a:lnTo>
                    <a:lnTo>
                      <a:pt x="483" y="503"/>
                    </a:lnTo>
                    <a:lnTo>
                      <a:pt x="481" y="498"/>
                    </a:lnTo>
                    <a:lnTo>
                      <a:pt x="480" y="492"/>
                    </a:lnTo>
                    <a:lnTo>
                      <a:pt x="478" y="484"/>
                    </a:lnTo>
                    <a:lnTo>
                      <a:pt x="479" y="478"/>
                    </a:lnTo>
                    <a:lnTo>
                      <a:pt x="481" y="476"/>
                    </a:lnTo>
                    <a:lnTo>
                      <a:pt x="488" y="478"/>
                    </a:lnTo>
                    <a:lnTo>
                      <a:pt x="494" y="484"/>
                    </a:lnTo>
                    <a:lnTo>
                      <a:pt x="501" y="487"/>
                    </a:lnTo>
                    <a:lnTo>
                      <a:pt x="504" y="487"/>
                    </a:lnTo>
                    <a:lnTo>
                      <a:pt x="506" y="487"/>
                    </a:lnTo>
                    <a:lnTo>
                      <a:pt x="508" y="485"/>
                    </a:lnTo>
                    <a:lnTo>
                      <a:pt x="510" y="482"/>
                    </a:lnTo>
                    <a:lnTo>
                      <a:pt x="510" y="478"/>
                    </a:lnTo>
                    <a:lnTo>
                      <a:pt x="508" y="474"/>
                    </a:lnTo>
                    <a:lnTo>
                      <a:pt x="507" y="470"/>
                    </a:lnTo>
                    <a:lnTo>
                      <a:pt x="504" y="466"/>
                    </a:lnTo>
                    <a:lnTo>
                      <a:pt x="499" y="465"/>
                    </a:lnTo>
                    <a:lnTo>
                      <a:pt x="492" y="465"/>
                    </a:lnTo>
                    <a:lnTo>
                      <a:pt x="488" y="465"/>
                    </a:lnTo>
                    <a:lnTo>
                      <a:pt x="482" y="466"/>
                    </a:lnTo>
                    <a:lnTo>
                      <a:pt x="477" y="470"/>
                    </a:lnTo>
                    <a:lnTo>
                      <a:pt x="472" y="471"/>
                    </a:lnTo>
                    <a:lnTo>
                      <a:pt x="468" y="470"/>
                    </a:lnTo>
                    <a:lnTo>
                      <a:pt x="463" y="463"/>
                    </a:lnTo>
                    <a:lnTo>
                      <a:pt x="452" y="449"/>
                    </a:lnTo>
                    <a:lnTo>
                      <a:pt x="441" y="437"/>
                    </a:lnTo>
                    <a:lnTo>
                      <a:pt x="435" y="429"/>
                    </a:lnTo>
                    <a:lnTo>
                      <a:pt x="431" y="420"/>
                    </a:lnTo>
                    <a:lnTo>
                      <a:pt x="430" y="410"/>
                    </a:lnTo>
                    <a:lnTo>
                      <a:pt x="433" y="399"/>
                    </a:lnTo>
                    <a:lnTo>
                      <a:pt x="434" y="396"/>
                    </a:lnTo>
                    <a:lnTo>
                      <a:pt x="434" y="393"/>
                    </a:lnTo>
                    <a:lnTo>
                      <a:pt x="433" y="389"/>
                    </a:lnTo>
                    <a:lnTo>
                      <a:pt x="431" y="386"/>
                    </a:lnTo>
                    <a:lnTo>
                      <a:pt x="430" y="382"/>
                    </a:lnTo>
                    <a:lnTo>
                      <a:pt x="430" y="373"/>
                    </a:lnTo>
                    <a:lnTo>
                      <a:pt x="430" y="372"/>
                    </a:lnTo>
                    <a:lnTo>
                      <a:pt x="431" y="371"/>
                    </a:lnTo>
                    <a:lnTo>
                      <a:pt x="433" y="371"/>
                    </a:lnTo>
                    <a:lnTo>
                      <a:pt x="433" y="368"/>
                    </a:lnTo>
                    <a:lnTo>
                      <a:pt x="434" y="366"/>
                    </a:lnTo>
                    <a:lnTo>
                      <a:pt x="434" y="365"/>
                    </a:lnTo>
                    <a:lnTo>
                      <a:pt x="431" y="363"/>
                    </a:lnTo>
                    <a:lnTo>
                      <a:pt x="429" y="361"/>
                    </a:lnTo>
                    <a:lnTo>
                      <a:pt x="427" y="360"/>
                    </a:lnTo>
                    <a:lnTo>
                      <a:pt x="426" y="357"/>
                    </a:lnTo>
                    <a:lnTo>
                      <a:pt x="424" y="354"/>
                    </a:lnTo>
                    <a:lnTo>
                      <a:pt x="423" y="350"/>
                    </a:lnTo>
                    <a:lnTo>
                      <a:pt x="420" y="346"/>
                    </a:lnTo>
                    <a:lnTo>
                      <a:pt x="419" y="343"/>
                    </a:lnTo>
                    <a:lnTo>
                      <a:pt x="419" y="339"/>
                    </a:lnTo>
                    <a:lnTo>
                      <a:pt x="419" y="332"/>
                    </a:lnTo>
                    <a:lnTo>
                      <a:pt x="418" y="324"/>
                    </a:lnTo>
                    <a:lnTo>
                      <a:pt x="418" y="319"/>
                    </a:lnTo>
                    <a:lnTo>
                      <a:pt x="417" y="317"/>
                    </a:lnTo>
                    <a:lnTo>
                      <a:pt x="416" y="318"/>
                    </a:lnTo>
                    <a:lnTo>
                      <a:pt x="415" y="320"/>
                    </a:lnTo>
                    <a:lnTo>
                      <a:pt x="415" y="322"/>
                    </a:lnTo>
                    <a:lnTo>
                      <a:pt x="414" y="324"/>
                    </a:lnTo>
                    <a:lnTo>
                      <a:pt x="413" y="327"/>
                    </a:lnTo>
                    <a:lnTo>
                      <a:pt x="410" y="328"/>
                    </a:lnTo>
                    <a:lnTo>
                      <a:pt x="409" y="328"/>
                    </a:lnTo>
                    <a:lnTo>
                      <a:pt x="407" y="328"/>
                    </a:lnTo>
                    <a:lnTo>
                      <a:pt x="405" y="328"/>
                    </a:lnTo>
                    <a:lnTo>
                      <a:pt x="403" y="328"/>
                    </a:lnTo>
                    <a:lnTo>
                      <a:pt x="401" y="327"/>
                    </a:lnTo>
                    <a:lnTo>
                      <a:pt x="399" y="325"/>
                    </a:lnTo>
                    <a:lnTo>
                      <a:pt x="398" y="328"/>
                    </a:lnTo>
                    <a:lnTo>
                      <a:pt x="396" y="330"/>
                    </a:lnTo>
                    <a:lnTo>
                      <a:pt x="396" y="330"/>
                    </a:lnTo>
                    <a:lnTo>
                      <a:pt x="395" y="330"/>
                    </a:lnTo>
                    <a:lnTo>
                      <a:pt x="395" y="329"/>
                    </a:lnTo>
                    <a:lnTo>
                      <a:pt x="395" y="327"/>
                    </a:lnTo>
                    <a:lnTo>
                      <a:pt x="395" y="324"/>
                    </a:lnTo>
                    <a:lnTo>
                      <a:pt x="395" y="321"/>
                    </a:lnTo>
                    <a:lnTo>
                      <a:pt x="395" y="319"/>
                    </a:lnTo>
                    <a:lnTo>
                      <a:pt x="395" y="317"/>
                    </a:lnTo>
                    <a:lnTo>
                      <a:pt x="395" y="313"/>
                    </a:lnTo>
                    <a:lnTo>
                      <a:pt x="395" y="312"/>
                    </a:lnTo>
                    <a:lnTo>
                      <a:pt x="393" y="309"/>
                    </a:lnTo>
                    <a:lnTo>
                      <a:pt x="392" y="306"/>
                    </a:lnTo>
                    <a:lnTo>
                      <a:pt x="390" y="305"/>
                    </a:lnTo>
                    <a:lnTo>
                      <a:pt x="387" y="302"/>
                    </a:lnTo>
                    <a:lnTo>
                      <a:pt x="386" y="299"/>
                    </a:lnTo>
                    <a:lnTo>
                      <a:pt x="387" y="296"/>
                    </a:lnTo>
                    <a:lnTo>
                      <a:pt x="388" y="292"/>
                    </a:lnTo>
                    <a:lnTo>
                      <a:pt x="391" y="289"/>
                    </a:lnTo>
                    <a:lnTo>
                      <a:pt x="393" y="286"/>
                    </a:lnTo>
                    <a:lnTo>
                      <a:pt x="394" y="284"/>
                    </a:lnTo>
                    <a:lnTo>
                      <a:pt x="394" y="281"/>
                    </a:lnTo>
                    <a:lnTo>
                      <a:pt x="393" y="279"/>
                    </a:lnTo>
                    <a:lnTo>
                      <a:pt x="392" y="277"/>
                    </a:lnTo>
                    <a:lnTo>
                      <a:pt x="391" y="275"/>
                    </a:lnTo>
                    <a:lnTo>
                      <a:pt x="388" y="269"/>
                    </a:lnTo>
                    <a:lnTo>
                      <a:pt x="386" y="264"/>
                    </a:lnTo>
                    <a:lnTo>
                      <a:pt x="384" y="259"/>
                    </a:lnTo>
                    <a:lnTo>
                      <a:pt x="382" y="255"/>
                    </a:lnTo>
                    <a:lnTo>
                      <a:pt x="380" y="253"/>
                    </a:lnTo>
                    <a:lnTo>
                      <a:pt x="380" y="251"/>
                    </a:lnTo>
                    <a:lnTo>
                      <a:pt x="379" y="247"/>
                    </a:lnTo>
                    <a:lnTo>
                      <a:pt x="379" y="245"/>
                    </a:lnTo>
                    <a:lnTo>
                      <a:pt x="379" y="243"/>
                    </a:lnTo>
                    <a:lnTo>
                      <a:pt x="379" y="241"/>
                    </a:lnTo>
                    <a:lnTo>
                      <a:pt x="377" y="240"/>
                    </a:lnTo>
                    <a:lnTo>
                      <a:pt x="376" y="237"/>
                    </a:lnTo>
                    <a:lnTo>
                      <a:pt x="375" y="235"/>
                    </a:lnTo>
                    <a:lnTo>
                      <a:pt x="373" y="235"/>
                    </a:lnTo>
                    <a:lnTo>
                      <a:pt x="372" y="233"/>
                    </a:lnTo>
                    <a:lnTo>
                      <a:pt x="371" y="231"/>
                    </a:lnTo>
                    <a:lnTo>
                      <a:pt x="370" y="230"/>
                    </a:lnTo>
                    <a:lnTo>
                      <a:pt x="369" y="227"/>
                    </a:lnTo>
                    <a:lnTo>
                      <a:pt x="368" y="226"/>
                    </a:lnTo>
                    <a:lnTo>
                      <a:pt x="366" y="226"/>
                    </a:lnTo>
                    <a:lnTo>
                      <a:pt x="365" y="227"/>
                    </a:lnTo>
                    <a:lnTo>
                      <a:pt x="364" y="231"/>
                    </a:lnTo>
                    <a:lnTo>
                      <a:pt x="364" y="232"/>
                    </a:lnTo>
                    <a:lnTo>
                      <a:pt x="363" y="234"/>
                    </a:lnTo>
                    <a:lnTo>
                      <a:pt x="362" y="237"/>
                    </a:lnTo>
                    <a:lnTo>
                      <a:pt x="361" y="240"/>
                    </a:lnTo>
                    <a:lnTo>
                      <a:pt x="360" y="243"/>
                    </a:lnTo>
                    <a:lnTo>
                      <a:pt x="359" y="244"/>
                    </a:lnTo>
                    <a:lnTo>
                      <a:pt x="358" y="244"/>
                    </a:lnTo>
                    <a:lnTo>
                      <a:pt x="355" y="240"/>
                    </a:lnTo>
                    <a:lnTo>
                      <a:pt x="353" y="234"/>
                    </a:lnTo>
                    <a:lnTo>
                      <a:pt x="353" y="226"/>
                    </a:lnTo>
                    <a:lnTo>
                      <a:pt x="353" y="222"/>
                    </a:lnTo>
                    <a:lnTo>
                      <a:pt x="354" y="220"/>
                    </a:lnTo>
                    <a:lnTo>
                      <a:pt x="355" y="218"/>
                    </a:lnTo>
                    <a:lnTo>
                      <a:pt x="357" y="216"/>
                    </a:lnTo>
                    <a:lnTo>
                      <a:pt x="358" y="214"/>
                    </a:lnTo>
                    <a:lnTo>
                      <a:pt x="358" y="211"/>
                    </a:lnTo>
                    <a:lnTo>
                      <a:pt x="358" y="209"/>
                    </a:lnTo>
                    <a:lnTo>
                      <a:pt x="358" y="205"/>
                    </a:lnTo>
                    <a:lnTo>
                      <a:pt x="357" y="201"/>
                    </a:lnTo>
                    <a:lnTo>
                      <a:pt x="354" y="197"/>
                    </a:lnTo>
                    <a:lnTo>
                      <a:pt x="353" y="193"/>
                    </a:lnTo>
                    <a:lnTo>
                      <a:pt x="351" y="190"/>
                    </a:lnTo>
                    <a:lnTo>
                      <a:pt x="350" y="189"/>
                    </a:lnTo>
                    <a:lnTo>
                      <a:pt x="348" y="187"/>
                    </a:lnTo>
                    <a:lnTo>
                      <a:pt x="347" y="185"/>
                    </a:lnTo>
                    <a:lnTo>
                      <a:pt x="347" y="183"/>
                    </a:lnTo>
                    <a:lnTo>
                      <a:pt x="347" y="181"/>
                    </a:lnTo>
                    <a:lnTo>
                      <a:pt x="348" y="180"/>
                    </a:lnTo>
                    <a:lnTo>
                      <a:pt x="348" y="178"/>
                    </a:lnTo>
                    <a:lnTo>
                      <a:pt x="347" y="176"/>
                    </a:lnTo>
                    <a:lnTo>
                      <a:pt x="344" y="175"/>
                    </a:lnTo>
                    <a:lnTo>
                      <a:pt x="343" y="176"/>
                    </a:lnTo>
                    <a:lnTo>
                      <a:pt x="341" y="177"/>
                    </a:lnTo>
                    <a:lnTo>
                      <a:pt x="339" y="177"/>
                    </a:lnTo>
                    <a:lnTo>
                      <a:pt x="338" y="178"/>
                    </a:lnTo>
                    <a:lnTo>
                      <a:pt x="333" y="178"/>
                    </a:lnTo>
                    <a:lnTo>
                      <a:pt x="332" y="177"/>
                    </a:lnTo>
                    <a:lnTo>
                      <a:pt x="331" y="176"/>
                    </a:lnTo>
                    <a:lnTo>
                      <a:pt x="331" y="175"/>
                    </a:lnTo>
                    <a:lnTo>
                      <a:pt x="331" y="174"/>
                    </a:lnTo>
                    <a:lnTo>
                      <a:pt x="331" y="174"/>
                    </a:lnTo>
                    <a:lnTo>
                      <a:pt x="329" y="176"/>
                    </a:lnTo>
                    <a:lnTo>
                      <a:pt x="327" y="177"/>
                    </a:lnTo>
                    <a:lnTo>
                      <a:pt x="325" y="178"/>
                    </a:lnTo>
                    <a:lnTo>
                      <a:pt x="324" y="178"/>
                    </a:lnTo>
                    <a:lnTo>
                      <a:pt x="322" y="176"/>
                    </a:lnTo>
                    <a:lnTo>
                      <a:pt x="320" y="172"/>
                    </a:lnTo>
                    <a:lnTo>
                      <a:pt x="318" y="169"/>
                    </a:lnTo>
                    <a:lnTo>
                      <a:pt x="318" y="165"/>
                    </a:lnTo>
                    <a:lnTo>
                      <a:pt x="318" y="160"/>
                    </a:lnTo>
                    <a:lnTo>
                      <a:pt x="317" y="158"/>
                    </a:lnTo>
                    <a:lnTo>
                      <a:pt x="316" y="157"/>
                    </a:lnTo>
                    <a:lnTo>
                      <a:pt x="315" y="156"/>
                    </a:lnTo>
                    <a:lnTo>
                      <a:pt x="313" y="155"/>
                    </a:lnTo>
                    <a:lnTo>
                      <a:pt x="311" y="154"/>
                    </a:lnTo>
                    <a:lnTo>
                      <a:pt x="307" y="148"/>
                    </a:lnTo>
                    <a:lnTo>
                      <a:pt x="305" y="141"/>
                    </a:lnTo>
                    <a:lnTo>
                      <a:pt x="301" y="134"/>
                    </a:lnTo>
                    <a:lnTo>
                      <a:pt x="298" y="129"/>
                    </a:lnTo>
                    <a:lnTo>
                      <a:pt x="297" y="129"/>
                    </a:lnTo>
                    <a:lnTo>
                      <a:pt x="297" y="127"/>
                    </a:lnTo>
                    <a:lnTo>
                      <a:pt x="297" y="126"/>
                    </a:lnTo>
                    <a:lnTo>
                      <a:pt x="297" y="123"/>
                    </a:lnTo>
                    <a:lnTo>
                      <a:pt x="296" y="121"/>
                    </a:lnTo>
                    <a:lnTo>
                      <a:pt x="296" y="120"/>
                    </a:lnTo>
                    <a:lnTo>
                      <a:pt x="296" y="117"/>
                    </a:lnTo>
                    <a:lnTo>
                      <a:pt x="296" y="116"/>
                    </a:lnTo>
                    <a:lnTo>
                      <a:pt x="295" y="114"/>
                    </a:lnTo>
                    <a:lnTo>
                      <a:pt x="295" y="114"/>
                    </a:lnTo>
                    <a:lnTo>
                      <a:pt x="294" y="114"/>
                    </a:lnTo>
                    <a:lnTo>
                      <a:pt x="289" y="116"/>
                    </a:lnTo>
                    <a:lnTo>
                      <a:pt x="286" y="123"/>
                    </a:lnTo>
                    <a:lnTo>
                      <a:pt x="284" y="129"/>
                    </a:lnTo>
                    <a:lnTo>
                      <a:pt x="283" y="136"/>
                    </a:lnTo>
                    <a:lnTo>
                      <a:pt x="281" y="139"/>
                    </a:lnTo>
                    <a:lnTo>
                      <a:pt x="279" y="142"/>
                    </a:lnTo>
                    <a:lnTo>
                      <a:pt x="277" y="143"/>
                    </a:lnTo>
                    <a:lnTo>
                      <a:pt x="276" y="143"/>
                    </a:lnTo>
                    <a:lnTo>
                      <a:pt x="274" y="142"/>
                    </a:lnTo>
                    <a:lnTo>
                      <a:pt x="272" y="141"/>
                    </a:lnTo>
                    <a:lnTo>
                      <a:pt x="270" y="138"/>
                    </a:lnTo>
                    <a:lnTo>
                      <a:pt x="268" y="136"/>
                    </a:lnTo>
                    <a:lnTo>
                      <a:pt x="266" y="135"/>
                    </a:lnTo>
                    <a:lnTo>
                      <a:pt x="265" y="134"/>
                    </a:lnTo>
                    <a:lnTo>
                      <a:pt x="257" y="131"/>
                    </a:lnTo>
                    <a:lnTo>
                      <a:pt x="249" y="129"/>
                    </a:lnTo>
                    <a:lnTo>
                      <a:pt x="241" y="134"/>
                    </a:lnTo>
                    <a:lnTo>
                      <a:pt x="239" y="135"/>
                    </a:lnTo>
                    <a:lnTo>
                      <a:pt x="238" y="135"/>
                    </a:lnTo>
                    <a:lnTo>
                      <a:pt x="237" y="134"/>
                    </a:lnTo>
                    <a:lnTo>
                      <a:pt x="235" y="132"/>
                    </a:lnTo>
                    <a:lnTo>
                      <a:pt x="234" y="129"/>
                    </a:lnTo>
                    <a:lnTo>
                      <a:pt x="233" y="127"/>
                    </a:lnTo>
                    <a:lnTo>
                      <a:pt x="232" y="124"/>
                    </a:lnTo>
                    <a:lnTo>
                      <a:pt x="231" y="122"/>
                    </a:lnTo>
                    <a:lnTo>
                      <a:pt x="229" y="120"/>
                    </a:lnTo>
                    <a:lnTo>
                      <a:pt x="228" y="118"/>
                    </a:lnTo>
                    <a:lnTo>
                      <a:pt x="226" y="118"/>
                    </a:lnTo>
                    <a:lnTo>
                      <a:pt x="224" y="120"/>
                    </a:lnTo>
                    <a:lnTo>
                      <a:pt x="222" y="120"/>
                    </a:lnTo>
                    <a:lnTo>
                      <a:pt x="221" y="118"/>
                    </a:lnTo>
                    <a:lnTo>
                      <a:pt x="220" y="117"/>
                    </a:lnTo>
                    <a:lnTo>
                      <a:pt x="219" y="116"/>
                    </a:lnTo>
                    <a:lnTo>
                      <a:pt x="218" y="114"/>
                    </a:lnTo>
                    <a:lnTo>
                      <a:pt x="218" y="112"/>
                    </a:lnTo>
                    <a:lnTo>
                      <a:pt x="217" y="110"/>
                    </a:lnTo>
                    <a:lnTo>
                      <a:pt x="212" y="109"/>
                    </a:lnTo>
                    <a:lnTo>
                      <a:pt x="207" y="109"/>
                    </a:lnTo>
                    <a:lnTo>
                      <a:pt x="202" y="111"/>
                    </a:lnTo>
                    <a:lnTo>
                      <a:pt x="199" y="114"/>
                    </a:lnTo>
                    <a:lnTo>
                      <a:pt x="198" y="117"/>
                    </a:lnTo>
                    <a:lnTo>
                      <a:pt x="198" y="120"/>
                    </a:lnTo>
                    <a:lnTo>
                      <a:pt x="199" y="122"/>
                    </a:lnTo>
                    <a:lnTo>
                      <a:pt x="200" y="124"/>
                    </a:lnTo>
                    <a:lnTo>
                      <a:pt x="201" y="125"/>
                    </a:lnTo>
                    <a:lnTo>
                      <a:pt x="202" y="127"/>
                    </a:lnTo>
                    <a:lnTo>
                      <a:pt x="202" y="129"/>
                    </a:lnTo>
                    <a:lnTo>
                      <a:pt x="201" y="132"/>
                    </a:lnTo>
                    <a:lnTo>
                      <a:pt x="200" y="134"/>
                    </a:lnTo>
                    <a:lnTo>
                      <a:pt x="199" y="136"/>
                    </a:lnTo>
                    <a:lnTo>
                      <a:pt x="198" y="137"/>
                    </a:lnTo>
                    <a:lnTo>
                      <a:pt x="196" y="138"/>
                    </a:lnTo>
                    <a:lnTo>
                      <a:pt x="195" y="138"/>
                    </a:lnTo>
                    <a:lnTo>
                      <a:pt x="191" y="141"/>
                    </a:lnTo>
                    <a:lnTo>
                      <a:pt x="189" y="143"/>
                    </a:lnTo>
                    <a:lnTo>
                      <a:pt x="187" y="145"/>
                    </a:lnTo>
                    <a:lnTo>
                      <a:pt x="186" y="147"/>
                    </a:lnTo>
                    <a:lnTo>
                      <a:pt x="184" y="150"/>
                    </a:lnTo>
                    <a:lnTo>
                      <a:pt x="182" y="153"/>
                    </a:lnTo>
                    <a:lnTo>
                      <a:pt x="179" y="154"/>
                    </a:lnTo>
                    <a:lnTo>
                      <a:pt x="177" y="156"/>
                    </a:lnTo>
                    <a:lnTo>
                      <a:pt x="175" y="157"/>
                    </a:lnTo>
                    <a:lnTo>
                      <a:pt x="173" y="159"/>
                    </a:lnTo>
                    <a:lnTo>
                      <a:pt x="170" y="160"/>
                    </a:lnTo>
                    <a:lnTo>
                      <a:pt x="168" y="161"/>
                    </a:lnTo>
                    <a:lnTo>
                      <a:pt x="166" y="163"/>
                    </a:lnTo>
                    <a:lnTo>
                      <a:pt x="165" y="163"/>
                    </a:lnTo>
                    <a:lnTo>
                      <a:pt x="165" y="161"/>
                    </a:lnTo>
                    <a:lnTo>
                      <a:pt x="165" y="159"/>
                    </a:lnTo>
                    <a:lnTo>
                      <a:pt x="165" y="157"/>
                    </a:lnTo>
                    <a:lnTo>
                      <a:pt x="165" y="154"/>
                    </a:lnTo>
                    <a:lnTo>
                      <a:pt x="165" y="150"/>
                    </a:lnTo>
                    <a:lnTo>
                      <a:pt x="166" y="148"/>
                    </a:lnTo>
                    <a:lnTo>
                      <a:pt x="166" y="146"/>
                    </a:lnTo>
                    <a:lnTo>
                      <a:pt x="166" y="145"/>
                    </a:lnTo>
                    <a:lnTo>
                      <a:pt x="166" y="143"/>
                    </a:lnTo>
                    <a:lnTo>
                      <a:pt x="165" y="142"/>
                    </a:lnTo>
                    <a:lnTo>
                      <a:pt x="164" y="141"/>
                    </a:lnTo>
                    <a:lnTo>
                      <a:pt x="164" y="139"/>
                    </a:lnTo>
                    <a:lnTo>
                      <a:pt x="163" y="138"/>
                    </a:lnTo>
                    <a:lnTo>
                      <a:pt x="163" y="136"/>
                    </a:lnTo>
                    <a:lnTo>
                      <a:pt x="164" y="134"/>
                    </a:lnTo>
                    <a:lnTo>
                      <a:pt x="166" y="129"/>
                    </a:lnTo>
                    <a:lnTo>
                      <a:pt x="168" y="124"/>
                    </a:lnTo>
                    <a:lnTo>
                      <a:pt x="170" y="118"/>
                    </a:lnTo>
                    <a:lnTo>
                      <a:pt x="170" y="115"/>
                    </a:lnTo>
                    <a:lnTo>
                      <a:pt x="172" y="113"/>
                    </a:lnTo>
                    <a:lnTo>
                      <a:pt x="173" y="112"/>
                    </a:lnTo>
                    <a:lnTo>
                      <a:pt x="175" y="112"/>
                    </a:lnTo>
                    <a:lnTo>
                      <a:pt x="177" y="112"/>
                    </a:lnTo>
                    <a:lnTo>
                      <a:pt x="178" y="111"/>
                    </a:lnTo>
                    <a:lnTo>
                      <a:pt x="179" y="109"/>
                    </a:lnTo>
                    <a:lnTo>
                      <a:pt x="180" y="106"/>
                    </a:lnTo>
                    <a:lnTo>
                      <a:pt x="182" y="103"/>
                    </a:lnTo>
                    <a:lnTo>
                      <a:pt x="182" y="100"/>
                    </a:lnTo>
                    <a:lnTo>
                      <a:pt x="182" y="99"/>
                    </a:lnTo>
                    <a:lnTo>
                      <a:pt x="180" y="98"/>
                    </a:lnTo>
                    <a:lnTo>
                      <a:pt x="179" y="96"/>
                    </a:lnTo>
                    <a:lnTo>
                      <a:pt x="177" y="98"/>
                    </a:lnTo>
                    <a:lnTo>
                      <a:pt x="175" y="99"/>
                    </a:lnTo>
                    <a:lnTo>
                      <a:pt x="174" y="100"/>
                    </a:lnTo>
                    <a:lnTo>
                      <a:pt x="172" y="102"/>
                    </a:lnTo>
                    <a:lnTo>
                      <a:pt x="170" y="104"/>
                    </a:lnTo>
                    <a:lnTo>
                      <a:pt x="168" y="105"/>
                    </a:lnTo>
                    <a:lnTo>
                      <a:pt x="168" y="107"/>
                    </a:lnTo>
                    <a:lnTo>
                      <a:pt x="162" y="121"/>
                    </a:lnTo>
                    <a:lnTo>
                      <a:pt x="158" y="123"/>
                    </a:lnTo>
                    <a:lnTo>
                      <a:pt x="157" y="124"/>
                    </a:lnTo>
                    <a:lnTo>
                      <a:pt x="157" y="126"/>
                    </a:lnTo>
                    <a:lnTo>
                      <a:pt x="157" y="129"/>
                    </a:lnTo>
                    <a:lnTo>
                      <a:pt x="157" y="135"/>
                    </a:lnTo>
                    <a:lnTo>
                      <a:pt x="156" y="141"/>
                    </a:lnTo>
                    <a:lnTo>
                      <a:pt x="155" y="145"/>
                    </a:lnTo>
                    <a:lnTo>
                      <a:pt x="153" y="147"/>
                    </a:lnTo>
                    <a:lnTo>
                      <a:pt x="152" y="148"/>
                    </a:lnTo>
                    <a:lnTo>
                      <a:pt x="150" y="148"/>
                    </a:lnTo>
                    <a:lnTo>
                      <a:pt x="147" y="149"/>
                    </a:lnTo>
                    <a:lnTo>
                      <a:pt x="146" y="152"/>
                    </a:lnTo>
                    <a:lnTo>
                      <a:pt x="144" y="155"/>
                    </a:lnTo>
                    <a:lnTo>
                      <a:pt x="144" y="157"/>
                    </a:lnTo>
                    <a:lnTo>
                      <a:pt x="144" y="159"/>
                    </a:lnTo>
                    <a:lnTo>
                      <a:pt x="144" y="160"/>
                    </a:lnTo>
                    <a:lnTo>
                      <a:pt x="145" y="161"/>
                    </a:lnTo>
                    <a:lnTo>
                      <a:pt x="145" y="163"/>
                    </a:lnTo>
                    <a:lnTo>
                      <a:pt x="146" y="165"/>
                    </a:lnTo>
                    <a:lnTo>
                      <a:pt x="145" y="168"/>
                    </a:lnTo>
                    <a:lnTo>
                      <a:pt x="144" y="169"/>
                    </a:lnTo>
                    <a:lnTo>
                      <a:pt x="143" y="171"/>
                    </a:lnTo>
                    <a:lnTo>
                      <a:pt x="142" y="171"/>
                    </a:lnTo>
                    <a:lnTo>
                      <a:pt x="140" y="170"/>
                    </a:lnTo>
                    <a:lnTo>
                      <a:pt x="137" y="169"/>
                    </a:lnTo>
                    <a:lnTo>
                      <a:pt x="135" y="169"/>
                    </a:lnTo>
                    <a:lnTo>
                      <a:pt x="134" y="171"/>
                    </a:lnTo>
                    <a:lnTo>
                      <a:pt x="134" y="174"/>
                    </a:lnTo>
                    <a:lnTo>
                      <a:pt x="135" y="176"/>
                    </a:lnTo>
                    <a:lnTo>
                      <a:pt x="136" y="177"/>
                    </a:lnTo>
                    <a:lnTo>
                      <a:pt x="137" y="178"/>
                    </a:lnTo>
                    <a:lnTo>
                      <a:pt x="139" y="179"/>
                    </a:lnTo>
                    <a:lnTo>
                      <a:pt x="141" y="181"/>
                    </a:lnTo>
                    <a:lnTo>
                      <a:pt x="142" y="182"/>
                    </a:lnTo>
                    <a:lnTo>
                      <a:pt x="142" y="185"/>
                    </a:lnTo>
                    <a:lnTo>
                      <a:pt x="143" y="186"/>
                    </a:lnTo>
                    <a:lnTo>
                      <a:pt x="142" y="189"/>
                    </a:lnTo>
                    <a:lnTo>
                      <a:pt x="142" y="191"/>
                    </a:lnTo>
                    <a:lnTo>
                      <a:pt x="140" y="196"/>
                    </a:lnTo>
                    <a:lnTo>
                      <a:pt x="139" y="200"/>
                    </a:lnTo>
                    <a:lnTo>
                      <a:pt x="136" y="203"/>
                    </a:lnTo>
                    <a:lnTo>
                      <a:pt x="134" y="205"/>
                    </a:lnTo>
                    <a:lnTo>
                      <a:pt x="131" y="208"/>
                    </a:lnTo>
                    <a:lnTo>
                      <a:pt x="129" y="210"/>
                    </a:lnTo>
                    <a:lnTo>
                      <a:pt x="126" y="211"/>
                    </a:lnTo>
                    <a:lnTo>
                      <a:pt x="124" y="213"/>
                    </a:lnTo>
                    <a:lnTo>
                      <a:pt x="118" y="219"/>
                    </a:lnTo>
                    <a:lnTo>
                      <a:pt x="113" y="227"/>
                    </a:lnTo>
                    <a:lnTo>
                      <a:pt x="109" y="237"/>
                    </a:lnTo>
                    <a:lnTo>
                      <a:pt x="108" y="240"/>
                    </a:lnTo>
                    <a:lnTo>
                      <a:pt x="107" y="242"/>
                    </a:lnTo>
                    <a:lnTo>
                      <a:pt x="107" y="244"/>
                    </a:lnTo>
                    <a:lnTo>
                      <a:pt x="107" y="246"/>
                    </a:lnTo>
                    <a:lnTo>
                      <a:pt x="103" y="247"/>
                    </a:lnTo>
                    <a:lnTo>
                      <a:pt x="101" y="248"/>
                    </a:lnTo>
                    <a:lnTo>
                      <a:pt x="99" y="249"/>
                    </a:lnTo>
                    <a:lnTo>
                      <a:pt x="98" y="253"/>
                    </a:lnTo>
                    <a:lnTo>
                      <a:pt x="96" y="258"/>
                    </a:lnTo>
                    <a:lnTo>
                      <a:pt x="92" y="264"/>
                    </a:lnTo>
                    <a:lnTo>
                      <a:pt x="90" y="267"/>
                    </a:lnTo>
                    <a:lnTo>
                      <a:pt x="87" y="270"/>
                    </a:lnTo>
                    <a:lnTo>
                      <a:pt x="85" y="272"/>
                    </a:lnTo>
                    <a:lnTo>
                      <a:pt x="82" y="273"/>
                    </a:lnTo>
                    <a:lnTo>
                      <a:pt x="80" y="272"/>
                    </a:lnTo>
                    <a:lnTo>
                      <a:pt x="79" y="270"/>
                    </a:lnTo>
                    <a:lnTo>
                      <a:pt x="78" y="267"/>
                    </a:lnTo>
                    <a:lnTo>
                      <a:pt x="78" y="264"/>
                    </a:lnTo>
                    <a:lnTo>
                      <a:pt x="78" y="261"/>
                    </a:lnTo>
                    <a:lnTo>
                      <a:pt x="78" y="257"/>
                    </a:lnTo>
                    <a:lnTo>
                      <a:pt x="79" y="255"/>
                    </a:lnTo>
                    <a:lnTo>
                      <a:pt x="80" y="253"/>
                    </a:lnTo>
                    <a:lnTo>
                      <a:pt x="81" y="252"/>
                    </a:lnTo>
                    <a:lnTo>
                      <a:pt x="82" y="252"/>
                    </a:lnTo>
                    <a:lnTo>
                      <a:pt x="84" y="251"/>
                    </a:lnTo>
                    <a:lnTo>
                      <a:pt x="85" y="249"/>
                    </a:lnTo>
                    <a:lnTo>
                      <a:pt x="87" y="248"/>
                    </a:lnTo>
                    <a:lnTo>
                      <a:pt x="88" y="246"/>
                    </a:lnTo>
                    <a:lnTo>
                      <a:pt x="88" y="244"/>
                    </a:lnTo>
                    <a:lnTo>
                      <a:pt x="89" y="243"/>
                    </a:lnTo>
                    <a:lnTo>
                      <a:pt x="90" y="242"/>
                    </a:lnTo>
                    <a:lnTo>
                      <a:pt x="91" y="240"/>
                    </a:lnTo>
                    <a:lnTo>
                      <a:pt x="92" y="237"/>
                    </a:lnTo>
                    <a:lnTo>
                      <a:pt x="93" y="236"/>
                    </a:lnTo>
                    <a:lnTo>
                      <a:pt x="95" y="233"/>
                    </a:lnTo>
                    <a:lnTo>
                      <a:pt x="95" y="231"/>
                    </a:lnTo>
                    <a:lnTo>
                      <a:pt x="96" y="229"/>
                    </a:lnTo>
                    <a:lnTo>
                      <a:pt x="96" y="226"/>
                    </a:lnTo>
                    <a:lnTo>
                      <a:pt x="97" y="225"/>
                    </a:lnTo>
                    <a:lnTo>
                      <a:pt x="99" y="224"/>
                    </a:lnTo>
                    <a:lnTo>
                      <a:pt x="100" y="223"/>
                    </a:lnTo>
                    <a:lnTo>
                      <a:pt x="102" y="222"/>
                    </a:lnTo>
                    <a:lnTo>
                      <a:pt x="102" y="219"/>
                    </a:lnTo>
                    <a:lnTo>
                      <a:pt x="103" y="215"/>
                    </a:lnTo>
                    <a:lnTo>
                      <a:pt x="103" y="213"/>
                    </a:lnTo>
                    <a:lnTo>
                      <a:pt x="104" y="211"/>
                    </a:lnTo>
                    <a:lnTo>
                      <a:pt x="104" y="203"/>
                    </a:lnTo>
                    <a:lnTo>
                      <a:pt x="107" y="197"/>
                    </a:lnTo>
                    <a:lnTo>
                      <a:pt x="109" y="191"/>
                    </a:lnTo>
                    <a:lnTo>
                      <a:pt x="109" y="189"/>
                    </a:lnTo>
                    <a:lnTo>
                      <a:pt x="109" y="187"/>
                    </a:lnTo>
                    <a:lnTo>
                      <a:pt x="110" y="185"/>
                    </a:lnTo>
                    <a:lnTo>
                      <a:pt x="111" y="181"/>
                    </a:lnTo>
                    <a:lnTo>
                      <a:pt x="111" y="180"/>
                    </a:lnTo>
                    <a:lnTo>
                      <a:pt x="109" y="179"/>
                    </a:lnTo>
                    <a:lnTo>
                      <a:pt x="108" y="179"/>
                    </a:lnTo>
                    <a:lnTo>
                      <a:pt x="107" y="180"/>
                    </a:lnTo>
                    <a:lnTo>
                      <a:pt x="107" y="180"/>
                    </a:lnTo>
                    <a:lnTo>
                      <a:pt x="106" y="182"/>
                    </a:lnTo>
                    <a:lnTo>
                      <a:pt x="104" y="185"/>
                    </a:lnTo>
                    <a:lnTo>
                      <a:pt x="103" y="187"/>
                    </a:lnTo>
                    <a:lnTo>
                      <a:pt x="102" y="187"/>
                    </a:lnTo>
                    <a:lnTo>
                      <a:pt x="101" y="187"/>
                    </a:lnTo>
                    <a:lnTo>
                      <a:pt x="100" y="185"/>
                    </a:lnTo>
                    <a:lnTo>
                      <a:pt x="100" y="183"/>
                    </a:lnTo>
                    <a:lnTo>
                      <a:pt x="100" y="182"/>
                    </a:lnTo>
                    <a:lnTo>
                      <a:pt x="99" y="180"/>
                    </a:lnTo>
                    <a:lnTo>
                      <a:pt x="99" y="179"/>
                    </a:lnTo>
                    <a:lnTo>
                      <a:pt x="99" y="178"/>
                    </a:lnTo>
                    <a:lnTo>
                      <a:pt x="98" y="178"/>
                    </a:lnTo>
                    <a:lnTo>
                      <a:pt x="97" y="179"/>
                    </a:lnTo>
                    <a:lnTo>
                      <a:pt x="96" y="180"/>
                    </a:lnTo>
                    <a:lnTo>
                      <a:pt x="95" y="182"/>
                    </a:lnTo>
                    <a:lnTo>
                      <a:pt x="93" y="185"/>
                    </a:lnTo>
                    <a:lnTo>
                      <a:pt x="93" y="187"/>
                    </a:lnTo>
                    <a:lnTo>
                      <a:pt x="92" y="188"/>
                    </a:lnTo>
                    <a:lnTo>
                      <a:pt x="92" y="190"/>
                    </a:lnTo>
                    <a:lnTo>
                      <a:pt x="92" y="192"/>
                    </a:lnTo>
                    <a:lnTo>
                      <a:pt x="91" y="193"/>
                    </a:lnTo>
                    <a:lnTo>
                      <a:pt x="91" y="196"/>
                    </a:lnTo>
                    <a:lnTo>
                      <a:pt x="90" y="197"/>
                    </a:lnTo>
                    <a:lnTo>
                      <a:pt x="90" y="197"/>
                    </a:lnTo>
                    <a:lnTo>
                      <a:pt x="89" y="197"/>
                    </a:lnTo>
                    <a:lnTo>
                      <a:pt x="88" y="196"/>
                    </a:lnTo>
                    <a:lnTo>
                      <a:pt x="87" y="193"/>
                    </a:lnTo>
                    <a:lnTo>
                      <a:pt x="87" y="192"/>
                    </a:lnTo>
                    <a:lnTo>
                      <a:pt x="87" y="191"/>
                    </a:lnTo>
                    <a:lnTo>
                      <a:pt x="86" y="189"/>
                    </a:lnTo>
                    <a:lnTo>
                      <a:pt x="85" y="186"/>
                    </a:lnTo>
                    <a:lnTo>
                      <a:pt x="82" y="183"/>
                    </a:lnTo>
                    <a:lnTo>
                      <a:pt x="80" y="182"/>
                    </a:lnTo>
                    <a:lnTo>
                      <a:pt x="79" y="181"/>
                    </a:lnTo>
                    <a:lnTo>
                      <a:pt x="77" y="181"/>
                    </a:lnTo>
                    <a:lnTo>
                      <a:pt x="75" y="183"/>
                    </a:lnTo>
                    <a:lnTo>
                      <a:pt x="74" y="187"/>
                    </a:lnTo>
                    <a:lnTo>
                      <a:pt x="71" y="189"/>
                    </a:lnTo>
                    <a:lnTo>
                      <a:pt x="70" y="191"/>
                    </a:lnTo>
                    <a:lnTo>
                      <a:pt x="69" y="192"/>
                    </a:lnTo>
                    <a:lnTo>
                      <a:pt x="69" y="193"/>
                    </a:lnTo>
                    <a:lnTo>
                      <a:pt x="67" y="193"/>
                    </a:lnTo>
                    <a:lnTo>
                      <a:pt x="67" y="193"/>
                    </a:lnTo>
                    <a:lnTo>
                      <a:pt x="66" y="192"/>
                    </a:lnTo>
                    <a:lnTo>
                      <a:pt x="66" y="191"/>
                    </a:lnTo>
                    <a:lnTo>
                      <a:pt x="66" y="189"/>
                    </a:lnTo>
                    <a:lnTo>
                      <a:pt x="67" y="188"/>
                    </a:lnTo>
                    <a:lnTo>
                      <a:pt x="67" y="187"/>
                    </a:lnTo>
                    <a:lnTo>
                      <a:pt x="67" y="183"/>
                    </a:lnTo>
                    <a:lnTo>
                      <a:pt x="67" y="181"/>
                    </a:lnTo>
                    <a:lnTo>
                      <a:pt x="67" y="179"/>
                    </a:lnTo>
                    <a:lnTo>
                      <a:pt x="66" y="177"/>
                    </a:lnTo>
                    <a:lnTo>
                      <a:pt x="66" y="175"/>
                    </a:lnTo>
                    <a:lnTo>
                      <a:pt x="67" y="171"/>
                    </a:lnTo>
                    <a:lnTo>
                      <a:pt x="68" y="168"/>
                    </a:lnTo>
                    <a:lnTo>
                      <a:pt x="68" y="165"/>
                    </a:lnTo>
                    <a:lnTo>
                      <a:pt x="68" y="163"/>
                    </a:lnTo>
                    <a:lnTo>
                      <a:pt x="68" y="160"/>
                    </a:lnTo>
                    <a:lnTo>
                      <a:pt x="67" y="158"/>
                    </a:lnTo>
                    <a:lnTo>
                      <a:pt x="67" y="156"/>
                    </a:lnTo>
                    <a:lnTo>
                      <a:pt x="66" y="154"/>
                    </a:lnTo>
                    <a:lnTo>
                      <a:pt x="65" y="152"/>
                    </a:lnTo>
                    <a:lnTo>
                      <a:pt x="65" y="150"/>
                    </a:lnTo>
                    <a:lnTo>
                      <a:pt x="64" y="150"/>
                    </a:lnTo>
                    <a:lnTo>
                      <a:pt x="63" y="152"/>
                    </a:lnTo>
                    <a:lnTo>
                      <a:pt x="62" y="154"/>
                    </a:lnTo>
                    <a:lnTo>
                      <a:pt x="60" y="156"/>
                    </a:lnTo>
                    <a:lnTo>
                      <a:pt x="59" y="158"/>
                    </a:lnTo>
                    <a:lnTo>
                      <a:pt x="59" y="159"/>
                    </a:lnTo>
                    <a:lnTo>
                      <a:pt x="58" y="160"/>
                    </a:lnTo>
                    <a:lnTo>
                      <a:pt x="56" y="159"/>
                    </a:lnTo>
                    <a:lnTo>
                      <a:pt x="54" y="157"/>
                    </a:lnTo>
                    <a:lnTo>
                      <a:pt x="52" y="154"/>
                    </a:lnTo>
                    <a:lnTo>
                      <a:pt x="49" y="150"/>
                    </a:lnTo>
                    <a:lnTo>
                      <a:pt x="47" y="147"/>
                    </a:lnTo>
                    <a:lnTo>
                      <a:pt x="45" y="145"/>
                    </a:lnTo>
                    <a:lnTo>
                      <a:pt x="44" y="144"/>
                    </a:lnTo>
                    <a:lnTo>
                      <a:pt x="43" y="143"/>
                    </a:lnTo>
                    <a:lnTo>
                      <a:pt x="42" y="142"/>
                    </a:lnTo>
                    <a:lnTo>
                      <a:pt x="41" y="139"/>
                    </a:lnTo>
                    <a:lnTo>
                      <a:pt x="39" y="138"/>
                    </a:lnTo>
                    <a:lnTo>
                      <a:pt x="39" y="137"/>
                    </a:lnTo>
                    <a:lnTo>
                      <a:pt x="39" y="136"/>
                    </a:lnTo>
                    <a:lnTo>
                      <a:pt x="41" y="136"/>
                    </a:lnTo>
                    <a:lnTo>
                      <a:pt x="43" y="136"/>
                    </a:lnTo>
                    <a:lnTo>
                      <a:pt x="47" y="137"/>
                    </a:lnTo>
                    <a:lnTo>
                      <a:pt x="52" y="137"/>
                    </a:lnTo>
                    <a:lnTo>
                      <a:pt x="56" y="136"/>
                    </a:lnTo>
                    <a:lnTo>
                      <a:pt x="57" y="134"/>
                    </a:lnTo>
                    <a:lnTo>
                      <a:pt x="57" y="133"/>
                    </a:lnTo>
                    <a:lnTo>
                      <a:pt x="57" y="132"/>
                    </a:lnTo>
                    <a:lnTo>
                      <a:pt x="56" y="132"/>
                    </a:lnTo>
                    <a:lnTo>
                      <a:pt x="54" y="132"/>
                    </a:lnTo>
                    <a:lnTo>
                      <a:pt x="53" y="132"/>
                    </a:lnTo>
                    <a:lnTo>
                      <a:pt x="50" y="132"/>
                    </a:lnTo>
                    <a:lnTo>
                      <a:pt x="49" y="132"/>
                    </a:lnTo>
                    <a:lnTo>
                      <a:pt x="49" y="132"/>
                    </a:lnTo>
                    <a:lnTo>
                      <a:pt x="47" y="131"/>
                    </a:lnTo>
                    <a:lnTo>
                      <a:pt x="46" y="129"/>
                    </a:lnTo>
                    <a:lnTo>
                      <a:pt x="44" y="127"/>
                    </a:lnTo>
                    <a:lnTo>
                      <a:pt x="43" y="125"/>
                    </a:lnTo>
                    <a:lnTo>
                      <a:pt x="42" y="124"/>
                    </a:lnTo>
                    <a:lnTo>
                      <a:pt x="41" y="124"/>
                    </a:lnTo>
                    <a:lnTo>
                      <a:pt x="39" y="124"/>
                    </a:lnTo>
                    <a:lnTo>
                      <a:pt x="39" y="123"/>
                    </a:lnTo>
                    <a:lnTo>
                      <a:pt x="38" y="121"/>
                    </a:lnTo>
                    <a:lnTo>
                      <a:pt x="38" y="120"/>
                    </a:lnTo>
                    <a:lnTo>
                      <a:pt x="38" y="117"/>
                    </a:lnTo>
                    <a:lnTo>
                      <a:pt x="38" y="114"/>
                    </a:lnTo>
                    <a:lnTo>
                      <a:pt x="37" y="112"/>
                    </a:lnTo>
                    <a:lnTo>
                      <a:pt x="37" y="109"/>
                    </a:lnTo>
                    <a:lnTo>
                      <a:pt x="37" y="106"/>
                    </a:lnTo>
                    <a:lnTo>
                      <a:pt x="36" y="105"/>
                    </a:lnTo>
                    <a:lnTo>
                      <a:pt x="36" y="105"/>
                    </a:lnTo>
                    <a:lnTo>
                      <a:pt x="37" y="102"/>
                    </a:lnTo>
                    <a:lnTo>
                      <a:pt x="41" y="98"/>
                    </a:lnTo>
                    <a:lnTo>
                      <a:pt x="43" y="93"/>
                    </a:lnTo>
                    <a:lnTo>
                      <a:pt x="45" y="88"/>
                    </a:lnTo>
                    <a:lnTo>
                      <a:pt x="45" y="87"/>
                    </a:lnTo>
                    <a:lnTo>
                      <a:pt x="45" y="84"/>
                    </a:lnTo>
                    <a:lnTo>
                      <a:pt x="45" y="83"/>
                    </a:lnTo>
                    <a:lnTo>
                      <a:pt x="46" y="82"/>
                    </a:lnTo>
                    <a:lnTo>
                      <a:pt x="47" y="81"/>
                    </a:lnTo>
                    <a:lnTo>
                      <a:pt x="49" y="80"/>
                    </a:lnTo>
                    <a:lnTo>
                      <a:pt x="50" y="78"/>
                    </a:lnTo>
                    <a:lnTo>
                      <a:pt x="50" y="76"/>
                    </a:lnTo>
                    <a:lnTo>
                      <a:pt x="52" y="73"/>
                    </a:lnTo>
                    <a:lnTo>
                      <a:pt x="52" y="70"/>
                    </a:lnTo>
                    <a:lnTo>
                      <a:pt x="52" y="66"/>
                    </a:lnTo>
                    <a:lnTo>
                      <a:pt x="52" y="61"/>
                    </a:lnTo>
                    <a:lnTo>
                      <a:pt x="54" y="57"/>
                    </a:lnTo>
                    <a:lnTo>
                      <a:pt x="55" y="55"/>
                    </a:lnTo>
                    <a:lnTo>
                      <a:pt x="56" y="54"/>
                    </a:lnTo>
                    <a:lnTo>
                      <a:pt x="57" y="54"/>
                    </a:lnTo>
                    <a:lnTo>
                      <a:pt x="58" y="55"/>
                    </a:lnTo>
                    <a:lnTo>
                      <a:pt x="58" y="56"/>
                    </a:lnTo>
                    <a:lnTo>
                      <a:pt x="59" y="57"/>
                    </a:lnTo>
                    <a:lnTo>
                      <a:pt x="59" y="59"/>
                    </a:lnTo>
                    <a:lnTo>
                      <a:pt x="59" y="60"/>
                    </a:lnTo>
                    <a:lnTo>
                      <a:pt x="60" y="60"/>
                    </a:lnTo>
                    <a:lnTo>
                      <a:pt x="62" y="60"/>
                    </a:lnTo>
                    <a:lnTo>
                      <a:pt x="63" y="59"/>
                    </a:lnTo>
                    <a:lnTo>
                      <a:pt x="65" y="57"/>
                    </a:lnTo>
                    <a:lnTo>
                      <a:pt x="67" y="55"/>
                    </a:lnTo>
                    <a:lnTo>
                      <a:pt x="68" y="51"/>
                    </a:lnTo>
                    <a:lnTo>
                      <a:pt x="69" y="49"/>
                    </a:lnTo>
                    <a:lnTo>
                      <a:pt x="71" y="48"/>
                    </a:lnTo>
                    <a:lnTo>
                      <a:pt x="73" y="48"/>
                    </a:lnTo>
                    <a:lnTo>
                      <a:pt x="75" y="49"/>
                    </a:lnTo>
                    <a:lnTo>
                      <a:pt x="77" y="49"/>
                    </a:lnTo>
                    <a:lnTo>
                      <a:pt x="78" y="49"/>
                    </a:lnTo>
                    <a:lnTo>
                      <a:pt x="80" y="48"/>
                    </a:lnTo>
                    <a:lnTo>
                      <a:pt x="81" y="47"/>
                    </a:lnTo>
                    <a:lnTo>
                      <a:pt x="82" y="44"/>
                    </a:lnTo>
                    <a:lnTo>
                      <a:pt x="84" y="40"/>
                    </a:lnTo>
                    <a:lnTo>
                      <a:pt x="86" y="37"/>
                    </a:lnTo>
                    <a:lnTo>
                      <a:pt x="86" y="34"/>
                    </a:lnTo>
                    <a:lnTo>
                      <a:pt x="87" y="30"/>
                    </a:lnTo>
                    <a:lnTo>
                      <a:pt x="87" y="17"/>
                    </a:lnTo>
                    <a:lnTo>
                      <a:pt x="87" y="16"/>
                    </a:lnTo>
                    <a:lnTo>
                      <a:pt x="88" y="14"/>
                    </a:lnTo>
                    <a:lnTo>
                      <a:pt x="89" y="11"/>
                    </a:lnTo>
                    <a:lnTo>
                      <a:pt x="89" y="8"/>
                    </a:lnTo>
                    <a:lnTo>
                      <a:pt x="90" y="7"/>
                    </a:lnTo>
                    <a:lnTo>
                      <a:pt x="91" y="4"/>
                    </a:lnTo>
                    <a:lnTo>
                      <a:pt x="90" y="4"/>
                    </a:lnTo>
                    <a:lnTo>
                      <a:pt x="90" y="3"/>
                    </a:lnTo>
                    <a:lnTo>
                      <a:pt x="91" y="2"/>
                    </a:lnTo>
                    <a:lnTo>
                      <a:pt x="91" y="2"/>
                    </a:lnTo>
                    <a:lnTo>
                      <a:pt x="92" y="2"/>
                    </a:lnTo>
                    <a:lnTo>
                      <a:pt x="92" y="1"/>
                    </a:lnTo>
                    <a:lnTo>
                      <a:pt x="92"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37" name="Freeform 34"/>
              <p:cNvSpPr>
                <a:spLocks noEditPoints="1"/>
              </p:cNvSpPr>
              <p:nvPr/>
            </p:nvSpPr>
            <p:spPr bwMode="auto">
              <a:xfrm>
                <a:off x="5640" y="775"/>
                <a:ext cx="364" cy="127"/>
              </a:xfrm>
              <a:custGeom>
                <a:avLst/>
                <a:gdLst>
                  <a:gd name="T0" fmla="*/ 91 w 2549"/>
                  <a:gd name="T1" fmla="*/ 275 h 889"/>
                  <a:gd name="T2" fmla="*/ 225 w 2549"/>
                  <a:gd name="T3" fmla="*/ 221 h 889"/>
                  <a:gd name="T4" fmla="*/ 765 w 2549"/>
                  <a:gd name="T5" fmla="*/ 187 h 889"/>
                  <a:gd name="T6" fmla="*/ 835 w 2549"/>
                  <a:gd name="T7" fmla="*/ 167 h 889"/>
                  <a:gd name="T8" fmla="*/ 2285 w 2549"/>
                  <a:gd name="T9" fmla="*/ 155 h 889"/>
                  <a:gd name="T10" fmla="*/ 1753 w 2549"/>
                  <a:gd name="T11" fmla="*/ 120 h 889"/>
                  <a:gd name="T12" fmla="*/ 1785 w 2549"/>
                  <a:gd name="T13" fmla="*/ 131 h 889"/>
                  <a:gd name="T14" fmla="*/ 1835 w 2549"/>
                  <a:gd name="T15" fmla="*/ 147 h 889"/>
                  <a:gd name="T16" fmla="*/ 1787 w 2549"/>
                  <a:gd name="T17" fmla="*/ 226 h 889"/>
                  <a:gd name="T18" fmla="*/ 1752 w 2549"/>
                  <a:gd name="T19" fmla="*/ 167 h 889"/>
                  <a:gd name="T20" fmla="*/ 1744 w 2549"/>
                  <a:gd name="T21" fmla="*/ 130 h 889"/>
                  <a:gd name="T22" fmla="*/ 724 w 2549"/>
                  <a:gd name="T23" fmla="*/ 88 h 889"/>
                  <a:gd name="T24" fmla="*/ 724 w 2549"/>
                  <a:gd name="T25" fmla="*/ 153 h 889"/>
                  <a:gd name="T26" fmla="*/ 687 w 2549"/>
                  <a:gd name="T27" fmla="*/ 115 h 889"/>
                  <a:gd name="T28" fmla="*/ 1 w 2549"/>
                  <a:gd name="T29" fmla="*/ 98 h 889"/>
                  <a:gd name="T30" fmla="*/ 60 w 2549"/>
                  <a:gd name="T31" fmla="*/ 120 h 889"/>
                  <a:gd name="T32" fmla="*/ 89 w 2549"/>
                  <a:gd name="T33" fmla="*/ 76 h 889"/>
                  <a:gd name="T34" fmla="*/ 2549 w 2549"/>
                  <a:gd name="T35" fmla="*/ 442 h 889"/>
                  <a:gd name="T36" fmla="*/ 2216 w 2549"/>
                  <a:gd name="T37" fmla="*/ 682 h 889"/>
                  <a:gd name="T38" fmla="*/ 2095 w 2549"/>
                  <a:gd name="T39" fmla="*/ 732 h 889"/>
                  <a:gd name="T40" fmla="*/ 2058 w 2549"/>
                  <a:gd name="T41" fmla="*/ 748 h 889"/>
                  <a:gd name="T42" fmla="*/ 1975 w 2549"/>
                  <a:gd name="T43" fmla="*/ 852 h 889"/>
                  <a:gd name="T44" fmla="*/ 1983 w 2549"/>
                  <a:gd name="T45" fmla="*/ 768 h 889"/>
                  <a:gd name="T46" fmla="*/ 1966 w 2549"/>
                  <a:gd name="T47" fmla="*/ 666 h 889"/>
                  <a:gd name="T48" fmla="*/ 2014 w 2549"/>
                  <a:gd name="T49" fmla="*/ 628 h 889"/>
                  <a:gd name="T50" fmla="*/ 2047 w 2549"/>
                  <a:gd name="T51" fmla="*/ 551 h 889"/>
                  <a:gd name="T52" fmla="*/ 2076 w 2549"/>
                  <a:gd name="T53" fmla="*/ 449 h 889"/>
                  <a:gd name="T54" fmla="*/ 2104 w 2549"/>
                  <a:gd name="T55" fmla="*/ 519 h 889"/>
                  <a:gd name="T56" fmla="*/ 2139 w 2549"/>
                  <a:gd name="T57" fmla="*/ 515 h 889"/>
                  <a:gd name="T58" fmla="*/ 2173 w 2549"/>
                  <a:gd name="T59" fmla="*/ 462 h 889"/>
                  <a:gd name="T60" fmla="*/ 2186 w 2549"/>
                  <a:gd name="T61" fmla="*/ 399 h 889"/>
                  <a:gd name="T62" fmla="*/ 2178 w 2549"/>
                  <a:gd name="T63" fmla="*/ 386 h 889"/>
                  <a:gd name="T64" fmla="*/ 2147 w 2549"/>
                  <a:gd name="T65" fmla="*/ 345 h 889"/>
                  <a:gd name="T66" fmla="*/ 2140 w 2549"/>
                  <a:gd name="T67" fmla="*/ 227 h 889"/>
                  <a:gd name="T68" fmla="*/ 2133 w 2549"/>
                  <a:gd name="T69" fmla="*/ 376 h 889"/>
                  <a:gd name="T70" fmla="*/ 2103 w 2549"/>
                  <a:gd name="T71" fmla="*/ 496 h 889"/>
                  <a:gd name="T72" fmla="*/ 2095 w 2549"/>
                  <a:gd name="T73" fmla="*/ 426 h 889"/>
                  <a:gd name="T74" fmla="*/ 2073 w 2549"/>
                  <a:gd name="T75" fmla="*/ 416 h 889"/>
                  <a:gd name="T76" fmla="*/ 2025 w 2549"/>
                  <a:gd name="T77" fmla="*/ 353 h 889"/>
                  <a:gd name="T78" fmla="*/ 2067 w 2549"/>
                  <a:gd name="T79" fmla="*/ 245 h 889"/>
                  <a:gd name="T80" fmla="*/ 2082 w 2549"/>
                  <a:gd name="T81" fmla="*/ 131 h 889"/>
                  <a:gd name="T82" fmla="*/ 2096 w 2549"/>
                  <a:gd name="T83" fmla="*/ 99 h 889"/>
                  <a:gd name="T84" fmla="*/ 2110 w 2549"/>
                  <a:gd name="T85" fmla="*/ 70 h 889"/>
                  <a:gd name="T86" fmla="*/ 2133 w 2549"/>
                  <a:gd name="T87" fmla="*/ 51 h 889"/>
                  <a:gd name="T88" fmla="*/ 2161 w 2549"/>
                  <a:gd name="T89" fmla="*/ 67 h 889"/>
                  <a:gd name="T90" fmla="*/ 2194 w 2549"/>
                  <a:gd name="T91" fmla="*/ 124 h 889"/>
                  <a:gd name="T92" fmla="*/ 2249 w 2549"/>
                  <a:gd name="T93" fmla="*/ 227 h 889"/>
                  <a:gd name="T94" fmla="*/ 2220 w 2549"/>
                  <a:gd name="T95" fmla="*/ 239 h 889"/>
                  <a:gd name="T96" fmla="*/ 2241 w 2549"/>
                  <a:gd name="T97" fmla="*/ 267 h 889"/>
                  <a:gd name="T98" fmla="*/ 2264 w 2549"/>
                  <a:gd name="T99" fmla="*/ 233 h 889"/>
                  <a:gd name="T100" fmla="*/ 2271 w 2549"/>
                  <a:gd name="T101" fmla="*/ 197 h 889"/>
                  <a:gd name="T102" fmla="*/ 2315 w 2549"/>
                  <a:gd name="T103" fmla="*/ 188 h 889"/>
                  <a:gd name="T104" fmla="*/ 2346 w 2549"/>
                  <a:gd name="T105" fmla="*/ 180 h 889"/>
                  <a:gd name="T106" fmla="*/ 2348 w 2549"/>
                  <a:gd name="T107" fmla="*/ 156 h 889"/>
                  <a:gd name="T108" fmla="*/ 2369 w 2549"/>
                  <a:gd name="T109" fmla="*/ 128 h 889"/>
                  <a:gd name="T110" fmla="*/ 2390 w 2549"/>
                  <a:gd name="T111" fmla="*/ 113 h 889"/>
                  <a:gd name="T112" fmla="*/ 2398 w 2549"/>
                  <a:gd name="T113" fmla="*/ 256 h 889"/>
                  <a:gd name="T114" fmla="*/ 2430 w 2549"/>
                  <a:gd name="T115" fmla="*/ 237 h 889"/>
                  <a:gd name="T116" fmla="*/ 2405 w 2549"/>
                  <a:gd name="T117" fmla="*/ 154 h 889"/>
                  <a:gd name="T118" fmla="*/ 2407 w 2549"/>
                  <a:gd name="T119" fmla="*/ 127 h 889"/>
                  <a:gd name="T120" fmla="*/ 2412 w 2549"/>
                  <a:gd name="T121" fmla="*/ 99 h 889"/>
                  <a:gd name="T122" fmla="*/ 2447 w 2549"/>
                  <a:gd name="T123" fmla="*/ 172 h 889"/>
                  <a:gd name="T124" fmla="*/ 2437 w 2549"/>
                  <a:gd name="T125" fmla="*/ 60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49" h="889">
                    <a:moveTo>
                      <a:pt x="237" y="207"/>
                    </a:moveTo>
                    <a:lnTo>
                      <a:pt x="233" y="207"/>
                    </a:lnTo>
                    <a:lnTo>
                      <a:pt x="226" y="209"/>
                    </a:lnTo>
                    <a:lnTo>
                      <a:pt x="220" y="211"/>
                    </a:lnTo>
                    <a:lnTo>
                      <a:pt x="214" y="213"/>
                    </a:lnTo>
                    <a:lnTo>
                      <a:pt x="211" y="215"/>
                    </a:lnTo>
                    <a:lnTo>
                      <a:pt x="203" y="219"/>
                    </a:lnTo>
                    <a:lnTo>
                      <a:pt x="197" y="223"/>
                    </a:lnTo>
                    <a:lnTo>
                      <a:pt x="191" y="231"/>
                    </a:lnTo>
                    <a:lnTo>
                      <a:pt x="185" y="237"/>
                    </a:lnTo>
                    <a:lnTo>
                      <a:pt x="177" y="244"/>
                    </a:lnTo>
                    <a:lnTo>
                      <a:pt x="169" y="246"/>
                    </a:lnTo>
                    <a:lnTo>
                      <a:pt x="166" y="244"/>
                    </a:lnTo>
                    <a:lnTo>
                      <a:pt x="164" y="242"/>
                    </a:lnTo>
                    <a:lnTo>
                      <a:pt x="161" y="240"/>
                    </a:lnTo>
                    <a:lnTo>
                      <a:pt x="160" y="236"/>
                    </a:lnTo>
                    <a:lnTo>
                      <a:pt x="158" y="233"/>
                    </a:lnTo>
                    <a:lnTo>
                      <a:pt x="156" y="231"/>
                    </a:lnTo>
                    <a:lnTo>
                      <a:pt x="154" y="230"/>
                    </a:lnTo>
                    <a:lnTo>
                      <a:pt x="151" y="229"/>
                    </a:lnTo>
                    <a:lnTo>
                      <a:pt x="149" y="230"/>
                    </a:lnTo>
                    <a:lnTo>
                      <a:pt x="147" y="231"/>
                    </a:lnTo>
                    <a:lnTo>
                      <a:pt x="146" y="233"/>
                    </a:lnTo>
                    <a:lnTo>
                      <a:pt x="146" y="236"/>
                    </a:lnTo>
                    <a:lnTo>
                      <a:pt x="147" y="240"/>
                    </a:lnTo>
                    <a:lnTo>
                      <a:pt x="149" y="243"/>
                    </a:lnTo>
                    <a:lnTo>
                      <a:pt x="149" y="245"/>
                    </a:lnTo>
                    <a:lnTo>
                      <a:pt x="149" y="247"/>
                    </a:lnTo>
                    <a:lnTo>
                      <a:pt x="148" y="250"/>
                    </a:lnTo>
                    <a:lnTo>
                      <a:pt x="146" y="252"/>
                    </a:lnTo>
                    <a:lnTo>
                      <a:pt x="143" y="255"/>
                    </a:lnTo>
                    <a:lnTo>
                      <a:pt x="139" y="259"/>
                    </a:lnTo>
                    <a:lnTo>
                      <a:pt x="136" y="264"/>
                    </a:lnTo>
                    <a:lnTo>
                      <a:pt x="132" y="268"/>
                    </a:lnTo>
                    <a:lnTo>
                      <a:pt x="129" y="272"/>
                    </a:lnTo>
                    <a:lnTo>
                      <a:pt x="127" y="275"/>
                    </a:lnTo>
                    <a:lnTo>
                      <a:pt x="125" y="278"/>
                    </a:lnTo>
                    <a:lnTo>
                      <a:pt x="123" y="281"/>
                    </a:lnTo>
                    <a:lnTo>
                      <a:pt x="115" y="284"/>
                    </a:lnTo>
                    <a:lnTo>
                      <a:pt x="106" y="281"/>
                    </a:lnTo>
                    <a:lnTo>
                      <a:pt x="100" y="278"/>
                    </a:lnTo>
                    <a:lnTo>
                      <a:pt x="92" y="275"/>
                    </a:lnTo>
                    <a:lnTo>
                      <a:pt x="91" y="275"/>
                    </a:lnTo>
                    <a:lnTo>
                      <a:pt x="90" y="275"/>
                    </a:lnTo>
                    <a:lnTo>
                      <a:pt x="88" y="275"/>
                    </a:lnTo>
                    <a:lnTo>
                      <a:pt x="85" y="275"/>
                    </a:lnTo>
                    <a:lnTo>
                      <a:pt x="83" y="275"/>
                    </a:lnTo>
                    <a:lnTo>
                      <a:pt x="80" y="275"/>
                    </a:lnTo>
                    <a:lnTo>
                      <a:pt x="79" y="275"/>
                    </a:lnTo>
                    <a:lnTo>
                      <a:pt x="78" y="276"/>
                    </a:lnTo>
                    <a:lnTo>
                      <a:pt x="77" y="276"/>
                    </a:lnTo>
                    <a:lnTo>
                      <a:pt x="78" y="277"/>
                    </a:lnTo>
                    <a:lnTo>
                      <a:pt x="79" y="279"/>
                    </a:lnTo>
                    <a:lnTo>
                      <a:pt x="82" y="280"/>
                    </a:lnTo>
                    <a:lnTo>
                      <a:pt x="84" y="281"/>
                    </a:lnTo>
                    <a:lnTo>
                      <a:pt x="87" y="280"/>
                    </a:lnTo>
                    <a:lnTo>
                      <a:pt x="90" y="279"/>
                    </a:lnTo>
                    <a:lnTo>
                      <a:pt x="92" y="279"/>
                    </a:lnTo>
                    <a:lnTo>
                      <a:pt x="95" y="279"/>
                    </a:lnTo>
                    <a:lnTo>
                      <a:pt x="98" y="279"/>
                    </a:lnTo>
                    <a:lnTo>
                      <a:pt x="100" y="280"/>
                    </a:lnTo>
                    <a:lnTo>
                      <a:pt x="103" y="281"/>
                    </a:lnTo>
                    <a:lnTo>
                      <a:pt x="112" y="287"/>
                    </a:lnTo>
                    <a:lnTo>
                      <a:pt x="120" y="289"/>
                    </a:lnTo>
                    <a:lnTo>
                      <a:pt x="129" y="290"/>
                    </a:lnTo>
                    <a:lnTo>
                      <a:pt x="139" y="288"/>
                    </a:lnTo>
                    <a:lnTo>
                      <a:pt x="148" y="284"/>
                    </a:lnTo>
                    <a:lnTo>
                      <a:pt x="156" y="279"/>
                    </a:lnTo>
                    <a:lnTo>
                      <a:pt x="169" y="270"/>
                    </a:lnTo>
                    <a:lnTo>
                      <a:pt x="182" y="259"/>
                    </a:lnTo>
                    <a:lnTo>
                      <a:pt x="185" y="258"/>
                    </a:lnTo>
                    <a:lnTo>
                      <a:pt x="187" y="256"/>
                    </a:lnTo>
                    <a:lnTo>
                      <a:pt x="188" y="254"/>
                    </a:lnTo>
                    <a:lnTo>
                      <a:pt x="189" y="252"/>
                    </a:lnTo>
                    <a:lnTo>
                      <a:pt x="189" y="248"/>
                    </a:lnTo>
                    <a:lnTo>
                      <a:pt x="189" y="246"/>
                    </a:lnTo>
                    <a:lnTo>
                      <a:pt x="191" y="245"/>
                    </a:lnTo>
                    <a:lnTo>
                      <a:pt x="192" y="244"/>
                    </a:lnTo>
                    <a:lnTo>
                      <a:pt x="194" y="243"/>
                    </a:lnTo>
                    <a:lnTo>
                      <a:pt x="197" y="243"/>
                    </a:lnTo>
                    <a:lnTo>
                      <a:pt x="198" y="242"/>
                    </a:lnTo>
                    <a:lnTo>
                      <a:pt x="201" y="237"/>
                    </a:lnTo>
                    <a:lnTo>
                      <a:pt x="204" y="233"/>
                    </a:lnTo>
                    <a:lnTo>
                      <a:pt x="209" y="229"/>
                    </a:lnTo>
                    <a:lnTo>
                      <a:pt x="222" y="222"/>
                    </a:lnTo>
                    <a:lnTo>
                      <a:pt x="225" y="221"/>
                    </a:lnTo>
                    <a:lnTo>
                      <a:pt x="230" y="220"/>
                    </a:lnTo>
                    <a:lnTo>
                      <a:pt x="233" y="218"/>
                    </a:lnTo>
                    <a:lnTo>
                      <a:pt x="236" y="215"/>
                    </a:lnTo>
                    <a:lnTo>
                      <a:pt x="238" y="212"/>
                    </a:lnTo>
                    <a:lnTo>
                      <a:pt x="240" y="209"/>
                    </a:lnTo>
                    <a:lnTo>
                      <a:pt x="237" y="207"/>
                    </a:lnTo>
                    <a:close/>
                    <a:moveTo>
                      <a:pt x="1110" y="203"/>
                    </a:moveTo>
                    <a:lnTo>
                      <a:pt x="1116" y="203"/>
                    </a:lnTo>
                    <a:lnTo>
                      <a:pt x="1119" y="205"/>
                    </a:lnTo>
                    <a:lnTo>
                      <a:pt x="1120" y="210"/>
                    </a:lnTo>
                    <a:lnTo>
                      <a:pt x="1120" y="215"/>
                    </a:lnTo>
                    <a:lnTo>
                      <a:pt x="1119" y="220"/>
                    </a:lnTo>
                    <a:lnTo>
                      <a:pt x="1116" y="222"/>
                    </a:lnTo>
                    <a:lnTo>
                      <a:pt x="1113" y="220"/>
                    </a:lnTo>
                    <a:lnTo>
                      <a:pt x="1109" y="215"/>
                    </a:lnTo>
                    <a:lnTo>
                      <a:pt x="1107" y="210"/>
                    </a:lnTo>
                    <a:lnTo>
                      <a:pt x="1108" y="205"/>
                    </a:lnTo>
                    <a:lnTo>
                      <a:pt x="1110" y="203"/>
                    </a:lnTo>
                    <a:close/>
                    <a:moveTo>
                      <a:pt x="808" y="198"/>
                    </a:moveTo>
                    <a:lnTo>
                      <a:pt x="814" y="201"/>
                    </a:lnTo>
                    <a:lnTo>
                      <a:pt x="820" y="207"/>
                    </a:lnTo>
                    <a:lnTo>
                      <a:pt x="822" y="212"/>
                    </a:lnTo>
                    <a:lnTo>
                      <a:pt x="822" y="216"/>
                    </a:lnTo>
                    <a:lnTo>
                      <a:pt x="821" y="223"/>
                    </a:lnTo>
                    <a:lnTo>
                      <a:pt x="818" y="231"/>
                    </a:lnTo>
                    <a:lnTo>
                      <a:pt x="813" y="237"/>
                    </a:lnTo>
                    <a:lnTo>
                      <a:pt x="808" y="241"/>
                    </a:lnTo>
                    <a:lnTo>
                      <a:pt x="801" y="236"/>
                    </a:lnTo>
                    <a:lnTo>
                      <a:pt x="795" y="229"/>
                    </a:lnTo>
                    <a:lnTo>
                      <a:pt x="793" y="220"/>
                    </a:lnTo>
                    <a:lnTo>
                      <a:pt x="793" y="211"/>
                    </a:lnTo>
                    <a:lnTo>
                      <a:pt x="794" y="203"/>
                    </a:lnTo>
                    <a:lnTo>
                      <a:pt x="800" y="199"/>
                    </a:lnTo>
                    <a:lnTo>
                      <a:pt x="808" y="198"/>
                    </a:lnTo>
                    <a:close/>
                    <a:moveTo>
                      <a:pt x="736" y="185"/>
                    </a:moveTo>
                    <a:lnTo>
                      <a:pt x="740" y="186"/>
                    </a:lnTo>
                    <a:lnTo>
                      <a:pt x="744" y="187"/>
                    </a:lnTo>
                    <a:lnTo>
                      <a:pt x="748" y="187"/>
                    </a:lnTo>
                    <a:lnTo>
                      <a:pt x="751" y="187"/>
                    </a:lnTo>
                    <a:lnTo>
                      <a:pt x="755" y="186"/>
                    </a:lnTo>
                    <a:lnTo>
                      <a:pt x="758" y="186"/>
                    </a:lnTo>
                    <a:lnTo>
                      <a:pt x="761" y="187"/>
                    </a:lnTo>
                    <a:lnTo>
                      <a:pt x="765" y="187"/>
                    </a:lnTo>
                    <a:lnTo>
                      <a:pt x="765" y="194"/>
                    </a:lnTo>
                    <a:lnTo>
                      <a:pt x="761" y="199"/>
                    </a:lnTo>
                    <a:lnTo>
                      <a:pt x="755" y="202"/>
                    </a:lnTo>
                    <a:lnTo>
                      <a:pt x="748" y="205"/>
                    </a:lnTo>
                    <a:lnTo>
                      <a:pt x="743" y="208"/>
                    </a:lnTo>
                    <a:lnTo>
                      <a:pt x="742" y="210"/>
                    </a:lnTo>
                    <a:lnTo>
                      <a:pt x="740" y="213"/>
                    </a:lnTo>
                    <a:lnTo>
                      <a:pt x="738" y="216"/>
                    </a:lnTo>
                    <a:lnTo>
                      <a:pt x="736" y="219"/>
                    </a:lnTo>
                    <a:lnTo>
                      <a:pt x="734" y="221"/>
                    </a:lnTo>
                    <a:lnTo>
                      <a:pt x="732" y="222"/>
                    </a:lnTo>
                    <a:lnTo>
                      <a:pt x="729" y="221"/>
                    </a:lnTo>
                    <a:lnTo>
                      <a:pt x="728" y="219"/>
                    </a:lnTo>
                    <a:lnTo>
                      <a:pt x="727" y="216"/>
                    </a:lnTo>
                    <a:lnTo>
                      <a:pt x="725" y="213"/>
                    </a:lnTo>
                    <a:lnTo>
                      <a:pt x="724" y="210"/>
                    </a:lnTo>
                    <a:lnTo>
                      <a:pt x="723" y="208"/>
                    </a:lnTo>
                    <a:lnTo>
                      <a:pt x="724" y="203"/>
                    </a:lnTo>
                    <a:lnTo>
                      <a:pt x="725" y="199"/>
                    </a:lnTo>
                    <a:lnTo>
                      <a:pt x="727" y="196"/>
                    </a:lnTo>
                    <a:lnTo>
                      <a:pt x="729" y="191"/>
                    </a:lnTo>
                    <a:lnTo>
                      <a:pt x="732" y="191"/>
                    </a:lnTo>
                    <a:lnTo>
                      <a:pt x="733" y="189"/>
                    </a:lnTo>
                    <a:lnTo>
                      <a:pt x="734" y="187"/>
                    </a:lnTo>
                    <a:lnTo>
                      <a:pt x="735" y="186"/>
                    </a:lnTo>
                    <a:lnTo>
                      <a:pt x="736" y="185"/>
                    </a:lnTo>
                    <a:close/>
                    <a:moveTo>
                      <a:pt x="845" y="159"/>
                    </a:moveTo>
                    <a:lnTo>
                      <a:pt x="846" y="160"/>
                    </a:lnTo>
                    <a:lnTo>
                      <a:pt x="848" y="161"/>
                    </a:lnTo>
                    <a:lnTo>
                      <a:pt x="851" y="164"/>
                    </a:lnTo>
                    <a:lnTo>
                      <a:pt x="853" y="167"/>
                    </a:lnTo>
                    <a:lnTo>
                      <a:pt x="853" y="169"/>
                    </a:lnTo>
                    <a:lnTo>
                      <a:pt x="853" y="171"/>
                    </a:lnTo>
                    <a:lnTo>
                      <a:pt x="851" y="174"/>
                    </a:lnTo>
                    <a:lnTo>
                      <a:pt x="849" y="175"/>
                    </a:lnTo>
                    <a:lnTo>
                      <a:pt x="847" y="176"/>
                    </a:lnTo>
                    <a:lnTo>
                      <a:pt x="844" y="177"/>
                    </a:lnTo>
                    <a:lnTo>
                      <a:pt x="842" y="176"/>
                    </a:lnTo>
                    <a:lnTo>
                      <a:pt x="840" y="175"/>
                    </a:lnTo>
                    <a:lnTo>
                      <a:pt x="837" y="172"/>
                    </a:lnTo>
                    <a:lnTo>
                      <a:pt x="836" y="169"/>
                    </a:lnTo>
                    <a:lnTo>
                      <a:pt x="835" y="168"/>
                    </a:lnTo>
                    <a:lnTo>
                      <a:pt x="835" y="167"/>
                    </a:lnTo>
                    <a:lnTo>
                      <a:pt x="835" y="165"/>
                    </a:lnTo>
                    <a:lnTo>
                      <a:pt x="835" y="163"/>
                    </a:lnTo>
                    <a:lnTo>
                      <a:pt x="836" y="161"/>
                    </a:lnTo>
                    <a:lnTo>
                      <a:pt x="837" y="160"/>
                    </a:lnTo>
                    <a:lnTo>
                      <a:pt x="838" y="161"/>
                    </a:lnTo>
                    <a:lnTo>
                      <a:pt x="841" y="161"/>
                    </a:lnTo>
                    <a:lnTo>
                      <a:pt x="842" y="161"/>
                    </a:lnTo>
                    <a:lnTo>
                      <a:pt x="843" y="160"/>
                    </a:lnTo>
                    <a:lnTo>
                      <a:pt x="843" y="160"/>
                    </a:lnTo>
                    <a:lnTo>
                      <a:pt x="844" y="159"/>
                    </a:lnTo>
                    <a:lnTo>
                      <a:pt x="845" y="159"/>
                    </a:lnTo>
                    <a:close/>
                    <a:moveTo>
                      <a:pt x="865" y="149"/>
                    </a:moveTo>
                    <a:lnTo>
                      <a:pt x="868" y="149"/>
                    </a:lnTo>
                    <a:lnTo>
                      <a:pt x="871" y="150"/>
                    </a:lnTo>
                    <a:lnTo>
                      <a:pt x="874" y="153"/>
                    </a:lnTo>
                    <a:lnTo>
                      <a:pt x="876" y="154"/>
                    </a:lnTo>
                    <a:lnTo>
                      <a:pt x="878" y="156"/>
                    </a:lnTo>
                    <a:lnTo>
                      <a:pt x="878" y="158"/>
                    </a:lnTo>
                    <a:lnTo>
                      <a:pt x="878" y="160"/>
                    </a:lnTo>
                    <a:lnTo>
                      <a:pt x="876" y="161"/>
                    </a:lnTo>
                    <a:lnTo>
                      <a:pt x="873" y="163"/>
                    </a:lnTo>
                    <a:lnTo>
                      <a:pt x="870" y="163"/>
                    </a:lnTo>
                    <a:lnTo>
                      <a:pt x="867" y="161"/>
                    </a:lnTo>
                    <a:lnTo>
                      <a:pt x="865" y="160"/>
                    </a:lnTo>
                    <a:lnTo>
                      <a:pt x="863" y="159"/>
                    </a:lnTo>
                    <a:lnTo>
                      <a:pt x="862" y="158"/>
                    </a:lnTo>
                    <a:lnTo>
                      <a:pt x="860" y="156"/>
                    </a:lnTo>
                    <a:lnTo>
                      <a:pt x="860" y="155"/>
                    </a:lnTo>
                    <a:lnTo>
                      <a:pt x="859" y="154"/>
                    </a:lnTo>
                    <a:lnTo>
                      <a:pt x="858" y="153"/>
                    </a:lnTo>
                    <a:lnTo>
                      <a:pt x="857" y="152"/>
                    </a:lnTo>
                    <a:lnTo>
                      <a:pt x="858" y="150"/>
                    </a:lnTo>
                    <a:lnTo>
                      <a:pt x="859" y="149"/>
                    </a:lnTo>
                    <a:lnTo>
                      <a:pt x="862" y="149"/>
                    </a:lnTo>
                    <a:lnTo>
                      <a:pt x="865" y="149"/>
                    </a:lnTo>
                    <a:close/>
                    <a:moveTo>
                      <a:pt x="2272" y="143"/>
                    </a:moveTo>
                    <a:lnTo>
                      <a:pt x="2274" y="143"/>
                    </a:lnTo>
                    <a:lnTo>
                      <a:pt x="2276" y="144"/>
                    </a:lnTo>
                    <a:lnTo>
                      <a:pt x="2277" y="146"/>
                    </a:lnTo>
                    <a:lnTo>
                      <a:pt x="2279" y="148"/>
                    </a:lnTo>
                    <a:lnTo>
                      <a:pt x="2282" y="150"/>
                    </a:lnTo>
                    <a:lnTo>
                      <a:pt x="2284" y="153"/>
                    </a:lnTo>
                    <a:lnTo>
                      <a:pt x="2285" y="155"/>
                    </a:lnTo>
                    <a:lnTo>
                      <a:pt x="2286" y="156"/>
                    </a:lnTo>
                    <a:lnTo>
                      <a:pt x="2287" y="158"/>
                    </a:lnTo>
                    <a:lnTo>
                      <a:pt x="2287" y="159"/>
                    </a:lnTo>
                    <a:lnTo>
                      <a:pt x="2287" y="160"/>
                    </a:lnTo>
                    <a:lnTo>
                      <a:pt x="2288" y="161"/>
                    </a:lnTo>
                    <a:lnTo>
                      <a:pt x="2287" y="164"/>
                    </a:lnTo>
                    <a:lnTo>
                      <a:pt x="2286" y="166"/>
                    </a:lnTo>
                    <a:lnTo>
                      <a:pt x="2285" y="167"/>
                    </a:lnTo>
                    <a:lnTo>
                      <a:pt x="2284" y="168"/>
                    </a:lnTo>
                    <a:lnTo>
                      <a:pt x="2282" y="169"/>
                    </a:lnTo>
                    <a:lnTo>
                      <a:pt x="2281" y="170"/>
                    </a:lnTo>
                    <a:lnTo>
                      <a:pt x="2279" y="172"/>
                    </a:lnTo>
                    <a:lnTo>
                      <a:pt x="2279" y="172"/>
                    </a:lnTo>
                    <a:lnTo>
                      <a:pt x="2277" y="172"/>
                    </a:lnTo>
                    <a:lnTo>
                      <a:pt x="2276" y="171"/>
                    </a:lnTo>
                    <a:lnTo>
                      <a:pt x="2274" y="169"/>
                    </a:lnTo>
                    <a:lnTo>
                      <a:pt x="2273" y="167"/>
                    </a:lnTo>
                    <a:lnTo>
                      <a:pt x="2271" y="163"/>
                    </a:lnTo>
                    <a:lnTo>
                      <a:pt x="2271" y="143"/>
                    </a:lnTo>
                    <a:lnTo>
                      <a:pt x="2272" y="143"/>
                    </a:lnTo>
                    <a:close/>
                    <a:moveTo>
                      <a:pt x="847" y="132"/>
                    </a:moveTo>
                    <a:lnTo>
                      <a:pt x="849" y="132"/>
                    </a:lnTo>
                    <a:lnTo>
                      <a:pt x="853" y="133"/>
                    </a:lnTo>
                    <a:lnTo>
                      <a:pt x="855" y="134"/>
                    </a:lnTo>
                    <a:lnTo>
                      <a:pt x="856" y="135"/>
                    </a:lnTo>
                    <a:lnTo>
                      <a:pt x="856" y="136"/>
                    </a:lnTo>
                    <a:lnTo>
                      <a:pt x="855" y="136"/>
                    </a:lnTo>
                    <a:lnTo>
                      <a:pt x="853" y="137"/>
                    </a:lnTo>
                    <a:lnTo>
                      <a:pt x="851" y="137"/>
                    </a:lnTo>
                    <a:lnTo>
                      <a:pt x="848" y="138"/>
                    </a:lnTo>
                    <a:lnTo>
                      <a:pt x="846" y="138"/>
                    </a:lnTo>
                    <a:lnTo>
                      <a:pt x="843" y="137"/>
                    </a:lnTo>
                    <a:lnTo>
                      <a:pt x="841" y="136"/>
                    </a:lnTo>
                    <a:lnTo>
                      <a:pt x="841" y="135"/>
                    </a:lnTo>
                    <a:lnTo>
                      <a:pt x="841" y="134"/>
                    </a:lnTo>
                    <a:lnTo>
                      <a:pt x="843" y="133"/>
                    </a:lnTo>
                    <a:lnTo>
                      <a:pt x="844" y="132"/>
                    </a:lnTo>
                    <a:lnTo>
                      <a:pt x="847" y="132"/>
                    </a:lnTo>
                    <a:close/>
                    <a:moveTo>
                      <a:pt x="1746" y="114"/>
                    </a:moveTo>
                    <a:lnTo>
                      <a:pt x="1747" y="115"/>
                    </a:lnTo>
                    <a:lnTo>
                      <a:pt x="1749" y="116"/>
                    </a:lnTo>
                    <a:lnTo>
                      <a:pt x="1751" y="117"/>
                    </a:lnTo>
                    <a:lnTo>
                      <a:pt x="1753" y="120"/>
                    </a:lnTo>
                    <a:lnTo>
                      <a:pt x="1755" y="122"/>
                    </a:lnTo>
                    <a:lnTo>
                      <a:pt x="1759" y="124"/>
                    </a:lnTo>
                    <a:lnTo>
                      <a:pt x="1760" y="126"/>
                    </a:lnTo>
                    <a:lnTo>
                      <a:pt x="1761" y="128"/>
                    </a:lnTo>
                    <a:lnTo>
                      <a:pt x="1762" y="132"/>
                    </a:lnTo>
                    <a:lnTo>
                      <a:pt x="1763" y="134"/>
                    </a:lnTo>
                    <a:lnTo>
                      <a:pt x="1764" y="135"/>
                    </a:lnTo>
                    <a:lnTo>
                      <a:pt x="1766" y="137"/>
                    </a:lnTo>
                    <a:lnTo>
                      <a:pt x="1768" y="139"/>
                    </a:lnTo>
                    <a:lnTo>
                      <a:pt x="1768" y="141"/>
                    </a:lnTo>
                    <a:lnTo>
                      <a:pt x="1766" y="143"/>
                    </a:lnTo>
                    <a:lnTo>
                      <a:pt x="1766" y="144"/>
                    </a:lnTo>
                    <a:lnTo>
                      <a:pt x="1765" y="145"/>
                    </a:lnTo>
                    <a:lnTo>
                      <a:pt x="1765" y="146"/>
                    </a:lnTo>
                    <a:lnTo>
                      <a:pt x="1766" y="148"/>
                    </a:lnTo>
                    <a:lnTo>
                      <a:pt x="1768" y="149"/>
                    </a:lnTo>
                    <a:lnTo>
                      <a:pt x="1769" y="149"/>
                    </a:lnTo>
                    <a:lnTo>
                      <a:pt x="1770" y="148"/>
                    </a:lnTo>
                    <a:lnTo>
                      <a:pt x="1771" y="148"/>
                    </a:lnTo>
                    <a:lnTo>
                      <a:pt x="1772" y="147"/>
                    </a:lnTo>
                    <a:lnTo>
                      <a:pt x="1772" y="146"/>
                    </a:lnTo>
                    <a:lnTo>
                      <a:pt x="1772" y="144"/>
                    </a:lnTo>
                    <a:lnTo>
                      <a:pt x="1772" y="141"/>
                    </a:lnTo>
                    <a:lnTo>
                      <a:pt x="1772" y="137"/>
                    </a:lnTo>
                    <a:lnTo>
                      <a:pt x="1773" y="134"/>
                    </a:lnTo>
                    <a:lnTo>
                      <a:pt x="1774" y="133"/>
                    </a:lnTo>
                    <a:lnTo>
                      <a:pt x="1775" y="133"/>
                    </a:lnTo>
                    <a:lnTo>
                      <a:pt x="1776" y="134"/>
                    </a:lnTo>
                    <a:lnTo>
                      <a:pt x="1777" y="136"/>
                    </a:lnTo>
                    <a:lnTo>
                      <a:pt x="1779" y="138"/>
                    </a:lnTo>
                    <a:lnTo>
                      <a:pt x="1780" y="141"/>
                    </a:lnTo>
                    <a:lnTo>
                      <a:pt x="1781" y="142"/>
                    </a:lnTo>
                    <a:lnTo>
                      <a:pt x="1782" y="143"/>
                    </a:lnTo>
                    <a:lnTo>
                      <a:pt x="1783" y="144"/>
                    </a:lnTo>
                    <a:lnTo>
                      <a:pt x="1783" y="143"/>
                    </a:lnTo>
                    <a:lnTo>
                      <a:pt x="1783" y="142"/>
                    </a:lnTo>
                    <a:lnTo>
                      <a:pt x="1783" y="139"/>
                    </a:lnTo>
                    <a:lnTo>
                      <a:pt x="1783" y="137"/>
                    </a:lnTo>
                    <a:lnTo>
                      <a:pt x="1783" y="135"/>
                    </a:lnTo>
                    <a:lnTo>
                      <a:pt x="1783" y="133"/>
                    </a:lnTo>
                    <a:lnTo>
                      <a:pt x="1783" y="132"/>
                    </a:lnTo>
                    <a:lnTo>
                      <a:pt x="1784" y="131"/>
                    </a:lnTo>
                    <a:lnTo>
                      <a:pt x="1785" y="131"/>
                    </a:lnTo>
                    <a:lnTo>
                      <a:pt x="1787" y="130"/>
                    </a:lnTo>
                    <a:lnTo>
                      <a:pt x="1790" y="131"/>
                    </a:lnTo>
                    <a:lnTo>
                      <a:pt x="1791" y="132"/>
                    </a:lnTo>
                    <a:lnTo>
                      <a:pt x="1792" y="134"/>
                    </a:lnTo>
                    <a:lnTo>
                      <a:pt x="1793" y="136"/>
                    </a:lnTo>
                    <a:lnTo>
                      <a:pt x="1794" y="137"/>
                    </a:lnTo>
                    <a:lnTo>
                      <a:pt x="1795" y="139"/>
                    </a:lnTo>
                    <a:lnTo>
                      <a:pt x="1797" y="138"/>
                    </a:lnTo>
                    <a:lnTo>
                      <a:pt x="1800" y="137"/>
                    </a:lnTo>
                    <a:lnTo>
                      <a:pt x="1801" y="136"/>
                    </a:lnTo>
                    <a:lnTo>
                      <a:pt x="1803" y="135"/>
                    </a:lnTo>
                    <a:lnTo>
                      <a:pt x="1804" y="135"/>
                    </a:lnTo>
                    <a:lnTo>
                      <a:pt x="1806" y="135"/>
                    </a:lnTo>
                    <a:lnTo>
                      <a:pt x="1808" y="136"/>
                    </a:lnTo>
                    <a:lnTo>
                      <a:pt x="1811" y="136"/>
                    </a:lnTo>
                    <a:lnTo>
                      <a:pt x="1813" y="137"/>
                    </a:lnTo>
                    <a:lnTo>
                      <a:pt x="1814" y="135"/>
                    </a:lnTo>
                    <a:lnTo>
                      <a:pt x="1815" y="133"/>
                    </a:lnTo>
                    <a:lnTo>
                      <a:pt x="1816" y="130"/>
                    </a:lnTo>
                    <a:lnTo>
                      <a:pt x="1816" y="127"/>
                    </a:lnTo>
                    <a:lnTo>
                      <a:pt x="1817" y="126"/>
                    </a:lnTo>
                    <a:lnTo>
                      <a:pt x="1819" y="126"/>
                    </a:lnTo>
                    <a:lnTo>
                      <a:pt x="1823" y="128"/>
                    </a:lnTo>
                    <a:lnTo>
                      <a:pt x="1825" y="131"/>
                    </a:lnTo>
                    <a:lnTo>
                      <a:pt x="1826" y="133"/>
                    </a:lnTo>
                    <a:lnTo>
                      <a:pt x="1827" y="135"/>
                    </a:lnTo>
                    <a:lnTo>
                      <a:pt x="1828" y="136"/>
                    </a:lnTo>
                    <a:lnTo>
                      <a:pt x="1829" y="136"/>
                    </a:lnTo>
                    <a:lnTo>
                      <a:pt x="1830" y="136"/>
                    </a:lnTo>
                    <a:lnTo>
                      <a:pt x="1831" y="136"/>
                    </a:lnTo>
                    <a:lnTo>
                      <a:pt x="1834" y="135"/>
                    </a:lnTo>
                    <a:lnTo>
                      <a:pt x="1835" y="134"/>
                    </a:lnTo>
                    <a:lnTo>
                      <a:pt x="1836" y="134"/>
                    </a:lnTo>
                    <a:lnTo>
                      <a:pt x="1836" y="134"/>
                    </a:lnTo>
                    <a:lnTo>
                      <a:pt x="1836" y="135"/>
                    </a:lnTo>
                    <a:lnTo>
                      <a:pt x="1836" y="137"/>
                    </a:lnTo>
                    <a:lnTo>
                      <a:pt x="1836" y="138"/>
                    </a:lnTo>
                    <a:lnTo>
                      <a:pt x="1836" y="141"/>
                    </a:lnTo>
                    <a:lnTo>
                      <a:pt x="1836" y="142"/>
                    </a:lnTo>
                    <a:lnTo>
                      <a:pt x="1835" y="142"/>
                    </a:lnTo>
                    <a:lnTo>
                      <a:pt x="1834" y="143"/>
                    </a:lnTo>
                    <a:lnTo>
                      <a:pt x="1834" y="145"/>
                    </a:lnTo>
                    <a:lnTo>
                      <a:pt x="1835" y="147"/>
                    </a:lnTo>
                    <a:lnTo>
                      <a:pt x="1836" y="150"/>
                    </a:lnTo>
                    <a:lnTo>
                      <a:pt x="1838" y="154"/>
                    </a:lnTo>
                    <a:lnTo>
                      <a:pt x="1840" y="157"/>
                    </a:lnTo>
                    <a:lnTo>
                      <a:pt x="1842" y="160"/>
                    </a:lnTo>
                    <a:lnTo>
                      <a:pt x="1846" y="164"/>
                    </a:lnTo>
                    <a:lnTo>
                      <a:pt x="1847" y="168"/>
                    </a:lnTo>
                    <a:lnTo>
                      <a:pt x="1849" y="170"/>
                    </a:lnTo>
                    <a:lnTo>
                      <a:pt x="1850" y="172"/>
                    </a:lnTo>
                    <a:lnTo>
                      <a:pt x="1852" y="175"/>
                    </a:lnTo>
                    <a:lnTo>
                      <a:pt x="1853" y="177"/>
                    </a:lnTo>
                    <a:lnTo>
                      <a:pt x="1853" y="181"/>
                    </a:lnTo>
                    <a:lnTo>
                      <a:pt x="1853" y="183"/>
                    </a:lnTo>
                    <a:lnTo>
                      <a:pt x="1852" y="187"/>
                    </a:lnTo>
                    <a:lnTo>
                      <a:pt x="1851" y="189"/>
                    </a:lnTo>
                    <a:lnTo>
                      <a:pt x="1849" y="192"/>
                    </a:lnTo>
                    <a:lnTo>
                      <a:pt x="1849" y="193"/>
                    </a:lnTo>
                    <a:lnTo>
                      <a:pt x="1849" y="196"/>
                    </a:lnTo>
                    <a:lnTo>
                      <a:pt x="1849" y="199"/>
                    </a:lnTo>
                    <a:lnTo>
                      <a:pt x="1848" y="201"/>
                    </a:lnTo>
                    <a:lnTo>
                      <a:pt x="1847" y="203"/>
                    </a:lnTo>
                    <a:lnTo>
                      <a:pt x="1846" y="205"/>
                    </a:lnTo>
                    <a:lnTo>
                      <a:pt x="1844" y="207"/>
                    </a:lnTo>
                    <a:lnTo>
                      <a:pt x="1841" y="207"/>
                    </a:lnTo>
                    <a:lnTo>
                      <a:pt x="1838" y="208"/>
                    </a:lnTo>
                    <a:lnTo>
                      <a:pt x="1836" y="208"/>
                    </a:lnTo>
                    <a:lnTo>
                      <a:pt x="1834" y="210"/>
                    </a:lnTo>
                    <a:lnTo>
                      <a:pt x="1833" y="212"/>
                    </a:lnTo>
                    <a:lnTo>
                      <a:pt x="1831" y="214"/>
                    </a:lnTo>
                    <a:lnTo>
                      <a:pt x="1829" y="214"/>
                    </a:lnTo>
                    <a:lnTo>
                      <a:pt x="1827" y="216"/>
                    </a:lnTo>
                    <a:lnTo>
                      <a:pt x="1825" y="219"/>
                    </a:lnTo>
                    <a:lnTo>
                      <a:pt x="1822" y="219"/>
                    </a:lnTo>
                    <a:lnTo>
                      <a:pt x="1819" y="220"/>
                    </a:lnTo>
                    <a:lnTo>
                      <a:pt x="1817" y="221"/>
                    </a:lnTo>
                    <a:lnTo>
                      <a:pt x="1814" y="222"/>
                    </a:lnTo>
                    <a:lnTo>
                      <a:pt x="1813" y="224"/>
                    </a:lnTo>
                    <a:lnTo>
                      <a:pt x="1811" y="227"/>
                    </a:lnTo>
                    <a:lnTo>
                      <a:pt x="1809" y="233"/>
                    </a:lnTo>
                    <a:lnTo>
                      <a:pt x="1806" y="236"/>
                    </a:lnTo>
                    <a:lnTo>
                      <a:pt x="1802" y="237"/>
                    </a:lnTo>
                    <a:lnTo>
                      <a:pt x="1796" y="234"/>
                    </a:lnTo>
                    <a:lnTo>
                      <a:pt x="1791" y="230"/>
                    </a:lnTo>
                    <a:lnTo>
                      <a:pt x="1787" y="226"/>
                    </a:lnTo>
                    <a:lnTo>
                      <a:pt x="1785" y="223"/>
                    </a:lnTo>
                    <a:lnTo>
                      <a:pt x="1783" y="221"/>
                    </a:lnTo>
                    <a:lnTo>
                      <a:pt x="1780" y="218"/>
                    </a:lnTo>
                    <a:lnTo>
                      <a:pt x="1776" y="216"/>
                    </a:lnTo>
                    <a:lnTo>
                      <a:pt x="1773" y="216"/>
                    </a:lnTo>
                    <a:lnTo>
                      <a:pt x="1770" y="219"/>
                    </a:lnTo>
                    <a:lnTo>
                      <a:pt x="1766" y="220"/>
                    </a:lnTo>
                    <a:lnTo>
                      <a:pt x="1763" y="221"/>
                    </a:lnTo>
                    <a:lnTo>
                      <a:pt x="1761" y="219"/>
                    </a:lnTo>
                    <a:lnTo>
                      <a:pt x="1759" y="218"/>
                    </a:lnTo>
                    <a:lnTo>
                      <a:pt x="1757" y="215"/>
                    </a:lnTo>
                    <a:lnTo>
                      <a:pt x="1754" y="213"/>
                    </a:lnTo>
                    <a:lnTo>
                      <a:pt x="1752" y="210"/>
                    </a:lnTo>
                    <a:lnTo>
                      <a:pt x="1751" y="208"/>
                    </a:lnTo>
                    <a:lnTo>
                      <a:pt x="1751" y="204"/>
                    </a:lnTo>
                    <a:lnTo>
                      <a:pt x="1751" y="201"/>
                    </a:lnTo>
                    <a:lnTo>
                      <a:pt x="1752" y="199"/>
                    </a:lnTo>
                    <a:lnTo>
                      <a:pt x="1753" y="199"/>
                    </a:lnTo>
                    <a:lnTo>
                      <a:pt x="1755" y="198"/>
                    </a:lnTo>
                    <a:lnTo>
                      <a:pt x="1758" y="198"/>
                    </a:lnTo>
                    <a:lnTo>
                      <a:pt x="1759" y="199"/>
                    </a:lnTo>
                    <a:lnTo>
                      <a:pt x="1761" y="199"/>
                    </a:lnTo>
                    <a:lnTo>
                      <a:pt x="1762" y="199"/>
                    </a:lnTo>
                    <a:lnTo>
                      <a:pt x="1762" y="198"/>
                    </a:lnTo>
                    <a:lnTo>
                      <a:pt x="1763" y="197"/>
                    </a:lnTo>
                    <a:lnTo>
                      <a:pt x="1762" y="192"/>
                    </a:lnTo>
                    <a:lnTo>
                      <a:pt x="1761" y="189"/>
                    </a:lnTo>
                    <a:lnTo>
                      <a:pt x="1759" y="187"/>
                    </a:lnTo>
                    <a:lnTo>
                      <a:pt x="1757" y="185"/>
                    </a:lnTo>
                    <a:lnTo>
                      <a:pt x="1753" y="183"/>
                    </a:lnTo>
                    <a:lnTo>
                      <a:pt x="1749" y="181"/>
                    </a:lnTo>
                    <a:lnTo>
                      <a:pt x="1744" y="181"/>
                    </a:lnTo>
                    <a:lnTo>
                      <a:pt x="1740" y="181"/>
                    </a:lnTo>
                    <a:lnTo>
                      <a:pt x="1737" y="179"/>
                    </a:lnTo>
                    <a:lnTo>
                      <a:pt x="1736" y="176"/>
                    </a:lnTo>
                    <a:lnTo>
                      <a:pt x="1735" y="174"/>
                    </a:lnTo>
                    <a:lnTo>
                      <a:pt x="1736" y="170"/>
                    </a:lnTo>
                    <a:lnTo>
                      <a:pt x="1738" y="168"/>
                    </a:lnTo>
                    <a:lnTo>
                      <a:pt x="1740" y="167"/>
                    </a:lnTo>
                    <a:lnTo>
                      <a:pt x="1742" y="167"/>
                    </a:lnTo>
                    <a:lnTo>
                      <a:pt x="1746" y="167"/>
                    </a:lnTo>
                    <a:lnTo>
                      <a:pt x="1749" y="168"/>
                    </a:lnTo>
                    <a:lnTo>
                      <a:pt x="1752" y="167"/>
                    </a:lnTo>
                    <a:lnTo>
                      <a:pt x="1754" y="167"/>
                    </a:lnTo>
                    <a:lnTo>
                      <a:pt x="1757" y="165"/>
                    </a:lnTo>
                    <a:lnTo>
                      <a:pt x="1758" y="164"/>
                    </a:lnTo>
                    <a:lnTo>
                      <a:pt x="1759" y="161"/>
                    </a:lnTo>
                    <a:lnTo>
                      <a:pt x="1759" y="158"/>
                    </a:lnTo>
                    <a:lnTo>
                      <a:pt x="1758" y="155"/>
                    </a:lnTo>
                    <a:lnTo>
                      <a:pt x="1755" y="153"/>
                    </a:lnTo>
                    <a:lnTo>
                      <a:pt x="1753" y="150"/>
                    </a:lnTo>
                    <a:lnTo>
                      <a:pt x="1750" y="148"/>
                    </a:lnTo>
                    <a:lnTo>
                      <a:pt x="1747" y="147"/>
                    </a:lnTo>
                    <a:lnTo>
                      <a:pt x="1744" y="146"/>
                    </a:lnTo>
                    <a:lnTo>
                      <a:pt x="1742" y="146"/>
                    </a:lnTo>
                    <a:lnTo>
                      <a:pt x="1741" y="146"/>
                    </a:lnTo>
                    <a:lnTo>
                      <a:pt x="1739" y="147"/>
                    </a:lnTo>
                    <a:lnTo>
                      <a:pt x="1737" y="148"/>
                    </a:lnTo>
                    <a:lnTo>
                      <a:pt x="1736" y="150"/>
                    </a:lnTo>
                    <a:lnTo>
                      <a:pt x="1733" y="152"/>
                    </a:lnTo>
                    <a:lnTo>
                      <a:pt x="1731" y="152"/>
                    </a:lnTo>
                    <a:lnTo>
                      <a:pt x="1730" y="150"/>
                    </a:lnTo>
                    <a:lnTo>
                      <a:pt x="1728" y="149"/>
                    </a:lnTo>
                    <a:lnTo>
                      <a:pt x="1727" y="146"/>
                    </a:lnTo>
                    <a:lnTo>
                      <a:pt x="1726" y="144"/>
                    </a:lnTo>
                    <a:lnTo>
                      <a:pt x="1727" y="143"/>
                    </a:lnTo>
                    <a:lnTo>
                      <a:pt x="1727" y="142"/>
                    </a:lnTo>
                    <a:lnTo>
                      <a:pt x="1728" y="142"/>
                    </a:lnTo>
                    <a:lnTo>
                      <a:pt x="1730" y="141"/>
                    </a:lnTo>
                    <a:lnTo>
                      <a:pt x="1730" y="139"/>
                    </a:lnTo>
                    <a:lnTo>
                      <a:pt x="1731" y="139"/>
                    </a:lnTo>
                    <a:lnTo>
                      <a:pt x="1732" y="137"/>
                    </a:lnTo>
                    <a:lnTo>
                      <a:pt x="1732" y="135"/>
                    </a:lnTo>
                    <a:lnTo>
                      <a:pt x="1733" y="132"/>
                    </a:lnTo>
                    <a:lnTo>
                      <a:pt x="1733" y="128"/>
                    </a:lnTo>
                    <a:lnTo>
                      <a:pt x="1733" y="126"/>
                    </a:lnTo>
                    <a:lnTo>
                      <a:pt x="1733" y="124"/>
                    </a:lnTo>
                    <a:lnTo>
                      <a:pt x="1735" y="123"/>
                    </a:lnTo>
                    <a:lnTo>
                      <a:pt x="1736" y="122"/>
                    </a:lnTo>
                    <a:lnTo>
                      <a:pt x="1738" y="122"/>
                    </a:lnTo>
                    <a:lnTo>
                      <a:pt x="1739" y="123"/>
                    </a:lnTo>
                    <a:lnTo>
                      <a:pt x="1740" y="126"/>
                    </a:lnTo>
                    <a:lnTo>
                      <a:pt x="1741" y="127"/>
                    </a:lnTo>
                    <a:lnTo>
                      <a:pt x="1742" y="128"/>
                    </a:lnTo>
                    <a:lnTo>
                      <a:pt x="1743" y="130"/>
                    </a:lnTo>
                    <a:lnTo>
                      <a:pt x="1744" y="130"/>
                    </a:lnTo>
                    <a:lnTo>
                      <a:pt x="1746" y="130"/>
                    </a:lnTo>
                    <a:lnTo>
                      <a:pt x="1746" y="130"/>
                    </a:lnTo>
                    <a:lnTo>
                      <a:pt x="1744" y="128"/>
                    </a:lnTo>
                    <a:lnTo>
                      <a:pt x="1744" y="126"/>
                    </a:lnTo>
                    <a:lnTo>
                      <a:pt x="1744" y="124"/>
                    </a:lnTo>
                    <a:lnTo>
                      <a:pt x="1743" y="122"/>
                    </a:lnTo>
                    <a:lnTo>
                      <a:pt x="1743" y="120"/>
                    </a:lnTo>
                    <a:lnTo>
                      <a:pt x="1743" y="117"/>
                    </a:lnTo>
                    <a:lnTo>
                      <a:pt x="1743" y="115"/>
                    </a:lnTo>
                    <a:lnTo>
                      <a:pt x="1743" y="114"/>
                    </a:lnTo>
                    <a:lnTo>
                      <a:pt x="1746" y="114"/>
                    </a:lnTo>
                    <a:close/>
                    <a:moveTo>
                      <a:pt x="2415" y="76"/>
                    </a:moveTo>
                    <a:lnTo>
                      <a:pt x="2416" y="77"/>
                    </a:lnTo>
                    <a:lnTo>
                      <a:pt x="2417" y="79"/>
                    </a:lnTo>
                    <a:lnTo>
                      <a:pt x="2417" y="81"/>
                    </a:lnTo>
                    <a:lnTo>
                      <a:pt x="2417" y="84"/>
                    </a:lnTo>
                    <a:lnTo>
                      <a:pt x="2417" y="87"/>
                    </a:lnTo>
                    <a:lnTo>
                      <a:pt x="2417" y="89"/>
                    </a:lnTo>
                    <a:lnTo>
                      <a:pt x="2416" y="90"/>
                    </a:lnTo>
                    <a:lnTo>
                      <a:pt x="2416" y="90"/>
                    </a:lnTo>
                    <a:lnTo>
                      <a:pt x="2414" y="88"/>
                    </a:lnTo>
                    <a:lnTo>
                      <a:pt x="2413" y="85"/>
                    </a:lnTo>
                    <a:lnTo>
                      <a:pt x="2413" y="83"/>
                    </a:lnTo>
                    <a:lnTo>
                      <a:pt x="2412" y="80"/>
                    </a:lnTo>
                    <a:lnTo>
                      <a:pt x="2412" y="78"/>
                    </a:lnTo>
                    <a:lnTo>
                      <a:pt x="2413" y="77"/>
                    </a:lnTo>
                    <a:lnTo>
                      <a:pt x="2414" y="76"/>
                    </a:lnTo>
                    <a:lnTo>
                      <a:pt x="2415" y="76"/>
                    </a:lnTo>
                    <a:close/>
                    <a:moveTo>
                      <a:pt x="692" y="57"/>
                    </a:moveTo>
                    <a:lnTo>
                      <a:pt x="695" y="59"/>
                    </a:lnTo>
                    <a:lnTo>
                      <a:pt x="698" y="63"/>
                    </a:lnTo>
                    <a:lnTo>
                      <a:pt x="699" y="68"/>
                    </a:lnTo>
                    <a:lnTo>
                      <a:pt x="700" y="73"/>
                    </a:lnTo>
                    <a:lnTo>
                      <a:pt x="703" y="77"/>
                    </a:lnTo>
                    <a:lnTo>
                      <a:pt x="705" y="78"/>
                    </a:lnTo>
                    <a:lnTo>
                      <a:pt x="707" y="79"/>
                    </a:lnTo>
                    <a:lnTo>
                      <a:pt x="711" y="79"/>
                    </a:lnTo>
                    <a:lnTo>
                      <a:pt x="714" y="79"/>
                    </a:lnTo>
                    <a:lnTo>
                      <a:pt x="717" y="79"/>
                    </a:lnTo>
                    <a:lnTo>
                      <a:pt x="720" y="81"/>
                    </a:lnTo>
                    <a:lnTo>
                      <a:pt x="722" y="82"/>
                    </a:lnTo>
                    <a:lnTo>
                      <a:pt x="723" y="85"/>
                    </a:lnTo>
                    <a:lnTo>
                      <a:pt x="724" y="88"/>
                    </a:lnTo>
                    <a:lnTo>
                      <a:pt x="724" y="89"/>
                    </a:lnTo>
                    <a:lnTo>
                      <a:pt x="726" y="93"/>
                    </a:lnTo>
                    <a:lnTo>
                      <a:pt x="731" y="96"/>
                    </a:lnTo>
                    <a:lnTo>
                      <a:pt x="736" y="99"/>
                    </a:lnTo>
                    <a:lnTo>
                      <a:pt x="743" y="100"/>
                    </a:lnTo>
                    <a:lnTo>
                      <a:pt x="747" y="100"/>
                    </a:lnTo>
                    <a:lnTo>
                      <a:pt x="755" y="103"/>
                    </a:lnTo>
                    <a:lnTo>
                      <a:pt x="760" y="109"/>
                    </a:lnTo>
                    <a:lnTo>
                      <a:pt x="765" y="114"/>
                    </a:lnTo>
                    <a:lnTo>
                      <a:pt x="771" y="120"/>
                    </a:lnTo>
                    <a:lnTo>
                      <a:pt x="780" y="128"/>
                    </a:lnTo>
                    <a:lnTo>
                      <a:pt x="786" y="139"/>
                    </a:lnTo>
                    <a:lnTo>
                      <a:pt x="786" y="152"/>
                    </a:lnTo>
                    <a:lnTo>
                      <a:pt x="783" y="155"/>
                    </a:lnTo>
                    <a:lnTo>
                      <a:pt x="779" y="157"/>
                    </a:lnTo>
                    <a:lnTo>
                      <a:pt x="773" y="156"/>
                    </a:lnTo>
                    <a:lnTo>
                      <a:pt x="768" y="154"/>
                    </a:lnTo>
                    <a:lnTo>
                      <a:pt x="765" y="152"/>
                    </a:lnTo>
                    <a:lnTo>
                      <a:pt x="762" y="150"/>
                    </a:lnTo>
                    <a:lnTo>
                      <a:pt x="760" y="148"/>
                    </a:lnTo>
                    <a:lnTo>
                      <a:pt x="758" y="147"/>
                    </a:lnTo>
                    <a:lnTo>
                      <a:pt x="755" y="147"/>
                    </a:lnTo>
                    <a:lnTo>
                      <a:pt x="753" y="148"/>
                    </a:lnTo>
                    <a:lnTo>
                      <a:pt x="751" y="148"/>
                    </a:lnTo>
                    <a:lnTo>
                      <a:pt x="749" y="147"/>
                    </a:lnTo>
                    <a:lnTo>
                      <a:pt x="747" y="145"/>
                    </a:lnTo>
                    <a:lnTo>
                      <a:pt x="746" y="142"/>
                    </a:lnTo>
                    <a:lnTo>
                      <a:pt x="745" y="138"/>
                    </a:lnTo>
                    <a:lnTo>
                      <a:pt x="743" y="136"/>
                    </a:lnTo>
                    <a:lnTo>
                      <a:pt x="740" y="134"/>
                    </a:lnTo>
                    <a:lnTo>
                      <a:pt x="738" y="133"/>
                    </a:lnTo>
                    <a:lnTo>
                      <a:pt x="736" y="132"/>
                    </a:lnTo>
                    <a:lnTo>
                      <a:pt x="734" y="132"/>
                    </a:lnTo>
                    <a:lnTo>
                      <a:pt x="733" y="133"/>
                    </a:lnTo>
                    <a:lnTo>
                      <a:pt x="731" y="135"/>
                    </a:lnTo>
                    <a:lnTo>
                      <a:pt x="729" y="137"/>
                    </a:lnTo>
                    <a:lnTo>
                      <a:pt x="728" y="141"/>
                    </a:lnTo>
                    <a:lnTo>
                      <a:pt x="728" y="143"/>
                    </a:lnTo>
                    <a:lnTo>
                      <a:pt x="728" y="145"/>
                    </a:lnTo>
                    <a:lnTo>
                      <a:pt x="728" y="148"/>
                    </a:lnTo>
                    <a:lnTo>
                      <a:pt x="727" y="150"/>
                    </a:lnTo>
                    <a:lnTo>
                      <a:pt x="726" y="152"/>
                    </a:lnTo>
                    <a:lnTo>
                      <a:pt x="724" y="153"/>
                    </a:lnTo>
                    <a:lnTo>
                      <a:pt x="722" y="153"/>
                    </a:lnTo>
                    <a:lnTo>
                      <a:pt x="720" y="154"/>
                    </a:lnTo>
                    <a:lnTo>
                      <a:pt x="717" y="154"/>
                    </a:lnTo>
                    <a:lnTo>
                      <a:pt x="715" y="154"/>
                    </a:lnTo>
                    <a:lnTo>
                      <a:pt x="713" y="155"/>
                    </a:lnTo>
                    <a:lnTo>
                      <a:pt x="711" y="156"/>
                    </a:lnTo>
                    <a:lnTo>
                      <a:pt x="706" y="161"/>
                    </a:lnTo>
                    <a:lnTo>
                      <a:pt x="703" y="166"/>
                    </a:lnTo>
                    <a:lnTo>
                      <a:pt x="699" y="170"/>
                    </a:lnTo>
                    <a:lnTo>
                      <a:pt x="693" y="174"/>
                    </a:lnTo>
                    <a:lnTo>
                      <a:pt x="685" y="174"/>
                    </a:lnTo>
                    <a:lnTo>
                      <a:pt x="683" y="171"/>
                    </a:lnTo>
                    <a:lnTo>
                      <a:pt x="682" y="169"/>
                    </a:lnTo>
                    <a:lnTo>
                      <a:pt x="681" y="167"/>
                    </a:lnTo>
                    <a:lnTo>
                      <a:pt x="681" y="165"/>
                    </a:lnTo>
                    <a:lnTo>
                      <a:pt x="681" y="163"/>
                    </a:lnTo>
                    <a:lnTo>
                      <a:pt x="681" y="160"/>
                    </a:lnTo>
                    <a:lnTo>
                      <a:pt x="679" y="158"/>
                    </a:lnTo>
                    <a:lnTo>
                      <a:pt x="678" y="157"/>
                    </a:lnTo>
                    <a:lnTo>
                      <a:pt x="675" y="156"/>
                    </a:lnTo>
                    <a:lnTo>
                      <a:pt x="672" y="156"/>
                    </a:lnTo>
                    <a:lnTo>
                      <a:pt x="670" y="155"/>
                    </a:lnTo>
                    <a:lnTo>
                      <a:pt x="668" y="155"/>
                    </a:lnTo>
                    <a:lnTo>
                      <a:pt x="664" y="154"/>
                    </a:lnTo>
                    <a:lnTo>
                      <a:pt x="662" y="154"/>
                    </a:lnTo>
                    <a:lnTo>
                      <a:pt x="659" y="153"/>
                    </a:lnTo>
                    <a:lnTo>
                      <a:pt x="657" y="152"/>
                    </a:lnTo>
                    <a:lnTo>
                      <a:pt x="655" y="150"/>
                    </a:lnTo>
                    <a:lnTo>
                      <a:pt x="655" y="148"/>
                    </a:lnTo>
                    <a:lnTo>
                      <a:pt x="655" y="146"/>
                    </a:lnTo>
                    <a:lnTo>
                      <a:pt x="656" y="143"/>
                    </a:lnTo>
                    <a:lnTo>
                      <a:pt x="657" y="142"/>
                    </a:lnTo>
                    <a:lnTo>
                      <a:pt x="659" y="139"/>
                    </a:lnTo>
                    <a:lnTo>
                      <a:pt x="662" y="138"/>
                    </a:lnTo>
                    <a:lnTo>
                      <a:pt x="664" y="137"/>
                    </a:lnTo>
                    <a:lnTo>
                      <a:pt x="667" y="136"/>
                    </a:lnTo>
                    <a:lnTo>
                      <a:pt x="668" y="134"/>
                    </a:lnTo>
                    <a:lnTo>
                      <a:pt x="672" y="131"/>
                    </a:lnTo>
                    <a:lnTo>
                      <a:pt x="675" y="126"/>
                    </a:lnTo>
                    <a:lnTo>
                      <a:pt x="679" y="122"/>
                    </a:lnTo>
                    <a:lnTo>
                      <a:pt x="682" y="120"/>
                    </a:lnTo>
                    <a:lnTo>
                      <a:pt x="684" y="117"/>
                    </a:lnTo>
                    <a:lnTo>
                      <a:pt x="687" y="115"/>
                    </a:lnTo>
                    <a:lnTo>
                      <a:pt x="688" y="113"/>
                    </a:lnTo>
                    <a:lnTo>
                      <a:pt x="689" y="111"/>
                    </a:lnTo>
                    <a:lnTo>
                      <a:pt x="688" y="109"/>
                    </a:lnTo>
                    <a:lnTo>
                      <a:pt x="685" y="106"/>
                    </a:lnTo>
                    <a:lnTo>
                      <a:pt x="681" y="104"/>
                    </a:lnTo>
                    <a:lnTo>
                      <a:pt x="679" y="103"/>
                    </a:lnTo>
                    <a:lnTo>
                      <a:pt x="678" y="103"/>
                    </a:lnTo>
                    <a:lnTo>
                      <a:pt x="675" y="102"/>
                    </a:lnTo>
                    <a:lnTo>
                      <a:pt x="673" y="101"/>
                    </a:lnTo>
                    <a:lnTo>
                      <a:pt x="672" y="100"/>
                    </a:lnTo>
                    <a:lnTo>
                      <a:pt x="672" y="98"/>
                    </a:lnTo>
                    <a:lnTo>
                      <a:pt x="672" y="95"/>
                    </a:lnTo>
                    <a:lnTo>
                      <a:pt x="672" y="93"/>
                    </a:lnTo>
                    <a:lnTo>
                      <a:pt x="673" y="90"/>
                    </a:lnTo>
                    <a:lnTo>
                      <a:pt x="673" y="87"/>
                    </a:lnTo>
                    <a:lnTo>
                      <a:pt x="674" y="83"/>
                    </a:lnTo>
                    <a:lnTo>
                      <a:pt x="675" y="77"/>
                    </a:lnTo>
                    <a:lnTo>
                      <a:pt x="678" y="69"/>
                    </a:lnTo>
                    <a:lnTo>
                      <a:pt x="680" y="62"/>
                    </a:lnTo>
                    <a:lnTo>
                      <a:pt x="684" y="58"/>
                    </a:lnTo>
                    <a:lnTo>
                      <a:pt x="692" y="57"/>
                    </a:lnTo>
                    <a:close/>
                    <a:moveTo>
                      <a:pt x="87" y="49"/>
                    </a:moveTo>
                    <a:lnTo>
                      <a:pt x="84" y="49"/>
                    </a:lnTo>
                    <a:lnTo>
                      <a:pt x="82" y="50"/>
                    </a:lnTo>
                    <a:lnTo>
                      <a:pt x="80" y="51"/>
                    </a:lnTo>
                    <a:lnTo>
                      <a:pt x="77" y="52"/>
                    </a:lnTo>
                    <a:lnTo>
                      <a:pt x="74" y="54"/>
                    </a:lnTo>
                    <a:lnTo>
                      <a:pt x="71" y="57"/>
                    </a:lnTo>
                    <a:lnTo>
                      <a:pt x="68" y="59"/>
                    </a:lnTo>
                    <a:lnTo>
                      <a:pt x="65" y="61"/>
                    </a:lnTo>
                    <a:lnTo>
                      <a:pt x="61" y="63"/>
                    </a:lnTo>
                    <a:lnTo>
                      <a:pt x="58" y="66"/>
                    </a:lnTo>
                    <a:lnTo>
                      <a:pt x="54" y="69"/>
                    </a:lnTo>
                    <a:lnTo>
                      <a:pt x="50" y="71"/>
                    </a:lnTo>
                    <a:lnTo>
                      <a:pt x="46" y="74"/>
                    </a:lnTo>
                    <a:lnTo>
                      <a:pt x="34" y="78"/>
                    </a:lnTo>
                    <a:lnTo>
                      <a:pt x="22" y="83"/>
                    </a:lnTo>
                    <a:lnTo>
                      <a:pt x="18" y="85"/>
                    </a:lnTo>
                    <a:lnTo>
                      <a:pt x="13" y="88"/>
                    </a:lnTo>
                    <a:lnTo>
                      <a:pt x="6" y="89"/>
                    </a:lnTo>
                    <a:lnTo>
                      <a:pt x="2" y="91"/>
                    </a:lnTo>
                    <a:lnTo>
                      <a:pt x="0" y="96"/>
                    </a:lnTo>
                    <a:lnTo>
                      <a:pt x="1" y="98"/>
                    </a:lnTo>
                    <a:lnTo>
                      <a:pt x="2" y="99"/>
                    </a:lnTo>
                    <a:lnTo>
                      <a:pt x="4" y="99"/>
                    </a:lnTo>
                    <a:lnTo>
                      <a:pt x="5" y="99"/>
                    </a:lnTo>
                    <a:lnTo>
                      <a:pt x="7" y="98"/>
                    </a:lnTo>
                    <a:lnTo>
                      <a:pt x="8" y="96"/>
                    </a:lnTo>
                    <a:lnTo>
                      <a:pt x="13" y="93"/>
                    </a:lnTo>
                    <a:lnTo>
                      <a:pt x="16" y="91"/>
                    </a:lnTo>
                    <a:lnTo>
                      <a:pt x="20" y="90"/>
                    </a:lnTo>
                    <a:lnTo>
                      <a:pt x="24" y="90"/>
                    </a:lnTo>
                    <a:lnTo>
                      <a:pt x="28" y="88"/>
                    </a:lnTo>
                    <a:lnTo>
                      <a:pt x="31" y="87"/>
                    </a:lnTo>
                    <a:lnTo>
                      <a:pt x="36" y="84"/>
                    </a:lnTo>
                    <a:lnTo>
                      <a:pt x="39" y="83"/>
                    </a:lnTo>
                    <a:lnTo>
                      <a:pt x="41" y="83"/>
                    </a:lnTo>
                    <a:lnTo>
                      <a:pt x="44" y="83"/>
                    </a:lnTo>
                    <a:lnTo>
                      <a:pt x="46" y="84"/>
                    </a:lnTo>
                    <a:lnTo>
                      <a:pt x="48" y="85"/>
                    </a:lnTo>
                    <a:lnTo>
                      <a:pt x="50" y="88"/>
                    </a:lnTo>
                    <a:lnTo>
                      <a:pt x="50" y="90"/>
                    </a:lnTo>
                    <a:lnTo>
                      <a:pt x="50" y="96"/>
                    </a:lnTo>
                    <a:lnTo>
                      <a:pt x="48" y="102"/>
                    </a:lnTo>
                    <a:lnTo>
                      <a:pt x="45" y="106"/>
                    </a:lnTo>
                    <a:lnTo>
                      <a:pt x="39" y="110"/>
                    </a:lnTo>
                    <a:lnTo>
                      <a:pt x="33" y="115"/>
                    </a:lnTo>
                    <a:lnTo>
                      <a:pt x="27" y="121"/>
                    </a:lnTo>
                    <a:lnTo>
                      <a:pt x="25" y="127"/>
                    </a:lnTo>
                    <a:lnTo>
                      <a:pt x="28" y="134"/>
                    </a:lnTo>
                    <a:lnTo>
                      <a:pt x="33" y="136"/>
                    </a:lnTo>
                    <a:lnTo>
                      <a:pt x="37" y="135"/>
                    </a:lnTo>
                    <a:lnTo>
                      <a:pt x="42" y="132"/>
                    </a:lnTo>
                    <a:lnTo>
                      <a:pt x="47" y="127"/>
                    </a:lnTo>
                    <a:lnTo>
                      <a:pt x="50" y="123"/>
                    </a:lnTo>
                    <a:lnTo>
                      <a:pt x="52" y="120"/>
                    </a:lnTo>
                    <a:lnTo>
                      <a:pt x="54" y="116"/>
                    </a:lnTo>
                    <a:lnTo>
                      <a:pt x="55" y="114"/>
                    </a:lnTo>
                    <a:lnTo>
                      <a:pt x="57" y="111"/>
                    </a:lnTo>
                    <a:lnTo>
                      <a:pt x="59" y="110"/>
                    </a:lnTo>
                    <a:lnTo>
                      <a:pt x="61" y="110"/>
                    </a:lnTo>
                    <a:lnTo>
                      <a:pt x="62" y="111"/>
                    </a:lnTo>
                    <a:lnTo>
                      <a:pt x="62" y="112"/>
                    </a:lnTo>
                    <a:lnTo>
                      <a:pt x="61" y="114"/>
                    </a:lnTo>
                    <a:lnTo>
                      <a:pt x="61" y="116"/>
                    </a:lnTo>
                    <a:lnTo>
                      <a:pt x="60" y="120"/>
                    </a:lnTo>
                    <a:lnTo>
                      <a:pt x="58" y="123"/>
                    </a:lnTo>
                    <a:lnTo>
                      <a:pt x="57" y="126"/>
                    </a:lnTo>
                    <a:lnTo>
                      <a:pt x="55" y="130"/>
                    </a:lnTo>
                    <a:lnTo>
                      <a:pt x="56" y="132"/>
                    </a:lnTo>
                    <a:lnTo>
                      <a:pt x="60" y="131"/>
                    </a:lnTo>
                    <a:lnTo>
                      <a:pt x="65" y="128"/>
                    </a:lnTo>
                    <a:lnTo>
                      <a:pt x="69" y="124"/>
                    </a:lnTo>
                    <a:lnTo>
                      <a:pt x="72" y="121"/>
                    </a:lnTo>
                    <a:lnTo>
                      <a:pt x="74" y="119"/>
                    </a:lnTo>
                    <a:lnTo>
                      <a:pt x="78" y="114"/>
                    </a:lnTo>
                    <a:lnTo>
                      <a:pt x="80" y="111"/>
                    </a:lnTo>
                    <a:lnTo>
                      <a:pt x="81" y="105"/>
                    </a:lnTo>
                    <a:lnTo>
                      <a:pt x="81" y="101"/>
                    </a:lnTo>
                    <a:lnTo>
                      <a:pt x="82" y="100"/>
                    </a:lnTo>
                    <a:lnTo>
                      <a:pt x="83" y="98"/>
                    </a:lnTo>
                    <a:lnTo>
                      <a:pt x="83" y="96"/>
                    </a:lnTo>
                    <a:lnTo>
                      <a:pt x="84" y="95"/>
                    </a:lnTo>
                    <a:lnTo>
                      <a:pt x="85" y="94"/>
                    </a:lnTo>
                    <a:lnTo>
                      <a:pt x="87" y="95"/>
                    </a:lnTo>
                    <a:lnTo>
                      <a:pt x="88" y="96"/>
                    </a:lnTo>
                    <a:lnTo>
                      <a:pt x="94" y="96"/>
                    </a:lnTo>
                    <a:lnTo>
                      <a:pt x="99" y="92"/>
                    </a:lnTo>
                    <a:lnTo>
                      <a:pt x="103" y="85"/>
                    </a:lnTo>
                    <a:lnTo>
                      <a:pt x="105" y="79"/>
                    </a:lnTo>
                    <a:lnTo>
                      <a:pt x="106" y="76"/>
                    </a:lnTo>
                    <a:lnTo>
                      <a:pt x="109" y="73"/>
                    </a:lnTo>
                    <a:lnTo>
                      <a:pt x="111" y="72"/>
                    </a:lnTo>
                    <a:lnTo>
                      <a:pt x="113" y="70"/>
                    </a:lnTo>
                    <a:lnTo>
                      <a:pt x="114" y="68"/>
                    </a:lnTo>
                    <a:lnTo>
                      <a:pt x="114" y="66"/>
                    </a:lnTo>
                    <a:lnTo>
                      <a:pt x="114" y="63"/>
                    </a:lnTo>
                    <a:lnTo>
                      <a:pt x="113" y="62"/>
                    </a:lnTo>
                    <a:lnTo>
                      <a:pt x="111" y="62"/>
                    </a:lnTo>
                    <a:lnTo>
                      <a:pt x="109" y="62"/>
                    </a:lnTo>
                    <a:lnTo>
                      <a:pt x="106" y="62"/>
                    </a:lnTo>
                    <a:lnTo>
                      <a:pt x="105" y="63"/>
                    </a:lnTo>
                    <a:lnTo>
                      <a:pt x="103" y="66"/>
                    </a:lnTo>
                    <a:lnTo>
                      <a:pt x="100" y="68"/>
                    </a:lnTo>
                    <a:lnTo>
                      <a:pt x="99" y="70"/>
                    </a:lnTo>
                    <a:lnTo>
                      <a:pt x="96" y="72"/>
                    </a:lnTo>
                    <a:lnTo>
                      <a:pt x="94" y="74"/>
                    </a:lnTo>
                    <a:lnTo>
                      <a:pt x="91" y="74"/>
                    </a:lnTo>
                    <a:lnTo>
                      <a:pt x="89" y="76"/>
                    </a:lnTo>
                    <a:lnTo>
                      <a:pt x="87" y="76"/>
                    </a:lnTo>
                    <a:lnTo>
                      <a:pt x="83" y="77"/>
                    </a:lnTo>
                    <a:lnTo>
                      <a:pt x="78" y="74"/>
                    </a:lnTo>
                    <a:lnTo>
                      <a:pt x="76" y="71"/>
                    </a:lnTo>
                    <a:lnTo>
                      <a:pt x="76" y="67"/>
                    </a:lnTo>
                    <a:lnTo>
                      <a:pt x="77" y="61"/>
                    </a:lnTo>
                    <a:lnTo>
                      <a:pt x="81" y="57"/>
                    </a:lnTo>
                    <a:lnTo>
                      <a:pt x="82" y="56"/>
                    </a:lnTo>
                    <a:lnTo>
                      <a:pt x="84" y="55"/>
                    </a:lnTo>
                    <a:lnTo>
                      <a:pt x="87" y="54"/>
                    </a:lnTo>
                    <a:lnTo>
                      <a:pt x="88" y="51"/>
                    </a:lnTo>
                    <a:lnTo>
                      <a:pt x="89" y="51"/>
                    </a:lnTo>
                    <a:lnTo>
                      <a:pt x="89" y="50"/>
                    </a:lnTo>
                    <a:lnTo>
                      <a:pt x="88" y="50"/>
                    </a:lnTo>
                    <a:lnTo>
                      <a:pt x="87" y="49"/>
                    </a:lnTo>
                    <a:close/>
                    <a:moveTo>
                      <a:pt x="2366" y="47"/>
                    </a:moveTo>
                    <a:lnTo>
                      <a:pt x="2368" y="47"/>
                    </a:lnTo>
                    <a:lnTo>
                      <a:pt x="2369" y="48"/>
                    </a:lnTo>
                    <a:lnTo>
                      <a:pt x="2369" y="51"/>
                    </a:lnTo>
                    <a:lnTo>
                      <a:pt x="2370" y="52"/>
                    </a:lnTo>
                    <a:lnTo>
                      <a:pt x="2371" y="56"/>
                    </a:lnTo>
                    <a:lnTo>
                      <a:pt x="2372" y="59"/>
                    </a:lnTo>
                    <a:lnTo>
                      <a:pt x="2373" y="62"/>
                    </a:lnTo>
                    <a:lnTo>
                      <a:pt x="2373" y="65"/>
                    </a:lnTo>
                    <a:lnTo>
                      <a:pt x="2372" y="65"/>
                    </a:lnTo>
                    <a:lnTo>
                      <a:pt x="2371" y="63"/>
                    </a:lnTo>
                    <a:lnTo>
                      <a:pt x="2370" y="63"/>
                    </a:lnTo>
                    <a:lnTo>
                      <a:pt x="2369" y="62"/>
                    </a:lnTo>
                    <a:lnTo>
                      <a:pt x="2369" y="61"/>
                    </a:lnTo>
                    <a:lnTo>
                      <a:pt x="2366" y="60"/>
                    </a:lnTo>
                    <a:lnTo>
                      <a:pt x="2365" y="58"/>
                    </a:lnTo>
                    <a:lnTo>
                      <a:pt x="2365" y="56"/>
                    </a:lnTo>
                    <a:lnTo>
                      <a:pt x="2365" y="55"/>
                    </a:lnTo>
                    <a:lnTo>
                      <a:pt x="2365" y="52"/>
                    </a:lnTo>
                    <a:lnTo>
                      <a:pt x="2366" y="51"/>
                    </a:lnTo>
                    <a:lnTo>
                      <a:pt x="2366" y="48"/>
                    </a:lnTo>
                    <a:lnTo>
                      <a:pt x="2366" y="47"/>
                    </a:lnTo>
                    <a:close/>
                    <a:moveTo>
                      <a:pt x="2468" y="0"/>
                    </a:moveTo>
                    <a:lnTo>
                      <a:pt x="2493" y="84"/>
                    </a:lnTo>
                    <a:lnTo>
                      <a:pt x="2514" y="171"/>
                    </a:lnTo>
                    <a:lnTo>
                      <a:pt x="2530" y="259"/>
                    </a:lnTo>
                    <a:lnTo>
                      <a:pt x="2543" y="350"/>
                    </a:lnTo>
                    <a:lnTo>
                      <a:pt x="2549" y="442"/>
                    </a:lnTo>
                    <a:lnTo>
                      <a:pt x="2536" y="450"/>
                    </a:lnTo>
                    <a:lnTo>
                      <a:pt x="2523" y="458"/>
                    </a:lnTo>
                    <a:lnTo>
                      <a:pt x="2471" y="493"/>
                    </a:lnTo>
                    <a:lnTo>
                      <a:pt x="2418" y="534"/>
                    </a:lnTo>
                    <a:lnTo>
                      <a:pt x="2364" y="579"/>
                    </a:lnTo>
                    <a:lnTo>
                      <a:pt x="2308" y="626"/>
                    </a:lnTo>
                    <a:lnTo>
                      <a:pt x="2249" y="674"/>
                    </a:lnTo>
                    <a:lnTo>
                      <a:pt x="2249" y="673"/>
                    </a:lnTo>
                    <a:lnTo>
                      <a:pt x="2250" y="672"/>
                    </a:lnTo>
                    <a:lnTo>
                      <a:pt x="2251" y="671"/>
                    </a:lnTo>
                    <a:lnTo>
                      <a:pt x="2251" y="670"/>
                    </a:lnTo>
                    <a:lnTo>
                      <a:pt x="2251" y="669"/>
                    </a:lnTo>
                    <a:lnTo>
                      <a:pt x="2252" y="669"/>
                    </a:lnTo>
                    <a:lnTo>
                      <a:pt x="2253" y="667"/>
                    </a:lnTo>
                    <a:lnTo>
                      <a:pt x="2253" y="666"/>
                    </a:lnTo>
                    <a:lnTo>
                      <a:pt x="2253" y="663"/>
                    </a:lnTo>
                    <a:lnTo>
                      <a:pt x="2252" y="663"/>
                    </a:lnTo>
                    <a:lnTo>
                      <a:pt x="2251" y="663"/>
                    </a:lnTo>
                    <a:lnTo>
                      <a:pt x="2250" y="665"/>
                    </a:lnTo>
                    <a:lnTo>
                      <a:pt x="2249" y="666"/>
                    </a:lnTo>
                    <a:lnTo>
                      <a:pt x="2249" y="666"/>
                    </a:lnTo>
                    <a:lnTo>
                      <a:pt x="2244" y="671"/>
                    </a:lnTo>
                    <a:lnTo>
                      <a:pt x="2240" y="677"/>
                    </a:lnTo>
                    <a:lnTo>
                      <a:pt x="2235" y="681"/>
                    </a:lnTo>
                    <a:lnTo>
                      <a:pt x="2235" y="681"/>
                    </a:lnTo>
                    <a:lnTo>
                      <a:pt x="2234" y="682"/>
                    </a:lnTo>
                    <a:lnTo>
                      <a:pt x="2234" y="684"/>
                    </a:lnTo>
                    <a:lnTo>
                      <a:pt x="2233" y="685"/>
                    </a:lnTo>
                    <a:lnTo>
                      <a:pt x="2233" y="688"/>
                    </a:lnTo>
                    <a:lnTo>
                      <a:pt x="2230" y="690"/>
                    </a:lnTo>
                    <a:lnTo>
                      <a:pt x="2226" y="692"/>
                    </a:lnTo>
                    <a:lnTo>
                      <a:pt x="2222" y="694"/>
                    </a:lnTo>
                    <a:lnTo>
                      <a:pt x="2222" y="694"/>
                    </a:lnTo>
                    <a:lnTo>
                      <a:pt x="2219" y="696"/>
                    </a:lnTo>
                    <a:lnTo>
                      <a:pt x="2218" y="696"/>
                    </a:lnTo>
                    <a:lnTo>
                      <a:pt x="2218" y="696"/>
                    </a:lnTo>
                    <a:lnTo>
                      <a:pt x="2219" y="694"/>
                    </a:lnTo>
                    <a:lnTo>
                      <a:pt x="2219" y="693"/>
                    </a:lnTo>
                    <a:lnTo>
                      <a:pt x="2218" y="691"/>
                    </a:lnTo>
                    <a:lnTo>
                      <a:pt x="2218" y="690"/>
                    </a:lnTo>
                    <a:lnTo>
                      <a:pt x="2217" y="688"/>
                    </a:lnTo>
                    <a:lnTo>
                      <a:pt x="2217" y="684"/>
                    </a:lnTo>
                    <a:lnTo>
                      <a:pt x="2216" y="682"/>
                    </a:lnTo>
                    <a:lnTo>
                      <a:pt x="2215" y="681"/>
                    </a:lnTo>
                    <a:lnTo>
                      <a:pt x="2213" y="680"/>
                    </a:lnTo>
                    <a:lnTo>
                      <a:pt x="2211" y="681"/>
                    </a:lnTo>
                    <a:lnTo>
                      <a:pt x="2209" y="684"/>
                    </a:lnTo>
                    <a:lnTo>
                      <a:pt x="2207" y="689"/>
                    </a:lnTo>
                    <a:lnTo>
                      <a:pt x="2205" y="693"/>
                    </a:lnTo>
                    <a:lnTo>
                      <a:pt x="2202" y="699"/>
                    </a:lnTo>
                    <a:lnTo>
                      <a:pt x="2201" y="702"/>
                    </a:lnTo>
                    <a:lnTo>
                      <a:pt x="2200" y="706"/>
                    </a:lnTo>
                    <a:lnTo>
                      <a:pt x="2200" y="710"/>
                    </a:lnTo>
                    <a:lnTo>
                      <a:pt x="2198" y="714"/>
                    </a:lnTo>
                    <a:lnTo>
                      <a:pt x="2185" y="723"/>
                    </a:lnTo>
                    <a:lnTo>
                      <a:pt x="2186" y="722"/>
                    </a:lnTo>
                    <a:lnTo>
                      <a:pt x="2186" y="720"/>
                    </a:lnTo>
                    <a:lnTo>
                      <a:pt x="2187" y="717"/>
                    </a:lnTo>
                    <a:lnTo>
                      <a:pt x="2187" y="715"/>
                    </a:lnTo>
                    <a:lnTo>
                      <a:pt x="2188" y="713"/>
                    </a:lnTo>
                    <a:lnTo>
                      <a:pt x="2122" y="760"/>
                    </a:lnTo>
                    <a:lnTo>
                      <a:pt x="2122" y="759"/>
                    </a:lnTo>
                    <a:lnTo>
                      <a:pt x="2122" y="758"/>
                    </a:lnTo>
                    <a:lnTo>
                      <a:pt x="2121" y="755"/>
                    </a:lnTo>
                    <a:lnTo>
                      <a:pt x="2121" y="753"/>
                    </a:lnTo>
                    <a:lnTo>
                      <a:pt x="2120" y="750"/>
                    </a:lnTo>
                    <a:lnTo>
                      <a:pt x="2118" y="750"/>
                    </a:lnTo>
                    <a:lnTo>
                      <a:pt x="2117" y="750"/>
                    </a:lnTo>
                    <a:lnTo>
                      <a:pt x="2115" y="750"/>
                    </a:lnTo>
                    <a:lnTo>
                      <a:pt x="2114" y="749"/>
                    </a:lnTo>
                    <a:lnTo>
                      <a:pt x="2113" y="747"/>
                    </a:lnTo>
                    <a:lnTo>
                      <a:pt x="2113" y="745"/>
                    </a:lnTo>
                    <a:lnTo>
                      <a:pt x="2112" y="743"/>
                    </a:lnTo>
                    <a:lnTo>
                      <a:pt x="2111" y="739"/>
                    </a:lnTo>
                    <a:lnTo>
                      <a:pt x="2111" y="737"/>
                    </a:lnTo>
                    <a:lnTo>
                      <a:pt x="2111" y="734"/>
                    </a:lnTo>
                    <a:lnTo>
                      <a:pt x="2110" y="731"/>
                    </a:lnTo>
                    <a:lnTo>
                      <a:pt x="2109" y="730"/>
                    </a:lnTo>
                    <a:lnTo>
                      <a:pt x="2107" y="728"/>
                    </a:lnTo>
                    <a:lnTo>
                      <a:pt x="2106" y="730"/>
                    </a:lnTo>
                    <a:lnTo>
                      <a:pt x="2103" y="731"/>
                    </a:lnTo>
                    <a:lnTo>
                      <a:pt x="2101" y="731"/>
                    </a:lnTo>
                    <a:lnTo>
                      <a:pt x="2100" y="732"/>
                    </a:lnTo>
                    <a:lnTo>
                      <a:pt x="2098" y="733"/>
                    </a:lnTo>
                    <a:lnTo>
                      <a:pt x="2097" y="733"/>
                    </a:lnTo>
                    <a:lnTo>
                      <a:pt x="2095" y="732"/>
                    </a:lnTo>
                    <a:lnTo>
                      <a:pt x="2093" y="730"/>
                    </a:lnTo>
                    <a:lnTo>
                      <a:pt x="2092" y="727"/>
                    </a:lnTo>
                    <a:lnTo>
                      <a:pt x="2091" y="726"/>
                    </a:lnTo>
                    <a:lnTo>
                      <a:pt x="2090" y="725"/>
                    </a:lnTo>
                    <a:lnTo>
                      <a:pt x="2089" y="725"/>
                    </a:lnTo>
                    <a:lnTo>
                      <a:pt x="2088" y="725"/>
                    </a:lnTo>
                    <a:lnTo>
                      <a:pt x="2087" y="727"/>
                    </a:lnTo>
                    <a:lnTo>
                      <a:pt x="2087" y="730"/>
                    </a:lnTo>
                    <a:lnTo>
                      <a:pt x="2087" y="732"/>
                    </a:lnTo>
                    <a:lnTo>
                      <a:pt x="2087" y="734"/>
                    </a:lnTo>
                    <a:lnTo>
                      <a:pt x="2088" y="736"/>
                    </a:lnTo>
                    <a:lnTo>
                      <a:pt x="2089" y="738"/>
                    </a:lnTo>
                    <a:lnTo>
                      <a:pt x="2091" y="741"/>
                    </a:lnTo>
                    <a:lnTo>
                      <a:pt x="2096" y="753"/>
                    </a:lnTo>
                    <a:lnTo>
                      <a:pt x="2098" y="766"/>
                    </a:lnTo>
                    <a:lnTo>
                      <a:pt x="2098" y="771"/>
                    </a:lnTo>
                    <a:lnTo>
                      <a:pt x="2099" y="775"/>
                    </a:lnTo>
                    <a:lnTo>
                      <a:pt x="2100" y="777"/>
                    </a:lnTo>
                    <a:lnTo>
                      <a:pt x="2102" y="779"/>
                    </a:lnTo>
                    <a:lnTo>
                      <a:pt x="2104" y="781"/>
                    </a:lnTo>
                    <a:lnTo>
                      <a:pt x="2102" y="782"/>
                    </a:lnTo>
                    <a:lnTo>
                      <a:pt x="2101" y="781"/>
                    </a:lnTo>
                    <a:lnTo>
                      <a:pt x="2099" y="780"/>
                    </a:lnTo>
                    <a:lnTo>
                      <a:pt x="2097" y="780"/>
                    </a:lnTo>
                    <a:lnTo>
                      <a:pt x="2097" y="779"/>
                    </a:lnTo>
                    <a:lnTo>
                      <a:pt x="2096" y="778"/>
                    </a:lnTo>
                    <a:lnTo>
                      <a:pt x="2096" y="778"/>
                    </a:lnTo>
                    <a:lnTo>
                      <a:pt x="2095" y="778"/>
                    </a:lnTo>
                    <a:lnTo>
                      <a:pt x="2086" y="782"/>
                    </a:lnTo>
                    <a:lnTo>
                      <a:pt x="2079" y="787"/>
                    </a:lnTo>
                    <a:lnTo>
                      <a:pt x="2078" y="786"/>
                    </a:lnTo>
                    <a:lnTo>
                      <a:pt x="2077" y="782"/>
                    </a:lnTo>
                    <a:lnTo>
                      <a:pt x="2076" y="779"/>
                    </a:lnTo>
                    <a:lnTo>
                      <a:pt x="2075" y="769"/>
                    </a:lnTo>
                    <a:lnTo>
                      <a:pt x="2075" y="757"/>
                    </a:lnTo>
                    <a:lnTo>
                      <a:pt x="2074" y="746"/>
                    </a:lnTo>
                    <a:lnTo>
                      <a:pt x="2071" y="745"/>
                    </a:lnTo>
                    <a:lnTo>
                      <a:pt x="2069" y="743"/>
                    </a:lnTo>
                    <a:lnTo>
                      <a:pt x="2067" y="743"/>
                    </a:lnTo>
                    <a:lnTo>
                      <a:pt x="2064" y="742"/>
                    </a:lnTo>
                    <a:lnTo>
                      <a:pt x="2062" y="743"/>
                    </a:lnTo>
                    <a:lnTo>
                      <a:pt x="2060" y="745"/>
                    </a:lnTo>
                    <a:lnTo>
                      <a:pt x="2058" y="748"/>
                    </a:lnTo>
                    <a:lnTo>
                      <a:pt x="2056" y="752"/>
                    </a:lnTo>
                    <a:lnTo>
                      <a:pt x="2054" y="755"/>
                    </a:lnTo>
                    <a:lnTo>
                      <a:pt x="2052" y="758"/>
                    </a:lnTo>
                    <a:lnTo>
                      <a:pt x="2049" y="761"/>
                    </a:lnTo>
                    <a:lnTo>
                      <a:pt x="2047" y="766"/>
                    </a:lnTo>
                    <a:lnTo>
                      <a:pt x="2045" y="770"/>
                    </a:lnTo>
                    <a:lnTo>
                      <a:pt x="2042" y="772"/>
                    </a:lnTo>
                    <a:lnTo>
                      <a:pt x="2038" y="775"/>
                    </a:lnTo>
                    <a:lnTo>
                      <a:pt x="2037" y="776"/>
                    </a:lnTo>
                    <a:lnTo>
                      <a:pt x="2036" y="775"/>
                    </a:lnTo>
                    <a:lnTo>
                      <a:pt x="2036" y="774"/>
                    </a:lnTo>
                    <a:lnTo>
                      <a:pt x="2035" y="772"/>
                    </a:lnTo>
                    <a:lnTo>
                      <a:pt x="2034" y="770"/>
                    </a:lnTo>
                    <a:lnTo>
                      <a:pt x="2032" y="769"/>
                    </a:lnTo>
                    <a:lnTo>
                      <a:pt x="2028" y="769"/>
                    </a:lnTo>
                    <a:lnTo>
                      <a:pt x="2026" y="770"/>
                    </a:lnTo>
                    <a:lnTo>
                      <a:pt x="2024" y="771"/>
                    </a:lnTo>
                    <a:lnTo>
                      <a:pt x="2021" y="775"/>
                    </a:lnTo>
                    <a:lnTo>
                      <a:pt x="2019" y="777"/>
                    </a:lnTo>
                    <a:lnTo>
                      <a:pt x="2016" y="783"/>
                    </a:lnTo>
                    <a:lnTo>
                      <a:pt x="2016" y="790"/>
                    </a:lnTo>
                    <a:lnTo>
                      <a:pt x="2016" y="797"/>
                    </a:lnTo>
                    <a:lnTo>
                      <a:pt x="2016" y="800"/>
                    </a:lnTo>
                    <a:lnTo>
                      <a:pt x="2015" y="803"/>
                    </a:lnTo>
                    <a:lnTo>
                      <a:pt x="2014" y="805"/>
                    </a:lnTo>
                    <a:lnTo>
                      <a:pt x="2013" y="808"/>
                    </a:lnTo>
                    <a:lnTo>
                      <a:pt x="2012" y="810"/>
                    </a:lnTo>
                    <a:lnTo>
                      <a:pt x="2011" y="812"/>
                    </a:lnTo>
                    <a:lnTo>
                      <a:pt x="2010" y="813"/>
                    </a:lnTo>
                    <a:lnTo>
                      <a:pt x="2008" y="813"/>
                    </a:lnTo>
                    <a:lnTo>
                      <a:pt x="2006" y="813"/>
                    </a:lnTo>
                    <a:lnTo>
                      <a:pt x="2005" y="814"/>
                    </a:lnTo>
                    <a:lnTo>
                      <a:pt x="2002" y="816"/>
                    </a:lnTo>
                    <a:lnTo>
                      <a:pt x="1999" y="819"/>
                    </a:lnTo>
                    <a:lnTo>
                      <a:pt x="1995" y="823"/>
                    </a:lnTo>
                    <a:lnTo>
                      <a:pt x="1992" y="827"/>
                    </a:lnTo>
                    <a:lnTo>
                      <a:pt x="1990" y="832"/>
                    </a:lnTo>
                    <a:lnTo>
                      <a:pt x="1989" y="836"/>
                    </a:lnTo>
                    <a:lnTo>
                      <a:pt x="1987" y="841"/>
                    </a:lnTo>
                    <a:lnTo>
                      <a:pt x="1987" y="845"/>
                    </a:lnTo>
                    <a:lnTo>
                      <a:pt x="1986" y="850"/>
                    </a:lnTo>
                    <a:lnTo>
                      <a:pt x="1973" y="855"/>
                    </a:lnTo>
                    <a:lnTo>
                      <a:pt x="1975" y="852"/>
                    </a:lnTo>
                    <a:lnTo>
                      <a:pt x="1939" y="872"/>
                    </a:lnTo>
                    <a:lnTo>
                      <a:pt x="1903" y="889"/>
                    </a:lnTo>
                    <a:lnTo>
                      <a:pt x="1903" y="888"/>
                    </a:lnTo>
                    <a:lnTo>
                      <a:pt x="1902" y="887"/>
                    </a:lnTo>
                    <a:lnTo>
                      <a:pt x="1901" y="887"/>
                    </a:lnTo>
                    <a:lnTo>
                      <a:pt x="1901" y="883"/>
                    </a:lnTo>
                    <a:lnTo>
                      <a:pt x="1901" y="878"/>
                    </a:lnTo>
                    <a:lnTo>
                      <a:pt x="1903" y="874"/>
                    </a:lnTo>
                    <a:lnTo>
                      <a:pt x="1908" y="854"/>
                    </a:lnTo>
                    <a:lnTo>
                      <a:pt x="1913" y="836"/>
                    </a:lnTo>
                    <a:lnTo>
                      <a:pt x="1914" y="825"/>
                    </a:lnTo>
                    <a:lnTo>
                      <a:pt x="1915" y="814"/>
                    </a:lnTo>
                    <a:lnTo>
                      <a:pt x="1915" y="811"/>
                    </a:lnTo>
                    <a:lnTo>
                      <a:pt x="1914" y="808"/>
                    </a:lnTo>
                    <a:lnTo>
                      <a:pt x="1914" y="803"/>
                    </a:lnTo>
                    <a:lnTo>
                      <a:pt x="1913" y="799"/>
                    </a:lnTo>
                    <a:lnTo>
                      <a:pt x="1914" y="794"/>
                    </a:lnTo>
                    <a:lnTo>
                      <a:pt x="1916" y="788"/>
                    </a:lnTo>
                    <a:lnTo>
                      <a:pt x="1918" y="780"/>
                    </a:lnTo>
                    <a:lnTo>
                      <a:pt x="1919" y="777"/>
                    </a:lnTo>
                    <a:lnTo>
                      <a:pt x="1922" y="778"/>
                    </a:lnTo>
                    <a:lnTo>
                      <a:pt x="1924" y="779"/>
                    </a:lnTo>
                    <a:lnTo>
                      <a:pt x="1925" y="780"/>
                    </a:lnTo>
                    <a:lnTo>
                      <a:pt x="1927" y="781"/>
                    </a:lnTo>
                    <a:lnTo>
                      <a:pt x="1928" y="781"/>
                    </a:lnTo>
                    <a:lnTo>
                      <a:pt x="1931" y="782"/>
                    </a:lnTo>
                    <a:lnTo>
                      <a:pt x="1933" y="782"/>
                    </a:lnTo>
                    <a:lnTo>
                      <a:pt x="1935" y="781"/>
                    </a:lnTo>
                    <a:lnTo>
                      <a:pt x="1937" y="781"/>
                    </a:lnTo>
                    <a:lnTo>
                      <a:pt x="1939" y="779"/>
                    </a:lnTo>
                    <a:lnTo>
                      <a:pt x="1944" y="777"/>
                    </a:lnTo>
                    <a:lnTo>
                      <a:pt x="1948" y="776"/>
                    </a:lnTo>
                    <a:lnTo>
                      <a:pt x="1953" y="775"/>
                    </a:lnTo>
                    <a:lnTo>
                      <a:pt x="1955" y="777"/>
                    </a:lnTo>
                    <a:lnTo>
                      <a:pt x="1958" y="777"/>
                    </a:lnTo>
                    <a:lnTo>
                      <a:pt x="1960" y="777"/>
                    </a:lnTo>
                    <a:lnTo>
                      <a:pt x="1964" y="777"/>
                    </a:lnTo>
                    <a:lnTo>
                      <a:pt x="1969" y="778"/>
                    </a:lnTo>
                    <a:lnTo>
                      <a:pt x="1975" y="779"/>
                    </a:lnTo>
                    <a:lnTo>
                      <a:pt x="1981" y="775"/>
                    </a:lnTo>
                    <a:lnTo>
                      <a:pt x="1982" y="774"/>
                    </a:lnTo>
                    <a:lnTo>
                      <a:pt x="1983" y="770"/>
                    </a:lnTo>
                    <a:lnTo>
                      <a:pt x="1983" y="768"/>
                    </a:lnTo>
                    <a:lnTo>
                      <a:pt x="1983" y="765"/>
                    </a:lnTo>
                    <a:lnTo>
                      <a:pt x="1983" y="761"/>
                    </a:lnTo>
                    <a:lnTo>
                      <a:pt x="1984" y="759"/>
                    </a:lnTo>
                    <a:lnTo>
                      <a:pt x="1986" y="757"/>
                    </a:lnTo>
                    <a:lnTo>
                      <a:pt x="1986" y="755"/>
                    </a:lnTo>
                    <a:lnTo>
                      <a:pt x="1987" y="754"/>
                    </a:lnTo>
                    <a:lnTo>
                      <a:pt x="1987" y="752"/>
                    </a:lnTo>
                    <a:lnTo>
                      <a:pt x="1988" y="749"/>
                    </a:lnTo>
                    <a:lnTo>
                      <a:pt x="1988" y="746"/>
                    </a:lnTo>
                    <a:lnTo>
                      <a:pt x="1989" y="741"/>
                    </a:lnTo>
                    <a:lnTo>
                      <a:pt x="1990" y="736"/>
                    </a:lnTo>
                    <a:lnTo>
                      <a:pt x="1991" y="732"/>
                    </a:lnTo>
                    <a:lnTo>
                      <a:pt x="1990" y="725"/>
                    </a:lnTo>
                    <a:lnTo>
                      <a:pt x="1990" y="722"/>
                    </a:lnTo>
                    <a:lnTo>
                      <a:pt x="1990" y="718"/>
                    </a:lnTo>
                    <a:lnTo>
                      <a:pt x="1989" y="716"/>
                    </a:lnTo>
                    <a:lnTo>
                      <a:pt x="1988" y="713"/>
                    </a:lnTo>
                    <a:lnTo>
                      <a:pt x="1986" y="712"/>
                    </a:lnTo>
                    <a:lnTo>
                      <a:pt x="1986" y="711"/>
                    </a:lnTo>
                    <a:lnTo>
                      <a:pt x="1986" y="710"/>
                    </a:lnTo>
                    <a:lnTo>
                      <a:pt x="1984" y="709"/>
                    </a:lnTo>
                    <a:lnTo>
                      <a:pt x="1983" y="706"/>
                    </a:lnTo>
                    <a:lnTo>
                      <a:pt x="1983" y="705"/>
                    </a:lnTo>
                    <a:lnTo>
                      <a:pt x="1983" y="703"/>
                    </a:lnTo>
                    <a:lnTo>
                      <a:pt x="1984" y="701"/>
                    </a:lnTo>
                    <a:lnTo>
                      <a:pt x="1984" y="699"/>
                    </a:lnTo>
                    <a:lnTo>
                      <a:pt x="1984" y="696"/>
                    </a:lnTo>
                    <a:lnTo>
                      <a:pt x="1983" y="694"/>
                    </a:lnTo>
                    <a:lnTo>
                      <a:pt x="1981" y="692"/>
                    </a:lnTo>
                    <a:lnTo>
                      <a:pt x="1978" y="690"/>
                    </a:lnTo>
                    <a:lnTo>
                      <a:pt x="1975" y="688"/>
                    </a:lnTo>
                    <a:lnTo>
                      <a:pt x="1972" y="687"/>
                    </a:lnTo>
                    <a:lnTo>
                      <a:pt x="1971" y="685"/>
                    </a:lnTo>
                    <a:lnTo>
                      <a:pt x="1969" y="684"/>
                    </a:lnTo>
                    <a:lnTo>
                      <a:pt x="1967" y="683"/>
                    </a:lnTo>
                    <a:lnTo>
                      <a:pt x="1966" y="681"/>
                    </a:lnTo>
                    <a:lnTo>
                      <a:pt x="1965" y="678"/>
                    </a:lnTo>
                    <a:lnTo>
                      <a:pt x="1964" y="674"/>
                    </a:lnTo>
                    <a:lnTo>
                      <a:pt x="1964" y="672"/>
                    </a:lnTo>
                    <a:lnTo>
                      <a:pt x="1964" y="670"/>
                    </a:lnTo>
                    <a:lnTo>
                      <a:pt x="1964" y="668"/>
                    </a:lnTo>
                    <a:lnTo>
                      <a:pt x="1965" y="667"/>
                    </a:lnTo>
                    <a:lnTo>
                      <a:pt x="1966" y="666"/>
                    </a:lnTo>
                    <a:lnTo>
                      <a:pt x="1967" y="663"/>
                    </a:lnTo>
                    <a:lnTo>
                      <a:pt x="1969" y="662"/>
                    </a:lnTo>
                    <a:lnTo>
                      <a:pt x="1970" y="661"/>
                    </a:lnTo>
                    <a:lnTo>
                      <a:pt x="1972" y="660"/>
                    </a:lnTo>
                    <a:lnTo>
                      <a:pt x="1975" y="661"/>
                    </a:lnTo>
                    <a:lnTo>
                      <a:pt x="1976" y="662"/>
                    </a:lnTo>
                    <a:lnTo>
                      <a:pt x="1977" y="663"/>
                    </a:lnTo>
                    <a:lnTo>
                      <a:pt x="1979" y="665"/>
                    </a:lnTo>
                    <a:lnTo>
                      <a:pt x="1980" y="665"/>
                    </a:lnTo>
                    <a:lnTo>
                      <a:pt x="1982" y="666"/>
                    </a:lnTo>
                    <a:lnTo>
                      <a:pt x="1984" y="666"/>
                    </a:lnTo>
                    <a:lnTo>
                      <a:pt x="1987" y="665"/>
                    </a:lnTo>
                    <a:lnTo>
                      <a:pt x="1988" y="663"/>
                    </a:lnTo>
                    <a:lnTo>
                      <a:pt x="1989" y="660"/>
                    </a:lnTo>
                    <a:lnTo>
                      <a:pt x="1990" y="657"/>
                    </a:lnTo>
                    <a:lnTo>
                      <a:pt x="1989" y="651"/>
                    </a:lnTo>
                    <a:lnTo>
                      <a:pt x="1987" y="647"/>
                    </a:lnTo>
                    <a:lnTo>
                      <a:pt x="1986" y="643"/>
                    </a:lnTo>
                    <a:lnTo>
                      <a:pt x="1988" y="637"/>
                    </a:lnTo>
                    <a:lnTo>
                      <a:pt x="1989" y="636"/>
                    </a:lnTo>
                    <a:lnTo>
                      <a:pt x="1991" y="637"/>
                    </a:lnTo>
                    <a:lnTo>
                      <a:pt x="1992" y="638"/>
                    </a:lnTo>
                    <a:lnTo>
                      <a:pt x="1993" y="639"/>
                    </a:lnTo>
                    <a:lnTo>
                      <a:pt x="1994" y="639"/>
                    </a:lnTo>
                    <a:lnTo>
                      <a:pt x="1997" y="639"/>
                    </a:lnTo>
                    <a:lnTo>
                      <a:pt x="1998" y="639"/>
                    </a:lnTo>
                    <a:lnTo>
                      <a:pt x="1999" y="640"/>
                    </a:lnTo>
                    <a:lnTo>
                      <a:pt x="1999" y="641"/>
                    </a:lnTo>
                    <a:lnTo>
                      <a:pt x="2000" y="644"/>
                    </a:lnTo>
                    <a:lnTo>
                      <a:pt x="2001" y="645"/>
                    </a:lnTo>
                    <a:lnTo>
                      <a:pt x="2002" y="646"/>
                    </a:lnTo>
                    <a:lnTo>
                      <a:pt x="2004" y="646"/>
                    </a:lnTo>
                    <a:lnTo>
                      <a:pt x="2005" y="644"/>
                    </a:lnTo>
                    <a:lnTo>
                      <a:pt x="2005" y="641"/>
                    </a:lnTo>
                    <a:lnTo>
                      <a:pt x="2006" y="639"/>
                    </a:lnTo>
                    <a:lnTo>
                      <a:pt x="2006" y="638"/>
                    </a:lnTo>
                    <a:lnTo>
                      <a:pt x="2008" y="638"/>
                    </a:lnTo>
                    <a:lnTo>
                      <a:pt x="2009" y="638"/>
                    </a:lnTo>
                    <a:lnTo>
                      <a:pt x="2010" y="637"/>
                    </a:lnTo>
                    <a:lnTo>
                      <a:pt x="2011" y="635"/>
                    </a:lnTo>
                    <a:lnTo>
                      <a:pt x="2012" y="633"/>
                    </a:lnTo>
                    <a:lnTo>
                      <a:pt x="2013" y="630"/>
                    </a:lnTo>
                    <a:lnTo>
                      <a:pt x="2014" y="628"/>
                    </a:lnTo>
                    <a:lnTo>
                      <a:pt x="2014" y="626"/>
                    </a:lnTo>
                    <a:lnTo>
                      <a:pt x="2015" y="624"/>
                    </a:lnTo>
                    <a:lnTo>
                      <a:pt x="2015" y="621"/>
                    </a:lnTo>
                    <a:lnTo>
                      <a:pt x="2015" y="618"/>
                    </a:lnTo>
                    <a:lnTo>
                      <a:pt x="2015" y="616"/>
                    </a:lnTo>
                    <a:lnTo>
                      <a:pt x="2016" y="615"/>
                    </a:lnTo>
                    <a:lnTo>
                      <a:pt x="2017" y="612"/>
                    </a:lnTo>
                    <a:lnTo>
                      <a:pt x="2019" y="610"/>
                    </a:lnTo>
                    <a:lnTo>
                      <a:pt x="2019" y="607"/>
                    </a:lnTo>
                    <a:lnTo>
                      <a:pt x="2019" y="604"/>
                    </a:lnTo>
                    <a:lnTo>
                      <a:pt x="2020" y="603"/>
                    </a:lnTo>
                    <a:lnTo>
                      <a:pt x="2021" y="603"/>
                    </a:lnTo>
                    <a:lnTo>
                      <a:pt x="2021" y="604"/>
                    </a:lnTo>
                    <a:lnTo>
                      <a:pt x="2022" y="605"/>
                    </a:lnTo>
                    <a:lnTo>
                      <a:pt x="2022" y="606"/>
                    </a:lnTo>
                    <a:lnTo>
                      <a:pt x="2023" y="606"/>
                    </a:lnTo>
                    <a:lnTo>
                      <a:pt x="2023" y="606"/>
                    </a:lnTo>
                    <a:lnTo>
                      <a:pt x="2024" y="605"/>
                    </a:lnTo>
                    <a:lnTo>
                      <a:pt x="2025" y="603"/>
                    </a:lnTo>
                    <a:lnTo>
                      <a:pt x="2026" y="602"/>
                    </a:lnTo>
                    <a:lnTo>
                      <a:pt x="2027" y="602"/>
                    </a:lnTo>
                    <a:lnTo>
                      <a:pt x="2027" y="602"/>
                    </a:lnTo>
                    <a:lnTo>
                      <a:pt x="2028" y="601"/>
                    </a:lnTo>
                    <a:lnTo>
                      <a:pt x="2031" y="600"/>
                    </a:lnTo>
                    <a:lnTo>
                      <a:pt x="2032" y="600"/>
                    </a:lnTo>
                    <a:lnTo>
                      <a:pt x="2032" y="596"/>
                    </a:lnTo>
                    <a:lnTo>
                      <a:pt x="2033" y="593"/>
                    </a:lnTo>
                    <a:lnTo>
                      <a:pt x="2034" y="591"/>
                    </a:lnTo>
                    <a:lnTo>
                      <a:pt x="2036" y="590"/>
                    </a:lnTo>
                    <a:lnTo>
                      <a:pt x="2036" y="587"/>
                    </a:lnTo>
                    <a:lnTo>
                      <a:pt x="2036" y="585"/>
                    </a:lnTo>
                    <a:lnTo>
                      <a:pt x="2036" y="583"/>
                    </a:lnTo>
                    <a:lnTo>
                      <a:pt x="2036" y="580"/>
                    </a:lnTo>
                    <a:lnTo>
                      <a:pt x="2037" y="579"/>
                    </a:lnTo>
                    <a:lnTo>
                      <a:pt x="2038" y="575"/>
                    </a:lnTo>
                    <a:lnTo>
                      <a:pt x="2038" y="573"/>
                    </a:lnTo>
                    <a:lnTo>
                      <a:pt x="2039" y="570"/>
                    </a:lnTo>
                    <a:lnTo>
                      <a:pt x="2041" y="567"/>
                    </a:lnTo>
                    <a:lnTo>
                      <a:pt x="2041" y="562"/>
                    </a:lnTo>
                    <a:lnTo>
                      <a:pt x="2042" y="558"/>
                    </a:lnTo>
                    <a:lnTo>
                      <a:pt x="2043" y="553"/>
                    </a:lnTo>
                    <a:lnTo>
                      <a:pt x="2045" y="552"/>
                    </a:lnTo>
                    <a:lnTo>
                      <a:pt x="2047" y="551"/>
                    </a:lnTo>
                    <a:lnTo>
                      <a:pt x="2049" y="551"/>
                    </a:lnTo>
                    <a:lnTo>
                      <a:pt x="2052" y="549"/>
                    </a:lnTo>
                    <a:lnTo>
                      <a:pt x="2053" y="549"/>
                    </a:lnTo>
                    <a:lnTo>
                      <a:pt x="2054" y="548"/>
                    </a:lnTo>
                    <a:lnTo>
                      <a:pt x="2056" y="548"/>
                    </a:lnTo>
                    <a:lnTo>
                      <a:pt x="2057" y="547"/>
                    </a:lnTo>
                    <a:lnTo>
                      <a:pt x="2058" y="545"/>
                    </a:lnTo>
                    <a:lnTo>
                      <a:pt x="2059" y="542"/>
                    </a:lnTo>
                    <a:lnTo>
                      <a:pt x="2060" y="541"/>
                    </a:lnTo>
                    <a:lnTo>
                      <a:pt x="2062" y="541"/>
                    </a:lnTo>
                    <a:lnTo>
                      <a:pt x="2063" y="540"/>
                    </a:lnTo>
                    <a:lnTo>
                      <a:pt x="2065" y="540"/>
                    </a:lnTo>
                    <a:lnTo>
                      <a:pt x="2066" y="541"/>
                    </a:lnTo>
                    <a:lnTo>
                      <a:pt x="2067" y="541"/>
                    </a:lnTo>
                    <a:lnTo>
                      <a:pt x="2068" y="541"/>
                    </a:lnTo>
                    <a:lnTo>
                      <a:pt x="2069" y="540"/>
                    </a:lnTo>
                    <a:lnTo>
                      <a:pt x="2069" y="538"/>
                    </a:lnTo>
                    <a:lnTo>
                      <a:pt x="2070" y="534"/>
                    </a:lnTo>
                    <a:lnTo>
                      <a:pt x="2071" y="529"/>
                    </a:lnTo>
                    <a:lnTo>
                      <a:pt x="2071" y="525"/>
                    </a:lnTo>
                    <a:lnTo>
                      <a:pt x="2071" y="512"/>
                    </a:lnTo>
                    <a:lnTo>
                      <a:pt x="2071" y="510"/>
                    </a:lnTo>
                    <a:lnTo>
                      <a:pt x="2070" y="508"/>
                    </a:lnTo>
                    <a:lnTo>
                      <a:pt x="2070" y="505"/>
                    </a:lnTo>
                    <a:lnTo>
                      <a:pt x="2069" y="503"/>
                    </a:lnTo>
                    <a:lnTo>
                      <a:pt x="2069" y="502"/>
                    </a:lnTo>
                    <a:lnTo>
                      <a:pt x="2068" y="499"/>
                    </a:lnTo>
                    <a:lnTo>
                      <a:pt x="2067" y="496"/>
                    </a:lnTo>
                    <a:lnTo>
                      <a:pt x="2067" y="494"/>
                    </a:lnTo>
                    <a:lnTo>
                      <a:pt x="2067" y="491"/>
                    </a:lnTo>
                    <a:lnTo>
                      <a:pt x="2067" y="484"/>
                    </a:lnTo>
                    <a:lnTo>
                      <a:pt x="2066" y="482"/>
                    </a:lnTo>
                    <a:lnTo>
                      <a:pt x="2065" y="479"/>
                    </a:lnTo>
                    <a:lnTo>
                      <a:pt x="2065" y="476"/>
                    </a:lnTo>
                    <a:lnTo>
                      <a:pt x="2065" y="473"/>
                    </a:lnTo>
                    <a:lnTo>
                      <a:pt x="2065" y="465"/>
                    </a:lnTo>
                    <a:lnTo>
                      <a:pt x="2066" y="458"/>
                    </a:lnTo>
                    <a:lnTo>
                      <a:pt x="2069" y="451"/>
                    </a:lnTo>
                    <a:lnTo>
                      <a:pt x="2070" y="449"/>
                    </a:lnTo>
                    <a:lnTo>
                      <a:pt x="2071" y="448"/>
                    </a:lnTo>
                    <a:lnTo>
                      <a:pt x="2073" y="448"/>
                    </a:lnTo>
                    <a:lnTo>
                      <a:pt x="2075" y="449"/>
                    </a:lnTo>
                    <a:lnTo>
                      <a:pt x="2076" y="449"/>
                    </a:lnTo>
                    <a:lnTo>
                      <a:pt x="2077" y="447"/>
                    </a:lnTo>
                    <a:lnTo>
                      <a:pt x="2078" y="444"/>
                    </a:lnTo>
                    <a:lnTo>
                      <a:pt x="2080" y="442"/>
                    </a:lnTo>
                    <a:lnTo>
                      <a:pt x="2081" y="442"/>
                    </a:lnTo>
                    <a:lnTo>
                      <a:pt x="2081" y="442"/>
                    </a:lnTo>
                    <a:lnTo>
                      <a:pt x="2082" y="444"/>
                    </a:lnTo>
                    <a:lnTo>
                      <a:pt x="2082" y="447"/>
                    </a:lnTo>
                    <a:lnTo>
                      <a:pt x="2082" y="449"/>
                    </a:lnTo>
                    <a:lnTo>
                      <a:pt x="2082" y="451"/>
                    </a:lnTo>
                    <a:lnTo>
                      <a:pt x="2082" y="477"/>
                    </a:lnTo>
                    <a:lnTo>
                      <a:pt x="2081" y="477"/>
                    </a:lnTo>
                    <a:lnTo>
                      <a:pt x="2081" y="479"/>
                    </a:lnTo>
                    <a:lnTo>
                      <a:pt x="2080" y="480"/>
                    </a:lnTo>
                    <a:lnTo>
                      <a:pt x="2080" y="482"/>
                    </a:lnTo>
                    <a:lnTo>
                      <a:pt x="2080" y="497"/>
                    </a:lnTo>
                    <a:lnTo>
                      <a:pt x="2080" y="501"/>
                    </a:lnTo>
                    <a:lnTo>
                      <a:pt x="2079" y="504"/>
                    </a:lnTo>
                    <a:lnTo>
                      <a:pt x="2079" y="507"/>
                    </a:lnTo>
                    <a:lnTo>
                      <a:pt x="2080" y="509"/>
                    </a:lnTo>
                    <a:lnTo>
                      <a:pt x="2080" y="514"/>
                    </a:lnTo>
                    <a:lnTo>
                      <a:pt x="2081" y="518"/>
                    </a:lnTo>
                    <a:lnTo>
                      <a:pt x="2082" y="523"/>
                    </a:lnTo>
                    <a:lnTo>
                      <a:pt x="2084" y="527"/>
                    </a:lnTo>
                    <a:lnTo>
                      <a:pt x="2085" y="530"/>
                    </a:lnTo>
                    <a:lnTo>
                      <a:pt x="2086" y="534"/>
                    </a:lnTo>
                    <a:lnTo>
                      <a:pt x="2087" y="535"/>
                    </a:lnTo>
                    <a:lnTo>
                      <a:pt x="2089" y="536"/>
                    </a:lnTo>
                    <a:lnTo>
                      <a:pt x="2091" y="534"/>
                    </a:lnTo>
                    <a:lnTo>
                      <a:pt x="2092" y="532"/>
                    </a:lnTo>
                    <a:lnTo>
                      <a:pt x="2095" y="532"/>
                    </a:lnTo>
                    <a:lnTo>
                      <a:pt x="2096" y="531"/>
                    </a:lnTo>
                    <a:lnTo>
                      <a:pt x="2097" y="529"/>
                    </a:lnTo>
                    <a:lnTo>
                      <a:pt x="2098" y="527"/>
                    </a:lnTo>
                    <a:lnTo>
                      <a:pt x="2098" y="526"/>
                    </a:lnTo>
                    <a:lnTo>
                      <a:pt x="2099" y="525"/>
                    </a:lnTo>
                    <a:lnTo>
                      <a:pt x="2099" y="525"/>
                    </a:lnTo>
                    <a:lnTo>
                      <a:pt x="2101" y="524"/>
                    </a:lnTo>
                    <a:lnTo>
                      <a:pt x="2102" y="523"/>
                    </a:lnTo>
                    <a:lnTo>
                      <a:pt x="2102" y="521"/>
                    </a:lnTo>
                    <a:lnTo>
                      <a:pt x="2102" y="520"/>
                    </a:lnTo>
                    <a:lnTo>
                      <a:pt x="2103" y="519"/>
                    </a:lnTo>
                    <a:lnTo>
                      <a:pt x="2103" y="519"/>
                    </a:lnTo>
                    <a:lnTo>
                      <a:pt x="2104" y="519"/>
                    </a:lnTo>
                    <a:lnTo>
                      <a:pt x="2104" y="520"/>
                    </a:lnTo>
                    <a:lnTo>
                      <a:pt x="2104" y="523"/>
                    </a:lnTo>
                    <a:lnTo>
                      <a:pt x="2104" y="525"/>
                    </a:lnTo>
                    <a:lnTo>
                      <a:pt x="2107" y="527"/>
                    </a:lnTo>
                    <a:lnTo>
                      <a:pt x="2107" y="530"/>
                    </a:lnTo>
                    <a:lnTo>
                      <a:pt x="2107" y="532"/>
                    </a:lnTo>
                    <a:lnTo>
                      <a:pt x="2108" y="536"/>
                    </a:lnTo>
                    <a:lnTo>
                      <a:pt x="2109" y="538"/>
                    </a:lnTo>
                    <a:lnTo>
                      <a:pt x="2110" y="540"/>
                    </a:lnTo>
                    <a:lnTo>
                      <a:pt x="2111" y="541"/>
                    </a:lnTo>
                    <a:lnTo>
                      <a:pt x="2111" y="541"/>
                    </a:lnTo>
                    <a:lnTo>
                      <a:pt x="2111" y="540"/>
                    </a:lnTo>
                    <a:lnTo>
                      <a:pt x="2111" y="538"/>
                    </a:lnTo>
                    <a:lnTo>
                      <a:pt x="2112" y="537"/>
                    </a:lnTo>
                    <a:lnTo>
                      <a:pt x="2112" y="535"/>
                    </a:lnTo>
                    <a:lnTo>
                      <a:pt x="2112" y="532"/>
                    </a:lnTo>
                    <a:lnTo>
                      <a:pt x="2113" y="531"/>
                    </a:lnTo>
                    <a:lnTo>
                      <a:pt x="2114" y="532"/>
                    </a:lnTo>
                    <a:lnTo>
                      <a:pt x="2115" y="534"/>
                    </a:lnTo>
                    <a:lnTo>
                      <a:pt x="2117" y="534"/>
                    </a:lnTo>
                    <a:lnTo>
                      <a:pt x="2118" y="534"/>
                    </a:lnTo>
                    <a:lnTo>
                      <a:pt x="2120" y="531"/>
                    </a:lnTo>
                    <a:lnTo>
                      <a:pt x="2121" y="529"/>
                    </a:lnTo>
                    <a:lnTo>
                      <a:pt x="2121" y="528"/>
                    </a:lnTo>
                    <a:lnTo>
                      <a:pt x="2122" y="527"/>
                    </a:lnTo>
                    <a:lnTo>
                      <a:pt x="2123" y="526"/>
                    </a:lnTo>
                    <a:lnTo>
                      <a:pt x="2124" y="525"/>
                    </a:lnTo>
                    <a:lnTo>
                      <a:pt x="2125" y="523"/>
                    </a:lnTo>
                    <a:lnTo>
                      <a:pt x="2125" y="521"/>
                    </a:lnTo>
                    <a:lnTo>
                      <a:pt x="2126" y="520"/>
                    </a:lnTo>
                    <a:lnTo>
                      <a:pt x="2128" y="518"/>
                    </a:lnTo>
                    <a:lnTo>
                      <a:pt x="2129" y="516"/>
                    </a:lnTo>
                    <a:lnTo>
                      <a:pt x="2130" y="515"/>
                    </a:lnTo>
                    <a:lnTo>
                      <a:pt x="2132" y="513"/>
                    </a:lnTo>
                    <a:lnTo>
                      <a:pt x="2133" y="510"/>
                    </a:lnTo>
                    <a:lnTo>
                      <a:pt x="2135" y="509"/>
                    </a:lnTo>
                    <a:lnTo>
                      <a:pt x="2135" y="510"/>
                    </a:lnTo>
                    <a:lnTo>
                      <a:pt x="2136" y="510"/>
                    </a:lnTo>
                    <a:lnTo>
                      <a:pt x="2136" y="510"/>
                    </a:lnTo>
                    <a:lnTo>
                      <a:pt x="2137" y="512"/>
                    </a:lnTo>
                    <a:lnTo>
                      <a:pt x="2137" y="513"/>
                    </a:lnTo>
                    <a:lnTo>
                      <a:pt x="2139" y="514"/>
                    </a:lnTo>
                    <a:lnTo>
                      <a:pt x="2139" y="515"/>
                    </a:lnTo>
                    <a:lnTo>
                      <a:pt x="2140" y="516"/>
                    </a:lnTo>
                    <a:lnTo>
                      <a:pt x="2141" y="518"/>
                    </a:lnTo>
                    <a:lnTo>
                      <a:pt x="2141" y="519"/>
                    </a:lnTo>
                    <a:lnTo>
                      <a:pt x="2142" y="521"/>
                    </a:lnTo>
                    <a:lnTo>
                      <a:pt x="2143" y="523"/>
                    </a:lnTo>
                    <a:lnTo>
                      <a:pt x="2144" y="523"/>
                    </a:lnTo>
                    <a:lnTo>
                      <a:pt x="2145" y="523"/>
                    </a:lnTo>
                    <a:lnTo>
                      <a:pt x="2146" y="520"/>
                    </a:lnTo>
                    <a:lnTo>
                      <a:pt x="2146" y="519"/>
                    </a:lnTo>
                    <a:lnTo>
                      <a:pt x="2147" y="516"/>
                    </a:lnTo>
                    <a:lnTo>
                      <a:pt x="2147" y="514"/>
                    </a:lnTo>
                    <a:lnTo>
                      <a:pt x="2148" y="513"/>
                    </a:lnTo>
                    <a:lnTo>
                      <a:pt x="2151" y="512"/>
                    </a:lnTo>
                    <a:lnTo>
                      <a:pt x="2153" y="510"/>
                    </a:lnTo>
                    <a:lnTo>
                      <a:pt x="2154" y="507"/>
                    </a:lnTo>
                    <a:lnTo>
                      <a:pt x="2155" y="503"/>
                    </a:lnTo>
                    <a:lnTo>
                      <a:pt x="2155" y="498"/>
                    </a:lnTo>
                    <a:lnTo>
                      <a:pt x="2154" y="495"/>
                    </a:lnTo>
                    <a:lnTo>
                      <a:pt x="2154" y="492"/>
                    </a:lnTo>
                    <a:lnTo>
                      <a:pt x="2154" y="488"/>
                    </a:lnTo>
                    <a:lnTo>
                      <a:pt x="2154" y="485"/>
                    </a:lnTo>
                    <a:lnTo>
                      <a:pt x="2154" y="482"/>
                    </a:lnTo>
                    <a:lnTo>
                      <a:pt x="2154" y="469"/>
                    </a:lnTo>
                    <a:lnTo>
                      <a:pt x="2155" y="464"/>
                    </a:lnTo>
                    <a:lnTo>
                      <a:pt x="2156" y="460"/>
                    </a:lnTo>
                    <a:lnTo>
                      <a:pt x="2156" y="455"/>
                    </a:lnTo>
                    <a:lnTo>
                      <a:pt x="2156" y="452"/>
                    </a:lnTo>
                    <a:lnTo>
                      <a:pt x="2157" y="450"/>
                    </a:lnTo>
                    <a:lnTo>
                      <a:pt x="2157" y="449"/>
                    </a:lnTo>
                    <a:lnTo>
                      <a:pt x="2158" y="448"/>
                    </a:lnTo>
                    <a:lnTo>
                      <a:pt x="2158" y="447"/>
                    </a:lnTo>
                    <a:lnTo>
                      <a:pt x="2161" y="445"/>
                    </a:lnTo>
                    <a:lnTo>
                      <a:pt x="2162" y="445"/>
                    </a:lnTo>
                    <a:lnTo>
                      <a:pt x="2163" y="445"/>
                    </a:lnTo>
                    <a:lnTo>
                      <a:pt x="2164" y="448"/>
                    </a:lnTo>
                    <a:lnTo>
                      <a:pt x="2165" y="450"/>
                    </a:lnTo>
                    <a:lnTo>
                      <a:pt x="2166" y="452"/>
                    </a:lnTo>
                    <a:lnTo>
                      <a:pt x="2167" y="455"/>
                    </a:lnTo>
                    <a:lnTo>
                      <a:pt x="2168" y="458"/>
                    </a:lnTo>
                    <a:lnTo>
                      <a:pt x="2169" y="460"/>
                    </a:lnTo>
                    <a:lnTo>
                      <a:pt x="2170" y="461"/>
                    </a:lnTo>
                    <a:lnTo>
                      <a:pt x="2172" y="462"/>
                    </a:lnTo>
                    <a:lnTo>
                      <a:pt x="2173" y="462"/>
                    </a:lnTo>
                    <a:lnTo>
                      <a:pt x="2174" y="461"/>
                    </a:lnTo>
                    <a:lnTo>
                      <a:pt x="2174" y="459"/>
                    </a:lnTo>
                    <a:lnTo>
                      <a:pt x="2174" y="455"/>
                    </a:lnTo>
                    <a:lnTo>
                      <a:pt x="2175" y="449"/>
                    </a:lnTo>
                    <a:lnTo>
                      <a:pt x="2175" y="441"/>
                    </a:lnTo>
                    <a:lnTo>
                      <a:pt x="2174" y="433"/>
                    </a:lnTo>
                    <a:lnTo>
                      <a:pt x="2174" y="431"/>
                    </a:lnTo>
                    <a:lnTo>
                      <a:pt x="2173" y="431"/>
                    </a:lnTo>
                    <a:lnTo>
                      <a:pt x="2172" y="431"/>
                    </a:lnTo>
                    <a:lnTo>
                      <a:pt x="2172" y="432"/>
                    </a:lnTo>
                    <a:lnTo>
                      <a:pt x="2170" y="433"/>
                    </a:lnTo>
                    <a:lnTo>
                      <a:pt x="2169" y="433"/>
                    </a:lnTo>
                    <a:lnTo>
                      <a:pt x="2168" y="434"/>
                    </a:lnTo>
                    <a:lnTo>
                      <a:pt x="2165" y="434"/>
                    </a:lnTo>
                    <a:lnTo>
                      <a:pt x="2163" y="434"/>
                    </a:lnTo>
                    <a:lnTo>
                      <a:pt x="2161" y="433"/>
                    </a:lnTo>
                    <a:lnTo>
                      <a:pt x="2159" y="430"/>
                    </a:lnTo>
                    <a:lnTo>
                      <a:pt x="2158" y="428"/>
                    </a:lnTo>
                    <a:lnTo>
                      <a:pt x="2158" y="425"/>
                    </a:lnTo>
                    <a:lnTo>
                      <a:pt x="2159" y="421"/>
                    </a:lnTo>
                    <a:lnTo>
                      <a:pt x="2161" y="418"/>
                    </a:lnTo>
                    <a:lnTo>
                      <a:pt x="2161" y="416"/>
                    </a:lnTo>
                    <a:lnTo>
                      <a:pt x="2161" y="414"/>
                    </a:lnTo>
                    <a:lnTo>
                      <a:pt x="2161" y="410"/>
                    </a:lnTo>
                    <a:lnTo>
                      <a:pt x="2161" y="407"/>
                    </a:lnTo>
                    <a:lnTo>
                      <a:pt x="2162" y="405"/>
                    </a:lnTo>
                    <a:lnTo>
                      <a:pt x="2162" y="405"/>
                    </a:lnTo>
                    <a:lnTo>
                      <a:pt x="2163" y="405"/>
                    </a:lnTo>
                    <a:lnTo>
                      <a:pt x="2164" y="406"/>
                    </a:lnTo>
                    <a:lnTo>
                      <a:pt x="2165" y="407"/>
                    </a:lnTo>
                    <a:lnTo>
                      <a:pt x="2167" y="406"/>
                    </a:lnTo>
                    <a:lnTo>
                      <a:pt x="2169" y="405"/>
                    </a:lnTo>
                    <a:lnTo>
                      <a:pt x="2169" y="403"/>
                    </a:lnTo>
                    <a:lnTo>
                      <a:pt x="2170" y="400"/>
                    </a:lnTo>
                    <a:lnTo>
                      <a:pt x="2172" y="399"/>
                    </a:lnTo>
                    <a:lnTo>
                      <a:pt x="2173" y="398"/>
                    </a:lnTo>
                    <a:lnTo>
                      <a:pt x="2174" y="398"/>
                    </a:lnTo>
                    <a:lnTo>
                      <a:pt x="2176" y="398"/>
                    </a:lnTo>
                    <a:lnTo>
                      <a:pt x="2178" y="397"/>
                    </a:lnTo>
                    <a:lnTo>
                      <a:pt x="2180" y="396"/>
                    </a:lnTo>
                    <a:lnTo>
                      <a:pt x="2183" y="396"/>
                    </a:lnTo>
                    <a:lnTo>
                      <a:pt x="2185" y="397"/>
                    </a:lnTo>
                    <a:lnTo>
                      <a:pt x="2186" y="399"/>
                    </a:lnTo>
                    <a:lnTo>
                      <a:pt x="2187" y="400"/>
                    </a:lnTo>
                    <a:lnTo>
                      <a:pt x="2187" y="400"/>
                    </a:lnTo>
                    <a:lnTo>
                      <a:pt x="2189" y="401"/>
                    </a:lnTo>
                    <a:lnTo>
                      <a:pt x="2190" y="400"/>
                    </a:lnTo>
                    <a:lnTo>
                      <a:pt x="2191" y="399"/>
                    </a:lnTo>
                    <a:lnTo>
                      <a:pt x="2191" y="398"/>
                    </a:lnTo>
                    <a:lnTo>
                      <a:pt x="2193" y="397"/>
                    </a:lnTo>
                    <a:lnTo>
                      <a:pt x="2194" y="396"/>
                    </a:lnTo>
                    <a:lnTo>
                      <a:pt x="2195" y="395"/>
                    </a:lnTo>
                    <a:lnTo>
                      <a:pt x="2196" y="394"/>
                    </a:lnTo>
                    <a:lnTo>
                      <a:pt x="2198" y="392"/>
                    </a:lnTo>
                    <a:lnTo>
                      <a:pt x="2199" y="392"/>
                    </a:lnTo>
                    <a:lnTo>
                      <a:pt x="2200" y="393"/>
                    </a:lnTo>
                    <a:lnTo>
                      <a:pt x="2201" y="394"/>
                    </a:lnTo>
                    <a:lnTo>
                      <a:pt x="2202" y="394"/>
                    </a:lnTo>
                    <a:lnTo>
                      <a:pt x="2204" y="394"/>
                    </a:lnTo>
                    <a:lnTo>
                      <a:pt x="2204" y="394"/>
                    </a:lnTo>
                    <a:lnTo>
                      <a:pt x="2205" y="393"/>
                    </a:lnTo>
                    <a:lnTo>
                      <a:pt x="2205" y="392"/>
                    </a:lnTo>
                    <a:lnTo>
                      <a:pt x="2205" y="389"/>
                    </a:lnTo>
                    <a:lnTo>
                      <a:pt x="2205" y="388"/>
                    </a:lnTo>
                    <a:lnTo>
                      <a:pt x="2204" y="387"/>
                    </a:lnTo>
                    <a:lnTo>
                      <a:pt x="2204" y="387"/>
                    </a:lnTo>
                    <a:lnTo>
                      <a:pt x="2202" y="387"/>
                    </a:lnTo>
                    <a:lnTo>
                      <a:pt x="2201" y="387"/>
                    </a:lnTo>
                    <a:lnTo>
                      <a:pt x="2201" y="386"/>
                    </a:lnTo>
                    <a:lnTo>
                      <a:pt x="2200" y="384"/>
                    </a:lnTo>
                    <a:lnTo>
                      <a:pt x="2199" y="383"/>
                    </a:lnTo>
                    <a:lnTo>
                      <a:pt x="2198" y="383"/>
                    </a:lnTo>
                    <a:lnTo>
                      <a:pt x="2197" y="381"/>
                    </a:lnTo>
                    <a:lnTo>
                      <a:pt x="2197" y="381"/>
                    </a:lnTo>
                    <a:lnTo>
                      <a:pt x="2197" y="381"/>
                    </a:lnTo>
                    <a:lnTo>
                      <a:pt x="2196" y="383"/>
                    </a:lnTo>
                    <a:lnTo>
                      <a:pt x="2196" y="385"/>
                    </a:lnTo>
                    <a:lnTo>
                      <a:pt x="2194" y="386"/>
                    </a:lnTo>
                    <a:lnTo>
                      <a:pt x="2193" y="387"/>
                    </a:lnTo>
                    <a:lnTo>
                      <a:pt x="2191" y="387"/>
                    </a:lnTo>
                    <a:lnTo>
                      <a:pt x="2190" y="387"/>
                    </a:lnTo>
                    <a:lnTo>
                      <a:pt x="2187" y="387"/>
                    </a:lnTo>
                    <a:lnTo>
                      <a:pt x="2185" y="386"/>
                    </a:lnTo>
                    <a:lnTo>
                      <a:pt x="2183" y="385"/>
                    </a:lnTo>
                    <a:lnTo>
                      <a:pt x="2180" y="386"/>
                    </a:lnTo>
                    <a:lnTo>
                      <a:pt x="2178" y="386"/>
                    </a:lnTo>
                    <a:lnTo>
                      <a:pt x="2176" y="387"/>
                    </a:lnTo>
                    <a:lnTo>
                      <a:pt x="2175" y="386"/>
                    </a:lnTo>
                    <a:lnTo>
                      <a:pt x="2175" y="384"/>
                    </a:lnTo>
                    <a:lnTo>
                      <a:pt x="2174" y="383"/>
                    </a:lnTo>
                    <a:lnTo>
                      <a:pt x="2173" y="382"/>
                    </a:lnTo>
                    <a:lnTo>
                      <a:pt x="2172" y="383"/>
                    </a:lnTo>
                    <a:lnTo>
                      <a:pt x="2170" y="383"/>
                    </a:lnTo>
                    <a:lnTo>
                      <a:pt x="2170" y="385"/>
                    </a:lnTo>
                    <a:lnTo>
                      <a:pt x="2169" y="386"/>
                    </a:lnTo>
                    <a:lnTo>
                      <a:pt x="2168" y="388"/>
                    </a:lnTo>
                    <a:lnTo>
                      <a:pt x="2167" y="389"/>
                    </a:lnTo>
                    <a:lnTo>
                      <a:pt x="2165" y="390"/>
                    </a:lnTo>
                    <a:lnTo>
                      <a:pt x="2163" y="392"/>
                    </a:lnTo>
                    <a:lnTo>
                      <a:pt x="2161" y="392"/>
                    </a:lnTo>
                    <a:lnTo>
                      <a:pt x="2161" y="394"/>
                    </a:lnTo>
                    <a:lnTo>
                      <a:pt x="2158" y="395"/>
                    </a:lnTo>
                    <a:lnTo>
                      <a:pt x="2156" y="396"/>
                    </a:lnTo>
                    <a:lnTo>
                      <a:pt x="2156" y="392"/>
                    </a:lnTo>
                    <a:lnTo>
                      <a:pt x="2157" y="392"/>
                    </a:lnTo>
                    <a:lnTo>
                      <a:pt x="2157" y="392"/>
                    </a:lnTo>
                    <a:lnTo>
                      <a:pt x="2158" y="390"/>
                    </a:lnTo>
                    <a:lnTo>
                      <a:pt x="2158" y="389"/>
                    </a:lnTo>
                    <a:lnTo>
                      <a:pt x="2161" y="389"/>
                    </a:lnTo>
                    <a:lnTo>
                      <a:pt x="2161" y="387"/>
                    </a:lnTo>
                    <a:lnTo>
                      <a:pt x="2161" y="386"/>
                    </a:lnTo>
                    <a:lnTo>
                      <a:pt x="2158" y="383"/>
                    </a:lnTo>
                    <a:lnTo>
                      <a:pt x="2158" y="379"/>
                    </a:lnTo>
                    <a:lnTo>
                      <a:pt x="2157" y="376"/>
                    </a:lnTo>
                    <a:lnTo>
                      <a:pt x="2155" y="374"/>
                    </a:lnTo>
                    <a:lnTo>
                      <a:pt x="2154" y="372"/>
                    </a:lnTo>
                    <a:lnTo>
                      <a:pt x="2152" y="370"/>
                    </a:lnTo>
                    <a:lnTo>
                      <a:pt x="2152" y="368"/>
                    </a:lnTo>
                    <a:lnTo>
                      <a:pt x="2152" y="367"/>
                    </a:lnTo>
                    <a:lnTo>
                      <a:pt x="2151" y="365"/>
                    </a:lnTo>
                    <a:lnTo>
                      <a:pt x="2150" y="364"/>
                    </a:lnTo>
                    <a:lnTo>
                      <a:pt x="2148" y="363"/>
                    </a:lnTo>
                    <a:lnTo>
                      <a:pt x="2147" y="361"/>
                    </a:lnTo>
                    <a:lnTo>
                      <a:pt x="2147" y="359"/>
                    </a:lnTo>
                    <a:lnTo>
                      <a:pt x="2146" y="355"/>
                    </a:lnTo>
                    <a:lnTo>
                      <a:pt x="2146" y="352"/>
                    </a:lnTo>
                    <a:lnTo>
                      <a:pt x="2146" y="350"/>
                    </a:lnTo>
                    <a:lnTo>
                      <a:pt x="2146" y="347"/>
                    </a:lnTo>
                    <a:lnTo>
                      <a:pt x="2147" y="345"/>
                    </a:lnTo>
                    <a:lnTo>
                      <a:pt x="2147" y="342"/>
                    </a:lnTo>
                    <a:lnTo>
                      <a:pt x="2148" y="339"/>
                    </a:lnTo>
                    <a:lnTo>
                      <a:pt x="2147" y="329"/>
                    </a:lnTo>
                    <a:lnTo>
                      <a:pt x="2146" y="319"/>
                    </a:lnTo>
                    <a:lnTo>
                      <a:pt x="2146" y="299"/>
                    </a:lnTo>
                    <a:lnTo>
                      <a:pt x="2152" y="292"/>
                    </a:lnTo>
                    <a:lnTo>
                      <a:pt x="2153" y="291"/>
                    </a:lnTo>
                    <a:lnTo>
                      <a:pt x="2154" y="288"/>
                    </a:lnTo>
                    <a:lnTo>
                      <a:pt x="2155" y="286"/>
                    </a:lnTo>
                    <a:lnTo>
                      <a:pt x="2155" y="283"/>
                    </a:lnTo>
                    <a:lnTo>
                      <a:pt x="2156" y="279"/>
                    </a:lnTo>
                    <a:lnTo>
                      <a:pt x="2157" y="275"/>
                    </a:lnTo>
                    <a:lnTo>
                      <a:pt x="2158" y="272"/>
                    </a:lnTo>
                    <a:lnTo>
                      <a:pt x="2158" y="267"/>
                    </a:lnTo>
                    <a:lnTo>
                      <a:pt x="2161" y="263"/>
                    </a:lnTo>
                    <a:lnTo>
                      <a:pt x="2161" y="259"/>
                    </a:lnTo>
                    <a:lnTo>
                      <a:pt x="2161" y="256"/>
                    </a:lnTo>
                    <a:lnTo>
                      <a:pt x="2161" y="254"/>
                    </a:lnTo>
                    <a:lnTo>
                      <a:pt x="2163" y="252"/>
                    </a:lnTo>
                    <a:lnTo>
                      <a:pt x="2165" y="250"/>
                    </a:lnTo>
                    <a:lnTo>
                      <a:pt x="2165" y="247"/>
                    </a:lnTo>
                    <a:lnTo>
                      <a:pt x="2166" y="239"/>
                    </a:lnTo>
                    <a:lnTo>
                      <a:pt x="2163" y="230"/>
                    </a:lnTo>
                    <a:lnTo>
                      <a:pt x="2158" y="223"/>
                    </a:lnTo>
                    <a:lnTo>
                      <a:pt x="2156" y="221"/>
                    </a:lnTo>
                    <a:lnTo>
                      <a:pt x="2154" y="219"/>
                    </a:lnTo>
                    <a:lnTo>
                      <a:pt x="2152" y="219"/>
                    </a:lnTo>
                    <a:lnTo>
                      <a:pt x="2151" y="218"/>
                    </a:lnTo>
                    <a:lnTo>
                      <a:pt x="2150" y="218"/>
                    </a:lnTo>
                    <a:lnTo>
                      <a:pt x="2147" y="218"/>
                    </a:lnTo>
                    <a:lnTo>
                      <a:pt x="2146" y="219"/>
                    </a:lnTo>
                    <a:lnTo>
                      <a:pt x="2144" y="218"/>
                    </a:lnTo>
                    <a:lnTo>
                      <a:pt x="2143" y="218"/>
                    </a:lnTo>
                    <a:lnTo>
                      <a:pt x="2143" y="219"/>
                    </a:lnTo>
                    <a:lnTo>
                      <a:pt x="2143" y="220"/>
                    </a:lnTo>
                    <a:lnTo>
                      <a:pt x="2143" y="221"/>
                    </a:lnTo>
                    <a:lnTo>
                      <a:pt x="2143" y="223"/>
                    </a:lnTo>
                    <a:lnTo>
                      <a:pt x="2144" y="225"/>
                    </a:lnTo>
                    <a:lnTo>
                      <a:pt x="2143" y="225"/>
                    </a:lnTo>
                    <a:lnTo>
                      <a:pt x="2143" y="226"/>
                    </a:lnTo>
                    <a:lnTo>
                      <a:pt x="2142" y="226"/>
                    </a:lnTo>
                    <a:lnTo>
                      <a:pt x="2141" y="226"/>
                    </a:lnTo>
                    <a:lnTo>
                      <a:pt x="2140" y="227"/>
                    </a:lnTo>
                    <a:lnTo>
                      <a:pt x="2140" y="230"/>
                    </a:lnTo>
                    <a:lnTo>
                      <a:pt x="2139" y="239"/>
                    </a:lnTo>
                    <a:lnTo>
                      <a:pt x="2141" y="247"/>
                    </a:lnTo>
                    <a:lnTo>
                      <a:pt x="2142" y="258"/>
                    </a:lnTo>
                    <a:lnTo>
                      <a:pt x="2142" y="262"/>
                    </a:lnTo>
                    <a:lnTo>
                      <a:pt x="2142" y="265"/>
                    </a:lnTo>
                    <a:lnTo>
                      <a:pt x="2141" y="268"/>
                    </a:lnTo>
                    <a:lnTo>
                      <a:pt x="2140" y="270"/>
                    </a:lnTo>
                    <a:lnTo>
                      <a:pt x="2139" y="273"/>
                    </a:lnTo>
                    <a:lnTo>
                      <a:pt x="2137" y="275"/>
                    </a:lnTo>
                    <a:lnTo>
                      <a:pt x="2136" y="279"/>
                    </a:lnTo>
                    <a:lnTo>
                      <a:pt x="2135" y="284"/>
                    </a:lnTo>
                    <a:lnTo>
                      <a:pt x="2133" y="286"/>
                    </a:lnTo>
                    <a:lnTo>
                      <a:pt x="2131" y="289"/>
                    </a:lnTo>
                    <a:lnTo>
                      <a:pt x="2129" y="292"/>
                    </a:lnTo>
                    <a:lnTo>
                      <a:pt x="2126" y="295"/>
                    </a:lnTo>
                    <a:lnTo>
                      <a:pt x="2123" y="301"/>
                    </a:lnTo>
                    <a:lnTo>
                      <a:pt x="2121" y="308"/>
                    </a:lnTo>
                    <a:lnTo>
                      <a:pt x="2122" y="317"/>
                    </a:lnTo>
                    <a:lnTo>
                      <a:pt x="2122" y="321"/>
                    </a:lnTo>
                    <a:lnTo>
                      <a:pt x="2122" y="324"/>
                    </a:lnTo>
                    <a:lnTo>
                      <a:pt x="2123" y="328"/>
                    </a:lnTo>
                    <a:lnTo>
                      <a:pt x="2122" y="331"/>
                    </a:lnTo>
                    <a:lnTo>
                      <a:pt x="2122" y="334"/>
                    </a:lnTo>
                    <a:lnTo>
                      <a:pt x="2121" y="336"/>
                    </a:lnTo>
                    <a:lnTo>
                      <a:pt x="2121" y="339"/>
                    </a:lnTo>
                    <a:lnTo>
                      <a:pt x="2121" y="342"/>
                    </a:lnTo>
                    <a:lnTo>
                      <a:pt x="2122" y="345"/>
                    </a:lnTo>
                    <a:lnTo>
                      <a:pt x="2122" y="350"/>
                    </a:lnTo>
                    <a:lnTo>
                      <a:pt x="2122" y="354"/>
                    </a:lnTo>
                    <a:lnTo>
                      <a:pt x="2124" y="359"/>
                    </a:lnTo>
                    <a:lnTo>
                      <a:pt x="2124" y="361"/>
                    </a:lnTo>
                    <a:lnTo>
                      <a:pt x="2124" y="362"/>
                    </a:lnTo>
                    <a:lnTo>
                      <a:pt x="2125" y="364"/>
                    </a:lnTo>
                    <a:lnTo>
                      <a:pt x="2126" y="365"/>
                    </a:lnTo>
                    <a:lnTo>
                      <a:pt x="2129" y="367"/>
                    </a:lnTo>
                    <a:lnTo>
                      <a:pt x="2129" y="370"/>
                    </a:lnTo>
                    <a:lnTo>
                      <a:pt x="2129" y="372"/>
                    </a:lnTo>
                    <a:lnTo>
                      <a:pt x="2131" y="374"/>
                    </a:lnTo>
                    <a:lnTo>
                      <a:pt x="2131" y="374"/>
                    </a:lnTo>
                    <a:lnTo>
                      <a:pt x="2131" y="374"/>
                    </a:lnTo>
                    <a:lnTo>
                      <a:pt x="2131" y="375"/>
                    </a:lnTo>
                    <a:lnTo>
                      <a:pt x="2133" y="376"/>
                    </a:lnTo>
                    <a:lnTo>
                      <a:pt x="2134" y="378"/>
                    </a:lnTo>
                    <a:lnTo>
                      <a:pt x="2134" y="381"/>
                    </a:lnTo>
                    <a:lnTo>
                      <a:pt x="2134" y="384"/>
                    </a:lnTo>
                    <a:lnTo>
                      <a:pt x="2135" y="386"/>
                    </a:lnTo>
                    <a:lnTo>
                      <a:pt x="2135" y="389"/>
                    </a:lnTo>
                    <a:lnTo>
                      <a:pt x="2135" y="395"/>
                    </a:lnTo>
                    <a:lnTo>
                      <a:pt x="2134" y="401"/>
                    </a:lnTo>
                    <a:lnTo>
                      <a:pt x="2133" y="408"/>
                    </a:lnTo>
                    <a:lnTo>
                      <a:pt x="2131" y="411"/>
                    </a:lnTo>
                    <a:lnTo>
                      <a:pt x="2128" y="416"/>
                    </a:lnTo>
                    <a:lnTo>
                      <a:pt x="2124" y="422"/>
                    </a:lnTo>
                    <a:lnTo>
                      <a:pt x="2124" y="431"/>
                    </a:lnTo>
                    <a:lnTo>
                      <a:pt x="2124" y="433"/>
                    </a:lnTo>
                    <a:lnTo>
                      <a:pt x="2125" y="437"/>
                    </a:lnTo>
                    <a:lnTo>
                      <a:pt x="2124" y="440"/>
                    </a:lnTo>
                    <a:lnTo>
                      <a:pt x="2124" y="443"/>
                    </a:lnTo>
                    <a:lnTo>
                      <a:pt x="2124" y="447"/>
                    </a:lnTo>
                    <a:lnTo>
                      <a:pt x="2124" y="449"/>
                    </a:lnTo>
                    <a:lnTo>
                      <a:pt x="2125" y="451"/>
                    </a:lnTo>
                    <a:lnTo>
                      <a:pt x="2125" y="453"/>
                    </a:lnTo>
                    <a:lnTo>
                      <a:pt x="2126" y="455"/>
                    </a:lnTo>
                    <a:lnTo>
                      <a:pt x="2126" y="459"/>
                    </a:lnTo>
                    <a:lnTo>
                      <a:pt x="2126" y="462"/>
                    </a:lnTo>
                    <a:lnTo>
                      <a:pt x="2126" y="465"/>
                    </a:lnTo>
                    <a:lnTo>
                      <a:pt x="2126" y="469"/>
                    </a:lnTo>
                    <a:lnTo>
                      <a:pt x="2124" y="473"/>
                    </a:lnTo>
                    <a:lnTo>
                      <a:pt x="2123" y="477"/>
                    </a:lnTo>
                    <a:lnTo>
                      <a:pt x="2122" y="482"/>
                    </a:lnTo>
                    <a:lnTo>
                      <a:pt x="2121" y="484"/>
                    </a:lnTo>
                    <a:lnTo>
                      <a:pt x="2120" y="485"/>
                    </a:lnTo>
                    <a:lnTo>
                      <a:pt x="2119" y="485"/>
                    </a:lnTo>
                    <a:lnTo>
                      <a:pt x="2118" y="484"/>
                    </a:lnTo>
                    <a:lnTo>
                      <a:pt x="2117" y="483"/>
                    </a:lnTo>
                    <a:lnTo>
                      <a:pt x="2114" y="483"/>
                    </a:lnTo>
                    <a:lnTo>
                      <a:pt x="2113" y="483"/>
                    </a:lnTo>
                    <a:lnTo>
                      <a:pt x="2113" y="484"/>
                    </a:lnTo>
                    <a:lnTo>
                      <a:pt x="2111" y="487"/>
                    </a:lnTo>
                    <a:lnTo>
                      <a:pt x="2111" y="490"/>
                    </a:lnTo>
                    <a:lnTo>
                      <a:pt x="2110" y="493"/>
                    </a:lnTo>
                    <a:lnTo>
                      <a:pt x="2109" y="495"/>
                    </a:lnTo>
                    <a:lnTo>
                      <a:pt x="2107" y="495"/>
                    </a:lnTo>
                    <a:lnTo>
                      <a:pt x="2106" y="496"/>
                    </a:lnTo>
                    <a:lnTo>
                      <a:pt x="2103" y="496"/>
                    </a:lnTo>
                    <a:lnTo>
                      <a:pt x="2102" y="497"/>
                    </a:lnTo>
                    <a:lnTo>
                      <a:pt x="2101" y="499"/>
                    </a:lnTo>
                    <a:lnTo>
                      <a:pt x="2100" y="504"/>
                    </a:lnTo>
                    <a:lnTo>
                      <a:pt x="2099" y="507"/>
                    </a:lnTo>
                    <a:lnTo>
                      <a:pt x="2098" y="512"/>
                    </a:lnTo>
                    <a:lnTo>
                      <a:pt x="2096" y="514"/>
                    </a:lnTo>
                    <a:lnTo>
                      <a:pt x="2095" y="514"/>
                    </a:lnTo>
                    <a:lnTo>
                      <a:pt x="2092" y="514"/>
                    </a:lnTo>
                    <a:lnTo>
                      <a:pt x="2091" y="514"/>
                    </a:lnTo>
                    <a:lnTo>
                      <a:pt x="2089" y="514"/>
                    </a:lnTo>
                    <a:lnTo>
                      <a:pt x="2088" y="513"/>
                    </a:lnTo>
                    <a:lnTo>
                      <a:pt x="2087" y="512"/>
                    </a:lnTo>
                    <a:lnTo>
                      <a:pt x="2086" y="510"/>
                    </a:lnTo>
                    <a:lnTo>
                      <a:pt x="2086" y="508"/>
                    </a:lnTo>
                    <a:lnTo>
                      <a:pt x="2087" y="506"/>
                    </a:lnTo>
                    <a:lnTo>
                      <a:pt x="2087" y="504"/>
                    </a:lnTo>
                    <a:lnTo>
                      <a:pt x="2088" y="502"/>
                    </a:lnTo>
                    <a:lnTo>
                      <a:pt x="2088" y="499"/>
                    </a:lnTo>
                    <a:lnTo>
                      <a:pt x="2089" y="497"/>
                    </a:lnTo>
                    <a:lnTo>
                      <a:pt x="2089" y="486"/>
                    </a:lnTo>
                    <a:lnTo>
                      <a:pt x="2089" y="484"/>
                    </a:lnTo>
                    <a:lnTo>
                      <a:pt x="2089" y="483"/>
                    </a:lnTo>
                    <a:lnTo>
                      <a:pt x="2090" y="482"/>
                    </a:lnTo>
                    <a:lnTo>
                      <a:pt x="2090" y="482"/>
                    </a:lnTo>
                    <a:lnTo>
                      <a:pt x="2091" y="482"/>
                    </a:lnTo>
                    <a:lnTo>
                      <a:pt x="2092" y="482"/>
                    </a:lnTo>
                    <a:lnTo>
                      <a:pt x="2093" y="482"/>
                    </a:lnTo>
                    <a:lnTo>
                      <a:pt x="2095" y="481"/>
                    </a:lnTo>
                    <a:lnTo>
                      <a:pt x="2096" y="479"/>
                    </a:lnTo>
                    <a:lnTo>
                      <a:pt x="2097" y="476"/>
                    </a:lnTo>
                    <a:lnTo>
                      <a:pt x="2098" y="475"/>
                    </a:lnTo>
                    <a:lnTo>
                      <a:pt x="2098" y="470"/>
                    </a:lnTo>
                    <a:lnTo>
                      <a:pt x="2097" y="463"/>
                    </a:lnTo>
                    <a:lnTo>
                      <a:pt x="2096" y="455"/>
                    </a:lnTo>
                    <a:lnTo>
                      <a:pt x="2093" y="451"/>
                    </a:lnTo>
                    <a:lnTo>
                      <a:pt x="2092" y="449"/>
                    </a:lnTo>
                    <a:lnTo>
                      <a:pt x="2092" y="447"/>
                    </a:lnTo>
                    <a:lnTo>
                      <a:pt x="2090" y="443"/>
                    </a:lnTo>
                    <a:lnTo>
                      <a:pt x="2089" y="440"/>
                    </a:lnTo>
                    <a:lnTo>
                      <a:pt x="2089" y="436"/>
                    </a:lnTo>
                    <a:lnTo>
                      <a:pt x="2091" y="431"/>
                    </a:lnTo>
                    <a:lnTo>
                      <a:pt x="2093" y="429"/>
                    </a:lnTo>
                    <a:lnTo>
                      <a:pt x="2095" y="426"/>
                    </a:lnTo>
                    <a:lnTo>
                      <a:pt x="2097" y="422"/>
                    </a:lnTo>
                    <a:lnTo>
                      <a:pt x="2099" y="420"/>
                    </a:lnTo>
                    <a:lnTo>
                      <a:pt x="2100" y="417"/>
                    </a:lnTo>
                    <a:lnTo>
                      <a:pt x="2102" y="414"/>
                    </a:lnTo>
                    <a:lnTo>
                      <a:pt x="2102" y="411"/>
                    </a:lnTo>
                    <a:lnTo>
                      <a:pt x="2101" y="409"/>
                    </a:lnTo>
                    <a:lnTo>
                      <a:pt x="2100" y="407"/>
                    </a:lnTo>
                    <a:lnTo>
                      <a:pt x="2099" y="407"/>
                    </a:lnTo>
                    <a:lnTo>
                      <a:pt x="2098" y="408"/>
                    </a:lnTo>
                    <a:lnTo>
                      <a:pt x="2098" y="409"/>
                    </a:lnTo>
                    <a:lnTo>
                      <a:pt x="2098" y="411"/>
                    </a:lnTo>
                    <a:lnTo>
                      <a:pt x="2096" y="416"/>
                    </a:lnTo>
                    <a:lnTo>
                      <a:pt x="2095" y="419"/>
                    </a:lnTo>
                    <a:lnTo>
                      <a:pt x="2092" y="421"/>
                    </a:lnTo>
                    <a:lnTo>
                      <a:pt x="2091" y="425"/>
                    </a:lnTo>
                    <a:lnTo>
                      <a:pt x="2090" y="426"/>
                    </a:lnTo>
                    <a:lnTo>
                      <a:pt x="2089" y="426"/>
                    </a:lnTo>
                    <a:lnTo>
                      <a:pt x="2088" y="426"/>
                    </a:lnTo>
                    <a:lnTo>
                      <a:pt x="2087" y="425"/>
                    </a:lnTo>
                    <a:lnTo>
                      <a:pt x="2087" y="422"/>
                    </a:lnTo>
                    <a:lnTo>
                      <a:pt x="2087" y="420"/>
                    </a:lnTo>
                    <a:lnTo>
                      <a:pt x="2086" y="418"/>
                    </a:lnTo>
                    <a:lnTo>
                      <a:pt x="2085" y="415"/>
                    </a:lnTo>
                    <a:lnTo>
                      <a:pt x="2085" y="411"/>
                    </a:lnTo>
                    <a:lnTo>
                      <a:pt x="2085" y="405"/>
                    </a:lnTo>
                    <a:lnTo>
                      <a:pt x="2085" y="397"/>
                    </a:lnTo>
                    <a:lnTo>
                      <a:pt x="2084" y="390"/>
                    </a:lnTo>
                    <a:lnTo>
                      <a:pt x="2080" y="387"/>
                    </a:lnTo>
                    <a:lnTo>
                      <a:pt x="2079" y="387"/>
                    </a:lnTo>
                    <a:lnTo>
                      <a:pt x="2079" y="387"/>
                    </a:lnTo>
                    <a:lnTo>
                      <a:pt x="2079" y="389"/>
                    </a:lnTo>
                    <a:lnTo>
                      <a:pt x="2079" y="392"/>
                    </a:lnTo>
                    <a:lnTo>
                      <a:pt x="2080" y="394"/>
                    </a:lnTo>
                    <a:lnTo>
                      <a:pt x="2080" y="396"/>
                    </a:lnTo>
                    <a:lnTo>
                      <a:pt x="2080" y="398"/>
                    </a:lnTo>
                    <a:lnTo>
                      <a:pt x="2080" y="400"/>
                    </a:lnTo>
                    <a:lnTo>
                      <a:pt x="2079" y="401"/>
                    </a:lnTo>
                    <a:lnTo>
                      <a:pt x="2078" y="403"/>
                    </a:lnTo>
                    <a:lnTo>
                      <a:pt x="2077" y="404"/>
                    </a:lnTo>
                    <a:lnTo>
                      <a:pt x="2076" y="406"/>
                    </a:lnTo>
                    <a:lnTo>
                      <a:pt x="2075" y="408"/>
                    </a:lnTo>
                    <a:lnTo>
                      <a:pt x="2074" y="411"/>
                    </a:lnTo>
                    <a:lnTo>
                      <a:pt x="2073" y="416"/>
                    </a:lnTo>
                    <a:lnTo>
                      <a:pt x="2071" y="419"/>
                    </a:lnTo>
                    <a:lnTo>
                      <a:pt x="2069" y="422"/>
                    </a:lnTo>
                    <a:lnTo>
                      <a:pt x="2068" y="422"/>
                    </a:lnTo>
                    <a:lnTo>
                      <a:pt x="2067" y="422"/>
                    </a:lnTo>
                    <a:lnTo>
                      <a:pt x="2066" y="423"/>
                    </a:lnTo>
                    <a:lnTo>
                      <a:pt x="2065" y="425"/>
                    </a:lnTo>
                    <a:lnTo>
                      <a:pt x="2063" y="427"/>
                    </a:lnTo>
                    <a:lnTo>
                      <a:pt x="2060" y="428"/>
                    </a:lnTo>
                    <a:lnTo>
                      <a:pt x="2059" y="428"/>
                    </a:lnTo>
                    <a:lnTo>
                      <a:pt x="2057" y="428"/>
                    </a:lnTo>
                    <a:lnTo>
                      <a:pt x="2054" y="427"/>
                    </a:lnTo>
                    <a:lnTo>
                      <a:pt x="2052" y="425"/>
                    </a:lnTo>
                    <a:lnTo>
                      <a:pt x="2049" y="422"/>
                    </a:lnTo>
                    <a:lnTo>
                      <a:pt x="2047" y="422"/>
                    </a:lnTo>
                    <a:lnTo>
                      <a:pt x="2047" y="422"/>
                    </a:lnTo>
                    <a:lnTo>
                      <a:pt x="2046" y="421"/>
                    </a:lnTo>
                    <a:lnTo>
                      <a:pt x="2044" y="419"/>
                    </a:lnTo>
                    <a:lnTo>
                      <a:pt x="2043" y="418"/>
                    </a:lnTo>
                    <a:lnTo>
                      <a:pt x="2044" y="406"/>
                    </a:lnTo>
                    <a:lnTo>
                      <a:pt x="2045" y="396"/>
                    </a:lnTo>
                    <a:lnTo>
                      <a:pt x="2045" y="394"/>
                    </a:lnTo>
                    <a:lnTo>
                      <a:pt x="2044" y="392"/>
                    </a:lnTo>
                    <a:lnTo>
                      <a:pt x="2043" y="389"/>
                    </a:lnTo>
                    <a:lnTo>
                      <a:pt x="2042" y="387"/>
                    </a:lnTo>
                    <a:lnTo>
                      <a:pt x="2041" y="385"/>
                    </a:lnTo>
                    <a:lnTo>
                      <a:pt x="2041" y="382"/>
                    </a:lnTo>
                    <a:lnTo>
                      <a:pt x="2041" y="378"/>
                    </a:lnTo>
                    <a:lnTo>
                      <a:pt x="2041" y="375"/>
                    </a:lnTo>
                    <a:lnTo>
                      <a:pt x="2041" y="372"/>
                    </a:lnTo>
                    <a:lnTo>
                      <a:pt x="2039" y="368"/>
                    </a:lnTo>
                    <a:lnTo>
                      <a:pt x="2039" y="365"/>
                    </a:lnTo>
                    <a:lnTo>
                      <a:pt x="2038" y="363"/>
                    </a:lnTo>
                    <a:lnTo>
                      <a:pt x="2036" y="362"/>
                    </a:lnTo>
                    <a:lnTo>
                      <a:pt x="2035" y="362"/>
                    </a:lnTo>
                    <a:lnTo>
                      <a:pt x="2033" y="363"/>
                    </a:lnTo>
                    <a:lnTo>
                      <a:pt x="2032" y="363"/>
                    </a:lnTo>
                    <a:lnTo>
                      <a:pt x="2031" y="362"/>
                    </a:lnTo>
                    <a:lnTo>
                      <a:pt x="2028" y="361"/>
                    </a:lnTo>
                    <a:lnTo>
                      <a:pt x="2026" y="360"/>
                    </a:lnTo>
                    <a:lnTo>
                      <a:pt x="2025" y="357"/>
                    </a:lnTo>
                    <a:lnTo>
                      <a:pt x="2023" y="355"/>
                    </a:lnTo>
                    <a:lnTo>
                      <a:pt x="2023" y="352"/>
                    </a:lnTo>
                    <a:lnTo>
                      <a:pt x="2025" y="353"/>
                    </a:lnTo>
                    <a:lnTo>
                      <a:pt x="2027" y="354"/>
                    </a:lnTo>
                    <a:lnTo>
                      <a:pt x="2030" y="355"/>
                    </a:lnTo>
                    <a:lnTo>
                      <a:pt x="2032" y="355"/>
                    </a:lnTo>
                    <a:lnTo>
                      <a:pt x="2034" y="355"/>
                    </a:lnTo>
                    <a:lnTo>
                      <a:pt x="2036" y="354"/>
                    </a:lnTo>
                    <a:lnTo>
                      <a:pt x="2036" y="353"/>
                    </a:lnTo>
                    <a:lnTo>
                      <a:pt x="2036" y="351"/>
                    </a:lnTo>
                    <a:lnTo>
                      <a:pt x="2036" y="347"/>
                    </a:lnTo>
                    <a:lnTo>
                      <a:pt x="2035" y="345"/>
                    </a:lnTo>
                    <a:lnTo>
                      <a:pt x="2035" y="342"/>
                    </a:lnTo>
                    <a:lnTo>
                      <a:pt x="2034" y="339"/>
                    </a:lnTo>
                    <a:lnTo>
                      <a:pt x="2034" y="336"/>
                    </a:lnTo>
                    <a:lnTo>
                      <a:pt x="2034" y="308"/>
                    </a:lnTo>
                    <a:lnTo>
                      <a:pt x="2034" y="307"/>
                    </a:lnTo>
                    <a:lnTo>
                      <a:pt x="2034" y="306"/>
                    </a:lnTo>
                    <a:lnTo>
                      <a:pt x="2034" y="306"/>
                    </a:lnTo>
                    <a:lnTo>
                      <a:pt x="2035" y="306"/>
                    </a:lnTo>
                    <a:lnTo>
                      <a:pt x="2036" y="306"/>
                    </a:lnTo>
                    <a:lnTo>
                      <a:pt x="2037" y="306"/>
                    </a:lnTo>
                    <a:lnTo>
                      <a:pt x="2038" y="305"/>
                    </a:lnTo>
                    <a:lnTo>
                      <a:pt x="2038" y="302"/>
                    </a:lnTo>
                    <a:lnTo>
                      <a:pt x="2039" y="301"/>
                    </a:lnTo>
                    <a:lnTo>
                      <a:pt x="2041" y="299"/>
                    </a:lnTo>
                    <a:lnTo>
                      <a:pt x="2042" y="295"/>
                    </a:lnTo>
                    <a:lnTo>
                      <a:pt x="2044" y="290"/>
                    </a:lnTo>
                    <a:lnTo>
                      <a:pt x="2046" y="286"/>
                    </a:lnTo>
                    <a:lnTo>
                      <a:pt x="2049" y="281"/>
                    </a:lnTo>
                    <a:lnTo>
                      <a:pt x="2052" y="281"/>
                    </a:lnTo>
                    <a:lnTo>
                      <a:pt x="2054" y="281"/>
                    </a:lnTo>
                    <a:lnTo>
                      <a:pt x="2056" y="279"/>
                    </a:lnTo>
                    <a:lnTo>
                      <a:pt x="2056" y="279"/>
                    </a:lnTo>
                    <a:lnTo>
                      <a:pt x="2056" y="277"/>
                    </a:lnTo>
                    <a:lnTo>
                      <a:pt x="2057" y="274"/>
                    </a:lnTo>
                    <a:lnTo>
                      <a:pt x="2058" y="272"/>
                    </a:lnTo>
                    <a:lnTo>
                      <a:pt x="2059" y="267"/>
                    </a:lnTo>
                    <a:lnTo>
                      <a:pt x="2060" y="264"/>
                    </a:lnTo>
                    <a:lnTo>
                      <a:pt x="2063" y="261"/>
                    </a:lnTo>
                    <a:lnTo>
                      <a:pt x="2065" y="256"/>
                    </a:lnTo>
                    <a:lnTo>
                      <a:pt x="2065" y="254"/>
                    </a:lnTo>
                    <a:lnTo>
                      <a:pt x="2065" y="252"/>
                    </a:lnTo>
                    <a:lnTo>
                      <a:pt x="2066" y="248"/>
                    </a:lnTo>
                    <a:lnTo>
                      <a:pt x="2067" y="247"/>
                    </a:lnTo>
                    <a:lnTo>
                      <a:pt x="2067" y="245"/>
                    </a:lnTo>
                    <a:lnTo>
                      <a:pt x="2068" y="243"/>
                    </a:lnTo>
                    <a:lnTo>
                      <a:pt x="2069" y="242"/>
                    </a:lnTo>
                    <a:lnTo>
                      <a:pt x="2070" y="242"/>
                    </a:lnTo>
                    <a:lnTo>
                      <a:pt x="2071" y="241"/>
                    </a:lnTo>
                    <a:lnTo>
                      <a:pt x="2073" y="235"/>
                    </a:lnTo>
                    <a:lnTo>
                      <a:pt x="2074" y="227"/>
                    </a:lnTo>
                    <a:lnTo>
                      <a:pt x="2076" y="221"/>
                    </a:lnTo>
                    <a:lnTo>
                      <a:pt x="2076" y="210"/>
                    </a:lnTo>
                    <a:lnTo>
                      <a:pt x="2076" y="207"/>
                    </a:lnTo>
                    <a:lnTo>
                      <a:pt x="2077" y="204"/>
                    </a:lnTo>
                    <a:lnTo>
                      <a:pt x="2078" y="202"/>
                    </a:lnTo>
                    <a:lnTo>
                      <a:pt x="2078" y="201"/>
                    </a:lnTo>
                    <a:lnTo>
                      <a:pt x="2079" y="199"/>
                    </a:lnTo>
                    <a:lnTo>
                      <a:pt x="2079" y="198"/>
                    </a:lnTo>
                    <a:lnTo>
                      <a:pt x="2078" y="196"/>
                    </a:lnTo>
                    <a:lnTo>
                      <a:pt x="2078" y="193"/>
                    </a:lnTo>
                    <a:lnTo>
                      <a:pt x="2078" y="192"/>
                    </a:lnTo>
                    <a:lnTo>
                      <a:pt x="2077" y="190"/>
                    </a:lnTo>
                    <a:lnTo>
                      <a:pt x="2077" y="188"/>
                    </a:lnTo>
                    <a:lnTo>
                      <a:pt x="2077" y="186"/>
                    </a:lnTo>
                    <a:lnTo>
                      <a:pt x="2078" y="185"/>
                    </a:lnTo>
                    <a:lnTo>
                      <a:pt x="2078" y="183"/>
                    </a:lnTo>
                    <a:lnTo>
                      <a:pt x="2078" y="177"/>
                    </a:lnTo>
                    <a:lnTo>
                      <a:pt x="2078" y="176"/>
                    </a:lnTo>
                    <a:lnTo>
                      <a:pt x="2079" y="176"/>
                    </a:lnTo>
                    <a:lnTo>
                      <a:pt x="2079" y="176"/>
                    </a:lnTo>
                    <a:lnTo>
                      <a:pt x="2080" y="176"/>
                    </a:lnTo>
                    <a:lnTo>
                      <a:pt x="2080" y="175"/>
                    </a:lnTo>
                    <a:lnTo>
                      <a:pt x="2080" y="166"/>
                    </a:lnTo>
                    <a:lnTo>
                      <a:pt x="2081" y="165"/>
                    </a:lnTo>
                    <a:lnTo>
                      <a:pt x="2082" y="164"/>
                    </a:lnTo>
                    <a:lnTo>
                      <a:pt x="2084" y="163"/>
                    </a:lnTo>
                    <a:lnTo>
                      <a:pt x="2085" y="161"/>
                    </a:lnTo>
                    <a:lnTo>
                      <a:pt x="2085" y="144"/>
                    </a:lnTo>
                    <a:lnTo>
                      <a:pt x="2084" y="142"/>
                    </a:lnTo>
                    <a:lnTo>
                      <a:pt x="2082" y="141"/>
                    </a:lnTo>
                    <a:lnTo>
                      <a:pt x="2082" y="139"/>
                    </a:lnTo>
                    <a:lnTo>
                      <a:pt x="2082" y="138"/>
                    </a:lnTo>
                    <a:lnTo>
                      <a:pt x="2082" y="137"/>
                    </a:lnTo>
                    <a:lnTo>
                      <a:pt x="2081" y="136"/>
                    </a:lnTo>
                    <a:lnTo>
                      <a:pt x="2081" y="134"/>
                    </a:lnTo>
                    <a:lnTo>
                      <a:pt x="2081" y="133"/>
                    </a:lnTo>
                    <a:lnTo>
                      <a:pt x="2082" y="131"/>
                    </a:lnTo>
                    <a:lnTo>
                      <a:pt x="2084" y="127"/>
                    </a:lnTo>
                    <a:lnTo>
                      <a:pt x="2084" y="124"/>
                    </a:lnTo>
                    <a:lnTo>
                      <a:pt x="2082" y="121"/>
                    </a:lnTo>
                    <a:lnTo>
                      <a:pt x="2082" y="117"/>
                    </a:lnTo>
                    <a:lnTo>
                      <a:pt x="2082" y="113"/>
                    </a:lnTo>
                    <a:lnTo>
                      <a:pt x="2084" y="114"/>
                    </a:lnTo>
                    <a:lnTo>
                      <a:pt x="2084" y="115"/>
                    </a:lnTo>
                    <a:lnTo>
                      <a:pt x="2085" y="115"/>
                    </a:lnTo>
                    <a:lnTo>
                      <a:pt x="2085" y="114"/>
                    </a:lnTo>
                    <a:lnTo>
                      <a:pt x="2085" y="111"/>
                    </a:lnTo>
                    <a:lnTo>
                      <a:pt x="2085" y="111"/>
                    </a:lnTo>
                    <a:lnTo>
                      <a:pt x="2085" y="111"/>
                    </a:lnTo>
                    <a:lnTo>
                      <a:pt x="2086" y="113"/>
                    </a:lnTo>
                    <a:lnTo>
                      <a:pt x="2086" y="114"/>
                    </a:lnTo>
                    <a:lnTo>
                      <a:pt x="2087" y="116"/>
                    </a:lnTo>
                    <a:lnTo>
                      <a:pt x="2087" y="117"/>
                    </a:lnTo>
                    <a:lnTo>
                      <a:pt x="2087" y="119"/>
                    </a:lnTo>
                    <a:lnTo>
                      <a:pt x="2088" y="120"/>
                    </a:lnTo>
                    <a:lnTo>
                      <a:pt x="2088" y="121"/>
                    </a:lnTo>
                    <a:lnTo>
                      <a:pt x="2089" y="121"/>
                    </a:lnTo>
                    <a:lnTo>
                      <a:pt x="2089" y="120"/>
                    </a:lnTo>
                    <a:lnTo>
                      <a:pt x="2089" y="113"/>
                    </a:lnTo>
                    <a:lnTo>
                      <a:pt x="2089" y="112"/>
                    </a:lnTo>
                    <a:lnTo>
                      <a:pt x="2090" y="112"/>
                    </a:lnTo>
                    <a:lnTo>
                      <a:pt x="2090" y="112"/>
                    </a:lnTo>
                    <a:lnTo>
                      <a:pt x="2091" y="113"/>
                    </a:lnTo>
                    <a:lnTo>
                      <a:pt x="2092" y="113"/>
                    </a:lnTo>
                    <a:lnTo>
                      <a:pt x="2093" y="114"/>
                    </a:lnTo>
                    <a:lnTo>
                      <a:pt x="2093" y="113"/>
                    </a:lnTo>
                    <a:lnTo>
                      <a:pt x="2093" y="112"/>
                    </a:lnTo>
                    <a:lnTo>
                      <a:pt x="2092" y="109"/>
                    </a:lnTo>
                    <a:lnTo>
                      <a:pt x="2092" y="105"/>
                    </a:lnTo>
                    <a:lnTo>
                      <a:pt x="2091" y="103"/>
                    </a:lnTo>
                    <a:lnTo>
                      <a:pt x="2091" y="101"/>
                    </a:lnTo>
                    <a:lnTo>
                      <a:pt x="2091" y="100"/>
                    </a:lnTo>
                    <a:lnTo>
                      <a:pt x="2092" y="101"/>
                    </a:lnTo>
                    <a:lnTo>
                      <a:pt x="2092" y="101"/>
                    </a:lnTo>
                    <a:lnTo>
                      <a:pt x="2093" y="102"/>
                    </a:lnTo>
                    <a:lnTo>
                      <a:pt x="2095" y="103"/>
                    </a:lnTo>
                    <a:lnTo>
                      <a:pt x="2095" y="103"/>
                    </a:lnTo>
                    <a:lnTo>
                      <a:pt x="2096" y="102"/>
                    </a:lnTo>
                    <a:lnTo>
                      <a:pt x="2096" y="100"/>
                    </a:lnTo>
                    <a:lnTo>
                      <a:pt x="2096" y="99"/>
                    </a:lnTo>
                    <a:lnTo>
                      <a:pt x="2095" y="96"/>
                    </a:lnTo>
                    <a:lnTo>
                      <a:pt x="2095" y="95"/>
                    </a:lnTo>
                    <a:lnTo>
                      <a:pt x="2095" y="93"/>
                    </a:lnTo>
                    <a:lnTo>
                      <a:pt x="2095" y="92"/>
                    </a:lnTo>
                    <a:lnTo>
                      <a:pt x="2095" y="91"/>
                    </a:lnTo>
                    <a:lnTo>
                      <a:pt x="2096" y="91"/>
                    </a:lnTo>
                    <a:lnTo>
                      <a:pt x="2097" y="92"/>
                    </a:lnTo>
                    <a:lnTo>
                      <a:pt x="2097" y="92"/>
                    </a:lnTo>
                    <a:lnTo>
                      <a:pt x="2098" y="93"/>
                    </a:lnTo>
                    <a:lnTo>
                      <a:pt x="2098" y="93"/>
                    </a:lnTo>
                    <a:lnTo>
                      <a:pt x="2098" y="91"/>
                    </a:lnTo>
                    <a:lnTo>
                      <a:pt x="2098" y="80"/>
                    </a:lnTo>
                    <a:lnTo>
                      <a:pt x="2097" y="78"/>
                    </a:lnTo>
                    <a:lnTo>
                      <a:pt x="2097" y="76"/>
                    </a:lnTo>
                    <a:lnTo>
                      <a:pt x="2096" y="73"/>
                    </a:lnTo>
                    <a:lnTo>
                      <a:pt x="2096" y="71"/>
                    </a:lnTo>
                    <a:lnTo>
                      <a:pt x="2096" y="71"/>
                    </a:lnTo>
                    <a:lnTo>
                      <a:pt x="2097" y="72"/>
                    </a:lnTo>
                    <a:lnTo>
                      <a:pt x="2098" y="73"/>
                    </a:lnTo>
                    <a:lnTo>
                      <a:pt x="2099" y="74"/>
                    </a:lnTo>
                    <a:lnTo>
                      <a:pt x="2099" y="77"/>
                    </a:lnTo>
                    <a:lnTo>
                      <a:pt x="2100" y="78"/>
                    </a:lnTo>
                    <a:lnTo>
                      <a:pt x="2101" y="80"/>
                    </a:lnTo>
                    <a:lnTo>
                      <a:pt x="2102" y="80"/>
                    </a:lnTo>
                    <a:lnTo>
                      <a:pt x="2102" y="80"/>
                    </a:lnTo>
                    <a:lnTo>
                      <a:pt x="2102" y="79"/>
                    </a:lnTo>
                    <a:lnTo>
                      <a:pt x="2102" y="78"/>
                    </a:lnTo>
                    <a:lnTo>
                      <a:pt x="2102" y="77"/>
                    </a:lnTo>
                    <a:lnTo>
                      <a:pt x="2102" y="74"/>
                    </a:lnTo>
                    <a:lnTo>
                      <a:pt x="2102" y="73"/>
                    </a:lnTo>
                    <a:lnTo>
                      <a:pt x="2103" y="73"/>
                    </a:lnTo>
                    <a:lnTo>
                      <a:pt x="2104" y="73"/>
                    </a:lnTo>
                    <a:lnTo>
                      <a:pt x="2106" y="74"/>
                    </a:lnTo>
                    <a:lnTo>
                      <a:pt x="2106" y="76"/>
                    </a:lnTo>
                    <a:lnTo>
                      <a:pt x="2107" y="76"/>
                    </a:lnTo>
                    <a:lnTo>
                      <a:pt x="2108" y="78"/>
                    </a:lnTo>
                    <a:lnTo>
                      <a:pt x="2108" y="78"/>
                    </a:lnTo>
                    <a:lnTo>
                      <a:pt x="2109" y="77"/>
                    </a:lnTo>
                    <a:lnTo>
                      <a:pt x="2109" y="76"/>
                    </a:lnTo>
                    <a:lnTo>
                      <a:pt x="2109" y="74"/>
                    </a:lnTo>
                    <a:lnTo>
                      <a:pt x="2109" y="72"/>
                    </a:lnTo>
                    <a:lnTo>
                      <a:pt x="2109" y="71"/>
                    </a:lnTo>
                    <a:lnTo>
                      <a:pt x="2110" y="70"/>
                    </a:lnTo>
                    <a:lnTo>
                      <a:pt x="2111" y="69"/>
                    </a:lnTo>
                    <a:lnTo>
                      <a:pt x="2111" y="70"/>
                    </a:lnTo>
                    <a:lnTo>
                      <a:pt x="2111" y="72"/>
                    </a:lnTo>
                    <a:lnTo>
                      <a:pt x="2112" y="73"/>
                    </a:lnTo>
                    <a:lnTo>
                      <a:pt x="2113" y="74"/>
                    </a:lnTo>
                    <a:lnTo>
                      <a:pt x="2114" y="76"/>
                    </a:lnTo>
                    <a:lnTo>
                      <a:pt x="2114" y="74"/>
                    </a:lnTo>
                    <a:lnTo>
                      <a:pt x="2115" y="73"/>
                    </a:lnTo>
                    <a:lnTo>
                      <a:pt x="2115" y="72"/>
                    </a:lnTo>
                    <a:lnTo>
                      <a:pt x="2115" y="71"/>
                    </a:lnTo>
                    <a:lnTo>
                      <a:pt x="2115" y="71"/>
                    </a:lnTo>
                    <a:lnTo>
                      <a:pt x="2117" y="71"/>
                    </a:lnTo>
                    <a:lnTo>
                      <a:pt x="2118" y="71"/>
                    </a:lnTo>
                    <a:lnTo>
                      <a:pt x="2119" y="73"/>
                    </a:lnTo>
                    <a:lnTo>
                      <a:pt x="2120" y="74"/>
                    </a:lnTo>
                    <a:lnTo>
                      <a:pt x="2121" y="76"/>
                    </a:lnTo>
                    <a:lnTo>
                      <a:pt x="2121" y="77"/>
                    </a:lnTo>
                    <a:lnTo>
                      <a:pt x="2122" y="76"/>
                    </a:lnTo>
                    <a:lnTo>
                      <a:pt x="2122" y="74"/>
                    </a:lnTo>
                    <a:lnTo>
                      <a:pt x="2123" y="73"/>
                    </a:lnTo>
                    <a:lnTo>
                      <a:pt x="2123" y="72"/>
                    </a:lnTo>
                    <a:lnTo>
                      <a:pt x="2123" y="72"/>
                    </a:lnTo>
                    <a:lnTo>
                      <a:pt x="2124" y="71"/>
                    </a:lnTo>
                    <a:lnTo>
                      <a:pt x="2125" y="71"/>
                    </a:lnTo>
                    <a:lnTo>
                      <a:pt x="2125" y="70"/>
                    </a:lnTo>
                    <a:lnTo>
                      <a:pt x="2126" y="68"/>
                    </a:lnTo>
                    <a:lnTo>
                      <a:pt x="2126" y="65"/>
                    </a:lnTo>
                    <a:lnTo>
                      <a:pt x="2125" y="63"/>
                    </a:lnTo>
                    <a:lnTo>
                      <a:pt x="2125" y="62"/>
                    </a:lnTo>
                    <a:lnTo>
                      <a:pt x="2125" y="62"/>
                    </a:lnTo>
                    <a:lnTo>
                      <a:pt x="2125" y="62"/>
                    </a:lnTo>
                    <a:lnTo>
                      <a:pt x="2126" y="62"/>
                    </a:lnTo>
                    <a:lnTo>
                      <a:pt x="2128" y="65"/>
                    </a:lnTo>
                    <a:lnTo>
                      <a:pt x="2129" y="66"/>
                    </a:lnTo>
                    <a:lnTo>
                      <a:pt x="2130" y="66"/>
                    </a:lnTo>
                    <a:lnTo>
                      <a:pt x="2130" y="65"/>
                    </a:lnTo>
                    <a:lnTo>
                      <a:pt x="2131" y="62"/>
                    </a:lnTo>
                    <a:lnTo>
                      <a:pt x="2131" y="59"/>
                    </a:lnTo>
                    <a:lnTo>
                      <a:pt x="2131" y="56"/>
                    </a:lnTo>
                    <a:lnTo>
                      <a:pt x="2131" y="54"/>
                    </a:lnTo>
                    <a:lnTo>
                      <a:pt x="2132" y="52"/>
                    </a:lnTo>
                    <a:lnTo>
                      <a:pt x="2132" y="51"/>
                    </a:lnTo>
                    <a:lnTo>
                      <a:pt x="2133" y="51"/>
                    </a:lnTo>
                    <a:lnTo>
                      <a:pt x="2134" y="52"/>
                    </a:lnTo>
                    <a:lnTo>
                      <a:pt x="2135" y="54"/>
                    </a:lnTo>
                    <a:lnTo>
                      <a:pt x="2135" y="56"/>
                    </a:lnTo>
                    <a:lnTo>
                      <a:pt x="2135" y="57"/>
                    </a:lnTo>
                    <a:lnTo>
                      <a:pt x="2136" y="58"/>
                    </a:lnTo>
                    <a:lnTo>
                      <a:pt x="2136" y="59"/>
                    </a:lnTo>
                    <a:lnTo>
                      <a:pt x="2137" y="58"/>
                    </a:lnTo>
                    <a:lnTo>
                      <a:pt x="2137" y="58"/>
                    </a:lnTo>
                    <a:lnTo>
                      <a:pt x="2137" y="57"/>
                    </a:lnTo>
                    <a:lnTo>
                      <a:pt x="2137" y="56"/>
                    </a:lnTo>
                    <a:lnTo>
                      <a:pt x="2137" y="55"/>
                    </a:lnTo>
                    <a:lnTo>
                      <a:pt x="2139" y="54"/>
                    </a:lnTo>
                    <a:lnTo>
                      <a:pt x="2140" y="54"/>
                    </a:lnTo>
                    <a:lnTo>
                      <a:pt x="2140" y="55"/>
                    </a:lnTo>
                    <a:lnTo>
                      <a:pt x="2141" y="55"/>
                    </a:lnTo>
                    <a:lnTo>
                      <a:pt x="2142" y="56"/>
                    </a:lnTo>
                    <a:lnTo>
                      <a:pt x="2143" y="57"/>
                    </a:lnTo>
                    <a:lnTo>
                      <a:pt x="2143" y="57"/>
                    </a:lnTo>
                    <a:lnTo>
                      <a:pt x="2144" y="56"/>
                    </a:lnTo>
                    <a:lnTo>
                      <a:pt x="2144" y="55"/>
                    </a:lnTo>
                    <a:lnTo>
                      <a:pt x="2144" y="55"/>
                    </a:lnTo>
                    <a:lnTo>
                      <a:pt x="2145" y="55"/>
                    </a:lnTo>
                    <a:lnTo>
                      <a:pt x="2145" y="56"/>
                    </a:lnTo>
                    <a:lnTo>
                      <a:pt x="2145" y="56"/>
                    </a:lnTo>
                    <a:lnTo>
                      <a:pt x="2146" y="56"/>
                    </a:lnTo>
                    <a:lnTo>
                      <a:pt x="2151" y="56"/>
                    </a:lnTo>
                    <a:lnTo>
                      <a:pt x="2151" y="56"/>
                    </a:lnTo>
                    <a:lnTo>
                      <a:pt x="2151" y="55"/>
                    </a:lnTo>
                    <a:lnTo>
                      <a:pt x="2151" y="54"/>
                    </a:lnTo>
                    <a:lnTo>
                      <a:pt x="2151" y="52"/>
                    </a:lnTo>
                    <a:lnTo>
                      <a:pt x="2151" y="51"/>
                    </a:lnTo>
                    <a:lnTo>
                      <a:pt x="2152" y="52"/>
                    </a:lnTo>
                    <a:lnTo>
                      <a:pt x="2153" y="55"/>
                    </a:lnTo>
                    <a:lnTo>
                      <a:pt x="2154" y="57"/>
                    </a:lnTo>
                    <a:lnTo>
                      <a:pt x="2154" y="58"/>
                    </a:lnTo>
                    <a:lnTo>
                      <a:pt x="2156" y="60"/>
                    </a:lnTo>
                    <a:lnTo>
                      <a:pt x="2157" y="60"/>
                    </a:lnTo>
                    <a:lnTo>
                      <a:pt x="2158" y="61"/>
                    </a:lnTo>
                    <a:lnTo>
                      <a:pt x="2158" y="62"/>
                    </a:lnTo>
                    <a:lnTo>
                      <a:pt x="2161" y="63"/>
                    </a:lnTo>
                    <a:lnTo>
                      <a:pt x="2161" y="65"/>
                    </a:lnTo>
                    <a:lnTo>
                      <a:pt x="2161" y="66"/>
                    </a:lnTo>
                    <a:lnTo>
                      <a:pt x="2161" y="67"/>
                    </a:lnTo>
                    <a:lnTo>
                      <a:pt x="2163" y="68"/>
                    </a:lnTo>
                    <a:lnTo>
                      <a:pt x="2164" y="68"/>
                    </a:lnTo>
                    <a:lnTo>
                      <a:pt x="2165" y="68"/>
                    </a:lnTo>
                    <a:lnTo>
                      <a:pt x="2165" y="69"/>
                    </a:lnTo>
                    <a:lnTo>
                      <a:pt x="2165" y="69"/>
                    </a:lnTo>
                    <a:lnTo>
                      <a:pt x="2167" y="72"/>
                    </a:lnTo>
                    <a:lnTo>
                      <a:pt x="2167" y="74"/>
                    </a:lnTo>
                    <a:lnTo>
                      <a:pt x="2168" y="76"/>
                    </a:lnTo>
                    <a:lnTo>
                      <a:pt x="2169" y="76"/>
                    </a:lnTo>
                    <a:lnTo>
                      <a:pt x="2172" y="78"/>
                    </a:lnTo>
                    <a:lnTo>
                      <a:pt x="2174" y="80"/>
                    </a:lnTo>
                    <a:lnTo>
                      <a:pt x="2174" y="82"/>
                    </a:lnTo>
                    <a:lnTo>
                      <a:pt x="2176" y="84"/>
                    </a:lnTo>
                    <a:lnTo>
                      <a:pt x="2177" y="85"/>
                    </a:lnTo>
                    <a:lnTo>
                      <a:pt x="2177" y="88"/>
                    </a:lnTo>
                    <a:lnTo>
                      <a:pt x="2177" y="89"/>
                    </a:lnTo>
                    <a:lnTo>
                      <a:pt x="2176" y="89"/>
                    </a:lnTo>
                    <a:lnTo>
                      <a:pt x="2176" y="90"/>
                    </a:lnTo>
                    <a:lnTo>
                      <a:pt x="2176" y="90"/>
                    </a:lnTo>
                    <a:lnTo>
                      <a:pt x="2175" y="90"/>
                    </a:lnTo>
                    <a:lnTo>
                      <a:pt x="2174" y="90"/>
                    </a:lnTo>
                    <a:lnTo>
                      <a:pt x="2172" y="91"/>
                    </a:lnTo>
                    <a:lnTo>
                      <a:pt x="2173" y="93"/>
                    </a:lnTo>
                    <a:lnTo>
                      <a:pt x="2173" y="95"/>
                    </a:lnTo>
                    <a:lnTo>
                      <a:pt x="2174" y="99"/>
                    </a:lnTo>
                    <a:lnTo>
                      <a:pt x="2174" y="102"/>
                    </a:lnTo>
                    <a:lnTo>
                      <a:pt x="2175" y="105"/>
                    </a:lnTo>
                    <a:lnTo>
                      <a:pt x="2176" y="106"/>
                    </a:lnTo>
                    <a:lnTo>
                      <a:pt x="2177" y="109"/>
                    </a:lnTo>
                    <a:lnTo>
                      <a:pt x="2178" y="110"/>
                    </a:lnTo>
                    <a:lnTo>
                      <a:pt x="2179" y="111"/>
                    </a:lnTo>
                    <a:lnTo>
                      <a:pt x="2180" y="112"/>
                    </a:lnTo>
                    <a:lnTo>
                      <a:pt x="2180" y="113"/>
                    </a:lnTo>
                    <a:lnTo>
                      <a:pt x="2183" y="115"/>
                    </a:lnTo>
                    <a:lnTo>
                      <a:pt x="2185" y="116"/>
                    </a:lnTo>
                    <a:lnTo>
                      <a:pt x="2187" y="117"/>
                    </a:lnTo>
                    <a:lnTo>
                      <a:pt x="2189" y="120"/>
                    </a:lnTo>
                    <a:lnTo>
                      <a:pt x="2190" y="122"/>
                    </a:lnTo>
                    <a:lnTo>
                      <a:pt x="2193" y="123"/>
                    </a:lnTo>
                    <a:lnTo>
                      <a:pt x="2194" y="124"/>
                    </a:lnTo>
                    <a:lnTo>
                      <a:pt x="2194" y="124"/>
                    </a:lnTo>
                    <a:lnTo>
                      <a:pt x="2194" y="125"/>
                    </a:lnTo>
                    <a:lnTo>
                      <a:pt x="2194" y="124"/>
                    </a:lnTo>
                    <a:lnTo>
                      <a:pt x="2194" y="124"/>
                    </a:lnTo>
                    <a:lnTo>
                      <a:pt x="2194" y="123"/>
                    </a:lnTo>
                    <a:lnTo>
                      <a:pt x="2193" y="122"/>
                    </a:lnTo>
                    <a:lnTo>
                      <a:pt x="2194" y="121"/>
                    </a:lnTo>
                    <a:lnTo>
                      <a:pt x="2194" y="120"/>
                    </a:lnTo>
                    <a:lnTo>
                      <a:pt x="2196" y="121"/>
                    </a:lnTo>
                    <a:lnTo>
                      <a:pt x="2196" y="122"/>
                    </a:lnTo>
                    <a:lnTo>
                      <a:pt x="2197" y="123"/>
                    </a:lnTo>
                    <a:lnTo>
                      <a:pt x="2198" y="124"/>
                    </a:lnTo>
                    <a:lnTo>
                      <a:pt x="2199" y="125"/>
                    </a:lnTo>
                    <a:lnTo>
                      <a:pt x="2199" y="126"/>
                    </a:lnTo>
                    <a:lnTo>
                      <a:pt x="2200" y="126"/>
                    </a:lnTo>
                    <a:lnTo>
                      <a:pt x="2200" y="126"/>
                    </a:lnTo>
                    <a:lnTo>
                      <a:pt x="2202" y="127"/>
                    </a:lnTo>
                    <a:lnTo>
                      <a:pt x="2205" y="128"/>
                    </a:lnTo>
                    <a:lnTo>
                      <a:pt x="2207" y="131"/>
                    </a:lnTo>
                    <a:lnTo>
                      <a:pt x="2209" y="131"/>
                    </a:lnTo>
                    <a:lnTo>
                      <a:pt x="2210" y="130"/>
                    </a:lnTo>
                    <a:lnTo>
                      <a:pt x="2212" y="130"/>
                    </a:lnTo>
                    <a:lnTo>
                      <a:pt x="2213" y="131"/>
                    </a:lnTo>
                    <a:lnTo>
                      <a:pt x="2213" y="132"/>
                    </a:lnTo>
                    <a:lnTo>
                      <a:pt x="2215" y="133"/>
                    </a:lnTo>
                    <a:lnTo>
                      <a:pt x="2216" y="134"/>
                    </a:lnTo>
                    <a:lnTo>
                      <a:pt x="2216" y="136"/>
                    </a:lnTo>
                    <a:lnTo>
                      <a:pt x="2216" y="137"/>
                    </a:lnTo>
                    <a:lnTo>
                      <a:pt x="2219" y="143"/>
                    </a:lnTo>
                    <a:lnTo>
                      <a:pt x="2221" y="147"/>
                    </a:lnTo>
                    <a:lnTo>
                      <a:pt x="2224" y="152"/>
                    </a:lnTo>
                    <a:lnTo>
                      <a:pt x="2227" y="155"/>
                    </a:lnTo>
                    <a:lnTo>
                      <a:pt x="2228" y="158"/>
                    </a:lnTo>
                    <a:lnTo>
                      <a:pt x="2229" y="160"/>
                    </a:lnTo>
                    <a:lnTo>
                      <a:pt x="2230" y="163"/>
                    </a:lnTo>
                    <a:lnTo>
                      <a:pt x="2231" y="166"/>
                    </a:lnTo>
                    <a:lnTo>
                      <a:pt x="2233" y="169"/>
                    </a:lnTo>
                    <a:lnTo>
                      <a:pt x="2235" y="172"/>
                    </a:lnTo>
                    <a:lnTo>
                      <a:pt x="2238" y="175"/>
                    </a:lnTo>
                    <a:lnTo>
                      <a:pt x="2243" y="183"/>
                    </a:lnTo>
                    <a:lnTo>
                      <a:pt x="2249" y="196"/>
                    </a:lnTo>
                    <a:lnTo>
                      <a:pt x="2252" y="208"/>
                    </a:lnTo>
                    <a:lnTo>
                      <a:pt x="2251" y="221"/>
                    </a:lnTo>
                    <a:lnTo>
                      <a:pt x="2251" y="223"/>
                    </a:lnTo>
                    <a:lnTo>
                      <a:pt x="2250" y="225"/>
                    </a:lnTo>
                    <a:lnTo>
                      <a:pt x="2249" y="227"/>
                    </a:lnTo>
                    <a:lnTo>
                      <a:pt x="2249" y="230"/>
                    </a:lnTo>
                    <a:lnTo>
                      <a:pt x="2248" y="231"/>
                    </a:lnTo>
                    <a:lnTo>
                      <a:pt x="2245" y="230"/>
                    </a:lnTo>
                    <a:lnTo>
                      <a:pt x="2244" y="230"/>
                    </a:lnTo>
                    <a:lnTo>
                      <a:pt x="2242" y="230"/>
                    </a:lnTo>
                    <a:lnTo>
                      <a:pt x="2241" y="230"/>
                    </a:lnTo>
                    <a:lnTo>
                      <a:pt x="2240" y="231"/>
                    </a:lnTo>
                    <a:lnTo>
                      <a:pt x="2240" y="232"/>
                    </a:lnTo>
                    <a:lnTo>
                      <a:pt x="2239" y="232"/>
                    </a:lnTo>
                    <a:lnTo>
                      <a:pt x="2238" y="232"/>
                    </a:lnTo>
                    <a:lnTo>
                      <a:pt x="2235" y="231"/>
                    </a:lnTo>
                    <a:lnTo>
                      <a:pt x="2233" y="230"/>
                    </a:lnTo>
                    <a:lnTo>
                      <a:pt x="2231" y="227"/>
                    </a:lnTo>
                    <a:lnTo>
                      <a:pt x="2228" y="225"/>
                    </a:lnTo>
                    <a:lnTo>
                      <a:pt x="2224" y="223"/>
                    </a:lnTo>
                    <a:lnTo>
                      <a:pt x="2222" y="221"/>
                    </a:lnTo>
                    <a:lnTo>
                      <a:pt x="2221" y="220"/>
                    </a:lnTo>
                    <a:lnTo>
                      <a:pt x="2219" y="218"/>
                    </a:lnTo>
                    <a:lnTo>
                      <a:pt x="2218" y="215"/>
                    </a:lnTo>
                    <a:lnTo>
                      <a:pt x="2216" y="212"/>
                    </a:lnTo>
                    <a:lnTo>
                      <a:pt x="2211" y="205"/>
                    </a:lnTo>
                    <a:lnTo>
                      <a:pt x="2207" y="201"/>
                    </a:lnTo>
                    <a:lnTo>
                      <a:pt x="2202" y="197"/>
                    </a:lnTo>
                    <a:lnTo>
                      <a:pt x="2201" y="196"/>
                    </a:lnTo>
                    <a:lnTo>
                      <a:pt x="2200" y="197"/>
                    </a:lnTo>
                    <a:lnTo>
                      <a:pt x="2200" y="197"/>
                    </a:lnTo>
                    <a:lnTo>
                      <a:pt x="2200" y="198"/>
                    </a:lnTo>
                    <a:lnTo>
                      <a:pt x="2200" y="200"/>
                    </a:lnTo>
                    <a:lnTo>
                      <a:pt x="2200" y="201"/>
                    </a:lnTo>
                    <a:lnTo>
                      <a:pt x="2202" y="203"/>
                    </a:lnTo>
                    <a:lnTo>
                      <a:pt x="2205" y="205"/>
                    </a:lnTo>
                    <a:lnTo>
                      <a:pt x="2205" y="208"/>
                    </a:lnTo>
                    <a:lnTo>
                      <a:pt x="2207" y="210"/>
                    </a:lnTo>
                    <a:lnTo>
                      <a:pt x="2207" y="212"/>
                    </a:lnTo>
                    <a:lnTo>
                      <a:pt x="2208" y="214"/>
                    </a:lnTo>
                    <a:lnTo>
                      <a:pt x="2209" y="216"/>
                    </a:lnTo>
                    <a:lnTo>
                      <a:pt x="2210" y="219"/>
                    </a:lnTo>
                    <a:lnTo>
                      <a:pt x="2211" y="220"/>
                    </a:lnTo>
                    <a:lnTo>
                      <a:pt x="2213" y="221"/>
                    </a:lnTo>
                    <a:lnTo>
                      <a:pt x="2216" y="225"/>
                    </a:lnTo>
                    <a:lnTo>
                      <a:pt x="2217" y="230"/>
                    </a:lnTo>
                    <a:lnTo>
                      <a:pt x="2218" y="234"/>
                    </a:lnTo>
                    <a:lnTo>
                      <a:pt x="2220" y="239"/>
                    </a:lnTo>
                    <a:lnTo>
                      <a:pt x="2220" y="243"/>
                    </a:lnTo>
                    <a:lnTo>
                      <a:pt x="2220" y="247"/>
                    </a:lnTo>
                    <a:lnTo>
                      <a:pt x="2223" y="263"/>
                    </a:lnTo>
                    <a:lnTo>
                      <a:pt x="2224" y="277"/>
                    </a:lnTo>
                    <a:lnTo>
                      <a:pt x="2226" y="279"/>
                    </a:lnTo>
                    <a:lnTo>
                      <a:pt x="2227" y="280"/>
                    </a:lnTo>
                    <a:lnTo>
                      <a:pt x="2228" y="281"/>
                    </a:lnTo>
                    <a:lnTo>
                      <a:pt x="2229" y="281"/>
                    </a:lnTo>
                    <a:lnTo>
                      <a:pt x="2229" y="281"/>
                    </a:lnTo>
                    <a:lnTo>
                      <a:pt x="2231" y="284"/>
                    </a:lnTo>
                    <a:lnTo>
                      <a:pt x="2233" y="286"/>
                    </a:lnTo>
                    <a:lnTo>
                      <a:pt x="2233" y="288"/>
                    </a:lnTo>
                    <a:lnTo>
                      <a:pt x="2235" y="291"/>
                    </a:lnTo>
                    <a:lnTo>
                      <a:pt x="2238" y="294"/>
                    </a:lnTo>
                    <a:lnTo>
                      <a:pt x="2239" y="296"/>
                    </a:lnTo>
                    <a:lnTo>
                      <a:pt x="2241" y="297"/>
                    </a:lnTo>
                    <a:lnTo>
                      <a:pt x="2242" y="298"/>
                    </a:lnTo>
                    <a:lnTo>
                      <a:pt x="2243" y="297"/>
                    </a:lnTo>
                    <a:lnTo>
                      <a:pt x="2244" y="295"/>
                    </a:lnTo>
                    <a:lnTo>
                      <a:pt x="2244" y="292"/>
                    </a:lnTo>
                    <a:lnTo>
                      <a:pt x="2244" y="288"/>
                    </a:lnTo>
                    <a:lnTo>
                      <a:pt x="2242" y="284"/>
                    </a:lnTo>
                    <a:lnTo>
                      <a:pt x="2242" y="283"/>
                    </a:lnTo>
                    <a:lnTo>
                      <a:pt x="2241" y="281"/>
                    </a:lnTo>
                    <a:lnTo>
                      <a:pt x="2240" y="281"/>
                    </a:lnTo>
                    <a:lnTo>
                      <a:pt x="2239" y="280"/>
                    </a:lnTo>
                    <a:lnTo>
                      <a:pt x="2238" y="279"/>
                    </a:lnTo>
                    <a:lnTo>
                      <a:pt x="2237" y="279"/>
                    </a:lnTo>
                    <a:lnTo>
                      <a:pt x="2237" y="278"/>
                    </a:lnTo>
                    <a:lnTo>
                      <a:pt x="2235" y="276"/>
                    </a:lnTo>
                    <a:lnTo>
                      <a:pt x="2234" y="274"/>
                    </a:lnTo>
                    <a:lnTo>
                      <a:pt x="2233" y="272"/>
                    </a:lnTo>
                    <a:lnTo>
                      <a:pt x="2233" y="269"/>
                    </a:lnTo>
                    <a:lnTo>
                      <a:pt x="2232" y="267"/>
                    </a:lnTo>
                    <a:lnTo>
                      <a:pt x="2231" y="265"/>
                    </a:lnTo>
                    <a:lnTo>
                      <a:pt x="2231" y="263"/>
                    </a:lnTo>
                    <a:lnTo>
                      <a:pt x="2232" y="259"/>
                    </a:lnTo>
                    <a:lnTo>
                      <a:pt x="2233" y="258"/>
                    </a:lnTo>
                    <a:lnTo>
                      <a:pt x="2234" y="257"/>
                    </a:lnTo>
                    <a:lnTo>
                      <a:pt x="2237" y="258"/>
                    </a:lnTo>
                    <a:lnTo>
                      <a:pt x="2239" y="259"/>
                    </a:lnTo>
                    <a:lnTo>
                      <a:pt x="2240" y="263"/>
                    </a:lnTo>
                    <a:lnTo>
                      <a:pt x="2241" y="267"/>
                    </a:lnTo>
                    <a:lnTo>
                      <a:pt x="2242" y="270"/>
                    </a:lnTo>
                    <a:lnTo>
                      <a:pt x="2243" y="272"/>
                    </a:lnTo>
                    <a:lnTo>
                      <a:pt x="2245" y="274"/>
                    </a:lnTo>
                    <a:lnTo>
                      <a:pt x="2246" y="275"/>
                    </a:lnTo>
                    <a:lnTo>
                      <a:pt x="2249" y="275"/>
                    </a:lnTo>
                    <a:lnTo>
                      <a:pt x="2250" y="276"/>
                    </a:lnTo>
                    <a:lnTo>
                      <a:pt x="2251" y="276"/>
                    </a:lnTo>
                    <a:lnTo>
                      <a:pt x="2253" y="277"/>
                    </a:lnTo>
                    <a:lnTo>
                      <a:pt x="2254" y="278"/>
                    </a:lnTo>
                    <a:lnTo>
                      <a:pt x="2255" y="279"/>
                    </a:lnTo>
                    <a:lnTo>
                      <a:pt x="2256" y="280"/>
                    </a:lnTo>
                    <a:lnTo>
                      <a:pt x="2257" y="281"/>
                    </a:lnTo>
                    <a:lnTo>
                      <a:pt x="2257" y="280"/>
                    </a:lnTo>
                    <a:lnTo>
                      <a:pt x="2257" y="279"/>
                    </a:lnTo>
                    <a:lnTo>
                      <a:pt x="2255" y="274"/>
                    </a:lnTo>
                    <a:lnTo>
                      <a:pt x="2254" y="269"/>
                    </a:lnTo>
                    <a:lnTo>
                      <a:pt x="2253" y="265"/>
                    </a:lnTo>
                    <a:lnTo>
                      <a:pt x="2252" y="261"/>
                    </a:lnTo>
                    <a:lnTo>
                      <a:pt x="2250" y="256"/>
                    </a:lnTo>
                    <a:lnTo>
                      <a:pt x="2249" y="253"/>
                    </a:lnTo>
                    <a:lnTo>
                      <a:pt x="2249" y="250"/>
                    </a:lnTo>
                    <a:lnTo>
                      <a:pt x="2249" y="247"/>
                    </a:lnTo>
                    <a:lnTo>
                      <a:pt x="2249" y="245"/>
                    </a:lnTo>
                    <a:lnTo>
                      <a:pt x="2250" y="245"/>
                    </a:lnTo>
                    <a:lnTo>
                      <a:pt x="2252" y="244"/>
                    </a:lnTo>
                    <a:lnTo>
                      <a:pt x="2253" y="243"/>
                    </a:lnTo>
                    <a:lnTo>
                      <a:pt x="2253" y="241"/>
                    </a:lnTo>
                    <a:lnTo>
                      <a:pt x="2254" y="239"/>
                    </a:lnTo>
                    <a:lnTo>
                      <a:pt x="2255" y="235"/>
                    </a:lnTo>
                    <a:lnTo>
                      <a:pt x="2255" y="234"/>
                    </a:lnTo>
                    <a:lnTo>
                      <a:pt x="2256" y="232"/>
                    </a:lnTo>
                    <a:lnTo>
                      <a:pt x="2257" y="229"/>
                    </a:lnTo>
                    <a:lnTo>
                      <a:pt x="2257" y="225"/>
                    </a:lnTo>
                    <a:lnTo>
                      <a:pt x="2257" y="224"/>
                    </a:lnTo>
                    <a:lnTo>
                      <a:pt x="2257" y="223"/>
                    </a:lnTo>
                    <a:lnTo>
                      <a:pt x="2257" y="222"/>
                    </a:lnTo>
                    <a:lnTo>
                      <a:pt x="2259" y="222"/>
                    </a:lnTo>
                    <a:lnTo>
                      <a:pt x="2260" y="223"/>
                    </a:lnTo>
                    <a:lnTo>
                      <a:pt x="2260" y="225"/>
                    </a:lnTo>
                    <a:lnTo>
                      <a:pt x="2261" y="227"/>
                    </a:lnTo>
                    <a:lnTo>
                      <a:pt x="2263" y="230"/>
                    </a:lnTo>
                    <a:lnTo>
                      <a:pt x="2264" y="232"/>
                    </a:lnTo>
                    <a:lnTo>
                      <a:pt x="2264" y="233"/>
                    </a:lnTo>
                    <a:lnTo>
                      <a:pt x="2265" y="234"/>
                    </a:lnTo>
                    <a:lnTo>
                      <a:pt x="2267" y="234"/>
                    </a:lnTo>
                    <a:lnTo>
                      <a:pt x="2268" y="236"/>
                    </a:lnTo>
                    <a:lnTo>
                      <a:pt x="2268" y="237"/>
                    </a:lnTo>
                    <a:lnTo>
                      <a:pt x="2270" y="237"/>
                    </a:lnTo>
                    <a:lnTo>
                      <a:pt x="2271" y="237"/>
                    </a:lnTo>
                    <a:lnTo>
                      <a:pt x="2271" y="236"/>
                    </a:lnTo>
                    <a:lnTo>
                      <a:pt x="2271" y="225"/>
                    </a:lnTo>
                    <a:lnTo>
                      <a:pt x="2271" y="221"/>
                    </a:lnTo>
                    <a:lnTo>
                      <a:pt x="2270" y="218"/>
                    </a:lnTo>
                    <a:lnTo>
                      <a:pt x="2267" y="213"/>
                    </a:lnTo>
                    <a:lnTo>
                      <a:pt x="2266" y="210"/>
                    </a:lnTo>
                    <a:lnTo>
                      <a:pt x="2266" y="208"/>
                    </a:lnTo>
                    <a:lnTo>
                      <a:pt x="2265" y="203"/>
                    </a:lnTo>
                    <a:lnTo>
                      <a:pt x="2264" y="199"/>
                    </a:lnTo>
                    <a:lnTo>
                      <a:pt x="2264" y="194"/>
                    </a:lnTo>
                    <a:lnTo>
                      <a:pt x="2264" y="188"/>
                    </a:lnTo>
                    <a:lnTo>
                      <a:pt x="2263" y="183"/>
                    </a:lnTo>
                    <a:lnTo>
                      <a:pt x="2262" y="179"/>
                    </a:lnTo>
                    <a:lnTo>
                      <a:pt x="2262" y="176"/>
                    </a:lnTo>
                    <a:lnTo>
                      <a:pt x="2262" y="174"/>
                    </a:lnTo>
                    <a:lnTo>
                      <a:pt x="2261" y="171"/>
                    </a:lnTo>
                    <a:lnTo>
                      <a:pt x="2260" y="168"/>
                    </a:lnTo>
                    <a:lnTo>
                      <a:pt x="2257" y="164"/>
                    </a:lnTo>
                    <a:lnTo>
                      <a:pt x="2260" y="166"/>
                    </a:lnTo>
                    <a:lnTo>
                      <a:pt x="2262" y="168"/>
                    </a:lnTo>
                    <a:lnTo>
                      <a:pt x="2264" y="169"/>
                    </a:lnTo>
                    <a:lnTo>
                      <a:pt x="2266" y="170"/>
                    </a:lnTo>
                    <a:lnTo>
                      <a:pt x="2267" y="171"/>
                    </a:lnTo>
                    <a:lnTo>
                      <a:pt x="2270" y="172"/>
                    </a:lnTo>
                    <a:lnTo>
                      <a:pt x="2271" y="174"/>
                    </a:lnTo>
                    <a:lnTo>
                      <a:pt x="2271" y="175"/>
                    </a:lnTo>
                    <a:lnTo>
                      <a:pt x="2273" y="179"/>
                    </a:lnTo>
                    <a:lnTo>
                      <a:pt x="2274" y="183"/>
                    </a:lnTo>
                    <a:lnTo>
                      <a:pt x="2275" y="188"/>
                    </a:lnTo>
                    <a:lnTo>
                      <a:pt x="2275" y="191"/>
                    </a:lnTo>
                    <a:lnTo>
                      <a:pt x="2275" y="192"/>
                    </a:lnTo>
                    <a:lnTo>
                      <a:pt x="2275" y="194"/>
                    </a:lnTo>
                    <a:lnTo>
                      <a:pt x="2274" y="194"/>
                    </a:lnTo>
                    <a:lnTo>
                      <a:pt x="2273" y="194"/>
                    </a:lnTo>
                    <a:lnTo>
                      <a:pt x="2273" y="196"/>
                    </a:lnTo>
                    <a:lnTo>
                      <a:pt x="2272" y="196"/>
                    </a:lnTo>
                    <a:lnTo>
                      <a:pt x="2271" y="197"/>
                    </a:lnTo>
                    <a:lnTo>
                      <a:pt x="2271" y="199"/>
                    </a:lnTo>
                    <a:lnTo>
                      <a:pt x="2272" y="205"/>
                    </a:lnTo>
                    <a:lnTo>
                      <a:pt x="2275" y="213"/>
                    </a:lnTo>
                    <a:lnTo>
                      <a:pt x="2277" y="219"/>
                    </a:lnTo>
                    <a:lnTo>
                      <a:pt x="2278" y="221"/>
                    </a:lnTo>
                    <a:lnTo>
                      <a:pt x="2279" y="223"/>
                    </a:lnTo>
                    <a:lnTo>
                      <a:pt x="2281" y="223"/>
                    </a:lnTo>
                    <a:lnTo>
                      <a:pt x="2283" y="223"/>
                    </a:lnTo>
                    <a:lnTo>
                      <a:pt x="2284" y="222"/>
                    </a:lnTo>
                    <a:lnTo>
                      <a:pt x="2285" y="220"/>
                    </a:lnTo>
                    <a:lnTo>
                      <a:pt x="2286" y="219"/>
                    </a:lnTo>
                    <a:lnTo>
                      <a:pt x="2287" y="215"/>
                    </a:lnTo>
                    <a:lnTo>
                      <a:pt x="2286" y="212"/>
                    </a:lnTo>
                    <a:lnTo>
                      <a:pt x="2286" y="209"/>
                    </a:lnTo>
                    <a:lnTo>
                      <a:pt x="2285" y="204"/>
                    </a:lnTo>
                    <a:lnTo>
                      <a:pt x="2286" y="201"/>
                    </a:lnTo>
                    <a:lnTo>
                      <a:pt x="2286" y="199"/>
                    </a:lnTo>
                    <a:lnTo>
                      <a:pt x="2287" y="197"/>
                    </a:lnTo>
                    <a:lnTo>
                      <a:pt x="2289" y="194"/>
                    </a:lnTo>
                    <a:lnTo>
                      <a:pt x="2292" y="193"/>
                    </a:lnTo>
                    <a:lnTo>
                      <a:pt x="2293" y="192"/>
                    </a:lnTo>
                    <a:lnTo>
                      <a:pt x="2294" y="189"/>
                    </a:lnTo>
                    <a:lnTo>
                      <a:pt x="2296" y="186"/>
                    </a:lnTo>
                    <a:lnTo>
                      <a:pt x="2298" y="185"/>
                    </a:lnTo>
                    <a:lnTo>
                      <a:pt x="2299" y="182"/>
                    </a:lnTo>
                    <a:lnTo>
                      <a:pt x="2302" y="181"/>
                    </a:lnTo>
                    <a:lnTo>
                      <a:pt x="2303" y="180"/>
                    </a:lnTo>
                    <a:lnTo>
                      <a:pt x="2305" y="179"/>
                    </a:lnTo>
                    <a:lnTo>
                      <a:pt x="2305" y="177"/>
                    </a:lnTo>
                    <a:lnTo>
                      <a:pt x="2306" y="175"/>
                    </a:lnTo>
                    <a:lnTo>
                      <a:pt x="2307" y="172"/>
                    </a:lnTo>
                    <a:lnTo>
                      <a:pt x="2308" y="170"/>
                    </a:lnTo>
                    <a:lnTo>
                      <a:pt x="2310" y="168"/>
                    </a:lnTo>
                    <a:lnTo>
                      <a:pt x="2311" y="169"/>
                    </a:lnTo>
                    <a:lnTo>
                      <a:pt x="2311" y="170"/>
                    </a:lnTo>
                    <a:lnTo>
                      <a:pt x="2313" y="172"/>
                    </a:lnTo>
                    <a:lnTo>
                      <a:pt x="2313" y="175"/>
                    </a:lnTo>
                    <a:lnTo>
                      <a:pt x="2313" y="177"/>
                    </a:lnTo>
                    <a:lnTo>
                      <a:pt x="2313" y="179"/>
                    </a:lnTo>
                    <a:lnTo>
                      <a:pt x="2313" y="181"/>
                    </a:lnTo>
                    <a:lnTo>
                      <a:pt x="2313" y="183"/>
                    </a:lnTo>
                    <a:lnTo>
                      <a:pt x="2314" y="186"/>
                    </a:lnTo>
                    <a:lnTo>
                      <a:pt x="2315" y="188"/>
                    </a:lnTo>
                    <a:lnTo>
                      <a:pt x="2315" y="189"/>
                    </a:lnTo>
                    <a:lnTo>
                      <a:pt x="2316" y="190"/>
                    </a:lnTo>
                    <a:lnTo>
                      <a:pt x="2317" y="191"/>
                    </a:lnTo>
                    <a:lnTo>
                      <a:pt x="2319" y="190"/>
                    </a:lnTo>
                    <a:lnTo>
                      <a:pt x="2319" y="183"/>
                    </a:lnTo>
                    <a:lnTo>
                      <a:pt x="2320" y="182"/>
                    </a:lnTo>
                    <a:lnTo>
                      <a:pt x="2321" y="182"/>
                    </a:lnTo>
                    <a:lnTo>
                      <a:pt x="2321" y="180"/>
                    </a:lnTo>
                    <a:lnTo>
                      <a:pt x="2321" y="179"/>
                    </a:lnTo>
                    <a:lnTo>
                      <a:pt x="2322" y="178"/>
                    </a:lnTo>
                    <a:lnTo>
                      <a:pt x="2324" y="179"/>
                    </a:lnTo>
                    <a:lnTo>
                      <a:pt x="2325" y="180"/>
                    </a:lnTo>
                    <a:lnTo>
                      <a:pt x="2327" y="181"/>
                    </a:lnTo>
                    <a:lnTo>
                      <a:pt x="2328" y="183"/>
                    </a:lnTo>
                    <a:lnTo>
                      <a:pt x="2328" y="183"/>
                    </a:lnTo>
                    <a:lnTo>
                      <a:pt x="2329" y="183"/>
                    </a:lnTo>
                    <a:lnTo>
                      <a:pt x="2329" y="182"/>
                    </a:lnTo>
                    <a:lnTo>
                      <a:pt x="2330" y="181"/>
                    </a:lnTo>
                    <a:lnTo>
                      <a:pt x="2331" y="180"/>
                    </a:lnTo>
                    <a:lnTo>
                      <a:pt x="2331" y="179"/>
                    </a:lnTo>
                    <a:lnTo>
                      <a:pt x="2332" y="177"/>
                    </a:lnTo>
                    <a:lnTo>
                      <a:pt x="2333" y="175"/>
                    </a:lnTo>
                    <a:lnTo>
                      <a:pt x="2335" y="172"/>
                    </a:lnTo>
                    <a:lnTo>
                      <a:pt x="2335" y="171"/>
                    </a:lnTo>
                    <a:lnTo>
                      <a:pt x="2336" y="171"/>
                    </a:lnTo>
                    <a:lnTo>
                      <a:pt x="2337" y="172"/>
                    </a:lnTo>
                    <a:lnTo>
                      <a:pt x="2338" y="176"/>
                    </a:lnTo>
                    <a:lnTo>
                      <a:pt x="2338" y="179"/>
                    </a:lnTo>
                    <a:lnTo>
                      <a:pt x="2338" y="182"/>
                    </a:lnTo>
                    <a:lnTo>
                      <a:pt x="2338" y="186"/>
                    </a:lnTo>
                    <a:lnTo>
                      <a:pt x="2339" y="190"/>
                    </a:lnTo>
                    <a:lnTo>
                      <a:pt x="2340" y="192"/>
                    </a:lnTo>
                    <a:lnTo>
                      <a:pt x="2341" y="193"/>
                    </a:lnTo>
                    <a:lnTo>
                      <a:pt x="2342" y="193"/>
                    </a:lnTo>
                    <a:lnTo>
                      <a:pt x="2342" y="192"/>
                    </a:lnTo>
                    <a:lnTo>
                      <a:pt x="2343" y="190"/>
                    </a:lnTo>
                    <a:lnTo>
                      <a:pt x="2343" y="188"/>
                    </a:lnTo>
                    <a:lnTo>
                      <a:pt x="2343" y="186"/>
                    </a:lnTo>
                    <a:lnTo>
                      <a:pt x="2343" y="183"/>
                    </a:lnTo>
                    <a:lnTo>
                      <a:pt x="2343" y="182"/>
                    </a:lnTo>
                    <a:lnTo>
                      <a:pt x="2344" y="181"/>
                    </a:lnTo>
                    <a:lnTo>
                      <a:pt x="2344" y="181"/>
                    </a:lnTo>
                    <a:lnTo>
                      <a:pt x="2346" y="180"/>
                    </a:lnTo>
                    <a:lnTo>
                      <a:pt x="2346" y="179"/>
                    </a:lnTo>
                    <a:lnTo>
                      <a:pt x="2346" y="177"/>
                    </a:lnTo>
                    <a:lnTo>
                      <a:pt x="2346" y="175"/>
                    </a:lnTo>
                    <a:lnTo>
                      <a:pt x="2344" y="171"/>
                    </a:lnTo>
                    <a:lnTo>
                      <a:pt x="2343" y="168"/>
                    </a:lnTo>
                    <a:lnTo>
                      <a:pt x="2342" y="166"/>
                    </a:lnTo>
                    <a:lnTo>
                      <a:pt x="2341" y="163"/>
                    </a:lnTo>
                    <a:lnTo>
                      <a:pt x="2341" y="159"/>
                    </a:lnTo>
                    <a:lnTo>
                      <a:pt x="2340" y="157"/>
                    </a:lnTo>
                    <a:lnTo>
                      <a:pt x="2340" y="156"/>
                    </a:lnTo>
                    <a:lnTo>
                      <a:pt x="2339" y="155"/>
                    </a:lnTo>
                    <a:lnTo>
                      <a:pt x="2338" y="154"/>
                    </a:lnTo>
                    <a:lnTo>
                      <a:pt x="2337" y="153"/>
                    </a:lnTo>
                    <a:lnTo>
                      <a:pt x="2337" y="153"/>
                    </a:lnTo>
                    <a:lnTo>
                      <a:pt x="2336" y="150"/>
                    </a:lnTo>
                    <a:lnTo>
                      <a:pt x="2335" y="149"/>
                    </a:lnTo>
                    <a:lnTo>
                      <a:pt x="2333" y="147"/>
                    </a:lnTo>
                    <a:lnTo>
                      <a:pt x="2332" y="146"/>
                    </a:lnTo>
                    <a:lnTo>
                      <a:pt x="2332" y="144"/>
                    </a:lnTo>
                    <a:lnTo>
                      <a:pt x="2331" y="142"/>
                    </a:lnTo>
                    <a:lnTo>
                      <a:pt x="2330" y="138"/>
                    </a:lnTo>
                    <a:lnTo>
                      <a:pt x="2330" y="136"/>
                    </a:lnTo>
                    <a:lnTo>
                      <a:pt x="2330" y="133"/>
                    </a:lnTo>
                    <a:lnTo>
                      <a:pt x="2329" y="132"/>
                    </a:lnTo>
                    <a:lnTo>
                      <a:pt x="2330" y="132"/>
                    </a:lnTo>
                    <a:lnTo>
                      <a:pt x="2330" y="132"/>
                    </a:lnTo>
                    <a:lnTo>
                      <a:pt x="2331" y="133"/>
                    </a:lnTo>
                    <a:lnTo>
                      <a:pt x="2332" y="135"/>
                    </a:lnTo>
                    <a:lnTo>
                      <a:pt x="2333" y="137"/>
                    </a:lnTo>
                    <a:lnTo>
                      <a:pt x="2335" y="138"/>
                    </a:lnTo>
                    <a:lnTo>
                      <a:pt x="2336" y="141"/>
                    </a:lnTo>
                    <a:lnTo>
                      <a:pt x="2337" y="142"/>
                    </a:lnTo>
                    <a:lnTo>
                      <a:pt x="2337" y="142"/>
                    </a:lnTo>
                    <a:lnTo>
                      <a:pt x="2337" y="144"/>
                    </a:lnTo>
                    <a:lnTo>
                      <a:pt x="2338" y="146"/>
                    </a:lnTo>
                    <a:lnTo>
                      <a:pt x="2339" y="148"/>
                    </a:lnTo>
                    <a:lnTo>
                      <a:pt x="2341" y="150"/>
                    </a:lnTo>
                    <a:lnTo>
                      <a:pt x="2341" y="152"/>
                    </a:lnTo>
                    <a:lnTo>
                      <a:pt x="2341" y="154"/>
                    </a:lnTo>
                    <a:lnTo>
                      <a:pt x="2342" y="155"/>
                    </a:lnTo>
                    <a:lnTo>
                      <a:pt x="2343" y="155"/>
                    </a:lnTo>
                    <a:lnTo>
                      <a:pt x="2346" y="155"/>
                    </a:lnTo>
                    <a:lnTo>
                      <a:pt x="2348" y="156"/>
                    </a:lnTo>
                    <a:lnTo>
                      <a:pt x="2351" y="157"/>
                    </a:lnTo>
                    <a:lnTo>
                      <a:pt x="2354" y="159"/>
                    </a:lnTo>
                    <a:lnTo>
                      <a:pt x="2359" y="164"/>
                    </a:lnTo>
                    <a:lnTo>
                      <a:pt x="2363" y="169"/>
                    </a:lnTo>
                    <a:lnTo>
                      <a:pt x="2368" y="175"/>
                    </a:lnTo>
                    <a:lnTo>
                      <a:pt x="2374" y="187"/>
                    </a:lnTo>
                    <a:lnTo>
                      <a:pt x="2381" y="197"/>
                    </a:lnTo>
                    <a:lnTo>
                      <a:pt x="2381" y="198"/>
                    </a:lnTo>
                    <a:lnTo>
                      <a:pt x="2382" y="200"/>
                    </a:lnTo>
                    <a:lnTo>
                      <a:pt x="2383" y="201"/>
                    </a:lnTo>
                    <a:lnTo>
                      <a:pt x="2384" y="202"/>
                    </a:lnTo>
                    <a:lnTo>
                      <a:pt x="2385" y="203"/>
                    </a:lnTo>
                    <a:lnTo>
                      <a:pt x="2386" y="203"/>
                    </a:lnTo>
                    <a:lnTo>
                      <a:pt x="2387" y="201"/>
                    </a:lnTo>
                    <a:lnTo>
                      <a:pt x="2387" y="197"/>
                    </a:lnTo>
                    <a:lnTo>
                      <a:pt x="2386" y="194"/>
                    </a:lnTo>
                    <a:lnTo>
                      <a:pt x="2386" y="191"/>
                    </a:lnTo>
                    <a:lnTo>
                      <a:pt x="2385" y="189"/>
                    </a:lnTo>
                    <a:lnTo>
                      <a:pt x="2383" y="188"/>
                    </a:lnTo>
                    <a:lnTo>
                      <a:pt x="2381" y="183"/>
                    </a:lnTo>
                    <a:lnTo>
                      <a:pt x="2380" y="179"/>
                    </a:lnTo>
                    <a:lnTo>
                      <a:pt x="2379" y="175"/>
                    </a:lnTo>
                    <a:lnTo>
                      <a:pt x="2377" y="171"/>
                    </a:lnTo>
                    <a:lnTo>
                      <a:pt x="2377" y="169"/>
                    </a:lnTo>
                    <a:lnTo>
                      <a:pt x="2376" y="168"/>
                    </a:lnTo>
                    <a:lnTo>
                      <a:pt x="2375" y="167"/>
                    </a:lnTo>
                    <a:lnTo>
                      <a:pt x="2374" y="167"/>
                    </a:lnTo>
                    <a:lnTo>
                      <a:pt x="2373" y="167"/>
                    </a:lnTo>
                    <a:lnTo>
                      <a:pt x="2372" y="166"/>
                    </a:lnTo>
                    <a:lnTo>
                      <a:pt x="2371" y="163"/>
                    </a:lnTo>
                    <a:lnTo>
                      <a:pt x="2370" y="160"/>
                    </a:lnTo>
                    <a:lnTo>
                      <a:pt x="2370" y="157"/>
                    </a:lnTo>
                    <a:lnTo>
                      <a:pt x="2370" y="156"/>
                    </a:lnTo>
                    <a:lnTo>
                      <a:pt x="2370" y="155"/>
                    </a:lnTo>
                    <a:lnTo>
                      <a:pt x="2371" y="154"/>
                    </a:lnTo>
                    <a:lnTo>
                      <a:pt x="2372" y="152"/>
                    </a:lnTo>
                    <a:lnTo>
                      <a:pt x="2372" y="150"/>
                    </a:lnTo>
                    <a:lnTo>
                      <a:pt x="2372" y="148"/>
                    </a:lnTo>
                    <a:lnTo>
                      <a:pt x="2372" y="146"/>
                    </a:lnTo>
                    <a:lnTo>
                      <a:pt x="2372" y="135"/>
                    </a:lnTo>
                    <a:lnTo>
                      <a:pt x="2371" y="133"/>
                    </a:lnTo>
                    <a:lnTo>
                      <a:pt x="2370" y="131"/>
                    </a:lnTo>
                    <a:lnTo>
                      <a:pt x="2369" y="128"/>
                    </a:lnTo>
                    <a:lnTo>
                      <a:pt x="2368" y="127"/>
                    </a:lnTo>
                    <a:lnTo>
                      <a:pt x="2366" y="127"/>
                    </a:lnTo>
                    <a:lnTo>
                      <a:pt x="2365" y="128"/>
                    </a:lnTo>
                    <a:lnTo>
                      <a:pt x="2365" y="117"/>
                    </a:lnTo>
                    <a:lnTo>
                      <a:pt x="2364" y="116"/>
                    </a:lnTo>
                    <a:lnTo>
                      <a:pt x="2364" y="114"/>
                    </a:lnTo>
                    <a:lnTo>
                      <a:pt x="2364" y="113"/>
                    </a:lnTo>
                    <a:lnTo>
                      <a:pt x="2364" y="112"/>
                    </a:lnTo>
                    <a:lnTo>
                      <a:pt x="2365" y="111"/>
                    </a:lnTo>
                    <a:lnTo>
                      <a:pt x="2366" y="111"/>
                    </a:lnTo>
                    <a:lnTo>
                      <a:pt x="2366" y="112"/>
                    </a:lnTo>
                    <a:lnTo>
                      <a:pt x="2368" y="112"/>
                    </a:lnTo>
                    <a:lnTo>
                      <a:pt x="2368" y="111"/>
                    </a:lnTo>
                    <a:lnTo>
                      <a:pt x="2369" y="109"/>
                    </a:lnTo>
                    <a:lnTo>
                      <a:pt x="2369" y="105"/>
                    </a:lnTo>
                    <a:lnTo>
                      <a:pt x="2370" y="104"/>
                    </a:lnTo>
                    <a:lnTo>
                      <a:pt x="2370" y="102"/>
                    </a:lnTo>
                    <a:lnTo>
                      <a:pt x="2370" y="93"/>
                    </a:lnTo>
                    <a:lnTo>
                      <a:pt x="2369" y="91"/>
                    </a:lnTo>
                    <a:lnTo>
                      <a:pt x="2369" y="89"/>
                    </a:lnTo>
                    <a:lnTo>
                      <a:pt x="2369" y="87"/>
                    </a:lnTo>
                    <a:lnTo>
                      <a:pt x="2369" y="84"/>
                    </a:lnTo>
                    <a:lnTo>
                      <a:pt x="2370" y="82"/>
                    </a:lnTo>
                    <a:lnTo>
                      <a:pt x="2370" y="69"/>
                    </a:lnTo>
                    <a:lnTo>
                      <a:pt x="2370" y="67"/>
                    </a:lnTo>
                    <a:lnTo>
                      <a:pt x="2370" y="65"/>
                    </a:lnTo>
                    <a:lnTo>
                      <a:pt x="2371" y="65"/>
                    </a:lnTo>
                    <a:lnTo>
                      <a:pt x="2371" y="65"/>
                    </a:lnTo>
                    <a:lnTo>
                      <a:pt x="2372" y="65"/>
                    </a:lnTo>
                    <a:lnTo>
                      <a:pt x="2373" y="66"/>
                    </a:lnTo>
                    <a:lnTo>
                      <a:pt x="2374" y="67"/>
                    </a:lnTo>
                    <a:lnTo>
                      <a:pt x="2375" y="68"/>
                    </a:lnTo>
                    <a:lnTo>
                      <a:pt x="2375" y="68"/>
                    </a:lnTo>
                    <a:lnTo>
                      <a:pt x="2376" y="68"/>
                    </a:lnTo>
                    <a:lnTo>
                      <a:pt x="2377" y="68"/>
                    </a:lnTo>
                    <a:lnTo>
                      <a:pt x="2379" y="67"/>
                    </a:lnTo>
                    <a:lnTo>
                      <a:pt x="2380" y="69"/>
                    </a:lnTo>
                    <a:lnTo>
                      <a:pt x="2381" y="70"/>
                    </a:lnTo>
                    <a:lnTo>
                      <a:pt x="2382" y="71"/>
                    </a:lnTo>
                    <a:lnTo>
                      <a:pt x="2383" y="71"/>
                    </a:lnTo>
                    <a:lnTo>
                      <a:pt x="2386" y="81"/>
                    </a:lnTo>
                    <a:lnTo>
                      <a:pt x="2390" y="91"/>
                    </a:lnTo>
                    <a:lnTo>
                      <a:pt x="2390" y="113"/>
                    </a:lnTo>
                    <a:lnTo>
                      <a:pt x="2388" y="116"/>
                    </a:lnTo>
                    <a:lnTo>
                      <a:pt x="2390" y="120"/>
                    </a:lnTo>
                    <a:lnTo>
                      <a:pt x="2391" y="122"/>
                    </a:lnTo>
                    <a:lnTo>
                      <a:pt x="2392" y="125"/>
                    </a:lnTo>
                    <a:lnTo>
                      <a:pt x="2393" y="127"/>
                    </a:lnTo>
                    <a:lnTo>
                      <a:pt x="2394" y="131"/>
                    </a:lnTo>
                    <a:lnTo>
                      <a:pt x="2395" y="133"/>
                    </a:lnTo>
                    <a:lnTo>
                      <a:pt x="2396" y="135"/>
                    </a:lnTo>
                    <a:lnTo>
                      <a:pt x="2397" y="137"/>
                    </a:lnTo>
                    <a:lnTo>
                      <a:pt x="2397" y="139"/>
                    </a:lnTo>
                    <a:lnTo>
                      <a:pt x="2397" y="142"/>
                    </a:lnTo>
                    <a:lnTo>
                      <a:pt x="2397" y="144"/>
                    </a:lnTo>
                    <a:lnTo>
                      <a:pt x="2397" y="146"/>
                    </a:lnTo>
                    <a:lnTo>
                      <a:pt x="2397" y="148"/>
                    </a:lnTo>
                    <a:lnTo>
                      <a:pt x="2397" y="150"/>
                    </a:lnTo>
                    <a:lnTo>
                      <a:pt x="2397" y="153"/>
                    </a:lnTo>
                    <a:lnTo>
                      <a:pt x="2399" y="166"/>
                    </a:lnTo>
                    <a:lnTo>
                      <a:pt x="2401" y="179"/>
                    </a:lnTo>
                    <a:lnTo>
                      <a:pt x="2402" y="189"/>
                    </a:lnTo>
                    <a:lnTo>
                      <a:pt x="2404" y="201"/>
                    </a:lnTo>
                    <a:lnTo>
                      <a:pt x="2405" y="203"/>
                    </a:lnTo>
                    <a:lnTo>
                      <a:pt x="2405" y="205"/>
                    </a:lnTo>
                    <a:lnTo>
                      <a:pt x="2406" y="209"/>
                    </a:lnTo>
                    <a:lnTo>
                      <a:pt x="2406" y="212"/>
                    </a:lnTo>
                    <a:lnTo>
                      <a:pt x="2408" y="215"/>
                    </a:lnTo>
                    <a:lnTo>
                      <a:pt x="2408" y="218"/>
                    </a:lnTo>
                    <a:lnTo>
                      <a:pt x="2408" y="221"/>
                    </a:lnTo>
                    <a:lnTo>
                      <a:pt x="2406" y="223"/>
                    </a:lnTo>
                    <a:lnTo>
                      <a:pt x="2407" y="226"/>
                    </a:lnTo>
                    <a:lnTo>
                      <a:pt x="2407" y="229"/>
                    </a:lnTo>
                    <a:lnTo>
                      <a:pt x="2408" y="232"/>
                    </a:lnTo>
                    <a:lnTo>
                      <a:pt x="2408" y="234"/>
                    </a:lnTo>
                    <a:lnTo>
                      <a:pt x="2408" y="236"/>
                    </a:lnTo>
                    <a:lnTo>
                      <a:pt x="2407" y="239"/>
                    </a:lnTo>
                    <a:lnTo>
                      <a:pt x="2406" y="241"/>
                    </a:lnTo>
                    <a:lnTo>
                      <a:pt x="2406" y="243"/>
                    </a:lnTo>
                    <a:lnTo>
                      <a:pt x="2405" y="246"/>
                    </a:lnTo>
                    <a:lnTo>
                      <a:pt x="2403" y="248"/>
                    </a:lnTo>
                    <a:lnTo>
                      <a:pt x="2402" y="251"/>
                    </a:lnTo>
                    <a:lnTo>
                      <a:pt x="2401" y="252"/>
                    </a:lnTo>
                    <a:lnTo>
                      <a:pt x="2399" y="252"/>
                    </a:lnTo>
                    <a:lnTo>
                      <a:pt x="2398" y="254"/>
                    </a:lnTo>
                    <a:lnTo>
                      <a:pt x="2398" y="256"/>
                    </a:lnTo>
                    <a:lnTo>
                      <a:pt x="2398" y="257"/>
                    </a:lnTo>
                    <a:lnTo>
                      <a:pt x="2399" y="259"/>
                    </a:lnTo>
                    <a:lnTo>
                      <a:pt x="2401" y="261"/>
                    </a:lnTo>
                    <a:lnTo>
                      <a:pt x="2401" y="261"/>
                    </a:lnTo>
                    <a:lnTo>
                      <a:pt x="2402" y="261"/>
                    </a:lnTo>
                    <a:lnTo>
                      <a:pt x="2403" y="262"/>
                    </a:lnTo>
                    <a:lnTo>
                      <a:pt x="2405" y="263"/>
                    </a:lnTo>
                    <a:lnTo>
                      <a:pt x="2406" y="264"/>
                    </a:lnTo>
                    <a:lnTo>
                      <a:pt x="2407" y="264"/>
                    </a:lnTo>
                    <a:lnTo>
                      <a:pt x="2408" y="264"/>
                    </a:lnTo>
                    <a:lnTo>
                      <a:pt x="2408" y="263"/>
                    </a:lnTo>
                    <a:lnTo>
                      <a:pt x="2408" y="261"/>
                    </a:lnTo>
                    <a:lnTo>
                      <a:pt x="2409" y="258"/>
                    </a:lnTo>
                    <a:lnTo>
                      <a:pt x="2410" y="256"/>
                    </a:lnTo>
                    <a:lnTo>
                      <a:pt x="2412" y="255"/>
                    </a:lnTo>
                    <a:lnTo>
                      <a:pt x="2413" y="254"/>
                    </a:lnTo>
                    <a:lnTo>
                      <a:pt x="2413" y="252"/>
                    </a:lnTo>
                    <a:lnTo>
                      <a:pt x="2414" y="245"/>
                    </a:lnTo>
                    <a:lnTo>
                      <a:pt x="2414" y="237"/>
                    </a:lnTo>
                    <a:lnTo>
                      <a:pt x="2415" y="232"/>
                    </a:lnTo>
                    <a:lnTo>
                      <a:pt x="2416" y="229"/>
                    </a:lnTo>
                    <a:lnTo>
                      <a:pt x="2416" y="225"/>
                    </a:lnTo>
                    <a:lnTo>
                      <a:pt x="2416" y="222"/>
                    </a:lnTo>
                    <a:lnTo>
                      <a:pt x="2415" y="218"/>
                    </a:lnTo>
                    <a:lnTo>
                      <a:pt x="2413" y="214"/>
                    </a:lnTo>
                    <a:lnTo>
                      <a:pt x="2413" y="211"/>
                    </a:lnTo>
                    <a:lnTo>
                      <a:pt x="2412" y="207"/>
                    </a:lnTo>
                    <a:lnTo>
                      <a:pt x="2412" y="203"/>
                    </a:lnTo>
                    <a:lnTo>
                      <a:pt x="2413" y="201"/>
                    </a:lnTo>
                    <a:lnTo>
                      <a:pt x="2414" y="198"/>
                    </a:lnTo>
                    <a:lnTo>
                      <a:pt x="2415" y="197"/>
                    </a:lnTo>
                    <a:lnTo>
                      <a:pt x="2416" y="197"/>
                    </a:lnTo>
                    <a:lnTo>
                      <a:pt x="2417" y="196"/>
                    </a:lnTo>
                    <a:lnTo>
                      <a:pt x="2418" y="196"/>
                    </a:lnTo>
                    <a:lnTo>
                      <a:pt x="2420" y="197"/>
                    </a:lnTo>
                    <a:lnTo>
                      <a:pt x="2422" y="199"/>
                    </a:lnTo>
                    <a:lnTo>
                      <a:pt x="2425" y="209"/>
                    </a:lnTo>
                    <a:lnTo>
                      <a:pt x="2426" y="221"/>
                    </a:lnTo>
                    <a:lnTo>
                      <a:pt x="2426" y="224"/>
                    </a:lnTo>
                    <a:lnTo>
                      <a:pt x="2427" y="229"/>
                    </a:lnTo>
                    <a:lnTo>
                      <a:pt x="2427" y="232"/>
                    </a:lnTo>
                    <a:lnTo>
                      <a:pt x="2428" y="236"/>
                    </a:lnTo>
                    <a:lnTo>
                      <a:pt x="2430" y="237"/>
                    </a:lnTo>
                    <a:lnTo>
                      <a:pt x="2433" y="239"/>
                    </a:lnTo>
                    <a:lnTo>
                      <a:pt x="2433" y="239"/>
                    </a:lnTo>
                    <a:lnTo>
                      <a:pt x="2434" y="237"/>
                    </a:lnTo>
                    <a:lnTo>
                      <a:pt x="2435" y="236"/>
                    </a:lnTo>
                    <a:lnTo>
                      <a:pt x="2435" y="235"/>
                    </a:lnTo>
                    <a:lnTo>
                      <a:pt x="2434" y="234"/>
                    </a:lnTo>
                    <a:lnTo>
                      <a:pt x="2433" y="234"/>
                    </a:lnTo>
                    <a:lnTo>
                      <a:pt x="2431" y="233"/>
                    </a:lnTo>
                    <a:lnTo>
                      <a:pt x="2431" y="232"/>
                    </a:lnTo>
                    <a:lnTo>
                      <a:pt x="2430" y="230"/>
                    </a:lnTo>
                    <a:lnTo>
                      <a:pt x="2429" y="226"/>
                    </a:lnTo>
                    <a:lnTo>
                      <a:pt x="2428" y="223"/>
                    </a:lnTo>
                    <a:lnTo>
                      <a:pt x="2428" y="221"/>
                    </a:lnTo>
                    <a:lnTo>
                      <a:pt x="2428" y="219"/>
                    </a:lnTo>
                    <a:lnTo>
                      <a:pt x="2429" y="219"/>
                    </a:lnTo>
                    <a:lnTo>
                      <a:pt x="2429" y="219"/>
                    </a:lnTo>
                    <a:lnTo>
                      <a:pt x="2430" y="219"/>
                    </a:lnTo>
                    <a:lnTo>
                      <a:pt x="2431" y="219"/>
                    </a:lnTo>
                    <a:lnTo>
                      <a:pt x="2433" y="219"/>
                    </a:lnTo>
                    <a:lnTo>
                      <a:pt x="2433" y="218"/>
                    </a:lnTo>
                    <a:lnTo>
                      <a:pt x="2433" y="216"/>
                    </a:lnTo>
                    <a:lnTo>
                      <a:pt x="2430" y="209"/>
                    </a:lnTo>
                    <a:lnTo>
                      <a:pt x="2428" y="202"/>
                    </a:lnTo>
                    <a:lnTo>
                      <a:pt x="2424" y="197"/>
                    </a:lnTo>
                    <a:lnTo>
                      <a:pt x="2423" y="194"/>
                    </a:lnTo>
                    <a:lnTo>
                      <a:pt x="2422" y="192"/>
                    </a:lnTo>
                    <a:lnTo>
                      <a:pt x="2420" y="190"/>
                    </a:lnTo>
                    <a:lnTo>
                      <a:pt x="2419" y="188"/>
                    </a:lnTo>
                    <a:lnTo>
                      <a:pt x="2417" y="187"/>
                    </a:lnTo>
                    <a:lnTo>
                      <a:pt x="2415" y="188"/>
                    </a:lnTo>
                    <a:lnTo>
                      <a:pt x="2415" y="188"/>
                    </a:lnTo>
                    <a:lnTo>
                      <a:pt x="2414" y="189"/>
                    </a:lnTo>
                    <a:lnTo>
                      <a:pt x="2413" y="190"/>
                    </a:lnTo>
                    <a:lnTo>
                      <a:pt x="2410" y="191"/>
                    </a:lnTo>
                    <a:lnTo>
                      <a:pt x="2409" y="191"/>
                    </a:lnTo>
                    <a:lnTo>
                      <a:pt x="2408" y="191"/>
                    </a:lnTo>
                    <a:lnTo>
                      <a:pt x="2406" y="190"/>
                    </a:lnTo>
                    <a:lnTo>
                      <a:pt x="2406" y="179"/>
                    </a:lnTo>
                    <a:lnTo>
                      <a:pt x="2405" y="175"/>
                    </a:lnTo>
                    <a:lnTo>
                      <a:pt x="2405" y="171"/>
                    </a:lnTo>
                    <a:lnTo>
                      <a:pt x="2404" y="168"/>
                    </a:lnTo>
                    <a:lnTo>
                      <a:pt x="2405" y="160"/>
                    </a:lnTo>
                    <a:lnTo>
                      <a:pt x="2405" y="154"/>
                    </a:lnTo>
                    <a:lnTo>
                      <a:pt x="2404" y="146"/>
                    </a:lnTo>
                    <a:lnTo>
                      <a:pt x="2399" y="133"/>
                    </a:lnTo>
                    <a:lnTo>
                      <a:pt x="2396" y="120"/>
                    </a:lnTo>
                    <a:lnTo>
                      <a:pt x="2395" y="113"/>
                    </a:lnTo>
                    <a:lnTo>
                      <a:pt x="2395" y="105"/>
                    </a:lnTo>
                    <a:lnTo>
                      <a:pt x="2396" y="100"/>
                    </a:lnTo>
                    <a:lnTo>
                      <a:pt x="2396" y="100"/>
                    </a:lnTo>
                    <a:lnTo>
                      <a:pt x="2397" y="101"/>
                    </a:lnTo>
                    <a:lnTo>
                      <a:pt x="2398" y="101"/>
                    </a:lnTo>
                    <a:lnTo>
                      <a:pt x="2399" y="101"/>
                    </a:lnTo>
                    <a:lnTo>
                      <a:pt x="2401" y="100"/>
                    </a:lnTo>
                    <a:lnTo>
                      <a:pt x="2402" y="98"/>
                    </a:lnTo>
                    <a:lnTo>
                      <a:pt x="2402" y="95"/>
                    </a:lnTo>
                    <a:lnTo>
                      <a:pt x="2402" y="93"/>
                    </a:lnTo>
                    <a:lnTo>
                      <a:pt x="2402" y="91"/>
                    </a:lnTo>
                    <a:lnTo>
                      <a:pt x="2402" y="88"/>
                    </a:lnTo>
                    <a:lnTo>
                      <a:pt x="2402" y="84"/>
                    </a:lnTo>
                    <a:lnTo>
                      <a:pt x="2401" y="82"/>
                    </a:lnTo>
                    <a:lnTo>
                      <a:pt x="2399" y="79"/>
                    </a:lnTo>
                    <a:lnTo>
                      <a:pt x="2397" y="76"/>
                    </a:lnTo>
                    <a:lnTo>
                      <a:pt x="2397" y="76"/>
                    </a:lnTo>
                    <a:lnTo>
                      <a:pt x="2396" y="74"/>
                    </a:lnTo>
                    <a:lnTo>
                      <a:pt x="2396" y="72"/>
                    </a:lnTo>
                    <a:lnTo>
                      <a:pt x="2396" y="71"/>
                    </a:lnTo>
                    <a:lnTo>
                      <a:pt x="2396" y="69"/>
                    </a:lnTo>
                    <a:lnTo>
                      <a:pt x="2396" y="69"/>
                    </a:lnTo>
                    <a:lnTo>
                      <a:pt x="2396" y="70"/>
                    </a:lnTo>
                    <a:lnTo>
                      <a:pt x="2397" y="71"/>
                    </a:lnTo>
                    <a:lnTo>
                      <a:pt x="2397" y="72"/>
                    </a:lnTo>
                    <a:lnTo>
                      <a:pt x="2397" y="73"/>
                    </a:lnTo>
                    <a:lnTo>
                      <a:pt x="2397" y="73"/>
                    </a:lnTo>
                    <a:lnTo>
                      <a:pt x="2399" y="77"/>
                    </a:lnTo>
                    <a:lnTo>
                      <a:pt x="2401" y="80"/>
                    </a:lnTo>
                    <a:lnTo>
                      <a:pt x="2402" y="82"/>
                    </a:lnTo>
                    <a:lnTo>
                      <a:pt x="2402" y="84"/>
                    </a:lnTo>
                    <a:lnTo>
                      <a:pt x="2403" y="89"/>
                    </a:lnTo>
                    <a:lnTo>
                      <a:pt x="2403" y="93"/>
                    </a:lnTo>
                    <a:lnTo>
                      <a:pt x="2404" y="98"/>
                    </a:lnTo>
                    <a:lnTo>
                      <a:pt x="2404" y="111"/>
                    </a:lnTo>
                    <a:lnTo>
                      <a:pt x="2405" y="115"/>
                    </a:lnTo>
                    <a:lnTo>
                      <a:pt x="2406" y="120"/>
                    </a:lnTo>
                    <a:lnTo>
                      <a:pt x="2406" y="124"/>
                    </a:lnTo>
                    <a:lnTo>
                      <a:pt x="2407" y="127"/>
                    </a:lnTo>
                    <a:lnTo>
                      <a:pt x="2409" y="130"/>
                    </a:lnTo>
                    <a:lnTo>
                      <a:pt x="2410" y="132"/>
                    </a:lnTo>
                    <a:lnTo>
                      <a:pt x="2412" y="133"/>
                    </a:lnTo>
                    <a:lnTo>
                      <a:pt x="2414" y="134"/>
                    </a:lnTo>
                    <a:lnTo>
                      <a:pt x="2415" y="135"/>
                    </a:lnTo>
                    <a:lnTo>
                      <a:pt x="2416" y="136"/>
                    </a:lnTo>
                    <a:lnTo>
                      <a:pt x="2417" y="137"/>
                    </a:lnTo>
                    <a:lnTo>
                      <a:pt x="2419" y="138"/>
                    </a:lnTo>
                    <a:lnTo>
                      <a:pt x="2420" y="139"/>
                    </a:lnTo>
                    <a:lnTo>
                      <a:pt x="2422" y="139"/>
                    </a:lnTo>
                    <a:lnTo>
                      <a:pt x="2423" y="139"/>
                    </a:lnTo>
                    <a:lnTo>
                      <a:pt x="2424" y="139"/>
                    </a:lnTo>
                    <a:lnTo>
                      <a:pt x="2423" y="137"/>
                    </a:lnTo>
                    <a:lnTo>
                      <a:pt x="2422" y="135"/>
                    </a:lnTo>
                    <a:lnTo>
                      <a:pt x="2420" y="132"/>
                    </a:lnTo>
                    <a:lnTo>
                      <a:pt x="2419" y="131"/>
                    </a:lnTo>
                    <a:lnTo>
                      <a:pt x="2418" y="130"/>
                    </a:lnTo>
                    <a:lnTo>
                      <a:pt x="2417" y="128"/>
                    </a:lnTo>
                    <a:lnTo>
                      <a:pt x="2415" y="126"/>
                    </a:lnTo>
                    <a:lnTo>
                      <a:pt x="2414" y="124"/>
                    </a:lnTo>
                    <a:lnTo>
                      <a:pt x="2412" y="121"/>
                    </a:lnTo>
                    <a:lnTo>
                      <a:pt x="2410" y="117"/>
                    </a:lnTo>
                    <a:lnTo>
                      <a:pt x="2409" y="113"/>
                    </a:lnTo>
                    <a:lnTo>
                      <a:pt x="2408" y="109"/>
                    </a:lnTo>
                    <a:lnTo>
                      <a:pt x="2407" y="107"/>
                    </a:lnTo>
                    <a:lnTo>
                      <a:pt x="2407" y="106"/>
                    </a:lnTo>
                    <a:lnTo>
                      <a:pt x="2407" y="105"/>
                    </a:lnTo>
                    <a:lnTo>
                      <a:pt x="2407" y="105"/>
                    </a:lnTo>
                    <a:lnTo>
                      <a:pt x="2408" y="106"/>
                    </a:lnTo>
                    <a:lnTo>
                      <a:pt x="2410" y="109"/>
                    </a:lnTo>
                    <a:lnTo>
                      <a:pt x="2410" y="111"/>
                    </a:lnTo>
                    <a:lnTo>
                      <a:pt x="2412" y="113"/>
                    </a:lnTo>
                    <a:lnTo>
                      <a:pt x="2413" y="115"/>
                    </a:lnTo>
                    <a:lnTo>
                      <a:pt x="2415" y="116"/>
                    </a:lnTo>
                    <a:lnTo>
                      <a:pt x="2416" y="115"/>
                    </a:lnTo>
                    <a:lnTo>
                      <a:pt x="2417" y="113"/>
                    </a:lnTo>
                    <a:lnTo>
                      <a:pt x="2417" y="111"/>
                    </a:lnTo>
                    <a:lnTo>
                      <a:pt x="2417" y="107"/>
                    </a:lnTo>
                    <a:lnTo>
                      <a:pt x="2415" y="104"/>
                    </a:lnTo>
                    <a:lnTo>
                      <a:pt x="2413" y="102"/>
                    </a:lnTo>
                    <a:lnTo>
                      <a:pt x="2413" y="101"/>
                    </a:lnTo>
                    <a:lnTo>
                      <a:pt x="2412" y="99"/>
                    </a:lnTo>
                    <a:lnTo>
                      <a:pt x="2412" y="99"/>
                    </a:lnTo>
                    <a:lnTo>
                      <a:pt x="2410" y="98"/>
                    </a:lnTo>
                    <a:lnTo>
                      <a:pt x="2410" y="95"/>
                    </a:lnTo>
                    <a:lnTo>
                      <a:pt x="2412" y="93"/>
                    </a:lnTo>
                    <a:lnTo>
                      <a:pt x="2412" y="92"/>
                    </a:lnTo>
                    <a:lnTo>
                      <a:pt x="2413" y="91"/>
                    </a:lnTo>
                    <a:lnTo>
                      <a:pt x="2414" y="91"/>
                    </a:lnTo>
                    <a:lnTo>
                      <a:pt x="2414" y="91"/>
                    </a:lnTo>
                    <a:lnTo>
                      <a:pt x="2415" y="92"/>
                    </a:lnTo>
                    <a:lnTo>
                      <a:pt x="2416" y="93"/>
                    </a:lnTo>
                    <a:lnTo>
                      <a:pt x="2417" y="95"/>
                    </a:lnTo>
                    <a:lnTo>
                      <a:pt x="2417" y="100"/>
                    </a:lnTo>
                    <a:lnTo>
                      <a:pt x="2419" y="100"/>
                    </a:lnTo>
                    <a:lnTo>
                      <a:pt x="2422" y="101"/>
                    </a:lnTo>
                    <a:lnTo>
                      <a:pt x="2424" y="102"/>
                    </a:lnTo>
                    <a:lnTo>
                      <a:pt x="2426" y="104"/>
                    </a:lnTo>
                    <a:lnTo>
                      <a:pt x="2426" y="105"/>
                    </a:lnTo>
                    <a:lnTo>
                      <a:pt x="2427" y="109"/>
                    </a:lnTo>
                    <a:lnTo>
                      <a:pt x="2428" y="111"/>
                    </a:lnTo>
                    <a:lnTo>
                      <a:pt x="2430" y="113"/>
                    </a:lnTo>
                    <a:lnTo>
                      <a:pt x="2433" y="114"/>
                    </a:lnTo>
                    <a:lnTo>
                      <a:pt x="2434" y="116"/>
                    </a:lnTo>
                    <a:lnTo>
                      <a:pt x="2434" y="119"/>
                    </a:lnTo>
                    <a:lnTo>
                      <a:pt x="2435" y="120"/>
                    </a:lnTo>
                    <a:lnTo>
                      <a:pt x="2437" y="122"/>
                    </a:lnTo>
                    <a:lnTo>
                      <a:pt x="2438" y="123"/>
                    </a:lnTo>
                    <a:lnTo>
                      <a:pt x="2439" y="124"/>
                    </a:lnTo>
                    <a:lnTo>
                      <a:pt x="2439" y="124"/>
                    </a:lnTo>
                    <a:lnTo>
                      <a:pt x="2441" y="125"/>
                    </a:lnTo>
                    <a:lnTo>
                      <a:pt x="2442" y="126"/>
                    </a:lnTo>
                    <a:lnTo>
                      <a:pt x="2444" y="130"/>
                    </a:lnTo>
                    <a:lnTo>
                      <a:pt x="2444" y="132"/>
                    </a:lnTo>
                    <a:lnTo>
                      <a:pt x="2442" y="135"/>
                    </a:lnTo>
                    <a:lnTo>
                      <a:pt x="2441" y="137"/>
                    </a:lnTo>
                    <a:lnTo>
                      <a:pt x="2441" y="146"/>
                    </a:lnTo>
                    <a:lnTo>
                      <a:pt x="2444" y="150"/>
                    </a:lnTo>
                    <a:lnTo>
                      <a:pt x="2444" y="155"/>
                    </a:lnTo>
                    <a:lnTo>
                      <a:pt x="2444" y="159"/>
                    </a:lnTo>
                    <a:lnTo>
                      <a:pt x="2444" y="163"/>
                    </a:lnTo>
                    <a:lnTo>
                      <a:pt x="2445" y="166"/>
                    </a:lnTo>
                    <a:lnTo>
                      <a:pt x="2446" y="170"/>
                    </a:lnTo>
                    <a:lnTo>
                      <a:pt x="2446" y="172"/>
                    </a:lnTo>
                    <a:lnTo>
                      <a:pt x="2446" y="172"/>
                    </a:lnTo>
                    <a:lnTo>
                      <a:pt x="2447" y="172"/>
                    </a:lnTo>
                    <a:lnTo>
                      <a:pt x="2447" y="171"/>
                    </a:lnTo>
                    <a:lnTo>
                      <a:pt x="2448" y="170"/>
                    </a:lnTo>
                    <a:lnTo>
                      <a:pt x="2449" y="170"/>
                    </a:lnTo>
                    <a:lnTo>
                      <a:pt x="2450" y="169"/>
                    </a:lnTo>
                    <a:lnTo>
                      <a:pt x="2450" y="168"/>
                    </a:lnTo>
                    <a:lnTo>
                      <a:pt x="2450" y="168"/>
                    </a:lnTo>
                    <a:lnTo>
                      <a:pt x="2451" y="167"/>
                    </a:lnTo>
                    <a:lnTo>
                      <a:pt x="2452" y="166"/>
                    </a:lnTo>
                    <a:lnTo>
                      <a:pt x="2452" y="164"/>
                    </a:lnTo>
                    <a:lnTo>
                      <a:pt x="2452" y="161"/>
                    </a:lnTo>
                    <a:lnTo>
                      <a:pt x="2452" y="157"/>
                    </a:lnTo>
                    <a:lnTo>
                      <a:pt x="2450" y="152"/>
                    </a:lnTo>
                    <a:lnTo>
                      <a:pt x="2448" y="147"/>
                    </a:lnTo>
                    <a:lnTo>
                      <a:pt x="2446" y="144"/>
                    </a:lnTo>
                    <a:lnTo>
                      <a:pt x="2446" y="122"/>
                    </a:lnTo>
                    <a:lnTo>
                      <a:pt x="2445" y="119"/>
                    </a:lnTo>
                    <a:lnTo>
                      <a:pt x="2442" y="116"/>
                    </a:lnTo>
                    <a:lnTo>
                      <a:pt x="2440" y="114"/>
                    </a:lnTo>
                    <a:lnTo>
                      <a:pt x="2437" y="111"/>
                    </a:lnTo>
                    <a:lnTo>
                      <a:pt x="2437" y="111"/>
                    </a:lnTo>
                    <a:lnTo>
                      <a:pt x="2437" y="109"/>
                    </a:lnTo>
                    <a:lnTo>
                      <a:pt x="2436" y="106"/>
                    </a:lnTo>
                    <a:lnTo>
                      <a:pt x="2435" y="104"/>
                    </a:lnTo>
                    <a:lnTo>
                      <a:pt x="2434" y="104"/>
                    </a:lnTo>
                    <a:lnTo>
                      <a:pt x="2433" y="104"/>
                    </a:lnTo>
                    <a:lnTo>
                      <a:pt x="2433" y="103"/>
                    </a:lnTo>
                    <a:lnTo>
                      <a:pt x="2430" y="102"/>
                    </a:lnTo>
                    <a:lnTo>
                      <a:pt x="2427" y="92"/>
                    </a:lnTo>
                    <a:lnTo>
                      <a:pt x="2426" y="82"/>
                    </a:lnTo>
                    <a:lnTo>
                      <a:pt x="2426" y="78"/>
                    </a:lnTo>
                    <a:lnTo>
                      <a:pt x="2424" y="73"/>
                    </a:lnTo>
                    <a:lnTo>
                      <a:pt x="2422" y="69"/>
                    </a:lnTo>
                    <a:lnTo>
                      <a:pt x="2423" y="67"/>
                    </a:lnTo>
                    <a:lnTo>
                      <a:pt x="2423" y="65"/>
                    </a:lnTo>
                    <a:lnTo>
                      <a:pt x="2424" y="62"/>
                    </a:lnTo>
                    <a:lnTo>
                      <a:pt x="2424" y="60"/>
                    </a:lnTo>
                    <a:lnTo>
                      <a:pt x="2426" y="59"/>
                    </a:lnTo>
                    <a:lnTo>
                      <a:pt x="2427" y="58"/>
                    </a:lnTo>
                    <a:lnTo>
                      <a:pt x="2429" y="58"/>
                    </a:lnTo>
                    <a:lnTo>
                      <a:pt x="2431" y="58"/>
                    </a:lnTo>
                    <a:lnTo>
                      <a:pt x="2433" y="58"/>
                    </a:lnTo>
                    <a:lnTo>
                      <a:pt x="2435" y="59"/>
                    </a:lnTo>
                    <a:lnTo>
                      <a:pt x="2437" y="60"/>
                    </a:lnTo>
                    <a:lnTo>
                      <a:pt x="2439" y="60"/>
                    </a:lnTo>
                    <a:lnTo>
                      <a:pt x="2441" y="60"/>
                    </a:lnTo>
                    <a:lnTo>
                      <a:pt x="2444" y="61"/>
                    </a:lnTo>
                    <a:lnTo>
                      <a:pt x="2446" y="61"/>
                    </a:lnTo>
                    <a:lnTo>
                      <a:pt x="2448" y="60"/>
                    </a:lnTo>
                    <a:lnTo>
                      <a:pt x="2450" y="59"/>
                    </a:lnTo>
                    <a:lnTo>
                      <a:pt x="2451" y="57"/>
                    </a:lnTo>
                    <a:lnTo>
                      <a:pt x="2451" y="55"/>
                    </a:lnTo>
                    <a:lnTo>
                      <a:pt x="2450" y="51"/>
                    </a:lnTo>
                    <a:lnTo>
                      <a:pt x="2449" y="48"/>
                    </a:lnTo>
                    <a:lnTo>
                      <a:pt x="2447" y="45"/>
                    </a:lnTo>
                    <a:lnTo>
                      <a:pt x="2446" y="41"/>
                    </a:lnTo>
                    <a:lnTo>
                      <a:pt x="2446" y="39"/>
                    </a:lnTo>
                    <a:lnTo>
                      <a:pt x="2446" y="36"/>
                    </a:lnTo>
                    <a:lnTo>
                      <a:pt x="2447" y="35"/>
                    </a:lnTo>
                    <a:lnTo>
                      <a:pt x="2446" y="34"/>
                    </a:lnTo>
                    <a:lnTo>
                      <a:pt x="2446" y="33"/>
                    </a:lnTo>
                    <a:lnTo>
                      <a:pt x="2445" y="32"/>
                    </a:lnTo>
                    <a:lnTo>
                      <a:pt x="2444" y="30"/>
                    </a:lnTo>
                    <a:lnTo>
                      <a:pt x="2445" y="28"/>
                    </a:lnTo>
                    <a:lnTo>
                      <a:pt x="2446" y="26"/>
                    </a:lnTo>
                    <a:lnTo>
                      <a:pt x="2446" y="24"/>
                    </a:lnTo>
                    <a:lnTo>
                      <a:pt x="2446" y="22"/>
                    </a:lnTo>
                    <a:lnTo>
                      <a:pt x="2447" y="19"/>
                    </a:lnTo>
                    <a:lnTo>
                      <a:pt x="2448" y="17"/>
                    </a:lnTo>
                    <a:lnTo>
                      <a:pt x="2450" y="14"/>
                    </a:lnTo>
                    <a:lnTo>
                      <a:pt x="2451" y="13"/>
                    </a:lnTo>
                    <a:lnTo>
                      <a:pt x="2453" y="11"/>
                    </a:lnTo>
                    <a:lnTo>
                      <a:pt x="2455" y="8"/>
                    </a:lnTo>
                    <a:lnTo>
                      <a:pt x="2456" y="6"/>
                    </a:lnTo>
                    <a:lnTo>
                      <a:pt x="2457" y="5"/>
                    </a:lnTo>
                    <a:lnTo>
                      <a:pt x="2458" y="3"/>
                    </a:lnTo>
                    <a:lnTo>
                      <a:pt x="2458" y="2"/>
                    </a:lnTo>
                    <a:lnTo>
                      <a:pt x="2459" y="2"/>
                    </a:lnTo>
                    <a:lnTo>
                      <a:pt x="2460" y="3"/>
                    </a:lnTo>
                    <a:lnTo>
                      <a:pt x="2461" y="3"/>
                    </a:lnTo>
                    <a:lnTo>
                      <a:pt x="2462" y="4"/>
                    </a:lnTo>
                    <a:lnTo>
                      <a:pt x="2463" y="4"/>
                    </a:lnTo>
                    <a:lnTo>
                      <a:pt x="2464" y="2"/>
                    </a:lnTo>
                    <a:lnTo>
                      <a:pt x="2466" y="1"/>
                    </a:lnTo>
                    <a:lnTo>
                      <a:pt x="2467" y="0"/>
                    </a:lnTo>
                    <a:lnTo>
                      <a:pt x="2468"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38" name="Freeform 35"/>
              <p:cNvSpPr>
                <a:spLocks noEditPoints="1"/>
              </p:cNvSpPr>
              <p:nvPr/>
            </p:nvSpPr>
            <p:spPr bwMode="auto">
              <a:xfrm>
                <a:off x="5574" y="743"/>
                <a:ext cx="411" cy="160"/>
              </a:xfrm>
              <a:custGeom>
                <a:avLst/>
                <a:gdLst>
                  <a:gd name="T0" fmla="*/ 1350 w 2878"/>
                  <a:gd name="T1" fmla="*/ 168 h 1116"/>
                  <a:gd name="T2" fmla="*/ 1286 w 2878"/>
                  <a:gd name="T3" fmla="*/ 147 h 1116"/>
                  <a:gd name="T4" fmla="*/ 2781 w 2878"/>
                  <a:gd name="T5" fmla="*/ 174 h 1116"/>
                  <a:gd name="T6" fmla="*/ 2758 w 2878"/>
                  <a:gd name="T7" fmla="*/ 229 h 1116"/>
                  <a:gd name="T8" fmla="*/ 2754 w 2878"/>
                  <a:gd name="T9" fmla="*/ 259 h 1116"/>
                  <a:gd name="T10" fmla="*/ 2765 w 2878"/>
                  <a:gd name="T11" fmla="*/ 346 h 1116"/>
                  <a:gd name="T12" fmla="*/ 2734 w 2878"/>
                  <a:gd name="T13" fmla="*/ 292 h 1116"/>
                  <a:gd name="T14" fmla="*/ 2739 w 2878"/>
                  <a:gd name="T15" fmla="*/ 242 h 1116"/>
                  <a:gd name="T16" fmla="*/ 2742 w 2878"/>
                  <a:gd name="T17" fmla="*/ 179 h 1116"/>
                  <a:gd name="T18" fmla="*/ 2756 w 2878"/>
                  <a:gd name="T19" fmla="*/ 149 h 1116"/>
                  <a:gd name="T20" fmla="*/ 1292 w 2878"/>
                  <a:gd name="T21" fmla="*/ 106 h 1116"/>
                  <a:gd name="T22" fmla="*/ 941 w 2878"/>
                  <a:gd name="T23" fmla="*/ 103 h 1116"/>
                  <a:gd name="T24" fmla="*/ 899 w 2878"/>
                  <a:gd name="T25" fmla="*/ 138 h 1116"/>
                  <a:gd name="T26" fmla="*/ 2135 w 2878"/>
                  <a:gd name="T27" fmla="*/ 49 h 1116"/>
                  <a:gd name="T28" fmla="*/ 1025 w 2878"/>
                  <a:gd name="T29" fmla="*/ 53 h 1116"/>
                  <a:gd name="T30" fmla="*/ 1046 w 2878"/>
                  <a:gd name="T31" fmla="*/ 107 h 1116"/>
                  <a:gd name="T32" fmla="*/ 1112 w 2878"/>
                  <a:gd name="T33" fmla="*/ 158 h 1116"/>
                  <a:gd name="T34" fmla="*/ 1149 w 2878"/>
                  <a:gd name="T35" fmla="*/ 137 h 1116"/>
                  <a:gd name="T36" fmla="*/ 1229 w 2878"/>
                  <a:gd name="T37" fmla="*/ 113 h 1116"/>
                  <a:gd name="T38" fmla="*/ 1220 w 2878"/>
                  <a:gd name="T39" fmla="*/ 161 h 1116"/>
                  <a:gd name="T40" fmla="*/ 1164 w 2878"/>
                  <a:gd name="T41" fmla="*/ 238 h 1116"/>
                  <a:gd name="T42" fmla="*/ 1061 w 2878"/>
                  <a:gd name="T43" fmla="*/ 272 h 1116"/>
                  <a:gd name="T44" fmla="*/ 1047 w 2878"/>
                  <a:gd name="T45" fmla="*/ 377 h 1116"/>
                  <a:gd name="T46" fmla="*/ 961 w 2878"/>
                  <a:gd name="T47" fmla="*/ 531 h 1116"/>
                  <a:gd name="T48" fmla="*/ 1091 w 2878"/>
                  <a:gd name="T49" fmla="*/ 650 h 1116"/>
                  <a:gd name="T50" fmla="*/ 1241 w 2878"/>
                  <a:gd name="T51" fmla="*/ 794 h 1116"/>
                  <a:gd name="T52" fmla="*/ 1291 w 2878"/>
                  <a:gd name="T53" fmla="*/ 773 h 1116"/>
                  <a:gd name="T54" fmla="*/ 1303 w 2878"/>
                  <a:gd name="T55" fmla="*/ 549 h 1116"/>
                  <a:gd name="T56" fmla="*/ 1308 w 2878"/>
                  <a:gd name="T57" fmla="*/ 415 h 1116"/>
                  <a:gd name="T58" fmla="*/ 1437 w 2878"/>
                  <a:gd name="T59" fmla="*/ 467 h 1116"/>
                  <a:gd name="T60" fmla="*/ 1484 w 2878"/>
                  <a:gd name="T61" fmla="*/ 551 h 1116"/>
                  <a:gd name="T62" fmla="*/ 1565 w 2878"/>
                  <a:gd name="T63" fmla="*/ 532 h 1116"/>
                  <a:gd name="T64" fmla="*/ 1658 w 2878"/>
                  <a:gd name="T65" fmla="*/ 695 h 1116"/>
                  <a:gd name="T66" fmla="*/ 1752 w 2878"/>
                  <a:gd name="T67" fmla="*/ 788 h 1116"/>
                  <a:gd name="T68" fmla="*/ 1733 w 2878"/>
                  <a:gd name="T69" fmla="*/ 906 h 1116"/>
                  <a:gd name="T70" fmla="*/ 1783 w 2878"/>
                  <a:gd name="T71" fmla="*/ 985 h 1116"/>
                  <a:gd name="T72" fmla="*/ 1727 w 2878"/>
                  <a:gd name="T73" fmla="*/ 976 h 1116"/>
                  <a:gd name="T74" fmla="*/ 1679 w 2878"/>
                  <a:gd name="T75" fmla="*/ 947 h 1116"/>
                  <a:gd name="T76" fmla="*/ 1650 w 2878"/>
                  <a:gd name="T77" fmla="*/ 906 h 1116"/>
                  <a:gd name="T78" fmla="*/ 1494 w 2878"/>
                  <a:gd name="T79" fmla="*/ 960 h 1116"/>
                  <a:gd name="T80" fmla="*/ 1641 w 2878"/>
                  <a:gd name="T81" fmla="*/ 1018 h 1116"/>
                  <a:gd name="T82" fmla="*/ 1569 w 2878"/>
                  <a:gd name="T83" fmla="*/ 1045 h 1116"/>
                  <a:gd name="T84" fmla="*/ 1480 w 2878"/>
                  <a:gd name="T85" fmla="*/ 1078 h 1116"/>
                  <a:gd name="T86" fmla="*/ 1314 w 2878"/>
                  <a:gd name="T87" fmla="*/ 1074 h 1116"/>
                  <a:gd name="T88" fmla="*/ 1134 w 2878"/>
                  <a:gd name="T89" fmla="*/ 998 h 1116"/>
                  <a:gd name="T90" fmla="*/ 1112 w 2878"/>
                  <a:gd name="T91" fmla="*/ 935 h 1116"/>
                  <a:gd name="T92" fmla="*/ 57 w 2878"/>
                  <a:gd name="T93" fmla="*/ 437 h 1116"/>
                  <a:gd name="T94" fmla="*/ 40 w 2878"/>
                  <a:gd name="T95" fmla="*/ 386 h 1116"/>
                  <a:gd name="T96" fmla="*/ 42 w 2878"/>
                  <a:gd name="T97" fmla="*/ 358 h 1116"/>
                  <a:gd name="T98" fmla="*/ 64 w 2878"/>
                  <a:gd name="T99" fmla="*/ 269 h 1116"/>
                  <a:gd name="T100" fmla="*/ 136 w 2878"/>
                  <a:gd name="T101" fmla="*/ 200 h 1116"/>
                  <a:gd name="T102" fmla="*/ 160 w 2878"/>
                  <a:gd name="T103" fmla="*/ 199 h 1116"/>
                  <a:gd name="T104" fmla="*/ 233 w 2878"/>
                  <a:gd name="T105" fmla="*/ 208 h 1116"/>
                  <a:gd name="T106" fmla="*/ 338 w 2878"/>
                  <a:gd name="T107" fmla="*/ 236 h 1116"/>
                  <a:gd name="T108" fmla="*/ 387 w 2878"/>
                  <a:gd name="T109" fmla="*/ 183 h 1116"/>
                  <a:gd name="T110" fmla="*/ 444 w 2878"/>
                  <a:gd name="T111" fmla="*/ 134 h 1116"/>
                  <a:gd name="T112" fmla="*/ 498 w 2878"/>
                  <a:gd name="T113" fmla="*/ 175 h 1116"/>
                  <a:gd name="T114" fmla="*/ 626 w 2878"/>
                  <a:gd name="T115" fmla="*/ 178 h 1116"/>
                  <a:gd name="T116" fmla="*/ 736 w 2878"/>
                  <a:gd name="T117" fmla="*/ 222 h 1116"/>
                  <a:gd name="T118" fmla="*/ 819 w 2878"/>
                  <a:gd name="T119" fmla="*/ 185 h 1116"/>
                  <a:gd name="T120" fmla="*/ 943 w 2878"/>
                  <a:gd name="T121" fmla="*/ 174 h 1116"/>
                  <a:gd name="T122" fmla="*/ 980 w 2878"/>
                  <a:gd name="T123" fmla="*/ 142 h 1116"/>
                  <a:gd name="T124" fmla="*/ 954 w 2878"/>
                  <a:gd name="T125" fmla="*/ 42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78" h="1116">
                    <a:moveTo>
                      <a:pt x="2874" y="211"/>
                    </a:moveTo>
                    <a:lnTo>
                      <a:pt x="2875" y="213"/>
                    </a:lnTo>
                    <a:lnTo>
                      <a:pt x="2876" y="215"/>
                    </a:lnTo>
                    <a:lnTo>
                      <a:pt x="2877" y="218"/>
                    </a:lnTo>
                    <a:lnTo>
                      <a:pt x="2877" y="221"/>
                    </a:lnTo>
                    <a:lnTo>
                      <a:pt x="2878" y="223"/>
                    </a:lnTo>
                    <a:lnTo>
                      <a:pt x="2878" y="224"/>
                    </a:lnTo>
                    <a:lnTo>
                      <a:pt x="2877" y="225"/>
                    </a:lnTo>
                    <a:lnTo>
                      <a:pt x="2876" y="225"/>
                    </a:lnTo>
                    <a:lnTo>
                      <a:pt x="2874" y="224"/>
                    </a:lnTo>
                    <a:lnTo>
                      <a:pt x="2873" y="222"/>
                    </a:lnTo>
                    <a:lnTo>
                      <a:pt x="2871" y="218"/>
                    </a:lnTo>
                    <a:lnTo>
                      <a:pt x="2871" y="216"/>
                    </a:lnTo>
                    <a:lnTo>
                      <a:pt x="2871" y="214"/>
                    </a:lnTo>
                    <a:lnTo>
                      <a:pt x="2871" y="212"/>
                    </a:lnTo>
                    <a:lnTo>
                      <a:pt x="2873" y="212"/>
                    </a:lnTo>
                    <a:lnTo>
                      <a:pt x="2874" y="211"/>
                    </a:lnTo>
                    <a:lnTo>
                      <a:pt x="2874" y="211"/>
                    </a:lnTo>
                    <a:close/>
                    <a:moveTo>
                      <a:pt x="1379" y="175"/>
                    </a:moveTo>
                    <a:lnTo>
                      <a:pt x="1382" y="175"/>
                    </a:lnTo>
                    <a:lnTo>
                      <a:pt x="1385" y="177"/>
                    </a:lnTo>
                    <a:lnTo>
                      <a:pt x="1389" y="179"/>
                    </a:lnTo>
                    <a:lnTo>
                      <a:pt x="1390" y="181"/>
                    </a:lnTo>
                    <a:lnTo>
                      <a:pt x="1390" y="182"/>
                    </a:lnTo>
                    <a:lnTo>
                      <a:pt x="1389" y="184"/>
                    </a:lnTo>
                    <a:lnTo>
                      <a:pt x="1388" y="185"/>
                    </a:lnTo>
                    <a:lnTo>
                      <a:pt x="1385" y="186"/>
                    </a:lnTo>
                    <a:lnTo>
                      <a:pt x="1382" y="186"/>
                    </a:lnTo>
                    <a:lnTo>
                      <a:pt x="1379" y="185"/>
                    </a:lnTo>
                    <a:lnTo>
                      <a:pt x="1375" y="184"/>
                    </a:lnTo>
                    <a:lnTo>
                      <a:pt x="1373" y="181"/>
                    </a:lnTo>
                    <a:lnTo>
                      <a:pt x="1373" y="179"/>
                    </a:lnTo>
                    <a:lnTo>
                      <a:pt x="1374" y="178"/>
                    </a:lnTo>
                    <a:lnTo>
                      <a:pt x="1376" y="175"/>
                    </a:lnTo>
                    <a:lnTo>
                      <a:pt x="1379" y="175"/>
                    </a:lnTo>
                    <a:close/>
                    <a:moveTo>
                      <a:pt x="1340" y="167"/>
                    </a:moveTo>
                    <a:lnTo>
                      <a:pt x="1350" y="168"/>
                    </a:lnTo>
                    <a:lnTo>
                      <a:pt x="1360" y="171"/>
                    </a:lnTo>
                    <a:lnTo>
                      <a:pt x="1364" y="175"/>
                    </a:lnTo>
                    <a:lnTo>
                      <a:pt x="1365" y="183"/>
                    </a:lnTo>
                    <a:lnTo>
                      <a:pt x="1365" y="191"/>
                    </a:lnTo>
                    <a:lnTo>
                      <a:pt x="1365" y="199"/>
                    </a:lnTo>
                    <a:lnTo>
                      <a:pt x="1364" y="204"/>
                    </a:lnTo>
                    <a:lnTo>
                      <a:pt x="1360" y="212"/>
                    </a:lnTo>
                    <a:lnTo>
                      <a:pt x="1352" y="216"/>
                    </a:lnTo>
                    <a:lnTo>
                      <a:pt x="1342" y="217"/>
                    </a:lnTo>
                    <a:lnTo>
                      <a:pt x="1332" y="216"/>
                    </a:lnTo>
                    <a:lnTo>
                      <a:pt x="1327" y="214"/>
                    </a:lnTo>
                    <a:lnTo>
                      <a:pt x="1323" y="211"/>
                    </a:lnTo>
                    <a:lnTo>
                      <a:pt x="1319" y="207"/>
                    </a:lnTo>
                    <a:lnTo>
                      <a:pt x="1316" y="204"/>
                    </a:lnTo>
                    <a:lnTo>
                      <a:pt x="1317" y="197"/>
                    </a:lnTo>
                    <a:lnTo>
                      <a:pt x="1320" y="190"/>
                    </a:lnTo>
                    <a:lnTo>
                      <a:pt x="1324" y="182"/>
                    </a:lnTo>
                    <a:lnTo>
                      <a:pt x="1327" y="173"/>
                    </a:lnTo>
                    <a:lnTo>
                      <a:pt x="1332" y="169"/>
                    </a:lnTo>
                    <a:lnTo>
                      <a:pt x="1340" y="167"/>
                    </a:lnTo>
                    <a:close/>
                    <a:moveTo>
                      <a:pt x="1280" y="167"/>
                    </a:moveTo>
                    <a:lnTo>
                      <a:pt x="1282" y="167"/>
                    </a:lnTo>
                    <a:lnTo>
                      <a:pt x="1284" y="167"/>
                    </a:lnTo>
                    <a:lnTo>
                      <a:pt x="1286" y="168"/>
                    </a:lnTo>
                    <a:lnTo>
                      <a:pt x="1285" y="170"/>
                    </a:lnTo>
                    <a:lnTo>
                      <a:pt x="1284" y="171"/>
                    </a:lnTo>
                    <a:lnTo>
                      <a:pt x="1283" y="172"/>
                    </a:lnTo>
                    <a:lnTo>
                      <a:pt x="1281" y="172"/>
                    </a:lnTo>
                    <a:lnTo>
                      <a:pt x="1279" y="172"/>
                    </a:lnTo>
                    <a:lnTo>
                      <a:pt x="1277" y="171"/>
                    </a:lnTo>
                    <a:lnTo>
                      <a:pt x="1276" y="169"/>
                    </a:lnTo>
                    <a:lnTo>
                      <a:pt x="1277" y="168"/>
                    </a:lnTo>
                    <a:lnTo>
                      <a:pt x="1279" y="167"/>
                    </a:lnTo>
                    <a:lnTo>
                      <a:pt x="1280" y="167"/>
                    </a:lnTo>
                    <a:close/>
                    <a:moveTo>
                      <a:pt x="1281" y="146"/>
                    </a:moveTo>
                    <a:lnTo>
                      <a:pt x="1286" y="146"/>
                    </a:lnTo>
                    <a:lnTo>
                      <a:pt x="1286" y="147"/>
                    </a:lnTo>
                    <a:lnTo>
                      <a:pt x="1286" y="149"/>
                    </a:lnTo>
                    <a:lnTo>
                      <a:pt x="1286" y="150"/>
                    </a:lnTo>
                    <a:lnTo>
                      <a:pt x="1285" y="151"/>
                    </a:lnTo>
                    <a:lnTo>
                      <a:pt x="1285" y="152"/>
                    </a:lnTo>
                    <a:lnTo>
                      <a:pt x="1284" y="152"/>
                    </a:lnTo>
                    <a:lnTo>
                      <a:pt x="1283" y="151"/>
                    </a:lnTo>
                    <a:lnTo>
                      <a:pt x="1282" y="151"/>
                    </a:lnTo>
                    <a:lnTo>
                      <a:pt x="1281" y="150"/>
                    </a:lnTo>
                    <a:lnTo>
                      <a:pt x="1280" y="149"/>
                    </a:lnTo>
                    <a:lnTo>
                      <a:pt x="1279" y="148"/>
                    </a:lnTo>
                    <a:lnTo>
                      <a:pt x="1280" y="147"/>
                    </a:lnTo>
                    <a:lnTo>
                      <a:pt x="1281" y="146"/>
                    </a:lnTo>
                    <a:close/>
                    <a:moveTo>
                      <a:pt x="2786" y="129"/>
                    </a:moveTo>
                    <a:lnTo>
                      <a:pt x="2787" y="129"/>
                    </a:lnTo>
                    <a:lnTo>
                      <a:pt x="2790" y="131"/>
                    </a:lnTo>
                    <a:lnTo>
                      <a:pt x="2792" y="135"/>
                    </a:lnTo>
                    <a:lnTo>
                      <a:pt x="2794" y="138"/>
                    </a:lnTo>
                    <a:lnTo>
                      <a:pt x="2794" y="141"/>
                    </a:lnTo>
                    <a:lnTo>
                      <a:pt x="2796" y="146"/>
                    </a:lnTo>
                    <a:lnTo>
                      <a:pt x="2797" y="149"/>
                    </a:lnTo>
                    <a:lnTo>
                      <a:pt x="2797" y="153"/>
                    </a:lnTo>
                    <a:lnTo>
                      <a:pt x="2797" y="157"/>
                    </a:lnTo>
                    <a:lnTo>
                      <a:pt x="2796" y="160"/>
                    </a:lnTo>
                    <a:lnTo>
                      <a:pt x="2794" y="162"/>
                    </a:lnTo>
                    <a:lnTo>
                      <a:pt x="2794" y="164"/>
                    </a:lnTo>
                    <a:lnTo>
                      <a:pt x="2793" y="167"/>
                    </a:lnTo>
                    <a:lnTo>
                      <a:pt x="2792" y="168"/>
                    </a:lnTo>
                    <a:lnTo>
                      <a:pt x="2790" y="169"/>
                    </a:lnTo>
                    <a:lnTo>
                      <a:pt x="2789" y="169"/>
                    </a:lnTo>
                    <a:lnTo>
                      <a:pt x="2788" y="168"/>
                    </a:lnTo>
                    <a:lnTo>
                      <a:pt x="2787" y="168"/>
                    </a:lnTo>
                    <a:lnTo>
                      <a:pt x="2786" y="168"/>
                    </a:lnTo>
                    <a:lnTo>
                      <a:pt x="2785" y="168"/>
                    </a:lnTo>
                    <a:lnTo>
                      <a:pt x="2783" y="169"/>
                    </a:lnTo>
                    <a:lnTo>
                      <a:pt x="2782" y="170"/>
                    </a:lnTo>
                    <a:lnTo>
                      <a:pt x="2782" y="172"/>
                    </a:lnTo>
                    <a:lnTo>
                      <a:pt x="2781" y="174"/>
                    </a:lnTo>
                    <a:lnTo>
                      <a:pt x="2779" y="175"/>
                    </a:lnTo>
                    <a:lnTo>
                      <a:pt x="2778" y="177"/>
                    </a:lnTo>
                    <a:lnTo>
                      <a:pt x="2777" y="177"/>
                    </a:lnTo>
                    <a:lnTo>
                      <a:pt x="2776" y="177"/>
                    </a:lnTo>
                    <a:lnTo>
                      <a:pt x="2776" y="178"/>
                    </a:lnTo>
                    <a:lnTo>
                      <a:pt x="2775" y="180"/>
                    </a:lnTo>
                    <a:lnTo>
                      <a:pt x="2774" y="182"/>
                    </a:lnTo>
                    <a:lnTo>
                      <a:pt x="2772" y="183"/>
                    </a:lnTo>
                    <a:lnTo>
                      <a:pt x="2772" y="185"/>
                    </a:lnTo>
                    <a:lnTo>
                      <a:pt x="2770" y="186"/>
                    </a:lnTo>
                    <a:lnTo>
                      <a:pt x="2768" y="188"/>
                    </a:lnTo>
                    <a:lnTo>
                      <a:pt x="2768" y="196"/>
                    </a:lnTo>
                    <a:lnTo>
                      <a:pt x="2768" y="197"/>
                    </a:lnTo>
                    <a:lnTo>
                      <a:pt x="2767" y="199"/>
                    </a:lnTo>
                    <a:lnTo>
                      <a:pt x="2765" y="200"/>
                    </a:lnTo>
                    <a:lnTo>
                      <a:pt x="2764" y="201"/>
                    </a:lnTo>
                    <a:lnTo>
                      <a:pt x="2764" y="207"/>
                    </a:lnTo>
                    <a:lnTo>
                      <a:pt x="2764" y="210"/>
                    </a:lnTo>
                    <a:lnTo>
                      <a:pt x="2763" y="211"/>
                    </a:lnTo>
                    <a:lnTo>
                      <a:pt x="2763" y="211"/>
                    </a:lnTo>
                    <a:lnTo>
                      <a:pt x="2761" y="210"/>
                    </a:lnTo>
                    <a:lnTo>
                      <a:pt x="2759" y="210"/>
                    </a:lnTo>
                    <a:lnTo>
                      <a:pt x="2758" y="211"/>
                    </a:lnTo>
                    <a:lnTo>
                      <a:pt x="2758" y="212"/>
                    </a:lnTo>
                    <a:lnTo>
                      <a:pt x="2759" y="214"/>
                    </a:lnTo>
                    <a:lnTo>
                      <a:pt x="2759" y="215"/>
                    </a:lnTo>
                    <a:lnTo>
                      <a:pt x="2759" y="217"/>
                    </a:lnTo>
                    <a:lnTo>
                      <a:pt x="2758" y="218"/>
                    </a:lnTo>
                    <a:lnTo>
                      <a:pt x="2758" y="218"/>
                    </a:lnTo>
                    <a:lnTo>
                      <a:pt x="2758" y="218"/>
                    </a:lnTo>
                    <a:lnTo>
                      <a:pt x="2757" y="220"/>
                    </a:lnTo>
                    <a:lnTo>
                      <a:pt x="2757" y="220"/>
                    </a:lnTo>
                    <a:lnTo>
                      <a:pt x="2758" y="221"/>
                    </a:lnTo>
                    <a:lnTo>
                      <a:pt x="2758" y="223"/>
                    </a:lnTo>
                    <a:lnTo>
                      <a:pt x="2758" y="225"/>
                    </a:lnTo>
                    <a:lnTo>
                      <a:pt x="2758" y="227"/>
                    </a:lnTo>
                    <a:lnTo>
                      <a:pt x="2758" y="229"/>
                    </a:lnTo>
                    <a:lnTo>
                      <a:pt x="2758" y="229"/>
                    </a:lnTo>
                    <a:lnTo>
                      <a:pt x="2757" y="228"/>
                    </a:lnTo>
                    <a:lnTo>
                      <a:pt x="2755" y="226"/>
                    </a:lnTo>
                    <a:lnTo>
                      <a:pt x="2753" y="224"/>
                    </a:lnTo>
                    <a:lnTo>
                      <a:pt x="2751" y="223"/>
                    </a:lnTo>
                    <a:lnTo>
                      <a:pt x="2750" y="223"/>
                    </a:lnTo>
                    <a:lnTo>
                      <a:pt x="2749" y="223"/>
                    </a:lnTo>
                    <a:lnTo>
                      <a:pt x="2749" y="225"/>
                    </a:lnTo>
                    <a:lnTo>
                      <a:pt x="2750" y="226"/>
                    </a:lnTo>
                    <a:lnTo>
                      <a:pt x="2751" y="227"/>
                    </a:lnTo>
                    <a:lnTo>
                      <a:pt x="2753" y="228"/>
                    </a:lnTo>
                    <a:lnTo>
                      <a:pt x="2754" y="231"/>
                    </a:lnTo>
                    <a:lnTo>
                      <a:pt x="2755" y="232"/>
                    </a:lnTo>
                    <a:lnTo>
                      <a:pt x="2756" y="234"/>
                    </a:lnTo>
                    <a:lnTo>
                      <a:pt x="2756" y="235"/>
                    </a:lnTo>
                    <a:lnTo>
                      <a:pt x="2755" y="236"/>
                    </a:lnTo>
                    <a:lnTo>
                      <a:pt x="2754" y="236"/>
                    </a:lnTo>
                    <a:lnTo>
                      <a:pt x="2756" y="244"/>
                    </a:lnTo>
                    <a:lnTo>
                      <a:pt x="2756" y="244"/>
                    </a:lnTo>
                    <a:lnTo>
                      <a:pt x="2755" y="244"/>
                    </a:lnTo>
                    <a:lnTo>
                      <a:pt x="2755" y="244"/>
                    </a:lnTo>
                    <a:lnTo>
                      <a:pt x="2754" y="243"/>
                    </a:lnTo>
                    <a:lnTo>
                      <a:pt x="2754" y="242"/>
                    </a:lnTo>
                    <a:lnTo>
                      <a:pt x="2753" y="242"/>
                    </a:lnTo>
                    <a:lnTo>
                      <a:pt x="2751" y="243"/>
                    </a:lnTo>
                    <a:lnTo>
                      <a:pt x="2751" y="244"/>
                    </a:lnTo>
                    <a:lnTo>
                      <a:pt x="2753" y="245"/>
                    </a:lnTo>
                    <a:lnTo>
                      <a:pt x="2754" y="246"/>
                    </a:lnTo>
                    <a:lnTo>
                      <a:pt x="2754" y="248"/>
                    </a:lnTo>
                    <a:lnTo>
                      <a:pt x="2756" y="250"/>
                    </a:lnTo>
                    <a:lnTo>
                      <a:pt x="2756" y="253"/>
                    </a:lnTo>
                    <a:lnTo>
                      <a:pt x="2754" y="253"/>
                    </a:lnTo>
                    <a:lnTo>
                      <a:pt x="2754" y="255"/>
                    </a:lnTo>
                    <a:lnTo>
                      <a:pt x="2755" y="256"/>
                    </a:lnTo>
                    <a:lnTo>
                      <a:pt x="2755" y="258"/>
                    </a:lnTo>
                    <a:lnTo>
                      <a:pt x="2755" y="258"/>
                    </a:lnTo>
                    <a:lnTo>
                      <a:pt x="2754" y="259"/>
                    </a:lnTo>
                    <a:lnTo>
                      <a:pt x="2753" y="259"/>
                    </a:lnTo>
                    <a:lnTo>
                      <a:pt x="2753" y="261"/>
                    </a:lnTo>
                    <a:lnTo>
                      <a:pt x="2753" y="264"/>
                    </a:lnTo>
                    <a:lnTo>
                      <a:pt x="2753" y="267"/>
                    </a:lnTo>
                    <a:lnTo>
                      <a:pt x="2754" y="269"/>
                    </a:lnTo>
                    <a:lnTo>
                      <a:pt x="2754" y="272"/>
                    </a:lnTo>
                    <a:lnTo>
                      <a:pt x="2754" y="275"/>
                    </a:lnTo>
                    <a:lnTo>
                      <a:pt x="2753" y="284"/>
                    </a:lnTo>
                    <a:lnTo>
                      <a:pt x="2754" y="297"/>
                    </a:lnTo>
                    <a:lnTo>
                      <a:pt x="2757" y="309"/>
                    </a:lnTo>
                    <a:lnTo>
                      <a:pt x="2761" y="321"/>
                    </a:lnTo>
                    <a:lnTo>
                      <a:pt x="2763" y="323"/>
                    </a:lnTo>
                    <a:lnTo>
                      <a:pt x="2765" y="325"/>
                    </a:lnTo>
                    <a:lnTo>
                      <a:pt x="2766" y="327"/>
                    </a:lnTo>
                    <a:lnTo>
                      <a:pt x="2766" y="330"/>
                    </a:lnTo>
                    <a:lnTo>
                      <a:pt x="2767" y="332"/>
                    </a:lnTo>
                    <a:lnTo>
                      <a:pt x="2768" y="334"/>
                    </a:lnTo>
                    <a:lnTo>
                      <a:pt x="2768" y="335"/>
                    </a:lnTo>
                    <a:lnTo>
                      <a:pt x="2769" y="335"/>
                    </a:lnTo>
                    <a:lnTo>
                      <a:pt x="2770" y="336"/>
                    </a:lnTo>
                    <a:lnTo>
                      <a:pt x="2771" y="338"/>
                    </a:lnTo>
                    <a:lnTo>
                      <a:pt x="2771" y="340"/>
                    </a:lnTo>
                    <a:lnTo>
                      <a:pt x="2772" y="342"/>
                    </a:lnTo>
                    <a:lnTo>
                      <a:pt x="2774" y="344"/>
                    </a:lnTo>
                    <a:lnTo>
                      <a:pt x="2775" y="346"/>
                    </a:lnTo>
                    <a:lnTo>
                      <a:pt x="2776" y="348"/>
                    </a:lnTo>
                    <a:lnTo>
                      <a:pt x="2774" y="348"/>
                    </a:lnTo>
                    <a:lnTo>
                      <a:pt x="2772" y="348"/>
                    </a:lnTo>
                    <a:lnTo>
                      <a:pt x="2771" y="346"/>
                    </a:lnTo>
                    <a:lnTo>
                      <a:pt x="2770" y="345"/>
                    </a:lnTo>
                    <a:lnTo>
                      <a:pt x="2770" y="343"/>
                    </a:lnTo>
                    <a:lnTo>
                      <a:pt x="2769" y="343"/>
                    </a:lnTo>
                    <a:lnTo>
                      <a:pt x="2767" y="343"/>
                    </a:lnTo>
                    <a:lnTo>
                      <a:pt x="2766" y="344"/>
                    </a:lnTo>
                    <a:lnTo>
                      <a:pt x="2766" y="345"/>
                    </a:lnTo>
                    <a:lnTo>
                      <a:pt x="2766" y="346"/>
                    </a:lnTo>
                    <a:lnTo>
                      <a:pt x="2765" y="346"/>
                    </a:lnTo>
                    <a:lnTo>
                      <a:pt x="2764" y="346"/>
                    </a:lnTo>
                    <a:lnTo>
                      <a:pt x="2764" y="346"/>
                    </a:lnTo>
                    <a:lnTo>
                      <a:pt x="2764" y="345"/>
                    </a:lnTo>
                    <a:lnTo>
                      <a:pt x="2763" y="344"/>
                    </a:lnTo>
                    <a:lnTo>
                      <a:pt x="2761" y="342"/>
                    </a:lnTo>
                    <a:lnTo>
                      <a:pt x="2760" y="342"/>
                    </a:lnTo>
                    <a:lnTo>
                      <a:pt x="2759" y="341"/>
                    </a:lnTo>
                    <a:lnTo>
                      <a:pt x="2758" y="341"/>
                    </a:lnTo>
                    <a:lnTo>
                      <a:pt x="2757" y="340"/>
                    </a:lnTo>
                    <a:lnTo>
                      <a:pt x="2755" y="338"/>
                    </a:lnTo>
                    <a:lnTo>
                      <a:pt x="2754" y="338"/>
                    </a:lnTo>
                    <a:lnTo>
                      <a:pt x="2754" y="336"/>
                    </a:lnTo>
                    <a:lnTo>
                      <a:pt x="2753" y="334"/>
                    </a:lnTo>
                    <a:lnTo>
                      <a:pt x="2753" y="332"/>
                    </a:lnTo>
                    <a:lnTo>
                      <a:pt x="2753" y="331"/>
                    </a:lnTo>
                    <a:lnTo>
                      <a:pt x="2754" y="330"/>
                    </a:lnTo>
                    <a:lnTo>
                      <a:pt x="2754" y="327"/>
                    </a:lnTo>
                    <a:lnTo>
                      <a:pt x="2754" y="326"/>
                    </a:lnTo>
                    <a:lnTo>
                      <a:pt x="2753" y="324"/>
                    </a:lnTo>
                    <a:lnTo>
                      <a:pt x="2751" y="322"/>
                    </a:lnTo>
                    <a:lnTo>
                      <a:pt x="2750" y="319"/>
                    </a:lnTo>
                    <a:lnTo>
                      <a:pt x="2748" y="316"/>
                    </a:lnTo>
                    <a:lnTo>
                      <a:pt x="2747" y="314"/>
                    </a:lnTo>
                    <a:lnTo>
                      <a:pt x="2747" y="313"/>
                    </a:lnTo>
                    <a:lnTo>
                      <a:pt x="2746" y="312"/>
                    </a:lnTo>
                    <a:lnTo>
                      <a:pt x="2745" y="312"/>
                    </a:lnTo>
                    <a:lnTo>
                      <a:pt x="2743" y="311"/>
                    </a:lnTo>
                    <a:lnTo>
                      <a:pt x="2742" y="311"/>
                    </a:lnTo>
                    <a:lnTo>
                      <a:pt x="2739" y="310"/>
                    </a:lnTo>
                    <a:lnTo>
                      <a:pt x="2738" y="309"/>
                    </a:lnTo>
                    <a:lnTo>
                      <a:pt x="2736" y="306"/>
                    </a:lnTo>
                    <a:lnTo>
                      <a:pt x="2735" y="303"/>
                    </a:lnTo>
                    <a:lnTo>
                      <a:pt x="2734" y="301"/>
                    </a:lnTo>
                    <a:lnTo>
                      <a:pt x="2734" y="299"/>
                    </a:lnTo>
                    <a:lnTo>
                      <a:pt x="2734" y="297"/>
                    </a:lnTo>
                    <a:lnTo>
                      <a:pt x="2734" y="294"/>
                    </a:lnTo>
                    <a:lnTo>
                      <a:pt x="2734" y="292"/>
                    </a:lnTo>
                    <a:lnTo>
                      <a:pt x="2734" y="290"/>
                    </a:lnTo>
                    <a:lnTo>
                      <a:pt x="2734" y="290"/>
                    </a:lnTo>
                    <a:lnTo>
                      <a:pt x="2735" y="290"/>
                    </a:lnTo>
                    <a:lnTo>
                      <a:pt x="2736" y="290"/>
                    </a:lnTo>
                    <a:lnTo>
                      <a:pt x="2737" y="289"/>
                    </a:lnTo>
                    <a:lnTo>
                      <a:pt x="2737" y="287"/>
                    </a:lnTo>
                    <a:lnTo>
                      <a:pt x="2737" y="286"/>
                    </a:lnTo>
                    <a:lnTo>
                      <a:pt x="2737" y="283"/>
                    </a:lnTo>
                    <a:lnTo>
                      <a:pt x="2737" y="281"/>
                    </a:lnTo>
                    <a:lnTo>
                      <a:pt x="2737" y="279"/>
                    </a:lnTo>
                    <a:lnTo>
                      <a:pt x="2737" y="272"/>
                    </a:lnTo>
                    <a:lnTo>
                      <a:pt x="2736" y="271"/>
                    </a:lnTo>
                    <a:lnTo>
                      <a:pt x="2735" y="271"/>
                    </a:lnTo>
                    <a:lnTo>
                      <a:pt x="2735" y="270"/>
                    </a:lnTo>
                    <a:lnTo>
                      <a:pt x="2735" y="270"/>
                    </a:lnTo>
                    <a:lnTo>
                      <a:pt x="2735" y="268"/>
                    </a:lnTo>
                    <a:lnTo>
                      <a:pt x="2734" y="267"/>
                    </a:lnTo>
                    <a:lnTo>
                      <a:pt x="2734" y="265"/>
                    </a:lnTo>
                    <a:lnTo>
                      <a:pt x="2734" y="264"/>
                    </a:lnTo>
                    <a:lnTo>
                      <a:pt x="2734" y="262"/>
                    </a:lnTo>
                    <a:lnTo>
                      <a:pt x="2734" y="261"/>
                    </a:lnTo>
                    <a:lnTo>
                      <a:pt x="2735" y="261"/>
                    </a:lnTo>
                    <a:lnTo>
                      <a:pt x="2735" y="262"/>
                    </a:lnTo>
                    <a:lnTo>
                      <a:pt x="2736" y="262"/>
                    </a:lnTo>
                    <a:lnTo>
                      <a:pt x="2736" y="262"/>
                    </a:lnTo>
                    <a:lnTo>
                      <a:pt x="2737" y="261"/>
                    </a:lnTo>
                    <a:lnTo>
                      <a:pt x="2736" y="257"/>
                    </a:lnTo>
                    <a:lnTo>
                      <a:pt x="2735" y="255"/>
                    </a:lnTo>
                    <a:lnTo>
                      <a:pt x="2735" y="251"/>
                    </a:lnTo>
                    <a:lnTo>
                      <a:pt x="2736" y="250"/>
                    </a:lnTo>
                    <a:lnTo>
                      <a:pt x="2737" y="250"/>
                    </a:lnTo>
                    <a:lnTo>
                      <a:pt x="2738" y="249"/>
                    </a:lnTo>
                    <a:lnTo>
                      <a:pt x="2739" y="248"/>
                    </a:lnTo>
                    <a:lnTo>
                      <a:pt x="2739" y="247"/>
                    </a:lnTo>
                    <a:lnTo>
                      <a:pt x="2739" y="246"/>
                    </a:lnTo>
                    <a:lnTo>
                      <a:pt x="2739" y="244"/>
                    </a:lnTo>
                    <a:lnTo>
                      <a:pt x="2739" y="242"/>
                    </a:lnTo>
                    <a:lnTo>
                      <a:pt x="2738" y="238"/>
                    </a:lnTo>
                    <a:lnTo>
                      <a:pt x="2737" y="236"/>
                    </a:lnTo>
                    <a:lnTo>
                      <a:pt x="2735" y="235"/>
                    </a:lnTo>
                    <a:lnTo>
                      <a:pt x="2735" y="234"/>
                    </a:lnTo>
                    <a:lnTo>
                      <a:pt x="2735" y="232"/>
                    </a:lnTo>
                    <a:lnTo>
                      <a:pt x="2735" y="231"/>
                    </a:lnTo>
                    <a:lnTo>
                      <a:pt x="2736" y="228"/>
                    </a:lnTo>
                    <a:lnTo>
                      <a:pt x="2736" y="226"/>
                    </a:lnTo>
                    <a:lnTo>
                      <a:pt x="2737" y="225"/>
                    </a:lnTo>
                    <a:lnTo>
                      <a:pt x="2737" y="214"/>
                    </a:lnTo>
                    <a:lnTo>
                      <a:pt x="2738" y="212"/>
                    </a:lnTo>
                    <a:lnTo>
                      <a:pt x="2739" y="210"/>
                    </a:lnTo>
                    <a:lnTo>
                      <a:pt x="2739" y="207"/>
                    </a:lnTo>
                    <a:lnTo>
                      <a:pt x="2739" y="199"/>
                    </a:lnTo>
                    <a:lnTo>
                      <a:pt x="2739" y="197"/>
                    </a:lnTo>
                    <a:lnTo>
                      <a:pt x="2738" y="196"/>
                    </a:lnTo>
                    <a:lnTo>
                      <a:pt x="2737" y="195"/>
                    </a:lnTo>
                    <a:lnTo>
                      <a:pt x="2737" y="194"/>
                    </a:lnTo>
                    <a:lnTo>
                      <a:pt x="2736" y="193"/>
                    </a:lnTo>
                    <a:lnTo>
                      <a:pt x="2735" y="191"/>
                    </a:lnTo>
                    <a:lnTo>
                      <a:pt x="2734" y="188"/>
                    </a:lnTo>
                    <a:lnTo>
                      <a:pt x="2734" y="185"/>
                    </a:lnTo>
                    <a:lnTo>
                      <a:pt x="2734" y="183"/>
                    </a:lnTo>
                    <a:lnTo>
                      <a:pt x="2734" y="182"/>
                    </a:lnTo>
                    <a:lnTo>
                      <a:pt x="2735" y="181"/>
                    </a:lnTo>
                    <a:lnTo>
                      <a:pt x="2735" y="181"/>
                    </a:lnTo>
                    <a:lnTo>
                      <a:pt x="2735" y="182"/>
                    </a:lnTo>
                    <a:lnTo>
                      <a:pt x="2736" y="182"/>
                    </a:lnTo>
                    <a:lnTo>
                      <a:pt x="2736" y="182"/>
                    </a:lnTo>
                    <a:lnTo>
                      <a:pt x="2737" y="181"/>
                    </a:lnTo>
                    <a:lnTo>
                      <a:pt x="2737" y="181"/>
                    </a:lnTo>
                    <a:lnTo>
                      <a:pt x="2737" y="180"/>
                    </a:lnTo>
                    <a:lnTo>
                      <a:pt x="2737" y="178"/>
                    </a:lnTo>
                    <a:lnTo>
                      <a:pt x="2738" y="177"/>
                    </a:lnTo>
                    <a:lnTo>
                      <a:pt x="2739" y="177"/>
                    </a:lnTo>
                    <a:lnTo>
                      <a:pt x="2740" y="178"/>
                    </a:lnTo>
                    <a:lnTo>
                      <a:pt x="2742" y="179"/>
                    </a:lnTo>
                    <a:lnTo>
                      <a:pt x="2742" y="180"/>
                    </a:lnTo>
                    <a:lnTo>
                      <a:pt x="2743" y="180"/>
                    </a:lnTo>
                    <a:lnTo>
                      <a:pt x="2744" y="179"/>
                    </a:lnTo>
                    <a:lnTo>
                      <a:pt x="2745" y="178"/>
                    </a:lnTo>
                    <a:lnTo>
                      <a:pt x="2745" y="177"/>
                    </a:lnTo>
                    <a:lnTo>
                      <a:pt x="2744" y="174"/>
                    </a:lnTo>
                    <a:lnTo>
                      <a:pt x="2744" y="172"/>
                    </a:lnTo>
                    <a:lnTo>
                      <a:pt x="2743" y="171"/>
                    </a:lnTo>
                    <a:lnTo>
                      <a:pt x="2743" y="169"/>
                    </a:lnTo>
                    <a:lnTo>
                      <a:pt x="2743" y="168"/>
                    </a:lnTo>
                    <a:lnTo>
                      <a:pt x="2743" y="168"/>
                    </a:lnTo>
                    <a:lnTo>
                      <a:pt x="2744" y="168"/>
                    </a:lnTo>
                    <a:lnTo>
                      <a:pt x="2745" y="168"/>
                    </a:lnTo>
                    <a:lnTo>
                      <a:pt x="2746" y="168"/>
                    </a:lnTo>
                    <a:lnTo>
                      <a:pt x="2746" y="167"/>
                    </a:lnTo>
                    <a:lnTo>
                      <a:pt x="2746" y="164"/>
                    </a:lnTo>
                    <a:lnTo>
                      <a:pt x="2746" y="163"/>
                    </a:lnTo>
                    <a:lnTo>
                      <a:pt x="2746" y="161"/>
                    </a:lnTo>
                    <a:lnTo>
                      <a:pt x="2746" y="160"/>
                    </a:lnTo>
                    <a:lnTo>
                      <a:pt x="2746" y="159"/>
                    </a:lnTo>
                    <a:lnTo>
                      <a:pt x="2748" y="158"/>
                    </a:lnTo>
                    <a:lnTo>
                      <a:pt x="2749" y="158"/>
                    </a:lnTo>
                    <a:lnTo>
                      <a:pt x="2750" y="158"/>
                    </a:lnTo>
                    <a:lnTo>
                      <a:pt x="2751" y="158"/>
                    </a:lnTo>
                    <a:lnTo>
                      <a:pt x="2751" y="157"/>
                    </a:lnTo>
                    <a:lnTo>
                      <a:pt x="2751" y="152"/>
                    </a:lnTo>
                    <a:lnTo>
                      <a:pt x="2753" y="152"/>
                    </a:lnTo>
                    <a:lnTo>
                      <a:pt x="2753" y="153"/>
                    </a:lnTo>
                    <a:lnTo>
                      <a:pt x="2754" y="155"/>
                    </a:lnTo>
                    <a:lnTo>
                      <a:pt x="2755" y="156"/>
                    </a:lnTo>
                    <a:lnTo>
                      <a:pt x="2755" y="157"/>
                    </a:lnTo>
                    <a:lnTo>
                      <a:pt x="2756" y="157"/>
                    </a:lnTo>
                    <a:lnTo>
                      <a:pt x="2756" y="156"/>
                    </a:lnTo>
                    <a:lnTo>
                      <a:pt x="2756" y="155"/>
                    </a:lnTo>
                    <a:lnTo>
                      <a:pt x="2756" y="152"/>
                    </a:lnTo>
                    <a:lnTo>
                      <a:pt x="2756" y="150"/>
                    </a:lnTo>
                    <a:lnTo>
                      <a:pt x="2756" y="149"/>
                    </a:lnTo>
                    <a:lnTo>
                      <a:pt x="2756" y="148"/>
                    </a:lnTo>
                    <a:lnTo>
                      <a:pt x="2756" y="147"/>
                    </a:lnTo>
                    <a:lnTo>
                      <a:pt x="2757" y="147"/>
                    </a:lnTo>
                    <a:lnTo>
                      <a:pt x="2758" y="148"/>
                    </a:lnTo>
                    <a:lnTo>
                      <a:pt x="2760" y="148"/>
                    </a:lnTo>
                    <a:lnTo>
                      <a:pt x="2761" y="149"/>
                    </a:lnTo>
                    <a:lnTo>
                      <a:pt x="2761" y="150"/>
                    </a:lnTo>
                    <a:lnTo>
                      <a:pt x="2764" y="152"/>
                    </a:lnTo>
                    <a:lnTo>
                      <a:pt x="2765" y="151"/>
                    </a:lnTo>
                    <a:lnTo>
                      <a:pt x="2766" y="151"/>
                    </a:lnTo>
                    <a:lnTo>
                      <a:pt x="2766" y="150"/>
                    </a:lnTo>
                    <a:lnTo>
                      <a:pt x="2766" y="150"/>
                    </a:lnTo>
                    <a:lnTo>
                      <a:pt x="2768" y="150"/>
                    </a:lnTo>
                    <a:lnTo>
                      <a:pt x="2769" y="150"/>
                    </a:lnTo>
                    <a:lnTo>
                      <a:pt x="2771" y="150"/>
                    </a:lnTo>
                    <a:lnTo>
                      <a:pt x="2772" y="150"/>
                    </a:lnTo>
                    <a:lnTo>
                      <a:pt x="2776" y="148"/>
                    </a:lnTo>
                    <a:lnTo>
                      <a:pt x="2777" y="147"/>
                    </a:lnTo>
                    <a:lnTo>
                      <a:pt x="2778" y="146"/>
                    </a:lnTo>
                    <a:lnTo>
                      <a:pt x="2778" y="145"/>
                    </a:lnTo>
                    <a:lnTo>
                      <a:pt x="2779" y="144"/>
                    </a:lnTo>
                    <a:lnTo>
                      <a:pt x="2779" y="142"/>
                    </a:lnTo>
                    <a:lnTo>
                      <a:pt x="2778" y="141"/>
                    </a:lnTo>
                    <a:lnTo>
                      <a:pt x="2778" y="137"/>
                    </a:lnTo>
                    <a:lnTo>
                      <a:pt x="2778" y="135"/>
                    </a:lnTo>
                    <a:lnTo>
                      <a:pt x="2780" y="131"/>
                    </a:lnTo>
                    <a:lnTo>
                      <a:pt x="2781" y="131"/>
                    </a:lnTo>
                    <a:lnTo>
                      <a:pt x="2783" y="130"/>
                    </a:lnTo>
                    <a:lnTo>
                      <a:pt x="2785" y="129"/>
                    </a:lnTo>
                    <a:lnTo>
                      <a:pt x="2786" y="129"/>
                    </a:lnTo>
                    <a:close/>
                    <a:moveTo>
                      <a:pt x="1292" y="100"/>
                    </a:moveTo>
                    <a:lnTo>
                      <a:pt x="1292" y="101"/>
                    </a:lnTo>
                    <a:lnTo>
                      <a:pt x="1293" y="102"/>
                    </a:lnTo>
                    <a:lnTo>
                      <a:pt x="1294" y="103"/>
                    </a:lnTo>
                    <a:lnTo>
                      <a:pt x="1294" y="104"/>
                    </a:lnTo>
                    <a:lnTo>
                      <a:pt x="1294" y="105"/>
                    </a:lnTo>
                    <a:lnTo>
                      <a:pt x="1292" y="106"/>
                    </a:lnTo>
                    <a:lnTo>
                      <a:pt x="1291" y="108"/>
                    </a:lnTo>
                    <a:lnTo>
                      <a:pt x="1291" y="111"/>
                    </a:lnTo>
                    <a:lnTo>
                      <a:pt x="1292" y="112"/>
                    </a:lnTo>
                    <a:lnTo>
                      <a:pt x="1292" y="118"/>
                    </a:lnTo>
                    <a:lnTo>
                      <a:pt x="1290" y="126"/>
                    </a:lnTo>
                    <a:lnTo>
                      <a:pt x="1284" y="131"/>
                    </a:lnTo>
                    <a:lnTo>
                      <a:pt x="1280" y="135"/>
                    </a:lnTo>
                    <a:lnTo>
                      <a:pt x="1276" y="135"/>
                    </a:lnTo>
                    <a:lnTo>
                      <a:pt x="1274" y="135"/>
                    </a:lnTo>
                    <a:lnTo>
                      <a:pt x="1272" y="133"/>
                    </a:lnTo>
                    <a:lnTo>
                      <a:pt x="1271" y="131"/>
                    </a:lnTo>
                    <a:lnTo>
                      <a:pt x="1271" y="129"/>
                    </a:lnTo>
                    <a:lnTo>
                      <a:pt x="1272" y="127"/>
                    </a:lnTo>
                    <a:lnTo>
                      <a:pt x="1273" y="125"/>
                    </a:lnTo>
                    <a:lnTo>
                      <a:pt x="1275" y="124"/>
                    </a:lnTo>
                    <a:lnTo>
                      <a:pt x="1279" y="123"/>
                    </a:lnTo>
                    <a:lnTo>
                      <a:pt x="1281" y="122"/>
                    </a:lnTo>
                    <a:lnTo>
                      <a:pt x="1283" y="122"/>
                    </a:lnTo>
                    <a:lnTo>
                      <a:pt x="1285" y="120"/>
                    </a:lnTo>
                    <a:lnTo>
                      <a:pt x="1287" y="119"/>
                    </a:lnTo>
                    <a:lnTo>
                      <a:pt x="1287" y="117"/>
                    </a:lnTo>
                    <a:lnTo>
                      <a:pt x="1287" y="115"/>
                    </a:lnTo>
                    <a:lnTo>
                      <a:pt x="1286" y="114"/>
                    </a:lnTo>
                    <a:lnTo>
                      <a:pt x="1286" y="112"/>
                    </a:lnTo>
                    <a:lnTo>
                      <a:pt x="1285" y="108"/>
                    </a:lnTo>
                    <a:lnTo>
                      <a:pt x="1285" y="106"/>
                    </a:lnTo>
                    <a:lnTo>
                      <a:pt x="1285" y="104"/>
                    </a:lnTo>
                    <a:lnTo>
                      <a:pt x="1285" y="103"/>
                    </a:lnTo>
                    <a:lnTo>
                      <a:pt x="1286" y="101"/>
                    </a:lnTo>
                    <a:lnTo>
                      <a:pt x="1288" y="101"/>
                    </a:lnTo>
                    <a:lnTo>
                      <a:pt x="1292" y="100"/>
                    </a:lnTo>
                    <a:close/>
                    <a:moveTo>
                      <a:pt x="933" y="93"/>
                    </a:moveTo>
                    <a:lnTo>
                      <a:pt x="936" y="93"/>
                    </a:lnTo>
                    <a:lnTo>
                      <a:pt x="937" y="94"/>
                    </a:lnTo>
                    <a:lnTo>
                      <a:pt x="939" y="96"/>
                    </a:lnTo>
                    <a:lnTo>
                      <a:pt x="941" y="100"/>
                    </a:lnTo>
                    <a:lnTo>
                      <a:pt x="941" y="103"/>
                    </a:lnTo>
                    <a:lnTo>
                      <a:pt x="939" y="106"/>
                    </a:lnTo>
                    <a:lnTo>
                      <a:pt x="941" y="108"/>
                    </a:lnTo>
                    <a:lnTo>
                      <a:pt x="941" y="112"/>
                    </a:lnTo>
                    <a:lnTo>
                      <a:pt x="943" y="114"/>
                    </a:lnTo>
                    <a:lnTo>
                      <a:pt x="946" y="117"/>
                    </a:lnTo>
                    <a:lnTo>
                      <a:pt x="949" y="120"/>
                    </a:lnTo>
                    <a:lnTo>
                      <a:pt x="952" y="123"/>
                    </a:lnTo>
                    <a:lnTo>
                      <a:pt x="954" y="126"/>
                    </a:lnTo>
                    <a:lnTo>
                      <a:pt x="959" y="134"/>
                    </a:lnTo>
                    <a:lnTo>
                      <a:pt x="965" y="141"/>
                    </a:lnTo>
                    <a:lnTo>
                      <a:pt x="969" y="150"/>
                    </a:lnTo>
                    <a:lnTo>
                      <a:pt x="968" y="155"/>
                    </a:lnTo>
                    <a:lnTo>
                      <a:pt x="965" y="161"/>
                    </a:lnTo>
                    <a:lnTo>
                      <a:pt x="959" y="166"/>
                    </a:lnTo>
                    <a:lnTo>
                      <a:pt x="953" y="170"/>
                    </a:lnTo>
                    <a:lnTo>
                      <a:pt x="947" y="171"/>
                    </a:lnTo>
                    <a:lnTo>
                      <a:pt x="939" y="172"/>
                    </a:lnTo>
                    <a:lnTo>
                      <a:pt x="939" y="172"/>
                    </a:lnTo>
                    <a:lnTo>
                      <a:pt x="937" y="173"/>
                    </a:lnTo>
                    <a:lnTo>
                      <a:pt x="937" y="173"/>
                    </a:lnTo>
                    <a:lnTo>
                      <a:pt x="928" y="172"/>
                    </a:lnTo>
                    <a:lnTo>
                      <a:pt x="921" y="169"/>
                    </a:lnTo>
                    <a:lnTo>
                      <a:pt x="917" y="166"/>
                    </a:lnTo>
                    <a:lnTo>
                      <a:pt x="916" y="160"/>
                    </a:lnTo>
                    <a:lnTo>
                      <a:pt x="914" y="155"/>
                    </a:lnTo>
                    <a:lnTo>
                      <a:pt x="912" y="150"/>
                    </a:lnTo>
                    <a:lnTo>
                      <a:pt x="908" y="150"/>
                    </a:lnTo>
                    <a:lnTo>
                      <a:pt x="906" y="150"/>
                    </a:lnTo>
                    <a:lnTo>
                      <a:pt x="905" y="150"/>
                    </a:lnTo>
                    <a:lnTo>
                      <a:pt x="903" y="150"/>
                    </a:lnTo>
                    <a:lnTo>
                      <a:pt x="902" y="150"/>
                    </a:lnTo>
                    <a:lnTo>
                      <a:pt x="900" y="150"/>
                    </a:lnTo>
                    <a:lnTo>
                      <a:pt x="899" y="149"/>
                    </a:lnTo>
                    <a:lnTo>
                      <a:pt x="898" y="148"/>
                    </a:lnTo>
                    <a:lnTo>
                      <a:pt x="897" y="146"/>
                    </a:lnTo>
                    <a:lnTo>
                      <a:pt x="898" y="141"/>
                    </a:lnTo>
                    <a:lnTo>
                      <a:pt x="899" y="138"/>
                    </a:lnTo>
                    <a:lnTo>
                      <a:pt x="901" y="136"/>
                    </a:lnTo>
                    <a:lnTo>
                      <a:pt x="903" y="134"/>
                    </a:lnTo>
                    <a:lnTo>
                      <a:pt x="914" y="116"/>
                    </a:lnTo>
                    <a:lnTo>
                      <a:pt x="925" y="97"/>
                    </a:lnTo>
                    <a:lnTo>
                      <a:pt x="928" y="95"/>
                    </a:lnTo>
                    <a:lnTo>
                      <a:pt x="931" y="93"/>
                    </a:lnTo>
                    <a:lnTo>
                      <a:pt x="933" y="93"/>
                    </a:lnTo>
                    <a:close/>
                    <a:moveTo>
                      <a:pt x="2135" y="49"/>
                    </a:moveTo>
                    <a:lnTo>
                      <a:pt x="2139" y="50"/>
                    </a:lnTo>
                    <a:lnTo>
                      <a:pt x="2145" y="53"/>
                    </a:lnTo>
                    <a:lnTo>
                      <a:pt x="2150" y="57"/>
                    </a:lnTo>
                    <a:lnTo>
                      <a:pt x="2155" y="60"/>
                    </a:lnTo>
                    <a:lnTo>
                      <a:pt x="2159" y="65"/>
                    </a:lnTo>
                    <a:lnTo>
                      <a:pt x="2163" y="72"/>
                    </a:lnTo>
                    <a:lnTo>
                      <a:pt x="2165" y="80"/>
                    </a:lnTo>
                    <a:lnTo>
                      <a:pt x="2165" y="83"/>
                    </a:lnTo>
                    <a:lnTo>
                      <a:pt x="2165" y="86"/>
                    </a:lnTo>
                    <a:lnTo>
                      <a:pt x="2166" y="90"/>
                    </a:lnTo>
                    <a:lnTo>
                      <a:pt x="2166" y="93"/>
                    </a:lnTo>
                    <a:lnTo>
                      <a:pt x="2165" y="95"/>
                    </a:lnTo>
                    <a:lnTo>
                      <a:pt x="2164" y="96"/>
                    </a:lnTo>
                    <a:lnTo>
                      <a:pt x="2161" y="96"/>
                    </a:lnTo>
                    <a:lnTo>
                      <a:pt x="2160" y="95"/>
                    </a:lnTo>
                    <a:lnTo>
                      <a:pt x="2158" y="94"/>
                    </a:lnTo>
                    <a:lnTo>
                      <a:pt x="2156" y="92"/>
                    </a:lnTo>
                    <a:lnTo>
                      <a:pt x="2154" y="90"/>
                    </a:lnTo>
                    <a:lnTo>
                      <a:pt x="2153" y="88"/>
                    </a:lnTo>
                    <a:lnTo>
                      <a:pt x="2149" y="87"/>
                    </a:lnTo>
                    <a:lnTo>
                      <a:pt x="2147" y="85"/>
                    </a:lnTo>
                    <a:lnTo>
                      <a:pt x="2144" y="84"/>
                    </a:lnTo>
                    <a:lnTo>
                      <a:pt x="2142" y="81"/>
                    </a:lnTo>
                    <a:lnTo>
                      <a:pt x="2139" y="77"/>
                    </a:lnTo>
                    <a:lnTo>
                      <a:pt x="2136" y="70"/>
                    </a:lnTo>
                    <a:lnTo>
                      <a:pt x="2133" y="62"/>
                    </a:lnTo>
                    <a:lnTo>
                      <a:pt x="2132" y="55"/>
                    </a:lnTo>
                    <a:lnTo>
                      <a:pt x="2132" y="51"/>
                    </a:lnTo>
                    <a:lnTo>
                      <a:pt x="2135" y="49"/>
                    </a:lnTo>
                    <a:close/>
                    <a:moveTo>
                      <a:pt x="2808" y="27"/>
                    </a:moveTo>
                    <a:lnTo>
                      <a:pt x="2809" y="27"/>
                    </a:lnTo>
                    <a:lnTo>
                      <a:pt x="2810" y="28"/>
                    </a:lnTo>
                    <a:lnTo>
                      <a:pt x="2812" y="29"/>
                    </a:lnTo>
                    <a:lnTo>
                      <a:pt x="2813" y="30"/>
                    </a:lnTo>
                    <a:lnTo>
                      <a:pt x="2813" y="31"/>
                    </a:lnTo>
                    <a:lnTo>
                      <a:pt x="2814" y="32"/>
                    </a:lnTo>
                    <a:lnTo>
                      <a:pt x="2814" y="32"/>
                    </a:lnTo>
                    <a:lnTo>
                      <a:pt x="2814" y="33"/>
                    </a:lnTo>
                    <a:lnTo>
                      <a:pt x="2814" y="33"/>
                    </a:lnTo>
                    <a:lnTo>
                      <a:pt x="2813" y="33"/>
                    </a:lnTo>
                    <a:lnTo>
                      <a:pt x="2811" y="31"/>
                    </a:lnTo>
                    <a:lnTo>
                      <a:pt x="2810" y="30"/>
                    </a:lnTo>
                    <a:lnTo>
                      <a:pt x="2809" y="29"/>
                    </a:lnTo>
                    <a:lnTo>
                      <a:pt x="2808" y="28"/>
                    </a:lnTo>
                    <a:lnTo>
                      <a:pt x="2807" y="27"/>
                    </a:lnTo>
                    <a:lnTo>
                      <a:pt x="2808" y="27"/>
                    </a:lnTo>
                    <a:close/>
                    <a:moveTo>
                      <a:pt x="986" y="0"/>
                    </a:moveTo>
                    <a:lnTo>
                      <a:pt x="988" y="3"/>
                    </a:lnTo>
                    <a:lnTo>
                      <a:pt x="989" y="4"/>
                    </a:lnTo>
                    <a:lnTo>
                      <a:pt x="989" y="5"/>
                    </a:lnTo>
                    <a:lnTo>
                      <a:pt x="990" y="6"/>
                    </a:lnTo>
                    <a:lnTo>
                      <a:pt x="990" y="7"/>
                    </a:lnTo>
                    <a:lnTo>
                      <a:pt x="992" y="8"/>
                    </a:lnTo>
                    <a:lnTo>
                      <a:pt x="994" y="9"/>
                    </a:lnTo>
                    <a:lnTo>
                      <a:pt x="1000" y="8"/>
                    </a:lnTo>
                    <a:lnTo>
                      <a:pt x="1003" y="8"/>
                    </a:lnTo>
                    <a:lnTo>
                      <a:pt x="1007" y="9"/>
                    </a:lnTo>
                    <a:lnTo>
                      <a:pt x="1009" y="11"/>
                    </a:lnTo>
                    <a:lnTo>
                      <a:pt x="1010" y="14"/>
                    </a:lnTo>
                    <a:lnTo>
                      <a:pt x="1011" y="18"/>
                    </a:lnTo>
                    <a:lnTo>
                      <a:pt x="1012" y="22"/>
                    </a:lnTo>
                    <a:lnTo>
                      <a:pt x="1014" y="29"/>
                    </a:lnTo>
                    <a:lnTo>
                      <a:pt x="1020" y="36"/>
                    </a:lnTo>
                    <a:lnTo>
                      <a:pt x="1023" y="42"/>
                    </a:lnTo>
                    <a:lnTo>
                      <a:pt x="1023" y="48"/>
                    </a:lnTo>
                    <a:lnTo>
                      <a:pt x="1025" y="53"/>
                    </a:lnTo>
                    <a:lnTo>
                      <a:pt x="1030" y="60"/>
                    </a:lnTo>
                    <a:lnTo>
                      <a:pt x="1032" y="61"/>
                    </a:lnTo>
                    <a:lnTo>
                      <a:pt x="1034" y="64"/>
                    </a:lnTo>
                    <a:lnTo>
                      <a:pt x="1036" y="68"/>
                    </a:lnTo>
                    <a:lnTo>
                      <a:pt x="1039" y="71"/>
                    </a:lnTo>
                    <a:lnTo>
                      <a:pt x="1040" y="73"/>
                    </a:lnTo>
                    <a:lnTo>
                      <a:pt x="1040" y="76"/>
                    </a:lnTo>
                    <a:lnTo>
                      <a:pt x="1039" y="77"/>
                    </a:lnTo>
                    <a:lnTo>
                      <a:pt x="1037" y="79"/>
                    </a:lnTo>
                    <a:lnTo>
                      <a:pt x="1036" y="79"/>
                    </a:lnTo>
                    <a:lnTo>
                      <a:pt x="1034" y="79"/>
                    </a:lnTo>
                    <a:lnTo>
                      <a:pt x="1032" y="79"/>
                    </a:lnTo>
                    <a:lnTo>
                      <a:pt x="1030" y="79"/>
                    </a:lnTo>
                    <a:lnTo>
                      <a:pt x="1028" y="79"/>
                    </a:lnTo>
                    <a:lnTo>
                      <a:pt x="1025" y="79"/>
                    </a:lnTo>
                    <a:lnTo>
                      <a:pt x="1023" y="80"/>
                    </a:lnTo>
                    <a:lnTo>
                      <a:pt x="1022" y="82"/>
                    </a:lnTo>
                    <a:lnTo>
                      <a:pt x="1023" y="84"/>
                    </a:lnTo>
                    <a:lnTo>
                      <a:pt x="1024" y="86"/>
                    </a:lnTo>
                    <a:lnTo>
                      <a:pt x="1025" y="87"/>
                    </a:lnTo>
                    <a:lnTo>
                      <a:pt x="1025" y="91"/>
                    </a:lnTo>
                    <a:lnTo>
                      <a:pt x="1024" y="92"/>
                    </a:lnTo>
                    <a:lnTo>
                      <a:pt x="1023" y="94"/>
                    </a:lnTo>
                    <a:lnTo>
                      <a:pt x="1022" y="95"/>
                    </a:lnTo>
                    <a:lnTo>
                      <a:pt x="1021" y="97"/>
                    </a:lnTo>
                    <a:lnTo>
                      <a:pt x="1021" y="100"/>
                    </a:lnTo>
                    <a:lnTo>
                      <a:pt x="1023" y="103"/>
                    </a:lnTo>
                    <a:lnTo>
                      <a:pt x="1024" y="105"/>
                    </a:lnTo>
                    <a:lnTo>
                      <a:pt x="1028" y="106"/>
                    </a:lnTo>
                    <a:lnTo>
                      <a:pt x="1030" y="106"/>
                    </a:lnTo>
                    <a:lnTo>
                      <a:pt x="1033" y="105"/>
                    </a:lnTo>
                    <a:lnTo>
                      <a:pt x="1035" y="105"/>
                    </a:lnTo>
                    <a:lnTo>
                      <a:pt x="1037" y="104"/>
                    </a:lnTo>
                    <a:lnTo>
                      <a:pt x="1040" y="104"/>
                    </a:lnTo>
                    <a:lnTo>
                      <a:pt x="1042" y="104"/>
                    </a:lnTo>
                    <a:lnTo>
                      <a:pt x="1045" y="106"/>
                    </a:lnTo>
                    <a:lnTo>
                      <a:pt x="1046" y="107"/>
                    </a:lnTo>
                    <a:lnTo>
                      <a:pt x="1048" y="108"/>
                    </a:lnTo>
                    <a:lnTo>
                      <a:pt x="1051" y="109"/>
                    </a:lnTo>
                    <a:lnTo>
                      <a:pt x="1053" y="109"/>
                    </a:lnTo>
                    <a:lnTo>
                      <a:pt x="1055" y="111"/>
                    </a:lnTo>
                    <a:lnTo>
                      <a:pt x="1056" y="113"/>
                    </a:lnTo>
                    <a:lnTo>
                      <a:pt x="1056" y="119"/>
                    </a:lnTo>
                    <a:lnTo>
                      <a:pt x="1053" y="126"/>
                    </a:lnTo>
                    <a:lnTo>
                      <a:pt x="1052" y="133"/>
                    </a:lnTo>
                    <a:lnTo>
                      <a:pt x="1052" y="134"/>
                    </a:lnTo>
                    <a:lnTo>
                      <a:pt x="1053" y="137"/>
                    </a:lnTo>
                    <a:lnTo>
                      <a:pt x="1054" y="139"/>
                    </a:lnTo>
                    <a:lnTo>
                      <a:pt x="1054" y="141"/>
                    </a:lnTo>
                    <a:lnTo>
                      <a:pt x="1054" y="145"/>
                    </a:lnTo>
                    <a:lnTo>
                      <a:pt x="1056" y="151"/>
                    </a:lnTo>
                    <a:lnTo>
                      <a:pt x="1058" y="158"/>
                    </a:lnTo>
                    <a:lnTo>
                      <a:pt x="1063" y="161"/>
                    </a:lnTo>
                    <a:lnTo>
                      <a:pt x="1065" y="152"/>
                    </a:lnTo>
                    <a:lnTo>
                      <a:pt x="1065" y="145"/>
                    </a:lnTo>
                    <a:lnTo>
                      <a:pt x="1067" y="136"/>
                    </a:lnTo>
                    <a:lnTo>
                      <a:pt x="1070" y="128"/>
                    </a:lnTo>
                    <a:lnTo>
                      <a:pt x="1078" y="122"/>
                    </a:lnTo>
                    <a:lnTo>
                      <a:pt x="1080" y="120"/>
                    </a:lnTo>
                    <a:lnTo>
                      <a:pt x="1083" y="119"/>
                    </a:lnTo>
                    <a:lnTo>
                      <a:pt x="1086" y="118"/>
                    </a:lnTo>
                    <a:lnTo>
                      <a:pt x="1088" y="117"/>
                    </a:lnTo>
                    <a:lnTo>
                      <a:pt x="1091" y="117"/>
                    </a:lnTo>
                    <a:lnTo>
                      <a:pt x="1094" y="117"/>
                    </a:lnTo>
                    <a:lnTo>
                      <a:pt x="1096" y="119"/>
                    </a:lnTo>
                    <a:lnTo>
                      <a:pt x="1098" y="126"/>
                    </a:lnTo>
                    <a:lnTo>
                      <a:pt x="1101" y="131"/>
                    </a:lnTo>
                    <a:lnTo>
                      <a:pt x="1107" y="137"/>
                    </a:lnTo>
                    <a:lnTo>
                      <a:pt x="1111" y="140"/>
                    </a:lnTo>
                    <a:lnTo>
                      <a:pt x="1113" y="144"/>
                    </a:lnTo>
                    <a:lnTo>
                      <a:pt x="1114" y="148"/>
                    </a:lnTo>
                    <a:lnTo>
                      <a:pt x="1116" y="152"/>
                    </a:lnTo>
                    <a:lnTo>
                      <a:pt x="1113" y="156"/>
                    </a:lnTo>
                    <a:lnTo>
                      <a:pt x="1112" y="158"/>
                    </a:lnTo>
                    <a:lnTo>
                      <a:pt x="1109" y="159"/>
                    </a:lnTo>
                    <a:lnTo>
                      <a:pt x="1107" y="161"/>
                    </a:lnTo>
                    <a:lnTo>
                      <a:pt x="1105" y="163"/>
                    </a:lnTo>
                    <a:lnTo>
                      <a:pt x="1100" y="171"/>
                    </a:lnTo>
                    <a:lnTo>
                      <a:pt x="1099" y="180"/>
                    </a:lnTo>
                    <a:lnTo>
                      <a:pt x="1101" y="190"/>
                    </a:lnTo>
                    <a:lnTo>
                      <a:pt x="1107" y="196"/>
                    </a:lnTo>
                    <a:lnTo>
                      <a:pt x="1108" y="197"/>
                    </a:lnTo>
                    <a:lnTo>
                      <a:pt x="1110" y="199"/>
                    </a:lnTo>
                    <a:lnTo>
                      <a:pt x="1111" y="199"/>
                    </a:lnTo>
                    <a:lnTo>
                      <a:pt x="1112" y="201"/>
                    </a:lnTo>
                    <a:lnTo>
                      <a:pt x="1113" y="203"/>
                    </a:lnTo>
                    <a:lnTo>
                      <a:pt x="1116" y="205"/>
                    </a:lnTo>
                    <a:lnTo>
                      <a:pt x="1118" y="206"/>
                    </a:lnTo>
                    <a:lnTo>
                      <a:pt x="1120" y="207"/>
                    </a:lnTo>
                    <a:lnTo>
                      <a:pt x="1122" y="206"/>
                    </a:lnTo>
                    <a:lnTo>
                      <a:pt x="1124" y="205"/>
                    </a:lnTo>
                    <a:lnTo>
                      <a:pt x="1125" y="204"/>
                    </a:lnTo>
                    <a:lnTo>
                      <a:pt x="1125" y="202"/>
                    </a:lnTo>
                    <a:lnTo>
                      <a:pt x="1127" y="201"/>
                    </a:lnTo>
                    <a:lnTo>
                      <a:pt x="1127" y="194"/>
                    </a:lnTo>
                    <a:lnTo>
                      <a:pt x="1124" y="190"/>
                    </a:lnTo>
                    <a:lnTo>
                      <a:pt x="1122" y="184"/>
                    </a:lnTo>
                    <a:lnTo>
                      <a:pt x="1122" y="179"/>
                    </a:lnTo>
                    <a:lnTo>
                      <a:pt x="1124" y="172"/>
                    </a:lnTo>
                    <a:lnTo>
                      <a:pt x="1128" y="169"/>
                    </a:lnTo>
                    <a:lnTo>
                      <a:pt x="1133" y="168"/>
                    </a:lnTo>
                    <a:lnTo>
                      <a:pt x="1139" y="168"/>
                    </a:lnTo>
                    <a:lnTo>
                      <a:pt x="1144" y="168"/>
                    </a:lnTo>
                    <a:lnTo>
                      <a:pt x="1150" y="166"/>
                    </a:lnTo>
                    <a:lnTo>
                      <a:pt x="1152" y="162"/>
                    </a:lnTo>
                    <a:lnTo>
                      <a:pt x="1152" y="158"/>
                    </a:lnTo>
                    <a:lnTo>
                      <a:pt x="1151" y="152"/>
                    </a:lnTo>
                    <a:lnTo>
                      <a:pt x="1149" y="147"/>
                    </a:lnTo>
                    <a:lnTo>
                      <a:pt x="1149" y="144"/>
                    </a:lnTo>
                    <a:lnTo>
                      <a:pt x="1149" y="140"/>
                    </a:lnTo>
                    <a:lnTo>
                      <a:pt x="1149" y="137"/>
                    </a:lnTo>
                    <a:lnTo>
                      <a:pt x="1151" y="134"/>
                    </a:lnTo>
                    <a:lnTo>
                      <a:pt x="1153" y="131"/>
                    </a:lnTo>
                    <a:lnTo>
                      <a:pt x="1155" y="130"/>
                    </a:lnTo>
                    <a:lnTo>
                      <a:pt x="1160" y="130"/>
                    </a:lnTo>
                    <a:lnTo>
                      <a:pt x="1163" y="129"/>
                    </a:lnTo>
                    <a:lnTo>
                      <a:pt x="1166" y="128"/>
                    </a:lnTo>
                    <a:lnTo>
                      <a:pt x="1167" y="126"/>
                    </a:lnTo>
                    <a:lnTo>
                      <a:pt x="1168" y="123"/>
                    </a:lnTo>
                    <a:lnTo>
                      <a:pt x="1168" y="119"/>
                    </a:lnTo>
                    <a:lnTo>
                      <a:pt x="1165" y="116"/>
                    </a:lnTo>
                    <a:lnTo>
                      <a:pt x="1163" y="113"/>
                    </a:lnTo>
                    <a:lnTo>
                      <a:pt x="1160" y="109"/>
                    </a:lnTo>
                    <a:lnTo>
                      <a:pt x="1157" y="106"/>
                    </a:lnTo>
                    <a:lnTo>
                      <a:pt x="1156" y="103"/>
                    </a:lnTo>
                    <a:lnTo>
                      <a:pt x="1155" y="101"/>
                    </a:lnTo>
                    <a:lnTo>
                      <a:pt x="1155" y="97"/>
                    </a:lnTo>
                    <a:lnTo>
                      <a:pt x="1156" y="94"/>
                    </a:lnTo>
                    <a:lnTo>
                      <a:pt x="1157" y="92"/>
                    </a:lnTo>
                    <a:lnTo>
                      <a:pt x="1160" y="91"/>
                    </a:lnTo>
                    <a:lnTo>
                      <a:pt x="1166" y="88"/>
                    </a:lnTo>
                    <a:lnTo>
                      <a:pt x="1176" y="88"/>
                    </a:lnTo>
                    <a:lnTo>
                      <a:pt x="1186" y="91"/>
                    </a:lnTo>
                    <a:lnTo>
                      <a:pt x="1195" y="93"/>
                    </a:lnTo>
                    <a:lnTo>
                      <a:pt x="1199" y="93"/>
                    </a:lnTo>
                    <a:lnTo>
                      <a:pt x="1204" y="93"/>
                    </a:lnTo>
                    <a:lnTo>
                      <a:pt x="1208" y="93"/>
                    </a:lnTo>
                    <a:lnTo>
                      <a:pt x="1211" y="95"/>
                    </a:lnTo>
                    <a:lnTo>
                      <a:pt x="1214" y="97"/>
                    </a:lnTo>
                    <a:lnTo>
                      <a:pt x="1215" y="100"/>
                    </a:lnTo>
                    <a:lnTo>
                      <a:pt x="1216" y="102"/>
                    </a:lnTo>
                    <a:lnTo>
                      <a:pt x="1218" y="104"/>
                    </a:lnTo>
                    <a:lnTo>
                      <a:pt x="1220" y="105"/>
                    </a:lnTo>
                    <a:lnTo>
                      <a:pt x="1222" y="106"/>
                    </a:lnTo>
                    <a:lnTo>
                      <a:pt x="1226" y="107"/>
                    </a:lnTo>
                    <a:lnTo>
                      <a:pt x="1227" y="109"/>
                    </a:lnTo>
                    <a:lnTo>
                      <a:pt x="1228" y="111"/>
                    </a:lnTo>
                    <a:lnTo>
                      <a:pt x="1229" y="113"/>
                    </a:lnTo>
                    <a:lnTo>
                      <a:pt x="1231" y="114"/>
                    </a:lnTo>
                    <a:lnTo>
                      <a:pt x="1232" y="114"/>
                    </a:lnTo>
                    <a:lnTo>
                      <a:pt x="1234" y="115"/>
                    </a:lnTo>
                    <a:lnTo>
                      <a:pt x="1236" y="116"/>
                    </a:lnTo>
                    <a:lnTo>
                      <a:pt x="1236" y="117"/>
                    </a:lnTo>
                    <a:lnTo>
                      <a:pt x="1238" y="118"/>
                    </a:lnTo>
                    <a:lnTo>
                      <a:pt x="1239" y="120"/>
                    </a:lnTo>
                    <a:lnTo>
                      <a:pt x="1240" y="123"/>
                    </a:lnTo>
                    <a:lnTo>
                      <a:pt x="1241" y="124"/>
                    </a:lnTo>
                    <a:lnTo>
                      <a:pt x="1240" y="126"/>
                    </a:lnTo>
                    <a:lnTo>
                      <a:pt x="1239" y="126"/>
                    </a:lnTo>
                    <a:lnTo>
                      <a:pt x="1237" y="127"/>
                    </a:lnTo>
                    <a:lnTo>
                      <a:pt x="1234" y="127"/>
                    </a:lnTo>
                    <a:lnTo>
                      <a:pt x="1232" y="127"/>
                    </a:lnTo>
                    <a:lnTo>
                      <a:pt x="1231" y="127"/>
                    </a:lnTo>
                    <a:lnTo>
                      <a:pt x="1229" y="128"/>
                    </a:lnTo>
                    <a:lnTo>
                      <a:pt x="1229" y="129"/>
                    </a:lnTo>
                    <a:lnTo>
                      <a:pt x="1229" y="130"/>
                    </a:lnTo>
                    <a:lnTo>
                      <a:pt x="1229" y="133"/>
                    </a:lnTo>
                    <a:lnTo>
                      <a:pt x="1232" y="133"/>
                    </a:lnTo>
                    <a:lnTo>
                      <a:pt x="1234" y="134"/>
                    </a:lnTo>
                    <a:lnTo>
                      <a:pt x="1237" y="136"/>
                    </a:lnTo>
                    <a:lnTo>
                      <a:pt x="1238" y="138"/>
                    </a:lnTo>
                    <a:lnTo>
                      <a:pt x="1239" y="141"/>
                    </a:lnTo>
                    <a:lnTo>
                      <a:pt x="1238" y="144"/>
                    </a:lnTo>
                    <a:lnTo>
                      <a:pt x="1237" y="146"/>
                    </a:lnTo>
                    <a:lnTo>
                      <a:pt x="1233" y="148"/>
                    </a:lnTo>
                    <a:lnTo>
                      <a:pt x="1231" y="150"/>
                    </a:lnTo>
                    <a:lnTo>
                      <a:pt x="1228" y="151"/>
                    </a:lnTo>
                    <a:lnTo>
                      <a:pt x="1225" y="152"/>
                    </a:lnTo>
                    <a:lnTo>
                      <a:pt x="1221" y="153"/>
                    </a:lnTo>
                    <a:lnTo>
                      <a:pt x="1218" y="155"/>
                    </a:lnTo>
                    <a:lnTo>
                      <a:pt x="1216" y="156"/>
                    </a:lnTo>
                    <a:lnTo>
                      <a:pt x="1216" y="157"/>
                    </a:lnTo>
                    <a:lnTo>
                      <a:pt x="1217" y="159"/>
                    </a:lnTo>
                    <a:lnTo>
                      <a:pt x="1218" y="160"/>
                    </a:lnTo>
                    <a:lnTo>
                      <a:pt x="1220" y="161"/>
                    </a:lnTo>
                    <a:lnTo>
                      <a:pt x="1222" y="163"/>
                    </a:lnTo>
                    <a:lnTo>
                      <a:pt x="1225" y="166"/>
                    </a:lnTo>
                    <a:lnTo>
                      <a:pt x="1227" y="167"/>
                    </a:lnTo>
                    <a:lnTo>
                      <a:pt x="1228" y="169"/>
                    </a:lnTo>
                    <a:lnTo>
                      <a:pt x="1228" y="171"/>
                    </a:lnTo>
                    <a:lnTo>
                      <a:pt x="1227" y="173"/>
                    </a:lnTo>
                    <a:lnTo>
                      <a:pt x="1227" y="174"/>
                    </a:lnTo>
                    <a:lnTo>
                      <a:pt x="1226" y="177"/>
                    </a:lnTo>
                    <a:lnTo>
                      <a:pt x="1225" y="179"/>
                    </a:lnTo>
                    <a:lnTo>
                      <a:pt x="1225" y="181"/>
                    </a:lnTo>
                    <a:lnTo>
                      <a:pt x="1226" y="183"/>
                    </a:lnTo>
                    <a:lnTo>
                      <a:pt x="1228" y="185"/>
                    </a:lnTo>
                    <a:lnTo>
                      <a:pt x="1230" y="188"/>
                    </a:lnTo>
                    <a:lnTo>
                      <a:pt x="1232" y="190"/>
                    </a:lnTo>
                    <a:lnTo>
                      <a:pt x="1233" y="192"/>
                    </a:lnTo>
                    <a:lnTo>
                      <a:pt x="1233" y="203"/>
                    </a:lnTo>
                    <a:lnTo>
                      <a:pt x="1229" y="212"/>
                    </a:lnTo>
                    <a:lnTo>
                      <a:pt x="1223" y="221"/>
                    </a:lnTo>
                    <a:lnTo>
                      <a:pt x="1216" y="229"/>
                    </a:lnTo>
                    <a:lnTo>
                      <a:pt x="1214" y="233"/>
                    </a:lnTo>
                    <a:lnTo>
                      <a:pt x="1209" y="237"/>
                    </a:lnTo>
                    <a:lnTo>
                      <a:pt x="1204" y="243"/>
                    </a:lnTo>
                    <a:lnTo>
                      <a:pt x="1198" y="247"/>
                    </a:lnTo>
                    <a:lnTo>
                      <a:pt x="1193" y="249"/>
                    </a:lnTo>
                    <a:lnTo>
                      <a:pt x="1188" y="247"/>
                    </a:lnTo>
                    <a:lnTo>
                      <a:pt x="1182" y="239"/>
                    </a:lnTo>
                    <a:lnTo>
                      <a:pt x="1177" y="232"/>
                    </a:lnTo>
                    <a:lnTo>
                      <a:pt x="1171" y="225"/>
                    </a:lnTo>
                    <a:lnTo>
                      <a:pt x="1167" y="223"/>
                    </a:lnTo>
                    <a:lnTo>
                      <a:pt x="1164" y="223"/>
                    </a:lnTo>
                    <a:lnTo>
                      <a:pt x="1163" y="224"/>
                    </a:lnTo>
                    <a:lnTo>
                      <a:pt x="1161" y="226"/>
                    </a:lnTo>
                    <a:lnTo>
                      <a:pt x="1161" y="228"/>
                    </a:lnTo>
                    <a:lnTo>
                      <a:pt x="1162" y="232"/>
                    </a:lnTo>
                    <a:lnTo>
                      <a:pt x="1162" y="234"/>
                    </a:lnTo>
                    <a:lnTo>
                      <a:pt x="1163" y="236"/>
                    </a:lnTo>
                    <a:lnTo>
                      <a:pt x="1164" y="238"/>
                    </a:lnTo>
                    <a:lnTo>
                      <a:pt x="1165" y="240"/>
                    </a:lnTo>
                    <a:lnTo>
                      <a:pt x="1166" y="243"/>
                    </a:lnTo>
                    <a:lnTo>
                      <a:pt x="1166" y="244"/>
                    </a:lnTo>
                    <a:lnTo>
                      <a:pt x="1167" y="246"/>
                    </a:lnTo>
                    <a:lnTo>
                      <a:pt x="1168" y="248"/>
                    </a:lnTo>
                    <a:lnTo>
                      <a:pt x="1168" y="250"/>
                    </a:lnTo>
                    <a:lnTo>
                      <a:pt x="1170" y="253"/>
                    </a:lnTo>
                    <a:lnTo>
                      <a:pt x="1170" y="255"/>
                    </a:lnTo>
                    <a:lnTo>
                      <a:pt x="1170" y="256"/>
                    </a:lnTo>
                    <a:lnTo>
                      <a:pt x="1170" y="258"/>
                    </a:lnTo>
                    <a:lnTo>
                      <a:pt x="1168" y="258"/>
                    </a:lnTo>
                    <a:lnTo>
                      <a:pt x="1166" y="258"/>
                    </a:lnTo>
                    <a:lnTo>
                      <a:pt x="1164" y="258"/>
                    </a:lnTo>
                    <a:lnTo>
                      <a:pt x="1157" y="255"/>
                    </a:lnTo>
                    <a:lnTo>
                      <a:pt x="1153" y="250"/>
                    </a:lnTo>
                    <a:lnTo>
                      <a:pt x="1149" y="247"/>
                    </a:lnTo>
                    <a:lnTo>
                      <a:pt x="1143" y="244"/>
                    </a:lnTo>
                    <a:lnTo>
                      <a:pt x="1135" y="245"/>
                    </a:lnTo>
                    <a:lnTo>
                      <a:pt x="1132" y="247"/>
                    </a:lnTo>
                    <a:lnTo>
                      <a:pt x="1133" y="249"/>
                    </a:lnTo>
                    <a:lnTo>
                      <a:pt x="1135" y="254"/>
                    </a:lnTo>
                    <a:lnTo>
                      <a:pt x="1139" y="258"/>
                    </a:lnTo>
                    <a:lnTo>
                      <a:pt x="1140" y="262"/>
                    </a:lnTo>
                    <a:lnTo>
                      <a:pt x="1140" y="267"/>
                    </a:lnTo>
                    <a:lnTo>
                      <a:pt x="1133" y="277"/>
                    </a:lnTo>
                    <a:lnTo>
                      <a:pt x="1124" y="284"/>
                    </a:lnTo>
                    <a:lnTo>
                      <a:pt x="1120" y="287"/>
                    </a:lnTo>
                    <a:lnTo>
                      <a:pt x="1116" y="289"/>
                    </a:lnTo>
                    <a:lnTo>
                      <a:pt x="1111" y="290"/>
                    </a:lnTo>
                    <a:lnTo>
                      <a:pt x="1107" y="289"/>
                    </a:lnTo>
                    <a:lnTo>
                      <a:pt x="1098" y="284"/>
                    </a:lnTo>
                    <a:lnTo>
                      <a:pt x="1091" y="278"/>
                    </a:lnTo>
                    <a:lnTo>
                      <a:pt x="1085" y="271"/>
                    </a:lnTo>
                    <a:lnTo>
                      <a:pt x="1078" y="267"/>
                    </a:lnTo>
                    <a:lnTo>
                      <a:pt x="1072" y="266"/>
                    </a:lnTo>
                    <a:lnTo>
                      <a:pt x="1065" y="268"/>
                    </a:lnTo>
                    <a:lnTo>
                      <a:pt x="1061" y="272"/>
                    </a:lnTo>
                    <a:lnTo>
                      <a:pt x="1059" y="277"/>
                    </a:lnTo>
                    <a:lnTo>
                      <a:pt x="1061" y="281"/>
                    </a:lnTo>
                    <a:lnTo>
                      <a:pt x="1067" y="284"/>
                    </a:lnTo>
                    <a:lnTo>
                      <a:pt x="1070" y="284"/>
                    </a:lnTo>
                    <a:lnTo>
                      <a:pt x="1074" y="286"/>
                    </a:lnTo>
                    <a:lnTo>
                      <a:pt x="1075" y="287"/>
                    </a:lnTo>
                    <a:lnTo>
                      <a:pt x="1076" y="289"/>
                    </a:lnTo>
                    <a:lnTo>
                      <a:pt x="1077" y="291"/>
                    </a:lnTo>
                    <a:lnTo>
                      <a:pt x="1078" y="293"/>
                    </a:lnTo>
                    <a:lnTo>
                      <a:pt x="1084" y="297"/>
                    </a:lnTo>
                    <a:lnTo>
                      <a:pt x="1089" y="298"/>
                    </a:lnTo>
                    <a:lnTo>
                      <a:pt x="1098" y="298"/>
                    </a:lnTo>
                    <a:lnTo>
                      <a:pt x="1102" y="298"/>
                    </a:lnTo>
                    <a:lnTo>
                      <a:pt x="1107" y="298"/>
                    </a:lnTo>
                    <a:lnTo>
                      <a:pt x="1111" y="298"/>
                    </a:lnTo>
                    <a:lnTo>
                      <a:pt x="1116" y="300"/>
                    </a:lnTo>
                    <a:lnTo>
                      <a:pt x="1118" y="304"/>
                    </a:lnTo>
                    <a:lnTo>
                      <a:pt x="1119" y="308"/>
                    </a:lnTo>
                    <a:lnTo>
                      <a:pt x="1118" y="311"/>
                    </a:lnTo>
                    <a:lnTo>
                      <a:pt x="1116" y="313"/>
                    </a:lnTo>
                    <a:lnTo>
                      <a:pt x="1113" y="315"/>
                    </a:lnTo>
                    <a:lnTo>
                      <a:pt x="1106" y="324"/>
                    </a:lnTo>
                    <a:lnTo>
                      <a:pt x="1100" y="335"/>
                    </a:lnTo>
                    <a:lnTo>
                      <a:pt x="1094" y="345"/>
                    </a:lnTo>
                    <a:lnTo>
                      <a:pt x="1087" y="353"/>
                    </a:lnTo>
                    <a:lnTo>
                      <a:pt x="1081" y="354"/>
                    </a:lnTo>
                    <a:lnTo>
                      <a:pt x="1076" y="354"/>
                    </a:lnTo>
                    <a:lnTo>
                      <a:pt x="1069" y="353"/>
                    </a:lnTo>
                    <a:lnTo>
                      <a:pt x="1064" y="353"/>
                    </a:lnTo>
                    <a:lnTo>
                      <a:pt x="1059" y="353"/>
                    </a:lnTo>
                    <a:lnTo>
                      <a:pt x="1056" y="357"/>
                    </a:lnTo>
                    <a:lnTo>
                      <a:pt x="1055" y="362"/>
                    </a:lnTo>
                    <a:lnTo>
                      <a:pt x="1055" y="366"/>
                    </a:lnTo>
                    <a:lnTo>
                      <a:pt x="1056" y="370"/>
                    </a:lnTo>
                    <a:lnTo>
                      <a:pt x="1055" y="374"/>
                    </a:lnTo>
                    <a:lnTo>
                      <a:pt x="1053" y="376"/>
                    </a:lnTo>
                    <a:lnTo>
                      <a:pt x="1047" y="377"/>
                    </a:lnTo>
                    <a:lnTo>
                      <a:pt x="1041" y="376"/>
                    </a:lnTo>
                    <a:lnTo>
                      <a:pt x="1033" y="374"/>
                    </a:lnTo>
                    <a:lnTo>
                      <a:pt x="1025" y="373"/>
                    </a:lnTo>
                    <a:lnTo>
                      <a:pt x="1019" y="373"/>
                    </a:lnTo>
                    <a:lnTo>
                      <a:pt x="1014" y="375"/>
                    </a:lnTo>
                    <a:lnTo>
                      <a:pt x="1012" y="377"/>
                    </a:lnTo>
                    <a:lnTo>
                      <a:pt x="1015" y="379"/>
                    </a:lnTo>
                    <a:lnTo>
                      <a:pt x="1020" y="381"/>
                    </a:lnTo>
                    <a:lnTo>
                      <a:pt x="1026" y="384"/>
                    </a:lnTo>
                    <a:lnTo>
                      <a:pt x="1031" y="385"/>
                    </a:lnTo>
                    <a:lnTo>
                      <a:pt x="1034" y="386"/>
                    </a:lnTo>
                    <a:lnTo>
                      <a:pt x="1039" y="388"/>
                    </a:lnTo>
                    <a:lnTo>
                      <a:pt x="1043" y="391"/>
                    </a:lnTo>
                    <a:lnTo>
                      <a:pt x="1046" y="395"/>
                    </a:lnTo>
                    <a:lnTo>
                      <a:pt x="1045" y="399"/>
                    </a:lnTo>
                    <a:lnTo>
                      <a:pt x="1041" y="403"/>
                    </a:lnTo>
                    <a:lnTo>
                      <a:pt x="1033" y="407"/>
                    </a:lnTo>
                    <a:lnTo>
                      <a:pt x="1024" y="410"/>
                    </a:lnTo>
                    <a:lnTo>
                      <a:pt x="1017" y="414"/>
                    </a:lnTo>
                    <a:lnTo>
                      <a:pt x="1014" y="415"/>
                    </a:lnTo>
                    <a:lnTo>
                      <a:pt x="1014" y="418"/>
                    </a:lnTo>
                    <a:lnTo>
                      <a:pt x="1013" y="420"/>
                    </a:lnTo>
                    <a:lnTo>
                      <a:pt x="1013" y="422"/>
                    </a:lnTo>
                    <a:lnTo>
                      <a:pt x="1013" y="424"/>
                    </a:lnTo>
                    <a:lnTo>
                      <a:pt x="1012" y="425"/>
                    </a:lnTo>
                    <a:lnTo>
                      <a:pt x="1010" y="430"/>
                    </a:lnTo>
                    <a:lnTo>
                      <a:pt x="1008" y="434"/>
                    </a:lnTo>
                    <a:lnTo>
                      <a:pt x="1004" y="437"/>
                    </a:lnTo>
                    <a:lnTo>
                      <a:pt x="1001" y="441"/>
                    </a:lnTo>
                    <a:lnTo>
                      <a:pt x="992" y="452"/>
                    </a:lnTo>
                    <a:lnTo>
                      <a:pt x="986" y="464"/>
                    </a:lnTo>
                    <a:lnTo>
                      <a:pt x="979" y="478"/>
                    </a:lnTo>
                    <a:lnTo>
                      <a:pt x="974" y="489"/>
                    </a:lnTo>
                    <a:lnTo>
                      <a:pt x="968" y="499"/>
                    </a:lnTo>
                    <a:lnTo>
                      <a:pt x="964" y="510"/>
                    </a:lnTo>
                    <a:lnTo>
                      <a:pt x="961" y="522"/>
                    </a:lnTo>
                    <a:lnTo>
                      <a:pt x="961" y="531"/>
                    </a:lnTo>
                    <a:lnTo>
                      <a:pt x="960" y="542"/>
                    </a:lnTo>
                    <a:lnTo>
                      <a:pt x="960" y="553"/>
                    </a:lnTo>
                    <a:lnTo>
                      <a:pt x="963" y="563"/>
                    </a:lnTo>
                    <a:lnTo>
                      <a:pt x="966" y="571"/>
                    </a:lnTo>
                    <a:lnTo>
                      <a:pt x="971" y="575"/>
                    </a:lnTo>
                    <a:lnTo>
                      <a:pt x="977" y="577"/>
                    </a:lnTo>
                    <a:lnTo>
                      <a:pt x="983" y="577"/>
                    </a:lnTo>
                    <a:lnTo>
                      <a:pt x="990" y="578"/>
                    </a:lnTo>
                    <a:lnTo>
                      <a:pt x="994" y="582"/>
                    </a:lnTo>
                    <a:lnTo>
                      <a:pt x="998" y="591"/>
                    </a:lnTo>
                    <a:lnTo>
                      <a:pt x="998" y="599"/>
                    </a:lnTo>
                    <a:lnTo>
                      <a:pt x="998" y="607"/>
                    </a:lnTo>
                    <a:lnTo>
                      <a:pt x="999" y="615"/>
                    </a:lnTo>
                    <a:lnTo>
                      <a:pt x="1002" y="622"/>
                    </a:lnTo>
                    <a:lnTo>
                      <a:pt x="1004" y="629"/>
                    </a:lnTo>
                    <a:lnTo>
                      <a:pt x="1005" y="637"/>
                    </a:lnTo>
                    <a:lnTo>
                      <a:pt x="1005" y="639"/>
                    </a:lnTo>
                    <a:lnTo>
                      <a:pt x="1005" y="641"/>
                    </a:lnTo>
                    <a:lnTo>
                      <a:pt x="1007" y="642"/>
                    </a:lnTo>
                    <a:lnTo>
                      <a:pt x="1007" y="644"/>
                    </a:lnTo>
                    <a:lnTo>
                      <a:pt x="1008" y="646"/>
                    </a:lnTo>
                    <a:lnTo>
                      <a:pt x="1010" y="646"/>
                    </a:lnTo>
                    <a:lnTo>
                      <a:pt x="1012" y="646"/>
                    </a:lnTo>
                    <a:lnTo>
                      <a:pt x="1018" y="643"/>
                    </a:lnTo>
                    <a:lnTo>
                      <a:pt x="1022" y="640"/>
                    </a:lnTo>
                    <a:lnTo>
                      <a:pt x="1026" y="638"/>
                    </a:lnTo>
                    <a:lnTo>
                      <a:pt x="1032" y="637"/>
                    </a:lnTo>
                    <a:lnTo>
                      <a:pt x="1039" y="639"/>
                    </a:lnTo>
                    <a:lnTo>
                      <a:pt x="1042" y="641"/>
                    </a:lnTo>
                    <a:lnTo>
                      <a:pt x="1045" y="643"/>
                    </a:lnTo>
                    <a:lnTo>
                      <a:pt x="1048" y="646"/>
                    </a:lnTo>
                    <a:lnTo>
                      <a:pt x="1052" y="647"/>
                    </a:lnTo>
                    <a:lnTo>
                      <a:pt x="1056" y="648"/>
                    </a:lnTo>
                    <a:lnTo>
                      <a:pt x="1066" y="648"/>
                    </a:lnTo>
                    <a:lnTo>
                      <a:pt x="1078" y="646"/>
                    </a:lnTo>
                    <a:lnTo>
                      <a:pt x="1086" y="647"/>
                    </a:lnTo>
                    <a:lnTo>
                      <a:pt x="1091" y="650"/>
                    </a:lnTo>
                    <a:lnTo>
                      <a:pt x="1095" y="655"/>
                    </a:lnTo>
                    <a:lnTo>
                      <a:pt x="1098" y="661"/>
                    </a:lnTo>
                    <a:lnTo>
                      <a:pt x="1102" y="668"/>
                    </a:lnTo>
                    <a:lnTo>
                      <a:pt x="1108" y="674"/>
                    </a:lnTo>
                    <a:lnTo>
                      <a:pt x="1116" y="679"/>
                    </a:lnTo>
                    <a:lnTo>
                      <a:pt x="1124" y="683"/>
                    </a:lnTo>
                    <a:lnTo>
                      <a:pt x="1135" y="690"/>
                    </a:lnTo>
                    <a:lnTo>
                      <a:pt x="1146" y="696"/>
                    </a:lnTo>
                    <a:lnTo>
                      <a:pt x="1159" y="703"/>
                    </a:lnTo>
                    <a:lnTo>
                      <a:pt x="1171" y="707"/>
                    </a:lnTo>
                    <a:lnTo>
                      <a:pt x="1182" y="709"/>
                    </a:lnTo>
                    <a:lnTo>
                      <a:pt x="1195" y="709"/>
                    </a:lnTo>
                    <a:lnTo>
                      <a:pt x="1201" y="709"/>
                    </a:lnTo>
                    <a:lnTo>
                      <a:pt x="1210" y="709"/>
                    </a:lnTo>
                    <a:lnTo>
                      <a:pt x="1216" y="712"/>
                    </a:lnTo>
                    <a:lnTo>
                      <a:pt x="1219" y="719"/>
                    </a:lnTo>
                    <a:lnTo>
                      <a:pt x="1221" y="727"/>
                    </a:lnTo>
                    <a:lnTo>
                      <a:pt x="1220" y="734"/>
                    </a:lnTo>
                    <a:lnTo>
                      <a:pt x="1216" y="739"/>
                    </a:lnTo>
                    <a:lnTo>
                      <a:pt x="1211" y="745"/>
                    </a:lnTo>
                    <a:lnTo>
                      <a:pt x="1209" y="751"/>
                    </a:lnTo>
                    <a:lnTo>
                      <a:pt x="1209" y="753"/>
                    </a:lnTo>
                    <a:lnTo>
                      <a:pt x="1210" y="757"/>
                    </a:lnTo>
                    <a:lnTo>
                      <a:pt x="1212" y="759"/>
                    </a:lnTo>
                    <a:lnTo>
                      <a:pt x="1214" y="762"/>
                    </a:lnTo>
                    <a:lnTo>
                      <a:pt x="1214" y="764"/>
                    </a:lnTo>
                    <a:lnTo>
                      <a:pt x="1215" y="771"/>
                    </a:lnTo>
                    <a:lnTo>
                      <a:pt x="1216" y="779"/>
                    </a:lnTo>
                    <a:lnTo>
                      <a:pt x="1217" y="785"/>
                    </a:lnTo>
                    <a:lnTo>
                      <a:pt x="1220" y="792"/>
                    </a:lnTo>
                    <a:lnTo>
                      <a:pt x="1227" y="795"/>
                    </a:lnTo>
                    <a:lnTo>
                      <a:pt x="1229" y="795"/>
                    </a:lnTo>
                    <a:lnTo>
                      <a:pt x="1231" y="795"/>
                    </a:lnTo>
                    <a:lnTo>
                      <a:pt x="1233" y="796"/>
                    </a:lnTo>
                    <a:lnTo>
                      <a:pt x="1237" y="796"/>
                    </a:lnTo>
                    <a:lnTo>
                      <a:pt x="1239" y="795"/>
                    </a:lnTo>
                    <a:lnTo>
                      <a:pt x="1241" y="794"/>
                    </a:lnTo>
                    <a:lnTo>
                      <a:pt x="1242" y="793"/>
                    </a:lnTo>
                    <a:lnTo>
                      <a:pt x="1243" y="791"/>
                    </a:lnTo>
                    <a:lnTo>
                      <a:pt x="1243" y="789"/>
                    </a:lnTo>
                    <a:lnTo>
                      <a:pt x="1242" y="786"/>
                    </a:lnTo>
                    <a:lnTo>
                      <a:pt x="1241" y="784"/>
                    </a:lnTo>
                    <a:lnTo>
                      <a:pt x="1240" y="782"/>
                    </a:lnTo>
                    <a:lnTo>
                      <a:pt x="1248" y="782"/>
                    </a:lnTo>
                    <a:lnTo>
                      <a:pt x="1253" y="785"/>
                    </a:lnTo>
                    <a:lnTo>
                      <a:pt x="1256" y="792"/>
                    </a:lnTo>
                    <a:lnTo>
                      <a:pt x="1258" y="800"/>
                    </a:lnTo>
                    <a:lnTo>
                      <a:pt x="1258" y="806"/>
                    </a:lnTo>
                    <a:lnTo>
                      <a:pt x="1258" y="813"/>
                    </a:lnTo>
                    <a:lnTo>
                      <a:pt x="1255" y="821"/>
                    </a:lnTo>
                    <a:lnTo>
                      <a:pt x="1253" y="828"/>
                    </a:lnTo>
                    <a:lnTo>
                      <a:pt x="1253" y="835"/>
                    </a:lnTo>
                    <a:lnTo>
                      <a:pt x="1254" y="842"/>
                    </a:lnTo>
                    <a:lnTo>
                      <a:pt x="1260" y="846"/>
                    </a:lnTo>
                    <a:lnTo>
                      <a:pt x="1269" y="850"/>
                    </a:lnTo>
                    <a:lnTo>
                      <a:pt x="1275" y="849"/>
                    </a:lnTo>
                    <a:lnTo>
                      <a:pt x="1279" y="845"/>
                    </a:lnTo>
                    <a:lnTo>
                      <a:pt x="1280" y="835"/>
                    </a:lnTo>
                    <a:lnTo>
                      <a:pt x="1280" y="832"/>
                    </a:lnTo>
                    <a:lnTo>
                      <a:pt x="1280" y="829"/>
                    </a:lnTo>
                    <a:lnTo>
                      <a:pt x="1281" y="827"/>
                    </a:lnTo>
                    <a:lnTo>
                      <a:pt x="1283" y="826"/>
                    </a:lnTo>
                    <a:lnTo>
                      <a:pt x="1284" y="826"/>
                    </a:lnTo>
                    <a:lnTo>
                      <a:pt x="1286" y="826"/>
                    </a:lnTo>
                    <a:lnTo>
                      <a:pt x="1288" y="826"/>
                    </a:lnTo>
                    <a:lnTo>
                      <a:pt x="1291" y="826"/>
                    </a:lnTo>
                    <a:lnTo>
                      <a:pt x="1292" y="825"/>
                    </a:lnTo>
                    <a:lnTo>
                      <a:pt x="1294" y="824"/>
                    </a:lnTo>
                    <a:lnTo>
                      <a:pt x="1295" y="822"/>
                    </a:lnTo>
                    <a:lnTo>
                      <a:pt x="1299" y="812"/>
                    </a:lnTo>
                    <a:lnTo>
                      <a:pt x="1299" y="803"/>
                    </a:lnTo>
                    <a:lnTo>
                      <a:pt x="1296" y="793"/>
                    </a:lnTo>
                    <a:lnTo>
                      <a:pt x="1293" y="783"/>
                    </a:lnTo>
                    <a:lnTo>
                      <a:pt x="1291" y="773"/>
                    </a:lnTo>
                    <a:lnTo>
                      <a:pt x="1290" y="762"/>
                    </a:lnTo>
                    <a:lnTo>
                      <a:pt x="1287" y="752"/>
                    </a:lnTo>
                    <a:lnTo>
                      <a:pt x="1284" y="742"/>
                    </a:lnTo>
                    <a:lnTo>
                      <a:pt x="1277" y="731"/>
                    </a:lnTo>
                    <a:lnTo>
                      <a:pt x="1276" y="729"/>
                    </a:lnTo>
                    <a:lnTo>
                      <a:pt x="1275" y="727"/>
                    </a:lnTo>
                    <a:lnTo>
                      <a:pt x="1275" y="726"/>
                    </a:lnTo>
                    <a:lnTo>
                      <a:pt x="1276" y="725"/>
                    </a:lnTo>
                    <a:lnTo>
                      <a:pt x="1279" y="724"/>
                    </a:lnTo>
                    <a:lnTo>
                      <a:pt x="1281" y="723"/>
                    </a:lnTo>
                    <a:lnTo>
                      <a:pt x="1284" y="723"/>
                    </a:lnTo>
                    <a:lnTo>
                      <a:pt x="1286" y="722"/>
                    </a:lnTo>
                    <a:lnTo>
                      <a:pt x="1288" y="722"/>
                    </a:lnTo>
                    <a:lnTo>
                      <a:pt x="1291" y="720"/>
                    </a:lnTo>
                    <a:lnTo>
                      <a:pt x="1302" y="716"/>
                    </a:lnTo>
                    <a:lnTo>
                      <a:pt x="1313" y="712"/>
                    </a:lnTo>
                    <a:lnTo>
                      <a:pt x="1319" y="707"/>
                    </a:lnTo>
                    <a:lnTo>
                      <a:pt x="1324" y="702"/>
                    </a:lnTo>
                    <a:lnTo>
                      <a:pt x="1328" y="696"/>
                    </a:lnTo>
                    <a:lnTo>
                      <a:pt x="1330" y="693"/>
                    </a:lnTo>
                    <a:lnTo>
                      <a:pt x="1334" y="690"/>
                    </a:lnTo>
                    <a:lnTo>
                      <a:pt x="1337" y="686"/>
                    </a:lnTo>
                    <a:lnTo>
                      <a:pt x="1339" y="683"/>
                    </a:lnTo>
                    <a:lnTo>
                      <a:pt x="1339" y="671"/>
                    </a:lnTo>
                    <a:lnTo>
                      <a:pt x="1338" y="658"/>
                    </a:lnTo>
                    <a:lnTo>
                      <a:pt x="1335" y="646"/>
                    </a:lnTo>
                    <a:lnTo>
                      <a:pt x="1330" y="622"/>
                    </a:lnTo>
                    <a:lnTo>
                      <a:pt x="1321" y="602"/>
                    </a:lnTo>
                    <a:lnTo>
                      <a:pt x="1316" y="594"/>
                    </a:lnTo>
                    <a:lnTo>
                      <a:pt x="1309" y="587"/>
                    </a:lnTo>
                    <a:lnTo>
                      <a:pt x="1304" y="580"/>
                    </a:lnTo>
                    <a:lnTo>
                      <a:pt x="1299" y="572"/>
                    </a:lnTo>
                    <a:lnTo>
                      <a:pt x="1297" y="562"/>
                    </a:lnTo>
                    <a:lnTo>
                      <a:pt x="1298" y="557"/>
                    </a:lnTo>
                    <a:lnTo>
                      <a:pt x="1298" y="554"/>
                    </a:lnTo>
                    <a:lnTo>
                      <a:pt x="1301" y="551"/>
                    </a:lnTo>
                    <a:lnTo>
                      <a:pt x="1303" y="549"/>
                    </a:lnTo>
                    <a:lnTo>
                      <a:pt x="1306" y="546"/>
                    </a:lnTo>
                    <a:lnTo>
                      <a:pt x="1309" y="544"/>
                    </a:lnTo>
                    <a:lnTo>
                      <a:pt x="1312" y="541"/>
                    </a:lnTo>
                    <a:lnTo>
                      <a:pt x="1314" y="538"/>
                    </a:lnTo>
                    <a:lnTo>
                      <a:pt x="1316" y="534"/>
                    </a:lnTo>
                    <a:lnTo>
                      <a:pt x="1317" y="531"/>
                    </a:lnTo>
                    <a:lnTo>
                      <a:pt x="1319" y="526"/>
                    </a:lnTo>
                    <a:lnTo>
                      <a:pt x="1318" y="521"/>
                    </a:lnTo>
                    <a:lnTo>
                      <a:pt x="1317" y="518"/>
                    </a:lnTo>
                    <a:lnTo>
                      <a:pt x="1315" y="513"/>
                    </a:lnTo>
                    <a:lnTo>
                      <a:pt x="1314" y="509"/>
                    </a:lnTo>
                    <a:lnTo>
                      <a:pt x="1314" y="506"/>
                    </a:lnTo>
                    <a:lnTo>
                      <a:pt x="1314" y="502"/>
                    </a:lnTo>
                    <a:lnTo>
                      <a:pt x="1313" y="499"/>
                    </a:lnTo>
                    <a:lnTo>
                      <a:pt x="1310" y="496"/>
                    </a:lnTo>
                    <a:lnTo>
                      <a:pt x="1309" y="495"/>
                    </a:lnTo>
                    <a:lnTo>
                      <a:pt x="1307" y="494"/>
                    </a:lnTo>
                    <a:lnTo>
                      <a:pt x="1305" y="493"/>
                    </a:lnTo>
                    <a:lnTo>
                      <a:pt x="1303" y="493"/>
                    </a:lnTo>
                    <a:lnTo>
                      <a:pt x="1301" y="491"/>
                    </a:lnTo>
                    <a:lnTo>
                      <a:pt x="1299" y="491"/>
                    </a:lnTo>
                    <a:lnTo>
                      <a:pt x="1297" y="491"/>
                    </a:lnTo>
                    <a:lnTo>
                      <a:pt x="1297" y="490"/>
                    </a:lnTo>
                    <a:lnTo>
                      <a:pt x="1297" y="489"/>
                    </a:lnTo>
                    <a:lnTo>
                      <a:pt x="1297" y="488"/>
                    </a:lnTo>
                    <a:lnTo>
                      <a:pt x="1299" y="486"/>
                    </a:lnTo>
                    <a:lnTo>
                      <a:pt x="1302" y="483"/>
                    </a:lnTo>
                    <a:lnTo>
                      <a:pt x="1308" y="469"/>
                    </a:lnTo>
                    <a:lnTo>
                      <a:pt x="1308" y="457"/>
                    </a:lnTo>
                    <a:lnTo>
                      <a:pt x="1302" y="445"/>
                    </a:lnTo>
                    <a:lnTo>
                      <a:pt x="1301" y="440"/>
                    </a:lnTo>
                    <a:lnTo>
                      <a:pt x="1302" y="434"/>
                    </a:lnTo>
                    <a:lnTo>
                      <a:pt x="1304" y="428"/>
                    </a:lnTo>
                    <a:lnTo>
                      <a:pt x="1305" y="425"/>
                    </a:lnTo>
                    <a:lnTo>
                      <a:pt x="1306" y="422"/>
                    </a:lnTo>
                    <a:lnTo>
                      <a:pt x="1307" y="419"/>
                    </a:lnTo>
                    <a:lnTo>
                      <a:pt x="1308" y="415"/>
                    </a:lnTo>
                    <a:lnTo>
                      <a:pt x="1310" y="412"/>
                    </a:lnTo>
                    <a:lnTo>
                      <a:pt x="1313" y="410"/>
                    </a:lnTo>
                    <a:lnTo>
                      <a:pt x="1314" y="409"/>
                    </a:lnTo>
                    <a:lnTo>
                      <a:pt x="1315" y="409"/>
                    </a:lnTo>
                    <a:lnTo>
                      <a:pt x="1317" y="410"/>
                    </a:lnTo>
                    <a:lnTo>
                      <a:pt x="1318" y="411"/>
                    </a:lnTo>
                    <a:lnTo>
                      <a:pt x="1319" y="413"/>
                    </a:lnTo>
                    <a:lnTo>
                      <a:pt x="1320" y="415"/>
                    </a:lnTo>
                    <a:lnTo>
                      <a:pt x="1321" y="417"/>
                    </a:lnTo>
                    <a:lnTo>
                      <a:pt x="1325" y="419"/>
                    </a:lnTo>
                    <a:lnTo>
                      <a:pt x="1327" y="419"/>
                    </a:lnTo>
                    <a:lnTo>
                      <a:pt x="1329" y="420"/>
                    </a:lnTo>
                    <a:lnTo>
                      <a:pt x="1332" y="420"/>
                    </a:lnTo>
                    <a:lnTo>
                      <a:pt x="1335" y="421"/>
                    </a:lnTo>
                    <a:lnTo>
                      <a:pt x="1346" y="423"/>
                    </a:lnTo>
                    <a:lnTo>
                      <a:pt x="1356" y="428"/>
                    </a:lnTo>
                    <a:lnTo>
                      <a:pt x="1365" y="430"/>
                    </a:lnTo>
                    <a:lnTo>
                      <a:pt x="1369" y="430"/>
                    </a:lnTo>
                    <a:lnTo>
                      <a:pt x="1372" y="430"/>
                    </a:lnTo>
                    <a:lnTo>
                      <a:pt x="1376" y="429"/>
                    </a:lnTo>
                    <a:lnTo>
                      <a:pt x="1380" y="429"/>
                    </a:lnTo>
                    <a:lnTo>
                      <a:pt x="1383" y="428"/>
                    </a:lnTo>
                    <a:lnTo>
                      <a:pt x="1384" y="425"/>
                    </a:lnTo>
                    <a:lnTo>
                      <a:pt x="1386" y="423"/>
                    </a:lnTo>
                    <a:lnTo>
                      <a:pt x="1389" y="421"/>
                    </a:lnTo>
                    <a:lnTo>
                      <a:pt x="1391" y="420"/>
                    </a:lnTo>
                    <a:lnTo>
                      <a:pt x="1392" y="419"/>
                    </a:lnTo>
                    <a:lnTo>
                      <a:pt x="1395" y="421"/>
                    </a:lnTo>
                    <a:lnTo>
                      <a:pt x="1401" y="425"/>
                    </a:lnTo>
                    <a:lnTo>
                      <a:pt x="1406" y="432"/>
                    </a:lnTo>
                    <a:lnTo>
                      <a:pt x="1411" y="437"/>
                    </a:lnTo>
                    <a:lnTo>
                      <a:pt x="1414" y="441"/>
                    </a:lnTo>
                    <a:lnTo>
                      <a:pt x="1424" y="450"/>
                    </a:lnTo>
                    <a:lnTo>
                      <a:pt x="1432" y="458"/>
                    </a:lnTo>
                    <a:lnTo>
                      <a:pt x="1433" y="461"/>
                    </a:lnTo>
                    <a:lnTo>
                      <a:pt x="1435" y="464"/>
                    </a:lnTo>
                    <a:lnTo>
                      <a:pt x="1437" y="467"/>
                    </a:lnTo>
                    <a:lnTo>
                      <a:pt x="1440" y="468"/>
                    </a:lnTo>
                    <a:lnTo>
                      <a:pt x="1443" y="469"/>
                    </a:lnTo>
                    <a:lnTo>
                      <a:pt x="1445" y="471"/>
                    </a:lnTo>
                    <a:lnTo>
                      <a:pt x="1447" y="472"/>
                    </a:lnTo>
                    <a:lnTo>
                      <a:pt x="1450" y="473"/>
                    </a:lnTo>
                    <a:lnTo>
                      <a:pt x="1454" y="474"/>
                    </a:lnTo>
                    <a:lnTo>
                      <a:pt x="1455" y="475"/>
                    </a:lnTo>
                    <a:lnTo>
                      <a:pt x="1457" y="476"/>
                    </a:lnTo>
                    <a:lnTo>
                      <a:pt x="1458" y="478"/>
                    </a:lnTo>
                    <a:lnTo>
                      <a:pt x="1460" y="480"/>
                    </a:lnTo>
                    <a:lnTo>
                      <a:pt x="1463" y="482"/>
                    </a:lnTo>
                    <a:lnTo>
                      <a:pt x="1468" y="483"/>
                    </a:lnTo>
                    <a:lnTo>
                      <a:pt x="1472" y="484"/>
                    </a:lnTo>
                    <a:lnTo>
                      <a:pt x="1478" y="485"/>
                    </a:lnTo>
                    <a:lnTo>
                      <a:pt x="1479" y="485"/>
                    </a:lnTo>
                    <a:lnTo>
                      <a:pt x="1480" y="485"/>
                    </a:lnTo>
                    <a:lnTo>
                      <a:pt x="1480" y="484"/>
                    </a:lnTo>
                    <a:lnTo>
                      <a:pt x="1481" y="483"/>
                    </a:lnTo>
                    <a:lnTo>
                      <a:pt x="1482" y="482"/>
                    </a:lnTo>
                    <a:lnTo>
                      <a:pt x="1483" y="480"/>
                    </a:lnTo>
                    <a:lnTo>
                      <a:pt x="1484" y="480"/>
                    </a:lnTo>
                    <a:lnTo>
                      <a:pt x="1487" y="480"/>
                    </a:lnTo>
                    <a:lnTo>
                      <a:pt x="1489" y="483"/>
                    </a:lnTo>
                    <a:lnTo>
                      <a:pt x="1488" y="487"/>
                    </a:lnTo>
                    <a:lnTo>
                      <a:pt x="1485" y="491"/>
                    </a:lnTo>
                    <a:lnTo>
                      <a:pt x="1482" y="497"/>
                    </a:lnTo>
                    <a:lnTo>
                      <a:pt x="1480" y="501"/>
                    </a:lnTo>
                    <a:lnTo>
                      <a:pt x="1480" y="505"/>
                    </a:lnTo>
                    <a:lnTo>
                      <a:pt x="1481" y="510"/>
                    </a:lnTo>
                    <a:lnTo>
                      <a:pt x="1483" y="516"/>
                    </a:lnTo>
                    <a:lnTo>
                      <a:pt x="1484" y="522"/>
                    </a:lnTo>
                    <a:lnTo>
                      <a:pt x="1484" y="540"/>
                    </a:lnTo>
                    <a:lnTo>
                      <a:pt x="1483" y="542"/>
                    </a:lnTo>
                    <a:lnTo>
                      <a:pt x="1482" y="544"/>
                    </a:lnTo>
                    <a:lnTo>
                      <a:pt x="1482" y="546"/>
                    </a:lnTo>
                    <a:lnTo>
                      <a:pt x="1483" y="549"/>
                    </a:lnTo>
                    <a:lnTo>
                      <a:pt x="1484" y="551"/>
                    </a:lnTo>
                    <a:lnTo>
                      <a:pt x="1488" y="553"/>
                    </a:lnTo>
                    <a:lnTo>
                      <a:pt x="1490" y="555"/>
                    </a:lnTo>
                    <a:lnTo>
                      <a:pt x="1492" y="559"/>
                    </a:lnTo>
                    <a:lnTo>
                      <a:pt x="1493" y="562"/>
                    </a:lnTo>
                    <a:lnTo>
                      <a:pt x="1494" y="565"/>
                    </a:lnTo>
                    <a:lnTo>
                      <a:pt x="1494" y="567"/>
                    </a:lnTo>
                    <a:lnTo>
                      <a:pt x="1494" y="571"/>
                    </a:lnTo>
                    <a:lnTo>
                      <a:pt x="1494" y="573"/>
                    </a:lnTo>
                    <a:lnTo>
                      <a:pt x="1495" y="575"/>
                    </a:lnTo>
                    <a:lnTo>
                      <a:pt x="1498" y="576"/>
                    </a:lnTo>
                    <a:lnTo>
                      <a:pt x="1500" y="577"/>
                    </a:lnTo>
                    <a:lnTo>
                      <a:pt x="1503" y="576"/>
                    </a:lnTo>
                    <a:lnTo>
                      <a:pt x="1505" y="576"/>
                    </a:lnTo>
                    <a:lnTo>
                      <a:pt x="1509" y="575"/>
                    </a:lnTo>
                    <a:lnTo>
                      <a:pt x="1511" y="575"/>
                    </a:lnTo>
                    <a:lnTo>
                      <a:pt x="1515" y="577"/>
                    </a:lnTo>
                    <a:lnTo>
                      <a:pt x="1517" y="582"/>
                    </a:lnTo>
                    <a:lnTo>
                      <a:pt x="1521" y="588"/>
                    </a:lnTo>
                    <a:lnTo>
                      <a:pt x="1524" y="593"/>
                    </a:lnTo>
                    <a:lnTo>
                      <a:pt x="1530" y="597"/>
                    </a:lnTo>
                    <a:lnTo>
                      <a:pt x="1535" y="596"/>
                    </a:lnTo>
                    <a:lnTo>
                      <a:pt x="1539" y="592"/>
                    </a:lnTo>
                    <a:lnTo>
                      <a:pt x="1544" y="586"/>
                    </a:lnTo>
                    <a:lnTo>
                      <a:pt x="1546" y="583"/>
                    </a:lnTo>
                    <a:lnTo>
                      <a:pt x="1548" y="580"/>
                    </a:lnTo>
                    <a:lnTo>
                      <a:pt x="1550" y="577"/>
                    </a:lnTo>
                    <a:lnTo>
                      <a:pt x="1552" y="575"/>
                    </a:lnTo>
                    <a:lnTo>
                      <a:pt x="1554" y="574"/>
                    </a:lnTo>
                    <a:lnTo>
                      <a:pt x="1555" y="574"/>
                    </a:lnTo>
                    <a:lnTo>
                      <a:pt x="1557" y="574"/>
                    </a:lnTo>
                    <a:lnTo>
                      <a:pt x="1559" y="573"/>
                    </a:lnTo>
                    <a:lnTo>
                      <a:pt x="1563" y="566"/>
                    </a:lnTo>
                    <a:lnTo>
                      <a:pt x="1564" y="560"/>
                    </a:lnTo>
                    <a:lnTo>
                      <a:pt x="1565" y="552"/>
                    </a:lnTo>
                    <a:lnTo>
                      <a:pt x="1566" y="544"/>
                    </a:lnTo>
                    <a:lnTo>
                      <a:pt x="1566" y="538"/>
                    </a:lnTo>
                    <a:lnTo>
                      <a:pt x="1565" y="532"/>
                    </a:lnTo>
                    <a:lnTo>
                      <a:pt x="1565" y="527"/>
                    </a:lnTo>
                    <a:lnTo>
                      <a:pt x="1570" y="522"/>
                    </a:lnTo>
                    <a:lnTo>
                      <a:pt x="1577" y="517"/>
                    </a:lnTo>
                    <a:lnTo>
                      <a:pt x="1580" y="511"/>
                    </a:lnTo>
                    <a:lnTo>
                      <a:pt x="1580" y="506"/>
                    </a:lnTo>
                    <a:lnTo>
                      <a:pt x="1577" y="498"/>
                    </a:lnTo>
                    <a:lnTo>
                      <a:pt x="1576" y="495"/>
                    </a:lnTo>
                    <a:lnTo>
                      <a:pt x="1577" y="493"/>
                    </a:lnTo>
                    <a:lnTo>
                      <a:pt x="1578" y="490"/>
                    </a:lnTo>
                    <a:lnTo>
                      <a:pt x="1579" y="489"/>
                    </a:lnTo>
                    <a:lnTo>
                      <a:pt x="1581" y="489"/>
                    </a:lnTo>
                    <a:lnTo>
                      <a:pt x="1583" y="490"/>
                    </a:lnTo>
                    <a:lnTo>
                      <a:pt x="1585" y="491"/>
                    </a:lnTo>
                    <a:lnTo>
                      <a:pt x="1587" y="494"/>
                    </a:lnTo>
                    <a:lnTo>
                      <a:pt x="1588" y="496"/>
                    </a:lnTo>
                    <a:lnTo>
                      <a:pt x="1587" y="502"/>
                    </a:lnTo>
                    <a:lnTo>
                      <a:pt x="1585" y="509"/>
                    </a:lnTo>
                    <a:lnTo>
                      <a:pt x="1583" y="517"/>
                    </a:lnTo>
                    <a:lnTo>
                      <a:pt x="1586" y="524"/>
                    </a:lnTo>
                    <a:lnTo>
                      <a:pt x="1592" y="539"/>
                    </a:lnTo>
                    <a:lnTo>
                      <a:pt x="1601" y="553"/>
                    </a:lnTo>
                    <a:lnTo>
                      <a:pt x="1607" y="568"/>
                    </a:lnTo>
                    <a:lnTo>
                      <a:pt x="1614" y="583"/>
                    </a:lnTo>
                    <a:lnTo>
                      <a:pt x="1622" y="595"/>
                    </a:lnTo>
                    <a:lnTo>
                      <a:pt x="1627" y="607"/>
                    </a:lnTo>
                    <a:lnTo>
                      <a:pt x="1633" y="619"/>
                    </a:lnTo>
                    <a:lnTo>
                      <a:pt x="1635" y="622"/>
                    </a:lnTo>
                    <a:lnTo>
                      <a:pt x="1637" y="627"/>
                    </a:lnTo>
                    <a:lnTo>
                      <a:pt x="1641" y="632"/>
                    </a:lnTo>
                    <a:lnTo>
                      <a:pt x="1642" y="637"/>
                    </a:lnTo>
                    <a:lnTo>
                      <a:pt x="1642" y="643"/>
                    </a:lnTo>
                    <a:lnTo>
                      <a:pt x="1640" y="650"/>
                    </a:lnTo>
                    <a:lnTo>
                      <a:pt x="1637" y="657"/>
                    </a:lnTo>
                    <a:lnTo>
                      <a:pt x="1642" y="669"/>
                    </a:lnTo>
                    <a:lnTo>
                      <a:pt x="1648" y="681"/>
                    </a:lnTo>
                    <a:lnTo>
                      <a:pt x="1655" y="692"/>
                    </a:lnTo>
                    <a:lnTo>
                      <a:pt x="1658" y="695"/>
                    </a:lnTo>
                    <a:lnTo>
                      <a:pt x="1662" y="698"/>
                    </a:lnTo>
                    <a:lnTo>
                      <a:pt x="1665" y="700"/>
                    </a:lnTo>
                    <a:lnTo>
                      <a:pt x="1668" y="701"/>
                    </a:lnTo>
                    <a:lnTo>
                      <a:pt x="1672" y="701"/>
                    </a:lnTo>
                    <a:lnTo>
                      <a:pt x="1675" y="703"/>
                    </a:lnTo>
                    <a:lnTo>
                      <a:pt x="1677" y="704"/>
                    </a:lnTo>
                    <a:lnTo>
                      <a:pt x="1679" y="706"/>
                    </a:lnTo>
                    <a:lnTo>
                      <a:pt x="1681" y="707"/>
                    </a:lnTo>
                    <a:lnTo>
                      <a:pt x="1684" y="708"/>
                    </a:lnTo>
                    <a:lnTo>
                      <a:pt x="1686" y="708"/>
                    </a:lnTo>
                    <a:lnTo>
                      <a:pt x="1688" y="708"/>
                    </a:lnTo>
                    <a:lnTo>
                      <a:pt x="1690" y="709"/>
                    </a:lnTo>
                    <a:lnTo>
                      <a:pt x="1692" y="711"/>
                    </a:lnTo>
                    <a:lnTo>
                      <a:pt x="1694" y="712"/>
                    </a:lnTo>
                    <a:lnTo>
                      <a:pt x="1695" y="714"/>
                    </a:lnTo>
                    <a:lnTo>
                      <a:pt x="1695" y="717"/>
                    </a:lnTo>
                    <a:lnTo>
                      <a:pt x="1696" y="719"/>
                    </a:lnTo>
                    <a:lnTo>
                      <a:pt x="1697" y="723"/>
                    </a:lnTo>
                    <a:lnTo>
                      <a:pt x="1699" y="724"/>
                    </a:lnTo>
                    <a:lnTo>
                      <a:pt x="1701" y="725"/>
                    </a:lnTo>
                    <a:lnTo>
                      <a:pt x="1706" y="727"/>
                    </a:lnTo>
                    <a:lnTo>
                      <a:pt x="1710" y="728"/>
                    </a:lnTo>
                    <a:lnTo>
                      <a:pt x="1714" y="729"/>
                    </a:lnTo>
                    <a:lnTo>
                      <a:pt x="1717" y="731"/>
                    </a:lnTo>
                    <a:lnTo>
                      <a:pt x="1718" y="734"/>
                    </a:lnTo>
                    <a:lnTo>
                      <a:pt x="1720" y="737"/>
                    </a:lnTo>
                    <a:lnTo>
                      <a:pt x="1721" y="739"/>
                    </a:lnTo>
                    <a:lnTo>
                      <a:pt x="1721" y="742"/>
                    </a:lnTo>
                    <a:lnTo>
                      <a:pt x="1723" y="748"/>
                    </a:lnTo>
                    <a:lnTo>
                      <a:pt x="1721" y="753"/>
                    </a:lnTo>
                    <a:lnTo>
                      <a:pt x="1719" y="757"/>
                    </a:lnTo>
                    <a:lnTo>
                      <a:pt x="1719" y="761"/>
                    </a:lnTo>
                    <a:lnTo>
                      <a:pt x="1723" y="764"/>
                    </a:lnTo>
                    <a:lnTo>
                      <a:pt x="1732" y="769"/>
                    </a:lnTo>
                    <a:lnTo>
                      <a:pt x="1741" y="772"/>
                    </a:lnTo>
                    <a:lnTo>
                      <a:pt x="1747" y="778"/>
                    </a:lnTo>
                    <a:lnTo>
                      <a:pt x="1752" y="788"/>
                    </a:lnTo>
                    <a:lnTo>
                      <a:pt x="1752" y="797"/>
                    </a:lnTo>
                    <a:lnTo>
                      <a:pt x="1751" y="801"/>
                    </a:lnTo>
                    <a:lnTo>
                      <a:pt x="1750" y="803"/>
                    </a:lnTo>
                    <a:lnTo>
                      <a:pt x="1747" y="805"/>
                    </a:lnTo>
                    <a:lnTo>
                      <a:pt x="1745" y="806"/>
                    </a:lnTo>
                    <a:lnTo>
                      <a:pt x="1743" y="808"/>
                    </a:lnTo>
                    <a:lnTo>
                      <a:pt x="1742" y="811"/>
                    </a:lnTo>
                    <a:lnTo>
                      <a:pt x="1742" y="813"/>
                    </a:lnTo>
                    <a:lnTo>
                      <a:pt x="1742" y="815"/>
                    </a:lnTo>
                    <a:lnTo>
                      <a:pt x="1743" y="817"/>
                    </a:lnTo>
                    <a:lnTo>
                      <a:pt x="1745" y="820"/>
                    </a:lnTo>
                    <a:lnTo>
                      <a:pt x="1746" y="822"/>
                    </a:lnTo>
                    <a:lnTo>
                      <a:pt x="1747" y="824"/>
                    </a:lnTo>
                    <a:lnTo>
                      <a:pt x="1751" y="829"/>
                    </a:lnTo>
                    <a:lnTo>
                      <a:pt x="1752" y="837"/>
                    </a:lnTo>
                    <a:lnTo>
                      <a:pt x="1754" y="844"/>
                    </a:lnTo>
                    <a:lnTo>
                      <a:pt x="1755" y="850"/>
                    </a:lnTo>
                    <a:lnTo>
                      <a:pt x="1753" y="855"/>
                    </a:lnTo>
                    <a:lnTo>
                      <a:pt x="1749" y="859"/>
                    </a:lnTo>
                    <a:lnTo>
                      <a:pt x="1744" y="864"/>
                    </a:lnTo>
                    <a:lnTo>
                      <a:pt x="1741" y="868"/>
                    </a:lnTo>
                    <a:lnTo>
                      <a:pt x="1739" y="872"/>
                    </a:lnTo>
                    <a:lnTo>
                      <a:pt x="1736" y="872"/>
                    </a:lnTo>
                    <a:lnTo>
                      <a:pt x="1734" y="871"/>
                    </a:lnTo>
                    <a:lnTo>
                      <a:pt x="1732" y="871"/>
                    </a:lnTo>
                    <a:lnTo>
                      <a:pt x="1730" y="871"/>
                    </a:lnTo>
                    <a:lnTo>
                      <a:pt x="1729" y="871"/>
                    </a:lnTo>
                    <a:lnTo>
                      <a:pt x="1727" y="872"/>
                    </a:lnTo>
                    <a:lnTo>
                      <a:pt x="1725" y="875"/>
                    </a:lnTo>
                    <a:lnTo>
                      <a:pt x="1725" y="882"/>
                    </a:lnTo>
                    <a:lnTo>
                      <a:pt x="1724" y="889"/>
                    </a:lnTo>
                    <a:lnTo>
                      <a:pt x="1725" y="897"/>
                    </a:lnTo>
                    <a:lnTo>
                      <a:pt x="1727" y="899"/>
                    </a:lnTo>
                    <a:lnTo>
                      <a:pt x="1728" y="901"/>
                    </a:lnTo>
                    <a:lnTo>
                      <a:pt x="1729" y="903"/>
                    </a:lnTo>
                    <a:lnTo>
                      <a:pt x="1731" y="905"/>
                    </a:lnTo>
                    <a:lnTo>
                      <a:pt x="1733" y="906"/>
                    </a:lnTo>
                    <a:lnTo>
                      <a:pt x="1735" y="908"/>
                    </a:lnTo>
                    <a:lnTo>
                      <a:pt x="1738" y="908"/>
                    </a:lnTo>
                    <a:lnTo>
                      <a:pt x="1741" y="905"/>
                    </a:lnTo>
                    <a:lnTo>
                      <a:pt x="1743" y="903"/>
                    </a:lnTo>
                    <a:lnTo>
                      <a:pt x="1744" y="902"/>
                    </a:lnTo>
                    <a:lnTo>
                      <a:pt x="1745" y="901"/>
                    </a:lnTo>
                    <a:lnTo>
                      <a:pt x="1747" y="900"/>
                    </a:lnTo>
                    <a:lnTo>
                      <a:pt x="1749" y="900"/>
                    </a:lnTo>
                    <a:lnTo>
                      <a:pt x="1750" y="901"/>
                    </a:lnTo>
                    <a:lnTo>
                      <a:pt x="1752" y="903"/>
                    </a:lnTo>
                    <a:lnTo>
                      <a:pt x="1754" y="908"/>
                    </a:lnTo>
                    <a:lnTo>
                      <a:pt x="1756" y="912"/>
                    </a:lnTo>
                    <a:lnTo>
                      <a:pt x="1758" y="916"/>
                    </a:lnTo>
                    <a:lnTo>
                      <a:pt x="1762" y="920"/>
                    </a:lnTo>
                    <a:lnTo>
                      <a:pt x="1766" y="921"/>
                    </a:lnTo>
                    <a:lnTo>
                      <a:pt x="1772" y="919"/>
                    </a:lnTo>
                    <a:lnTo>
                      <a:pt x="1774" y="914"/>
                    </a:lnTo>
                    <a:lnTo>
                      <a:pt x="1774" y="910"/>
                    </a:lnTo>
                    <a:lnTo>
                      <a:pt x="1773" y="904"/>
                    </a:lnTo>
                    <a:lnTo>
                      <a:pt x="1772" y="900"/>
                    </a:lnTo>
                    <a:lnTo>
                      <a:pt x="1774" y="898"/>
                    </a:lnTo>
                    <a:lnTo>
                      <a:pt x="1778" y="897"/>
                    </a:lnTo>
                    <a:lnTo>
                      <a:pt x="1782" y="900"/>
                    </a:lnTo>
                    <a:lnTo>
                      <a:pt x="1784" y="906"/>
                    </a:lnTo>
                    <a:lnTo>
                      <a:pt x="1786" y="914"/>
                    </a:lnTo>
                    <a:lnTo>
                      <a:pt x="1787" y="921"/>
                    </a:lnTo>
                    <a:lnTo>
                      <a:pt x="1787" y="925"/>
                    </a:lnTo>
                    <a:lnTo>
                      <a:pt x="1787" y="932"/>
                    </a:lnTo>
                    <a:lnTo>
                      <a:pt x="1788" y="937"/>
                    </a:lnTo>
                    <a:lnTo>
                      <a:pt x="1790" y="942"/>
                    </a:lnTo>
                    <a:lnTo>
                      <a:pt x="1794" y="947"/>
                    </a:lnTo>
                    <a:lnTo>
                      <a:pt x="1794" y="954"/>
                    </a:lnTo>
                    <a:lnTo>
                      <a:pt x="1792" y="960"/>
                    </a:lnTo>
                    <a:lnTo>
                      <a:pt x="1789" y="965"/>
                    </a:lnTo>
                    <a:lnTo>
                      <a:pt x="1787" y="973"/>
                    </a:lnTo>
                    <a:lnTo>
                      <a:pt x="1786" y="979"/>
                    </a:lnTo>
                    <a:lnTo>
                      <a:pt x="1783" y="985"/>
                    </a:lnTo>
                    <a:lnTo>
                      <a:pt x="1781" y="986"/>
                    </a:lnTo>
                    <a:lnTo>
                      <a:pt x="1778" y="985"/>
                    </a:lnTo>
                    <a:lnTo>
                      <a:pt x="1775" y="984"/>
                    </a:lnTo>
                    <a:lnTo>
                      <a:pt x="1773" y="981"/>
                    </a:lnTo>
                    <a:lnTo>
                      <a:pt x="1771" y="980"/>
                    </a:lnTo>
                    <a:lnTo>
                      <a:pt x="1770" y="978"/>
                    </a:lnTo>
                    <a:lnTo>
                      <a:pt x="1770" y="974"/>
                    </a:lnTo>
                    <a:lnTo>
                      <a:pt x="1772" y="968"/>
                    </a:lnTo>
                    <a:lnTo>
                      <a:pt x="1774" y="960"/>
                    </a:lnTo>
                    <a:lnTo>
                      <a:pt x="1775" y="954"/>
                    </a:lnTo>
                    <a:lnTo>
                      <a:pt x="1776" y="948"/>
                    </a:lnTo>
                    <a:lnTo>
                      <a:pt x="1774" y="945"/>
                    </a:lnTo>
                    <a:lnTo>
                      <a:pt x="1772" y="945"/>
                    </a:lnTo>
                    <a:lnTo>
                      <a:pt x="1771" y="946"/>
                    </a:lnTo>
                    <a:lnTo>
                      <a:pt x="1771" y="947"/>
                    </a:lnTo>
                    <a:lnTo>
                      <a:pt x="1770" y="949"/>
                    </a:lnTo>
                    <a:lnTo>
                      <a:pt x="1770" y="952"/>
                    </a:lnTo>
                    <a:lnTo>
                      <a:pt x="1770" y="954"/>
                    </a:lnTo>
                    <a:lnTo>
                      <a:pt x="1768" y="956"/>
                    </a:lnTo>
                    <a:lnTo>
                      <a:pt x="1767" y="958"/>
                    </a:lnTo>
                    <a:lnTo>
                      <a:pt x="1764" y="960"/>
                    </a:lnTo>
                    <a:lnTo>
                      <a:pt x="1762" y="962"/>
                    </a:lnTo>
                    <a:lnTo>
                      <a:pt x="1758" y="963"/>
                    </a:lnTo>
                    <a:lnTo>
                      <a:pt x="1755" y="964"/>
                    </a:lnTo>
                    <a:lnTo>
                      <a:pt x="1752" y="966"/>
                    </a:lnTo>
                    <a:lnTo>
                      <a:pt x="1749" y="968"/>
                    </a:lnTo>
                    <a:lnTo>
                      <a:pt x="1747" y="970"/>
                    </a:lnTo>
                    <a:lnTo>
                      <a:pt x="1745" y="974"/>
                    </a:lnTo>
                    <a:lnTo>
                      <a:pt x="1744" y="977"/>
                    </a:lnTo>
                    <a:lnTo>
                      <a:pt x="1742" y="979"/>
                    </a:lnTo>
                    <a:lnTo>
                      <a:pt x="1739" y="981"/>
                    </a:lnTo>
                    <a:lnTo>
                      <a:pt x="1736" y="981"/>
                    </a:lnTo>
                    <a:lnTo>
                      <a:pt x="1732" y="980"/>
                    </a:lnTo>
                    <a:lnTo>
                      <a:pt x="1731" y="980"/>
                    </a:lnTo>
                    <a:lnTo>
                      <a:pt x="1730" y="979"/>
                    </a:lnTo>
                    <a:lnTo>
                      <a:pt x="1728" y="978"/>
                    </a:lnTo>
                    <a:lnTo>
                      <a:pt x="1727" y="976"/>
                    </a:lnTo>
                    <a:lnTo>
                      <a:pt x="1727" y="975"/>
                    </a:lnTo>
                    <a:lnTo>
                      <a:pt x="1727" y="973"/>
                    </a:lnTo>
                    <a:lnTo>
                      <a:pt x="1728" y="971"/>
                    </a:lnTo>
                    <a:lnTo>
                      <a:pt x="1730" y="973"/>
                    </a:lnTo>
                    <a:lnTo>
                      <a:pt x="1732" y="973"/>
                    </a:lnTo>
                    <a:lnTo>
                      <a:pt x="1733" y="974"/>
                    </a:lnTo>
                    <a:lnTo>
                      <a:pt x="1735" y="975"/>
                    </a:lnTo>
                    <a:lnTo>
                      <a:pt x="1738" y="975"/>
                    </a:lnTo>
                    <a:lnTo>
                      <a:pt x="1739" y="974"/>
                    </a:lnTo>
                    <a:lnTo>
                      <a:pt x="1741" y="971"/>
                    </a:lnTo>
                    <a:lnTo>
                      <a:pt x="1742" y="968"/>
                    </a:lnTo>
                    <a:lnTo>
                      <a:pt x="1742" y="966"/>
                    </a:lnTo>
                    <a:lnTo>
                      <a:pt x="1741" y="963"/>
                    </a:lnTo>
                    <a:lnTo>
                      <a:pt x="1740" y="960"/>
                    </a:lnTo>
                    <a:lnTo>
                      <a:pt x="1738" y="958"/>
                    </a:lnTo>
                    <a:lnTo>
                      <a:pt x="1736" y="956"/>
                    </a:lnTo>
                    <a:lnTo>
                      <a:pt x="1734" y="953"/>
                    </a:lnTo>
                    <a:lnTo>
                      <a:pt x="1731" y="952"/>
                    </a:lnTo>
                    <a:lnTo>
                      <a:pt x="1729" y="952"/>
                    </a:lnTo>
                    <a:lnTo>
                      <a:pt x="1725" y="952"/>
                    </a:lnTo>
                    <a:lnTo>
                      <a:pt x="1721" y="952"/>
                    </a:lnTo>
                    <a:lnTo>
                      <a:pt x="1711" y="953"/>
                    </a:lnTo>
                    <a:lnTo>
                      <a:pt x="1701" y="954"/>
                    </a:lnTo>
                    <a:lnTo>
                      <a:pt x="1698" y="956"/>
                    </a:lnTo>
                    <a:lnTo>
                      <a:pt x="1695" y="957"/>
                    </a:lnTo>
                    <a:lnTo>
                      <a:pt x="1691" y="959"/>
                    </a:lnTo>
                    <a:lnTo>
                      <a:pt x="1688" y="960"/>
                    </a:lnTo>
                    <a:lnTo>
                      <a:pt x="1684" y="960"/>
                    </a:lnTo>
                    <a:lnTo>
                      <a:pt x="1680" y="960"/>
                    </a:lnTo>
                    <a:lnTo>
                      <a:pt x="1677" y="960"/>
                    </a:lnTo>
                    <a:lnTo>
                      <a:pt x="1676" y="959"/>
                    </a:lnTo>
                    <a:lnTo>
                      <a:pt x="1675" y="958"/>
                    </a:lnTo>
                    <a:lnTo>
                      <a:pt x="1675" y="956"/>
                    </a:lnTo>
                    <a:lnTo>
                      <a:pt x="1675" y="954"/>
                    </a:lnTo>
                    <a:lnTo>
                      <a:pt x="1676" y="952"/>
                    </a:lnTo>
                    <a:lnTo>
                      <a:pt x="1678" y="949"/>
                    </a:lnTo>
                    <a:lnTo>
                      <a:pt x="1679" y="947"/>
                    </a:lnTo>
                    <a:lnTo>
                      <a:pt x="1681" y="945"/>
                    </a:lnTo>
                    <a:lnTo>
                      <a:pt x="1684" y="944"/>
                    </a:lnTo>
                    <a:lnTo>
                      <a:pt x="1685" y="943"/>
                    </a:lnTo>
                    <a:lnTo>
                      <a:pt x="1687" y="941"/>
                    </a:lnTo>
                    <a:lnTo>
                      <a:pt x="1688" y="938"/>
                    </a:lnTo>
                    <a:lnTo>
                      <a:pt x="1688" y="936"/>
                    </a:lnTo>
                    <a:lnTo>
                      <a:pt x="1688" y="934"/>
                    </a:lnTo>
                    <a:lnTo>
                      <a:pt x="1687" y="933"/>
                    </a:lnTo>
                    <a:lnTo>
                      <a:pt x="1685" y="933"/>
                    </a:lnTo>
                    <a:lnTo>
                      <a:pt x="1683" y="932"/>
                    </a:lnTo>
                    <a:lnTo>
                      <a:pt x="1681" y="932"/>
                    </a:lnTo>
                    <a:lnTo>
                      <a:pt x="1679" y="932"/>
                    </a:lnTo>
                    <a:lnTo>
                      <a:pt x="1678" y="930"/>
                    </a:lnTo>
                    <a:lnTo>
                      <a:pt x="1678" y="928"/>
                    </a:lnTo>
                    <a:lnTo>
                      <a:pt x="1678" y="926"/>
                    </a:lnTo>
                    <a:lnTo>
                      <a:pt x="1680" y="925"/>
                    </a:lnTo>
                    <a:lnTo>
                      <a:pt x="1683" y="924"/>
                    </a:lnTo>
                    <a:lnTo>
                      <a:pt x="1686" y="924"/>
                    </a:lnTo>
                    <a:lnTo>
                      <a:pt x="1688" y="923"/>
                    </a:lnTo>
                    <a:lnTo>
                      <a:pt x="1690" y="923"/>
                    </a:lnTo>
                    <a:lnTo>
                      <a:pt x="1692" y="922"/>
                    </a:lnTo>
                    <a:lnTo>
                      <a:pt x="1695" y="922"/>
                    </a:lnTo>
                    <a:lnTo>
                      <a:pt x="1695" y="921"/>
                    </a:lnTo>
                    <a:lnTo>
                      <a:pt x="1698" y="916"/>
                    </a:lnTo>
                    <a:lnTo>
                      <a:pt x="1697" y="911"/>
                    </a:lnTo>
                    <a:lnTo>
                      <a:pt x="1697" y="904"/>
                    </a:lnTo>
                    <a:lnTo>
                      <a:pt x="1699" y="899"/>
                    </a:lnTo>
                    <a:lnTo>
                      <a:pt x="1692" y="892"/>
                    </a:lnTo>
                    <a:lnTo>
                      <a:pt x="1684" y="888"/>
                    </a:lnTo>
                    <a:lnTo>
                      <a:pt x="1673" y="886"/>
                    </a:lnTo>
                    <a:lnTo>
                      <a:pt x="1662" y="888"/>
                    </a:lnTo>
                    <a:lnTo>
                      <a:pt x="1658" y="891"/>
                    </a:lnTo>
                    <a:lnTo>
                      <a:pt x="1656" y="893"/>
                    </a:lnTo>
                    <a:lnTo>
                      <a:pt x="1655" y="897"/>
                    </a:lnTo>
                    <a:lnTo>
                      <a:pt x="1653" y="900"/>
                    </a:lnTo>
                    <a:lnTo>
                      <a:pt x="1651" y="903"/>
                    </a:lnTo>
                    <a:lnTo>
                      <a:pt x="1650" y="906"/>
                    </a:lnTo>
                    <a:lnTo>
                      <a:pt x="1646" y="909"/>
                    </a:lnTo>
                    <a:lnTo>
                      <a:pt x="1643" y="911"/>
                    </a:lnTo>
                    <a:lnTo>
                      <a:pt x="1640" y="912"/>
                    </a:lnTo>
                    <a:lnTo>
                      <a:pt x="1632" y="914"/>
                    </a:lnTo>
                    <a:lnTo>
                      <a:pt x="1623" y="917"/>
                    </a:lnTo>
                    <a:lnTo>
                      <a:pt x="1614" y="919"/>
                    </a:lnTo>
                    <a:lnTo>
                      <a:pt x="1607" y="919"/>
                    </a:lnTo>
                    <a:lnTo>
                      <a:pt x="1600" y="914"/>
                    </a:lnTo>
                    <a:lnTo>
                      <a:pt x="1596" y="906"/>
                    </a:lnTo>
                    <a:lnTo>
                      <a:pt x="1592" y="899"/>
                    </a:lnTo>
                    <a:lnTo>
                      <a:pt x="1590" y="890"/>
                    </a:lnTo>
                    <a:lnTo>
                      <a:pt x="1588" y="887"/>
                    </a:lnTo>
                    <a:lnTo>
                      <a:pt x="1586" y="883"/>
                    </a:lnTo>
                    <a:lnTo>
                      <a:pt x="1583" y="881"/>
                    </a:lnTo>
                    <a:lnTo>
                      <a:pt x="1580" y="881"/>
                    </a:lnTo>
                    <a:lnTo>
                      <a:pt x="1577" y="881"/>
                    </a:lnTo>
                    <a:lnTo>
                      <a:pt x="1570" y="881"/>
                    </a:lnTo>
                    <a:lnTo>
                      <a:pt x="1563" y="882"/>
                    </a:lnTo>
                    <a:lnTo>
                      <a:pt x="1557" y="883"/>
                    </a:lnTo>
                    <a:lnTo>
                      <a:pt x="1553" y="887"/>
                    </a:lnTo>
                    <a:lnTo>
                      <a:pt x="1550" y="890"/>
                    </a:lnTo>
                    <a:lnTo>
                      <a:pt x="1548" y="893"/>
                    </a:lnTo>
                    <a:lnTo>
                      <a:pt x="1546" y="897"/>
                    </a:lnTo>
                    <a:lnTo>
                      <a:pt x="1544" y="899"/>
                    </a:lnTo>
                    <a:lnTo>
                      <a:pt x="1539" y="902"/>
                    </a:lnTo>
                    <a:lnTo>
                      <a:pt x="1536" y="905"/>
                    </a:lnTo>
                    <a:lnTo>
                      <a:pt x="1532" y="908"/>
                    </a:lnTo>
                    <a:lnTo>
                      <a:pt x="1528" y="910"/>
                    </a:lnTo>
                    <a:lnTo>
                      <a:pt x="1516" y="917"/>
                    </a:lnTo>
                    <a:lnTo>
                      <a:pt x="1506" y="925"/>
                    </a:lnTo>
                    <a:lnTo>
                      <a:pt x="1498" y="936"/>
                    </a:lnTo>
                    <a:lnTo>
                      <a:pt x="1495" y="939"/>
                    </a:lnTo>
                    <a:lnTo>
                      <a:pt x="1494" y="942"/>
                    </a:lnTo>
                    <a:lnTo>
                      <a:pt x="1493" y="945"/>
                    </a:lnTo>
                    <a:lnTo>
                      <a:pt x="1492" y="948"/>
                    </a:lnTo>
                    <a:lnTo>
                      <a:pt x="1493" y="952"/>
                    </a:lnTo>
                    <a:lnTo>
                      <a:pt x="1494" y="960"/>
                    </a:lnTo>
                    <a:lnTo>
                      <a:pt x="1495" y="969"/>
                    </a:lnTo>
                    <a:lnTo>
                      <a:pt x="1498" y="965"/>
                    </a:lnTo>
                    <a:lnTo>
                      <a:pt x="1499" y="958"/>
                    </a:lnTo>
                    <a:lnTo>
                      <a:pt x="1500" y="951"/>
                    </a:lnTo>
                    <a:lnTo>
                      <a:pt x="1502" y="945"/>
                    </a:lnTo>
                    <a:lnTo>
                      <a:pt x="1506" y="941"/>
                    </a:lnTo>
                    <a:lnTo>
                      <a:pt x="1513" y="936"/>
                    </a:lnTo>
                    <a:lnTo>
                      <a:pt x="1520" y="932"/>
                    </a:lnTo>
                    <a:lnTo>
                      <a:pt x="1522" y="928"/>
                    </a:lnTo>
                    <a:lnTo>
                      <a:pt x="1524" y="926"/>
                    </a:lnTo>
                    <a:lnTo>
                      <a:pt x="1527" y="924"/>
                    </a:lnTo>
                    <a:lnTo>
                      <a:pt x="1531" y="921"/>
                    </a:lnTo>
                    <a:lnTo>
                      <a:pt x="1544" y="914"/>
                    </a:lnTo>
                    <a:lnTo>
                      <a:pt x="1559" y="910"/>
                    </a:lnTo>
                    <a:lnTo>
                      <a:pt x="1568" y="909"/>
                    </a:lnTo>
                    <a:lnTo>
                      <a:pt x="1579" y="910"/>
                    </a:lnTo>
                    <a:lnTo>
                      <a:pt x="1590" y="914"/>
                    </a:lnTo>
                    <a:lnTo>
                      <a:pt x="1597" y="920"/>
                    </a:lnTo>
                    <a:lnTo>
                      <a:pt x="1600" y="925"/>
                    </a:lnTo>
                    <a:lnTo>
                      <a:pt x="1600" y="933"/>
                    </a:lnTo>
                    <a:lnTo>
                      <a:pt x="1598" y="942"/>
                    </a:lnTo>
                    <a:lnTo>
                      <a:pt x="1594" y="949"/>
                    </a:lnTo>
                    <a:lnTo>
                      <a:pt x="1591" y="958"/>
                    </a:lnTo>
                    <a:lnTo>
                      <a:pt x="1588" y="965"/>
                    </a:lnTo>
                    <a:lnTo>
                      <a:pt x="1587" y="974"/>
                    </a:lnTo>
                    <a:lnTo>
                      <a:pt x="1587" y="981"/>
                    </a:lnTo>
                    <a:lnTo>
                      <a:pt x="1590" y="989"/>
                    </a:lnTo>
                    <a:lnTo>
                      <a:pt x="1597" y="993"/>
                    </a:lnTo>
                    <a:lnTo>
                      <a:pt x="1603" y="999"/>
                    </a:lnTo>
                    <a:lnTo>
                      <a:pt x="1611" y="1004"/>
                    </a:lnTo>
                    <a:lnTo>
                      <a:pt x="1618" y="1007"/>
                    </a:lnTo>
                    <a:lnTo>
                      <a:pt x="1624" y="1007"/>
                    </a:lnTo>
                    <a:lnTo>
                      <a:pt x="1631" y="1007"/>
                    </a:lnTo>
                    <a:lnTo>
                      <a:pt x="1635" y="1009"/>
                    </a:lnTo>
                    <a:lnTo>
                      <a:pt x="1637" y="1013"/>
                    </a:lnTo>
                    <a:lnTo>
                      <a:pt x="1639" y="1015"/>
                    </a:lnTo>
                    <a:lnTo>
                      <a:pt x="1641" y="1018"/>
                    </a:lnTo>
                    <a:lnTo>
                      <a:pt x="1643" y="1019"/>
                    </a:lnTo>
                    <a:lnTo>
                      <a:pt x="1645" y="1019"/>
                    </a:lnTo>
                    <a:lnTo>
                      <a:pt x="1647" y="1019"/>
                    </a:lnTo>
                    <a:lnTo>
                      <a:pt x="1650" y="1019"/>
                    </a:lnTo>
                    <a:lnTo>
                      <a:pt x="1652" y="1020"/>
                    </a:lnTo>
                    <a:lnTo>
                      <a:pt x="1654" y="1021"/>
                    </a:lnTo>
                    <a:lnTo>
                      <a:pt x="1655" y="1022"/>
                    </a:lnTo>
                    <a:lnTo>
                      <a:pt x="1655" y="1028"/>
                    </a:lnTo>
                    <a:lnTo>
                      <a:pt x="1648" y="1033"/>
                    </a:lnTo>
                    <a:lnTo>
                      <a:pt x="1640" y="1039"/>
                    </a:lnTo>
                    <a:lnTo>
                      <a:pt x="1632" y="1042"/>
                    </a:lnTo>
                    <a:lnTo>
                      <a:pt x="1626" y="1044"/>
                    </a:lnTo>
                    <a:lnTo>
                      <a:pt x="1620" y="1045"/>
                    </a:lnTo>
                    <a:lnTo>
                      <a:pt x="1612" y="1046"/>
                    </a:lnTo>
                    <a:lnTo>
                      <a:pt x="1605" y="1047"/>
                    </a:lnTo>
                    <a:lnTo>
                      <a:pt x="1600" y="1051"/>
                    </a:lnTo>
                    <a:lnTo>
                      <a:pt x="1597" y="1055"/>
                    </a:lnTo>
                    <a:lnTo>
                      <a:pt x="1594" y="1059"/>
                    </a:lnTo>
                    <a:lnTo>
                      <a:pt x="1592" y="1064"/>
                    </a:lnTo>
                    <a:lnTo>
                      <a:pt x="1588" y="1069"/>
                    </a:lnTo>
                    <a:lnTo>
                      <a:pt x="1582" y="1078"/>
                    </a:lnTo>
                    <a:lnTo>
                      <a:pt x="1576" y="1085"/>
                    </a:lnTo>
                    <a:lnTo>
                      <a:pt x="1570" y="1086"/>
                    </a:lnTo>
                    <a:lnTo>
                      <a:pt x="1568" y="1086"/>
                    </a:lnTo>
                    <a:lnTo>
                      <a:pt x="1567" y="1085"/>
                    </a:lnTo>
                    <a:lnTo>
                      <a:pt x="1566" y="1083"/>
                    </a:lnTo>
                    <a:lnTo>
                      <a:pt x="1565" y="1080"/>
                    </a:lnTo>
                    <a:lnTo>
                      <a:pt x="1564" y="1077"/>
                    </a:lnTo>
                    <a:lnTo>
                      <a:pt x="1564" y="1075"/>
                    </a:lnTo>
                    <a:lnTo>
                      <a:pt x="1560" y="1073"/>
                    </a:lnTo>
                    <a:lnTo>
                      <a:pt x="1559" y="1069"/>
                    </a:lnTo>
                    <a:lnTo>
                      <a:pt x="1558" y="1065"/>
                    </a:lnTo>
                    <a:lnTo>
                      <a:pt x="1559" y="1062"/>
                    </a:lnTo>
                    <a:lnTo>
                      <a:pt x="1561" y="1057"/>
                    </a:lnTo>
                    <a:lnTo>
                      <a:pt x="1563" y="1053"/>
                    </a:lnTo>
                    <a:lnTo>
                      <a:pt x="1566" y="1050"/>
                    </a:lnTo>
                    <a:lnTo>
                      <a:pt x="1569" y="1045"/>
                    </a:lnTo>
                    <a:lnTo>
                      <a:pt x="1575" y="1042"/>
                    </a:lnTo>
                    <a:lnTo>
                      <a:pt x="1578" y="1041"/>
                    </a:lnTo>
                    <a:lnTo>
                      <a:pt x="1582" y="1039"/>
                    </a:lnTo>
                    <a:lnTo>
                      <a:pt x="1586" y="1036"/>
                    </a:lnTo>
                    <a:lnTo>
                      <a:pt x="1590" y="1033"/>
                    </a:lnTo>
                    <a:lnTo>
                      <a:pt x="1589" y="1032"/>
                    </a:lnTo>
                    <a:lnTo>
                      <a:pt x="1588" y="1030"/>
                    </a:lnTo>
                    <a:lnTo>
                      <a:pt x="1587" y="1028"/>
                    </a:lnTo>
                    <a:lnTo>
                      <a:pt x="1586" y="1024"/>
                    </a:lnTo>
                    <a:lnTo>
                      <a:pt x="1583" y="1022"/>
                    </a:lnTo>
                    <a:lnTo>
                      <a:pt x="1582" y="1021"/>
                    </a:lnTo>
                    <a:lnTo>
                      <a:pt x="1581" y="1020"/>
                    </a:lnTo>
                    <a:lnTo>
                      <a:pt x="1575" y="1024"/>
                    </a:lnTo>
                    <a:lnTo>
                      <a:pt x="1569" y="1029"/>
                    </a:lnTo>
                    <a:lnTo>
                      <a:pt x="1564" y="1033"/>
                    </a:lnTo>
                    <a:lnTo>
                      <a:pt x="1560" y="1034"/>
                    </a:lnTo>
                    <a:lnTo>
                      <a:pt x="1558" y="1035"/>
                    </a:lnTo>
                    <a:lnTo>
                      <a:pt x="1555" y="1036"/>
                    </a:lnTo>
                    <a:lnTo>
                      <a:pt x="1553" y="1037"/>
                    </a:lnTo>
                    <a:lnTo>
                      <a:pt x="1549" y="1040"/>
                    </a:lnTo>
                    <a:lnTo>
                      <a:pt x="1548" y="1041"/>
                    </a:lnTo>
                    <a:lnTo>
                      <a:pt x="1546" y="1043"/>
                    </a:lnTo>
                    <a:lnTo>
                      <a:pt x="1545" y="1045"/>
                    </a:lnTo>
                    <a:lnTo>
                      <a:pt x="1546" y="1048"/>
                    </a:lnTo>
                    <a:lnTo>
                      <a:pt x="1543" y="1052"/>
                    </a:lnTo>
                    <a:lnTo>
                      <a:pt x="1536" y="1055"/>
                    </a:lnTo>
                    <a:lnTo>
                      <a:pt x="1527" y="1057"/>
                    </a:lnTo>
                    <a:lnTo>
                      <a:pt x="1519" y="1058"/>
                    </a:lnTo>
                    <a:lnTo>
                      <a:pt x="1511" y="1059"/>
                    </a:lnTo>
                    <a:lnTo>
                      <a:pt x="1506" y="1059"/>
                    </a:lnTo>
                    <a:lnTo>
                      <a:pt x="1501" y="1063"/>
                    </a:lnTo>
                    <a:lnTo>
                      <a:pt x="1496" y="1069"/>
                    </a:lnTo>
                    <a:lnTo>
                      <a:pt x="1492" y="1075"/>
                    </a:lnTo>
                    <a:lnTo>
                      <a:pt x="1488" y="1079"/>
                    </a:lnTo>
                    <a:lnTo>
                      <a:pt x="1484" y="1079"/>
                    </a:lnTo>
                    <a:lnTo>
                      <a:pt x="1482" y="1079"/>
                    </a:lnTo>
                    <a:lnTo>
                      <a:pt x="1480" y="1078"/>
                    </a:lnTo>
                    <a:lnTo>
                      <a:pt x="1479" y="1077"/>
                    </a:lnTo>
                    <a:lnTo>
                      <a:pt x="1477" y="1077"/>
                    </a:lnTo>
                    <a:lnTo>
                      <a:pt x="1476" y="1077"/>
                    </a:lnTo>
                    <a:lnTo>
                      <a:pt x="1474" y="1077"/>
                    </a:lnTo>
                    <a:lnTo>
                      <a:pt x="1473" y="1079"/>
                    </a:lnTo>
                    <a:lnTo>
                      <a:pt x="1471" y="1083"/>
                    </a:lnTo>
                    <a:lnTo>
                      <a:pt x="1469" y="1086"/>
                    </a:lnTo>
                    <a:lnTo>
                      <a:pt x="1467" y="1089"/>
                    </a:lnTo>
                    <a:lnTo>
                      <a:pt x="1467" y="1093"/>
                    </a:lnTo>
                    <a:lnTo>
                      <a:pt x="1466" y="1096"/>
                    </a:lnTo>
                    <a:lnTo>
                      <a:pt x="1466" y="1098"/>
                    </a:lnTo>
                    <a:lnTo>
                      <a:pt x="1466" y="1100"/>
                    </a:lnTo>
                    <a:lnTo>
                      <a:pt x="1466" y="1101"/>
                    </a:lnTo>
                    <a:lnTo>
                      <a:pt x="1465" y="1102"/>
                    </a:lnTo>
                    <a:lnTo>
                      <a:pt x="1463" y="1104"/>
                    </a:lnTo>
                    <a:lnTo>
                      <a:pt x="1460" y="1104"/>
                    </a:lnTo>
                    <a:lnTo>
                      <a:pt x="1457" y="1104"/>
                    </a:lnTo>
                    <a:lnTo>
                      <a:pt x="1455" y="1105"/>
                    </a:lnTo>
                    <a:lnTo>
                      <a:pt x="1452" y="1106"/>
                    </a:lnTo>
                    <a:lnTo>
                      <a:pt x="1451" y="1108"/>
                    </a:lnTo>
                    <a:lnTo>
                      <a:pt x="1450" y="1111"/>
                    </a:lnTo>
                    <a:lnTo>
                      <a:pt x="1450" y="1113"/>
                    </a:lnTo>
                    <a:lnTo>
                      <a:pt x="1449" y="1116"/>
                    </a:lnTo>
                    <a:lnTo>
                      <a:pt x="1400" y="1101"/>
                    </a:lnTo>
                    <a:lnTo>
                      <a:pt x="1348" y="1085"/>
                    </a:lnTo>
                    <a:lnTo>
                      <a:pt x="1348" y="1085"/>
                    </a:lnTo>
                    <a:lnTo>
                      <a:pt x="1348" y="1082"/>
                    </a:lnTo>
                    <a:lnTo>
                      <a:pt x="1346" y="1074"/>
                    </a:lnTo>
                    <a:lnTo>
                      <a:pt x="1341" y="1071"/>
                    </a:lnTo>
                    <a:lnTo>
                      <a:pt x="1335" y="1069"/>
                    </a:lnTo>
                    <a:lnTo>
                      <a:pt x="1328" y="1072"/>
                    </a:lnTo>
                    <a:lnTo>
                      <a:pt x="1321" y="1074"/>
                    </a:lnTo>
                    <a:lnTo>
                      <a:pt x="1315" y="1077"/>
                    </a:lnTo>
                    <a:lnTo>
                      <a:pt x="1309" y="1075"/>
                    </a:lnTo>
                    <a:lnTo>
                      <a:pt x="1313" y="1074"/>
                    </a:lnTo>
                    <a:lnTo>
                      <a:pt x="1314" y="1074"/>
                    </a:lnTo>
                    <a:lnTo>
                      <a:pt x="1314" y="1074"/>
                    </a:lnTo>
                    <a:lnTo>
                      <a:pt x="1315" y="1074"/>
                    </a:lnTo>
                    <a:lnTo>
                      <a:pt x="1291" y="1065"/>
                    </a:lnTo>
                    <a:lnTo>
                      <a:pt x="1268" y="1056"/>
                    </a:lnTo>
                    <a:lnTo>
                      <a:pt x="1269" y="1048"/>
                    </a:lnTo>
                    <a:lnTo>
                      <a:pt x="1266" y="1036"/>
                    </a:lnTo>
                    <a:lnTo>
                      <a:pt x="1260" y="1026"/>
                    </a:lnTo>
                    <a:lnTo>
                      <a:pt x="1253" y="1024"/>
                    </a:lnTo>
                    <a:lnTo>
                      <a:pt x="1244" y="1022"/>
                    </a:lnTo>
                    <a:lnTo>
                      <a:pt x="1236" y="1023"/>
                    </a:lnTo>
                    <a:lnTo>
                      <a:pt x="1229" y="1026"/>
                    </a:lnTo>
                    <a:lnTo>
                      <a:pt x="1228" y="1029"/>
                    </a:lnTo>
                    <a:lnTo>
                      <a:pt x="1228" y="1031"/>
                    </a:lnTo>
                    <a:lnTo>
                      <a:pt x="1227" y="1033"/>
                    </a:lnTo>
                    <a:lnTo>
                      <a:pt x="1226" y="1035"/>
                    </a:lnTo>
                    <a:lnTo>
                      <a:pt x="1226" y="1037"/>
                    </a:lnTo>
                    <a:lnTo>
                      <a:pt x="1225" y="1039"/>
                    </a:lnTo>
                    <a:lnTo>
                      <a:pt x="1223" y="1040"/>
                    </a:lnTo>
                    <a:lnTo>
                      <a:pt x="1221" y="1040"/>
                    </a:lnTo>
                    <a:lnTo>
                      <a:pt x="1219" y="1040"/>
                    </a:lnTo>
                    <a:lnTo>
                      <a:pt x="1216" y="1037"/>
                    </a:lnTo>
                    <a:lnTo>
                      <a:pt x="1212" y="1035"/>
                    </a:lnTo>
                    <a:lnTo>
                      <a:pt x="1208" y="1032"/>
                    </a:lnTo>
                    <a:lnTo>
                      <a:pt x="1205" y="1029"/>
                    </a:lnTo>
                    <a:lnTo>
                      <a:pt x="1201" y="1026"/>
                    </a:lnTo>
                    <a:lnTo>
                      <a:pt x="1199" y="1024"/>
                    </a:lnTo>
                    <a:lnTo>
                      <a:pt x="1192" y="1021"/>
                    </a:lnTo>
                    <a:lnTo>
                      <a:pt x="1185" y="1019"/>
                    </a:lnTo>
                    <a:lnTo>
                      <a:pt x="1179" y="1015"/>
                    </a:lnTo>
                    <a:lnTo>
                      <a:pt x="1176" y="1018"/>
                    </a:lnTo>
                    <a:lnTo>
                      <a:pt x="1174" y="1020"/>
                    </a:lnTo>
                    <a:lnTo>
                      <a:pt x="1171" y="1022"/>
                    </a:lnTo>
                    <a:lnTo>
                      <a:pt x="1163" y="1019"/>
                    </a:lnTo>
                    <a:lnTo>
                      <a:pt x="1170" y="1019"/>
                    </a:lnTo>
                    <a:lnTo>
                      <a:pt x="1149" y="1009"/>
                    </a:lnTo>
                    <a:lnTo>
                      <a:pt x="1130" y="1000"/>
                    </a:lnTo>
                    <a:lnTo>
                      <a:pt x="1132" y="999"/>
                    </a:lnTo>
                    <a:lnTo>
                      <a:pt x="1134" y="998"/>
                    </a:lnTo>
                    <a:lnTo>
                      <a:pt x="1138" y="998"/>
                    </a:lnTo>
                    <a:lnTo>
                      <a:pt x="1142" y="998"/>
                    </a:lnTo>
                    <a:lnTo>
                      <a:pt x="1148" y="999"/>
                    </a:lnTo>
                    <a:lnTo>
                      <a:pt x="1155" y="999"/>
                    </a:lnTo>
                    <a:lnTo>
                      <a:pt x="1162" y="999"/>
                    </a:lnTo>
                    <a:lnTo>
                      <a:pt x="1168" y="998"/>
                    </a:lnTo>
                    <a:lnTo>
                      <a:pt x="1173" y="996"/>
                    </a:lnTo>
                    <a:lnTo>
                      <a:pt x="1175" y="990"/>
                    </a:lnTo>
                    <a:lnTo>
                      <a:pt x="1175" y="982"/>
                    </a:lnTo>
                    <a:lnTo>
                      <a:pt x="1172" y="975"/>
                    </a:lnTo>
                    <a:lnTo>
                      <a:pt x="1168" y="969"/>
                    </a:lnTo>
                    <a:lnTo>
                      <a:pt x="1163" y="966"/>
                    </a:lnTo>
                    <a:lnTo>
                      <a:pt x="1155" y="965"/>
                    </a:lnTo>
                    <a:lnTo>
                      <a:pt x="1150" y="965"/>
                    </a:lnTo>
                    <a:lnTo>
                      <a:pt x="1146" y="965"/>
                    </a:lnTo>
                    <a:lnTo>
                      <a:pt x="1144" y="964"/>
                    </a:lnTo>
                    <a:lnTo>
                      <a:pt x="1143" y="962"/>
                    </a:lnTo>
                    <a:lnTo>
                      <a:pt x="1142" y="959"/>
                    </a:lnTo>
                    <a:lnTo>
                      <a:pt x="1141" y="956"/>
                    </a:lnTo>
                    <a:lnTo>
                      <a:pt x="1140" y="952"/>
                    </a:lnTo>
                    <a:lnTo>
                      <a:pt x="1139" y="949"/>
                    </a:lnTo>
                    <a:lnTo>
                      <a:pt x="1138" y="947"/>
                    </a:lnTo>
                    <a:lnTo>
                      <a:pt x="1135" y="944"/>
                    </a:lnTo>
                    <a:lnTo>
                      <a:pt x="1133" y="942"/>
                    </a:lnTo>
                    <a:lnTo>
                      <a:pt x="1132" y="939"/>
                    </a:lnTo>
                    <a:lnTo>
                      <a:pt x="1130" y="938"/>
                    </a:lnTo>
                    <a:lnTo>
                      <a:pt x="1128" y="938"/>
                    </a:lnTo>
                    <a:lnTo>
                      <a:pt x="1125" y="941"/>
                    </a:lnTo>
                    <a:lnTo>
                      <a:pt x="1124" y="943"/>
                    </a:lnTo>
                    <a:lnTo>
                      <a:pt x="1123" y="945"/>
                    </a:lnTo>
                    <a:lnTo>
                      <a:pt x="1123" y="945"/>
                    </a:lnTo>
                    <a:lnTo>
                      <a:pt x="1122" y="945"/>
                    </a:lnTo>
                    <a:lnTo>
                      <a:pt x="1121" y="943"/>
                    </a:lnTo>
                    <a:lnTo>
                      <a:pt x="1120" y="941"/>
                    </a:lnTo>
                    <a:lnTo>
                      <a:pt x="1118" y="938"/>
                    </a:lnTo>
                    <a:lnTo>
                      <a:pt x="1114" y="936"/>
                    </a:lnTo>
                    <a:lnTo>
                      <a:pt x="1112" y="935"/>
                    </a:lnTo>
                    <a:lnTo>
                      <a:pt x="1109" y="934"/>
                    </a:lnTo>
                    <a:lnTo>
                      <a:pt x="1102" y="935"/>
                    </a:lnTo>
                    <a:lnTo>
                      <a:pt x="1099" y="938"/>
                    </a:lnTo>
                    <a:lnTo>
                      <a:pt x="1097" y="944"/>
                    </a:lnTo>
                    <a:lnTo>
                      <a:pt x="1095" y="949"/>
                    </a:lnTo>
                    <a:lnTo>
                      <a:pt x="1091" y="954"/>
                    </a:lnTo>
                    <a:lnTo>
                      <a:pt x="1085" y="956"/>
                    </a:lnTo>
                    <a:lnTo>
                      <a:pt x="1080" y="958"/>
                    </a:lnTo>
                    <a:lnTo>
                      <a:pt x="1076" y="960"/>
                    </a:lnTo>
                    <a:lnTo>
                      <a:pt x="1073" y="963"/>
                    </a:lnTo>
                    <a:lnTo>
                      <a:pt x="1069" y="964"/>
                    </a:lnTo>
                    <a:lnTo>
                      <a:pt x="1067" y="967"/>
                    </a:lnTo>
                    <a:lnTo>
                      <a:pt x="1064" y="969"/>
                    </a:lnTo>
                    <a:lnTo>
                      <a:pt x="1061" y="971"/>
                    </a:lnTo>
                    <a:lnTo>
                      <a:pt x="1058" y="971"/>
                    </a:lnTo>
                    <a:lnTo>
                      <a:pt x="1055" y="970"/>
                    </a:lnTo>
                    <a:lnTo>
                      <a:pt x="1055" y="969"/>
                    </a:lnTo>
                    <a:lnTo>
                      <a:pt x="1057" y="968"/>
                    </a:lnTo>
                    <a:lnTo>
                      <a:pt x="982" y="932"/>
                    </a:lnTo>
                    <a:lnTo>
                      <a:pt x="908" y="893"/>
                    </a:lnTo>
                    <a:lnTo>
                      <a:pt x="827" y="848"/>
                    </a:lnTo>
                    <a:lnTo>
                      <a:pt x="750" y="802"/>
                    </a:lnTo>
                    <a:lnTo>
                      <a:pt x="676" y="756"/>
                    </a:lnTo>
                    <a:lnTo>
                      <a:pt x="606" y="711"/>
                    </a:lnTo>
                    <a:lnTo>
                      <a:pt x="539" y="666"/>
                    </a:lnTo>
                    <a:lnTo>
                      <a:pt x="475" y="625"/>
                    </a:lnTo>
                    <a:lnTo>
                      <a:pt x="414" y="586"/>
                    </a:lnTo>
                    <a:lnTo>
                      <a:pt x="358" y="551"/>
                    </a:lnTo>
                    <a:lnTo>
                      <a:pt x="305" y="520"/>
                    </a:lnTo>
                    <a:lnTo>
                      <a:pt x="255" y="495"/>
                    </a:lnTo>
                    <a:lnTo>
                      <a:pt x="205" y="473"/>
                    </a:lnTo>
                    <a:lnTo>
                      <a:pt x="159" y="456"/>
                    </a:lnTo>
                    <a:lnTo>
                      <a:pt x="113" y="445"/>
                    </a:lnTo>
                    <a:lnTo>
                      <a:pt x="69" y="439"/>
                    </a:lnTo>
                    <a:lnTo>
                      <a:pt x="57" y="439"/>
                    </a:lnTo>
                    <a:lnTo>
                      <a:pt x="57" y="439"/>
                    </a:lnTo>
                    <a:lnTo>
                      <a:pt x="57" y="437"/>
                    </a:lnTo>
                    <a:lnTo>
                      <a:pt x="55" y="437"/>
                    </a:lnTo>
                    <a:lnTo>
                      <a:pt x="55" y="439"/>
                    </a:lnTo>
                    <a:lnTo>
                      <a:pt x="54" y="439"/>
                    </a:lnTo>
                    <a:lnTo>
                      <a:pt x="53" y="439"/>
                    </a:lnTo>
                    <a:lnTo>
                      <a:pt x="53" y="441"/>
                    </a:lnTo>
                    <a:lnTo>
                      <a:pt x="53" y="441"/>
                    </a:lnTo>
                    <a:lnTo>
                      <a:pt x="30" y="442"/>
                    </a:lnTo>
                    <a:lnTo>
                      <a:pt x="9" y="445"/>
                    </a:lnTo>
                    <a:lnTo>
                      <a:pt x="9" y="443"/>
                    </a:lnTo>
                    <a:lnTo>
                      <a:pt x="10" y="441"/>
                    </a:lnTo>
                    <a:lnTo>
                      <a:pt x="11" y="439"/>
                    </a:lnTo>
                    <a:lnTo>
                      <a:pt x="11" y="436"/>
                    </a:lnTo>
                    <a:lnTo>
                      <a:pt x="11" y="435"/>
                    </a:lnTo>
                    <a:lnTo>
                      <a:pt x="11" y="434"/>
                    </a:lnTo>
                    <a:lnTo>
                      <a:pt x="10" y="434"/>
                    </a:lnTo>
                    <a:lnTo>
                      <a:pt x="9" y="434"/>
                    </a:lnTo>
                    <a:lnTo>
                      <a:pt x="5" y="432"/>
                    </a:lnTo>
                    <a:lnTo>
                      <a:pt x="3" y="429"/>
                    </a:lnTo>
                    <a:lnTo>
                      <a:pt x="0" y="423"/>
                    </a:lnTo>
                    <a:lnTo>
                      <a:pt x="3" y="417"/>
                    </a:lnTo>
                    <a:lnTo>
                      <a:pt x="5" y="414"/>
                    </a:lnTo>
                    <a:lnTo>
                      <a:pt x="8" y="412"/>
                    </a:lnTo>
                    <a:lnTo>
                      <a:pt x="11" y="410"/>
                    </a:lnTo>
                    <a:lnTo>
                      <a:pt x="14" y="408"/>
                    </a:lnTo>
                    <a:lnTo>
                      <a:pt x="17" y="406"/>
                    </a:lnTo>
                    <a:lnTo>
                      <a:pt x="19" y="402"/>
                    </a:lnTo>
                    <a:lnTo>
                      <a:pt x="22" y="399"/>
                    </a:lnTo>
                    <a:lnTo>
                      <a:pt x="22" y="397"/>
                    </a:lnTo>
                    <a:lnTo>
                      <a:pt x="25" y="395"/>
                    </a:lnTo>
                    <a:lnTo>
                      <a:pt x="27" y="392"/>
                    </a:lnTo>
                    <a:lnTo>
                      <a:pt x="29" y="390"/>
                    </a:lnTo>
                    <a:lnTo>
                      <a:pt x="31" y="388"/>
                    </a:lnTo>
                    <a:lnTo>
                      <a:pt x="33" y="386"/>
                    </a:lnTo>
                    <a:lnTo>
                      <a:pt x="36" y="385"/>
                    </a:lnTo>
                    <a:lnTo>
                      <a:pt x="37" y="384"/>
                    </a:lnTo>
                    <a:lnTo>
                      <a:pt x="39" y="385"/>
                    </a:lnTo>
                    <a:lnTo>
                      <a:pt x="40" y="386"/>
                    </a:lnTo>
                    <a:lnTo>
                      <a:pt x="40" y="387"/>
                    </a:lnTo>
                    <a:lnTo>
                      <a:pt x="40" y="389"/>
                    </a:lnTo>
                    <a:lnTo>
                      <a:pt x="39" y="391"/>
                    </a:lnTo>
                    <a:lnTo>
                      <a:pt x="38" y="392"/>
                    </a:lnTo>
                    <a:lnTo>
                      <a:pt x="38" y="395"/>
                    </a:lnTo>
                    <a:lnTo>
                      <a:pt x="38" y="396"/>
                    </a:lnTo>
                    <a:lnTo>
                      <a:pt x="40" y="396"/>
                    </a:lnTo>
                    <a:lnTo>
                      <a:pt x="41" y="397"/>
                    </a:lnTo>
                    <a:lnTo>
                      <a:pt x="43" y="397"/>
                    </a:lnTo>
                    <a:lnTo>
                      <a:pt x="44" y="397"/>
                    </a:lnTo>
                    <a:lnTo>
                      <a:pt x="46" y="397"/>
                    </a:lnTo>
                    <a:lnTo>
                      <a:pt x="49" y="397"/>
                    </a:lnTo>
                    <a:lnTo>
                      <a:pt x="51" y="397"/>
                    </a:lnTo>
                    <a:lnTo>
                      <a:pt x="53" y="397"/>
                    </a:lnTo>
                    <a:lnTo>
                      <a:pt x="57" y="396"/>
                    </a:lnTo>
                    <a:lnTo>
                      <a:pt x="58" y="393"/>
                    </a:lnTo>
                    <a:lnTo>
                      <a:pt x="59" y="390"/>
                    </a:lnTo>
                    <a:lnTo>
                      <a:pt x="59" y="388"/>
                    </a:lnTo>
                    <a:lnTo>
                      <a:pt x="59" y="387"/>
                    </a:lnTo>
                    <a:lnTo>
                      <a:pt x="58" y="387"/>
                    </a:lnTo>
                    <a:lnTo>
                      <a:pt x="57" y="387"/>
                    </a:lnTo>
                    <a:lnTo>
                      <a:pt x="55" y="386"/>
                    </a:lnTo>
                    <a:lnTo>
                      <a:pt x="54" y="386"/>
                    </a:lnTo>
                    <a:lnTo>
                      <a:pt x="53" y="385"/>
                    </a:lnTo>
                    <a:lnTo>
                      <a:pt x="54" y="384"/>
                    </a:lnTo>
                    <a:lnTo>
                      <a:pt x="55" y="381"/>
                    </a:lnTo>
                    <a:lnTo>
                      <a:pt x="55" y="378"/>
                    </a:lnTo>
                    <a:lnTo>
                      <a:pt x="55" y="376"/>
                    </a:lnTo>
                    <a:lnTo>
                      <a:pt x="54" y="374"/>
                    </a:lnTo>
                    <a:lnTo>
                      <a:pt x="52" y="371"/>
                    </a:lnTo>
                    <a:lnTo>
                      <a:pt x="50" y="370"/>
                    </a:lnTo>
                    <a:lnTo>
                      <a:pt x="48" y="369"/>
                    </a:lnTo>
                    <a:lnTo>
                      <a:pt x="47" y="370"/>
                    </a:lnTo>
                    <a:lnTo>
                      <a:pt x="42" y="370"/>
                    </a:lnTo>
                    <a:lnTo>
                      <a:pt x="41" y="367"/>
                    </a:lnTo>
                    <a:lnTo>
                      <a:pt x="41" y="363"/>
                    </a:lnTo>
                    <a:lnTo>
                      <a:pt x="42" y="358"/>
                    </a:lnTo>
                    <a:lnTo>
                      <a:pt x="44" y="353"/>
                    </a:lnTo>
                    <a:lnTo>
                      <a:pt x="43" y="349"/>
                    </a:lnTo>
                    <a:lnTo>
                      <a:pt x="43" y="346"/>
                    </a:lnTo>
                    <a:lnTo>
                      <a:pt x="42" y="344"/>
                    </a:lnTo>
                    <a:lnTo>
                      <a:pt x="41" y="343"/>
                    </a:lnTo>
                    <a:lnTo>
                      <a:pt x="40" y="342"/>
                    </a:lnTo>
                    <a:lnTo>
                      <a:pt x="38" y="338"/>
                    </a:lnTo>
                    <a:lnTo>
                      <a:pt x="37" y="335"/>
                    </a:lnTo>
                    <a:lnTo>
                      <a:pt x="35" y="333"/>
                    </a:lnTo>
                    <a:lnTo>
                      <a:pt x="33" y="333"/>
                    </a:lnTo>
                    <a:lnTo>
                      <a:pt x="31" y="331"/>
                    </a:lnTo>
                    <a:lnTo>
                      <a:pt x="29" y="330"/>
                    </a:lnTo>
                    <a:lnTo>
                      <a:pt x="27" y="328"/>
                    </a:lnTo>
                    <a:lnTo>
                      <a:pt x="25" y="328"/>
                    </a:lnTo>
                    <a:lnTo>
                      <a:pt x="24" y="327"/>
                    </a:lnTo>
                    <a:lnTo>
                      <a:pt x="24" y="327"/>
                    </a:lnTo>
                    <a:lnTo>
                      <a:pt x="24" y="326"/>
                    </a:lnTo>
                    <a:lnTo>
                      <a:pt x="25" y="326"/>
                    </a:lnTo>
                    <a:lnTo>
                      <a:pt x="27" y="325"/>
                    </a:lnTo>
                    <a:lnTo>
                      <a:pt x="28" y="323"/>
                    </a:lnTo>
                    <a:lnTo>
                      <a:pt x="29" y="321"/>
                    </a:lnTo>
                    <a:lnTo>
                      <a:pt x="30" y="319"/>
                    </a:lnTo>
                    <a:lnTo>
                      <a:pt x="31" y="315"/>
                    </a:lnTo>
                    <a:lnTo>
                      <a:pt x="31" y="313"/>
                    </a:lnTo>
                    <a:lnTo>
                      <a:pt x="32" y="311"/>
                    </a:lnTo>
                    <a:lnTo>
                      <a:pt x="33" y="308"/>
                    </a:lnTo>
                    <a:lnTo>
                      <a:pt x="36" y="304"/>
                    </a:lnTo>
                    <a:lnTo>
                      <a:pt x="38" y="302"/>
                    </a:lnTo>
                    <a:lnTo>
                      <a:pt x="40" y="302"/>
                    </a:lnTo>
                    <a:lnTo>
                      <a:pt x="42" y="302"/>
                    </a:lnTo>
                    <a:lnTo>
                      <a:pt x="44" y="301"/>
                    </a:lnTo>
                    <a:lnTo>
                      <a:pt x="47" y="300"/>
                    </a:lnTo>
                    <a:lnTo>
                      <a:pt x="49" y="298"/>
                    </a:lnTo>
                    <a:lnTo>
                      <a:pt x="58" y="288"/>
                    </a:lnTo>
                    <a:lnTo>
                      <a:pt x="63" y="276"/>
                    </a:lnTo>
                    <a:lnTo>
                      <a:pt x="64" y="272"/>
                    </a:lnTo>
                    <a:lnTo>
                      <a:pt x="64" y="269"/>
                    </a:lnTo>
                    <a:lnTo>
                      <a:pt x="65" y="266"/>
                    </a:lnTo>
                    <a:lnTo>
                      <a:pt x="65" y="262"/>
                    </a:lnTo>
                    <a:lnTo>
                      <a:pt x="68" y="260"/>
                    </a:lnTo>
                    <a:lnTo>
                      <a:pt x="70" y="257"/>
                    </a:lnTo>
                    <a:lnTo>
                      <a:pt x="72" y="254"/>
                    </a:lnTo>
                    <a:lnTo>
                      <a:pt x="74" y="251"/>
                    </a:lnTo>
                    <a:lnTo>
                      <a:pt x="75" y="248"/>
                    </a:lnTo>
                    <a:lnTo>
                      <a:pt x="76" y="244"/>
                    </a:lnTo>
                    <a:lnTo>
                      <a:pt x="77" y="240"/>
                    </a:lnTo>
                    <a:lnTo>
                      <a:pt x="79" y="238"/>
                    </a:lnTo>
                    <a:lnTo>
                      <a:pt x="81" y="238"/>
                    </a:lnTo>
                    <a:lnTo>
                      <a:pt x="83" y="237"/>
                    </a:lnTo>
                    <a:lnTo>
                      <a:pt x="85" y="236"/>
                    </a:lnTo>
                    <a:lnTo>
                      <a:pt x="92" y="229"/>
                    </a:lnTo>
                    <a:lnTo>
                      <a:pt x="93" y="227"/>
                    </a:lnTo>
                    <a:lnTo>
                      <a:pt x="95" y="225"/>
                    </a:lnTo>
                    <a:lnTo>
                      <a:pt x="96" y="222"/>
                    </a:lnTo>
                    <a:lnTo>
                      <a:pt x="97" y="218"/>
                    </a:lnTo>
                    <a:lnTo>
                      <a:pt x="99" y="216"/>
                    </a:lnTo>
                    <a:lnTo>
                      <a:pt x="101" y="215"/>
                    </a:lnTo>
                    <a:lnTo>
                      <a:pt x="102" y="214"/>
                    </a:lnTo>
                    <a:lnTo>
                      <a:pt x="103" y="214"/>
                    </a:lnTo>
                    <a:lnTo>
                      <a:pt x="104" y="215"/>
                    </a:lnTo>
                    <a:lnTo>
                      <a:pt x="105" y="216"/>
                    </a:lnTo>
                    <a:lnTo>
                      <a:pt x="106" y="216"/>
                    </a:lnTo>
                    <a:lnTo>
                      <a:pt x="107" y="216"/>
                    </a:lnTo>
                    <a:lnTo>
                      <a:pt x="109" y="216"/>
                    </a:lnTo>
                    <a:lnTo>
                      <a:pt x="112" y="214"/>
                    </a:lnTo>
                    <a:lnTo>
                      <a:pt x="115" y="212"/>
                    </a:lnTo>
                    <a:lnTo>
                      <a:pt x="118" y="210"/>
                    </a:lnTo>
                    <a:lnTo>
                      <a:pt x="123" y="204"/>
                    </a:lnTo>
                    <a:lnTo>
                      <a:pt x="126" y="197"/>
                    </a:lnTo>
                    <a:lnTo>
                      <a:pt x="130" y="192"/>
                    </a:lnTo>
                    <a:lnTo>
                      <a:pt x="134" y="190"/>
                    </a:lnTo>
                    <a:lnTo>
                      <a:pt x="137" y="192"/>
                    </a:lnTo>
                    <a:lnTo>
                      <a:pt x="137" y="195"/>
                    </a:lnTo>
                    <a:lnTo>
                      <a:pt x="136" y="200"/>
                    </a:lnTo>
                    <a:lnTo>
                      <a:pt x="134" y="205"/>
                    </a:lnTo>
                    <a:lnTo>
                      <a:pt x="134" y="210"/>
                    </a:lnTo>
                    <a:lnTo>
                      <a:pt x="136" y="212"/>
                    </a:lnTo>
                    <a:lnTo>
                      <a:pt x="137" y="214"/>
                    </a:lnTo>
                    <a:lnTo>
                      <a:pt x="138" y="216"/>
                    </a:lnTo>
                    <a:lnTo>
                      <a:pt x="139" y="216"/>
                    </a:lnTo>
                    <a:lnTo>
                      <a:pt x="140" y="216"/>
                    </a:lnTo>
                    <a:lnTo>
                      <a:pt x="141" y="215"/>
                    </a:lnTo>
                    <a:lnTo>
                      <a:pt x="142" y="215"/>
                    </a:lnTo>
                    <a:lnTo>
                      <a:pt x="142" y="214"/>
                    </a:lnTo>
                    <a:lnTo>
                      <a:pt x="142" y="212"/>
                    </a:lnTo>
                    <a:lnTo>
                      <a:pt x="142" y="210"/>
                    </a:lnTo>
                    <a:lnTo>
                      <a:pt x="141" y="210"/>
                    </a:lnTo>
                    <a:lnTo>
                      <a:pt x="140" y="208"/>
                    </a:lnTo>
                    <a:lnTo>
                      <a:pt x="140" y="207"/>
                    </a:lnTo>
                    <a:lnTo>
                      <a:pt x="140" y="205"/>
                    </a:lnTo>
                    <a:lnTo>
                      <a:pt x="141" y="203"/>
                    </a:lnTo>
                    <a:lnTo>
                      <a:pt x="141" y="201"/>
                    </a:lnTo>
                    <a:lnTo>
                      <a:pt x="142" y="199"/>
                    </a:lnTo>
                    <a:lnTo>
                      <a:pt x="144" y="195"/>
                    </a:lnTo>
                    <a:lnTo>
                      <a:pt x="145" y="193"/>
                    </a:lnTo>
                    <a:lnTo>
                      <a:pt x="146" y="192"/>
                    </a:lnTo>
                    <a:lnTo>
                      <a:pt x="147" y="192"/>
                    </a:lnTo>
                    <a:lnTo>
                      <a:pt x="148" y="193"/>
                    </a:lnTo>
                    <a:lnTo>
                      <a:pt x="149" y="195"/>
                    </a:lnTo>
                    <a:lnTo>
                      <a:pt x="149" y="196"/>
                    </a:lnTo>
                    <a:lnTo>
                      <a:pt x="149" y="199"/>
                    </a:lnTo>
                    <a:lnTo>
                      <a:pt x="149" y="202"/>
                    </a:lnTo>
                    <a:lnTo>
                      <a:pt x="150" y="204"/>
                    </a:lnTo>
                    <a:lnTo>
                      <a:pt x="151" y="204"/>
                    </a:lnTo>
                    <a:lnTo>
                      <a:pt x="152" y="204"/>
                    </a:lnTo>
                    <a:lnTo>
                      <a:pt x="153" y="204"/>
                    </a:lnTo>
                    <a:lnTo>
                      <a:pt x="155" y="203"/>
                    </a:lnTo>
                    <a:lnTo>
                      <a:pt x="156" y="202"/>
                    </a:lnTo>
                    <a:lnTo>
                      <a:pt x="158" y="201"/>
                    </a:lnTo>
                    <a:lnTo>
                      <a:pt x="159" y="200"/>
                    </a:lnTo>
                    <a:lnTo>
                      <a:pt x="160" y="199"/>
                    </a:lnTo>
                    <a:lnTo>
                      <a:pt x="162" y="199"/>
                    </a:lnTo>
                    <a:lnTo>
                      <a:pt x="163" y="199"/>
                    </a:lnTo>
                    <a:lnTo>
                      <a:pt x="166" y="199"/>
                    </a:lnTo>
                    <a:lnTo>
                      <a:pt x="167" y="200"/>
                    </a:lnTo>
                    <a:lnTo>
                      <a:pt x="167" y="201"/>
                    </a:lnTo>
                    <a:lnTo>
                      <a:pt x="167" y="205"/>
                    </a:lnTo>
                    <a:lnTo>
                      <a:pt x="168" y="206"/>
                    </a:lnTo>
                    <a:lnTo>
                      <a:pt x="169" y="207"/>
                    </a:lnTo>
                    <a:lnTo>
                      <a:pt x="170" y="207"/>
                    </a:lnTo>
                    <a:lnTo>
                      <a:pt x="170" y="207"/>
                    </a:lnTo>
                    <a:lnTo>
                      <a:pt x="171" y="207"/>
                    </a:lnTo>
                    <a:lnTo>
                      <a:pt x="173" y="207"/>
                    </a:lnTo>
                    <a:lnTo>
                      <a:pt x="174" y="208"/>
                    </a:lnTo>
                    <a:lnTo>
                      <a:pt x="175" y="211"/>
                    </a:lnTo>
                    <a:lnTo>
                      <a:pt x="175" y="212"/>
                    </a:lnTo>
                    <a:lnTo>
                      <a:pt x="175" y="214"/>
                    </a:lnTo>
                    <a:lnTo>
                      <a:pt x="178" y="214"/>
                    </a:lnTo>
                    <a:lnTo>
                      <a:pt x="179" y="214"/>
                    </a:lnTo>
                    <a:lnTo>
                      <a:pt x="181" y="212"/>
                    </a:lnTo>
                    <a:lnTo>
                      <a:pt x="183" y="210"/>
                    </a:lnTo>
                    <a:lnTo>
                      <a:pt x="184" y="207"/>
                    </a:lnTo>
                    <a:lnTo>
                      <a:pt x="188" y="203"/>
                    </a:lnTo>
                    <a:lnTo>
                      <a:pt x="190" y="201"/>
                    </a:lnTo>
                    <a:lnTo>
                      <a:pt x="193" y="200"/>
                    </a:lnTo>
                    <a:lnTo>
                      <a:pt x="195" y="201"/>
                    </a:lnTo>
                    <a:lnTo>
                      <a:pt x="197" y="202"/>
                    </a:lnTo>
                    <a:lnTo>
                      <a:pt x="200" y="203"/>
                    </a:lnTo>
                    <a:lnTo>
                      <a:pt x="202" y="205"/>
                    </a:lnTo>
                    <a:lnTo>
                      <a:pt x="206" y="206"/>
                    </a:lnTo>
                    <a:lnTo>
                      <a:pt x="211" y="208"/>
                    </a:lnTo>
                    <a:lnTo>
                      <a:pt x="216" y="208"/>
                    </a:lnTo>
                    <a:lnTo>
                      <a:pt x="222" y="207"/>
                    </a:lnTo>
                    <a:lnTo>
                      <a:pt x="224" y="206"/>
                    </a:lnTo>
                    <a:lnTo>
                      <a:pt x="226" y="205"/>
                    </a:lnTo>
                    <a:lnTo>
                      <a:pt x="228" y="206"/>
                    </a:lnTo>
                    <a:lnTo>
                      <a:pt x="230" y="207"/>
                    </a:lnTo>
                    <a:lnTo>
                      <a:pt x="233" y="208"/>
                    </a:lnTo>
                    <a:lnTo>
                      <a:pt x="235" y="208"/>
                    </a:lnTo>
                    <a:lnTo>
                      <a:pt x="237" y="210"/>
                    </a:lnTo>
                    <a:lnTo>
                      <a:pt x="245" y="207"/>
                    </a:lnTo>
                    <a:lnTo>
                      <a:pt x="251" y="204"/>
                    </a:lnTo>
                    <a:lnTo>
                      <a:pt x="259" y="203"/>
                    </a:lnTo>
                    <a:lnTo>
                      <a:pt x="261" y="202"/>
                    </a:lnTo>
                    <a:lnTo>
                      <a:pt x="265" y="203"/>
                    </a:lnTo>
                    <a:lnTo>
                      <a:pt x="267" y="204"/>
                    </a:lnTo>
                    <a:lnTo>
                      <a:pt x="269" y="205"/>
                    </a:lnTo>
                    <a:lnTo>
                      <a:pt x="270" y="207"/>
                    </a:lnTo>
                    <a:lnTo>
                      <a:pt x="272" y="208"/>
                    </a:lnTo>
                    <a:lnTo>
                      <a:pt x="275" y="210"/>
                    </a:lnTo>
                    <a:lnTo>
                      <a:pt x="277" y="211"/>
                    </a:lnTo>
                    <a:lnTo>
                      <a:pt x="279" y="212"/>
                    </a:lnTo>
                    <a:lnTo>
                      <a:pt x="282" y="213"/>
                    </a:lnTo>
                    <a:lnTo>
                      <a:pt x="286" y="213"/>
                    </a:lnTo>
                    <a:lnTo>
                      <a:pt x="289" y="213"/>
                    </a:lnTo>
                    <a:lnTo>
                      <a:pt x="292" y="214"/>
                    </a:lnTo>
                    <a:lnTo>
                      <a:pt x="293" y="214"/>
                    </a:lnTo>
                    <a:lnTo>
                      <a:pt x="294" y="215"/>
                    </a:lnTo>
                    <a:lnTo>
                      <a:pt x="295" y="216"/>
                    </a:lnTo>
                    <a:lnTo>
                      <a:pt x="298" y="216"/>
                    </a:lnTo>
                    <a:lnTo>
                      <a:pt x="299" y="216"/>
                    </a:lnTo>
                    <a:lnTo>
                      <a:pt x="302" y="216"/>
                    </a:lnTo>
                    <a:lnTo>
                      <a:pt x="306" y="218"/>
                    </a:lnTo>
                    <a:lnTo>
                      <a:pt x="310" y="221"/>
                    </a:lnTo>
                    <a:lnTo>
                      <a:pt x="313" y="224"/>
                    </a:lnTo>
                    <a:lnTo>
                      <a:pt x="316" y="227"/>
                    </a:lnTo>
                    <a:lnTo>
                      <a:pt x="316" y="229"/>
                    </a:lnTo>
                    <a:lnTo>
                      <a:pt x="317" y="232"/>
                    </a:lnTo>
                    <a:lnTo>
                      <a:pt x="320" y="233"/>
                    </a:lnTo>
                    <a:lnTo>
                      <a:pt x="323" y="234"/>
                    </a:lnTo>
                    <a:lnTo>
                      <a:pt x="326" y="234"/>
                    </a:lnTo>
                    <a:lnTo>
                      <a:pt x="330" y="234"/>
                    </a:lnTo>
                    <a:lnTo>
                      <a:pt x="332" y="234"/>
                    </a:lnTo>
                    <a:lnTo>
                      <a:pt x="335" y="235"/>
                    </a:lnTo>
                    <a:lnTo>
                      <a:pt x="338" y="236"/>
                    </a:lnTo>
                    <a:lnTo>
                      <a:pt x="341" y="227"/>
                    </a:lnTo>
                    <a:lnTo>
                      <a:pt x="339" y="225"/>
                    </a:lnTo>
                    <a:lnTo>
                      <a:pt x="338" y="223"/>
                    </a:lnTo>
                    <a:lnTo>
                      <a:pt x="337" y="223"/>
                    </a:lnTo>
                    <a:lnTo>
                      <a:pt x="335" y="222"/>
                    </a:lnTo>
                    <a:lnTo>
                      <a:pt x="334" y="221"/>
                    </a:lnTo>
                    <a:lnTo>
                      <a:pt x="335" y="217"/>
                    </a:lnTo>
                    <a:lnTo>
                      <a:pt x="339" y="213"/>
                    </a:lnTo>
                    <a:lnTo>
                      <a:pt x="345" y="208"/>
                    </a:lnTo>
                    <a:lnTo>
                      <a:pt x="350" y="205"/>
                    </a:lnTo>
                    <a:lnTo>
                      <a:pt x="354" y="203"/>
                    </a:lnTo>
                    <a:lnTo>
                      <a:pt x="355" y="201"/>
                    </a:lnTo>
                    <a:lnTo>
                      <a:pt x="357" y="197"/>
                    </a:lnTo>
                    <a:lnTo>
                      <a:pt x="358" y="195"/>
                    </a:lnTo>
                    <a:lnTo>
                      <a:pt x="360" y="193"/>
                    </a:lnTo>
                    <a:lnTo>
                      <a:pt x="361" y="192"/>
                    </a:lnTo>
                    <a:lnTo>
                      <a:pt x="364" y="192"/>
                    </a:lnTo>
                    <a:lnTo>
                      <a:pt x="365" y="192"/>
                    </a:lnTo>
                    <a:lnTo>
                      <a:pt x="366" y="193"/>
                    </a:lnTo>
                    <a:lnTo>
                      <a:pt x="367" y="196"/>
                    </a:lnTo>
                    <a:lnTo>
                      <a:pt x="367" y="196"/>
                    </a:lnTo>
                    <a:lnTo>
                      <a:pt x="367" y="197"/>
                    </a:lnTo>
                    <a:lnTo>
                      <a:pt x="367" y="199"/>
                    </a:lnTo>
                    <a:lnTo>
                      <a:pt x="368" y="200"/>
                    </a:lnTo>
                    <a:lnTo>
                      <a:pt x="369" y="201"/>
                    </a:lnTo>
                    <a:lnTo>
                      <a:pt x="370" y="200"/>
                    </a:lnTo>
                    <a:lnTo>
                      <a:pt x="372" y="199"/>
                    </a:lnTo>
                    <a:lnTo>
                      <a:pt x="375" y="197"/>
                    </a:lnTo>
                    <a:lnTo>
                      <a:pt x="376" y="195"/>
                    </a:lnTo>
                    <a:lnTo>
                      <a:pt x="378" y="194"/>
                    </a:lnTo>
                    <a:lnTo>
                      <a:pt x="378" y="192"/>
                    </a:lnTo>
                    <a:lnTo>
                      <a:pt x="379" y="191"/>
                    </a:lnTo>
                    <a:lnTo>
                      <a:pt x="379" y="190"/>
                    </a:lnTo>
                    <a:lnTo>
                      <a:pt x="380" y="188"/>
                    </a:lnTo>
                    <a:lnTo>
                      <a:pt x="382" y="185"/>
                    </a:lnTo>
                    <a:lnTo>
                      <a:pt x="383" y="184"/>
                    </a:lnTo>
                    <a:lnTo>
                      <a:pt x="387" y="183"/>
                    </a:lnTo>
                    <a:lnTo>
                      <a:pt x="389" y="182"/>
                    </a:lnTo>
                    <a:lnTo>
                      <a:pt x="391" y="181"/>
                    </a:lnTo>
                    <a:lnTo>
                      <a:pt x="395" y="180"/>
                    </a:lnTo>
                    <a:lnTo>
                      <a:pt x="397" y="179"/>
                    </a:lnTo>
                    <a:lnTo>
                      <a:pt x="399" y="178"/>
                    </a:lnTo>
                    <a:lnTo>
                      <a:pt x="400" y="175"/>
                    </a:lnTo>
                    <a:lnTo>
                      <a:pt x="402" y="172"/>
                    </a:lnTo>
                    <a:lnTo>
                      <a:pt x="403" y="169"/>
                    </a:lnTo>
                    <a:lnTo>
                      <a:pt x="407" y="166"/>
                    </a:lnTo>
                    <a:lnTo>
                      <a:pt x="410" y="162"/>
                    </a:lnTo>
                    <a:lnTo>
                      <a:pt x="412" y="161"/>
                    </a:lnTo>
                    <a:lnTo>
                      <a:pt x="415" y="162"/>
                    </a:lnTo>
                    <a:lnTo>
                      <a:pt x="418" y="163"/>
                    </a:lnTo>
                    <a:lnTo>
                      <a:pt x="419" y="163"/>
                    </a:lnTo>
                    <a:lnTo>
                      <a:pt x="420" y="164"/>
                    </a:lnTo>
                    <a:lnTo>
                      <a:pt x="420" y="166"/>
                    </a:lnTo>
                    <a:lnTo>
                      <a:pt x="420" y="168"/>
                    </a:lnTo>
                    <a:lnTo>
                      <a:pt x="420" y="169"/>
                    </a:lnTo>
                    <a:lnTo>
                      <a:pt x="420" y="171"/>
                    </a:lnTo>
                    <a:lnTo>
                      <a:pt x="420" y="172"/>
                    </a:lnTo>
                    <a:lnTo>
                      <a:pt x="420" y="174"/>
                    </a:lnTo>
                    <a:lnTo>
                      <a:pt x="421" y="174"/>
                    </a:lnTo>
                    <a:lnTo>
                      <a:pt x="422" y="174"/>
                    </a:lnTo>
                    <a:lnTo>
                      <a:pt x="424" y="173"/>
                    </a:lnTo>
                    <a:lnTo>
                      <a:pt x="426" y="172"/>
                    </a:lnTo>
                    <a:lnTo>
                      <a:pt x="429" y="170"/>
                    </a:lnTo>
                    <a:lnTo>
                      <a:pt x="430" y="168"/>
                    </a:lnTo>
                    <a:lnTo>
                      <a:pt x="432" y="164"/>
                    </a:lnTo>
                    <a:lnTo>
                      <a:pt x="434" y="162"/>
                    </a:lnTo>
                    <a:lnTo>
                      <a:pt x="435" y="160"/>
                    </a:lnTo>
                    <a:lnTo>
                      <a:pt x="436" y="158"/>
                    </a:lnTo>
                    <a:lnTo>
                      <a:pt x="436" y="157"/>
                    </a:lnTo>
                    <a:lnTo>
                      <a:pt x="439" y="152"/>
                    </a:lnTo>
                    <a:lnTo>
                      <a:pt x="440" y="146"/>
                    </a:lnTo>
                    <a:lnTo>
                      <a:pt x="440" y="140"/>
                    </a:lnTo>
                    <a:lnTo>
                      <a:pt x="441" y="136"/>
                    </a:lnTo>
                    <a:lnTo>
                      <a:pt x="444" y="134"/>
                    </a:lnTo>
                    <a:lnTo>
                      <a:pt x="447" y="135"/>
                    </a:lnTo>
                    <a:lnTo>
                      <a:pt x="452" y="139"/>
                    </a:lnTo>
                    <a:lnTo>
                      <a:pt x="454" y="146"/>
                    </a:lnTo>
                    <a:lnTo>
                      <a:pt x="455" y="153"/>
                    </a:lnTo>
                    <a:lnTo>
                      <a:pt x="456" y="161"/>
                    </a:lnTo>
                    <a:lnTo>
                      <a:pt x="457" y="164"/>
                    </a:lnTo>
                    <a:lnTo>
                      <a:pt x="459" y="171"/>
                    </a:lnTo>
                    <a:lnTo>
                      <a:pt x="462" y="177"/>
                    </a:lnTo>
                    <a:lnTo>
                      <a:pt x="465" y="181"/>
                    </a:lnTo>
                    <a:lnTo>
                      <a:pt x="467" y="181"/>
                    </a:lnTo>
                    <a:lnTo>
                      <a:pt x="472" y="178"/>
                    </a:lnTo>
                    <a:lnTo>
                      <a:pt x="475" y="172"/>
                    </a:lnTo>
                    <a:lnTo>
                      <a:pt x="477" y="168"/>
                    </a:lnTo>
                    <a:lnTo>
                      <a:pt x="476" y="163"/>
                    </a:lnTo>
                    <a:lnTo>
                      <a:pt x="477" y="162"/>
                    </a:lnTo>
                    <a:lnTo>
                      <a:pt x="478" y="161"/>
                    </a:lnTo>
                    <a:lnTo>
                      <a:pt x="479" y="160"/>
                    </a:lnTo>
                    <a:lnTo>
                      <a:pt x="480" y="158"/>
                    </a:lnTo>
                    <a:lnTo>
                      <a:pt x="481" y="155"/>
                    </a:lnTo>
                    <a:lnTo>
                      <a:pt x="483" y="152"/>
                    </a:lnTo>
                    <a:lnTo>
                      <a:pt x="484" y="151"/>
                    </a:lnTo>
                    <a:lnTo>
                      <a:pt x="485" y="149"/>
                    </a:lnTo>
                    <a:lnTo>
                      <a:pt x="487" y="149"/>
                    </a:lnTo>
                    <a:lnTo>
                      <a:pt x="489" y="149"/>
                    </a:lnTo>
                    <a:lnTo>
                      <a:pt x="491" y="150"/>
                    </a:lnTo>
                    <a:lnTo>
                      <a:pt x="495" y="155"/>
                    </a:lnTo>
                    <a:lnTo>
                      <a:pt x="494" y="161"/>
                    </a:lnTo>
                    <a:lnTo>
                      <a:pt x="489" y="170"/>
                    </a:lnTo>
                    <a:lnTo>
                      <a:pt x="489" y="173"/>
                    </a:lnTo>
                    <a:lnTo>
                      <a:pt x="488" y="175"/>
                    </a:lnTo>
                    <a:lnTo>
                      <a:pt x="489" y="178"/>
                    </a:lnTo>
                    <a:lnTo>
                      <a:pt x="489" y="178"/>
                    </a:lnTo>
                    <a:lnTo>
                      <a:pt x="491" y="179"/>
                    </a:lnTo>
                    <a:lnTo>
                      <a:pt x="492" y="178"/>
                    </a:lnTo>
                    <a:lnTo>
                      <a:pt x="495" y="178"/>
                    </a:lnTo>
                    <a:lnTo>
                      <a:pt x="497" y="177"/>
                    </a:lnTo>
                    <a:lnTo>
                      <a:pt x="498" y="175"/>
                    </a:lnTo>
                    <a:lnTo>
                      <a:pt x="500" y="174"/>
                    </a:lnTo>
                    <a:lnTo>
                      <a:pt x="502" y="171"/>
                    </a:lnTo>
                    <a:lnTo>
                      <a:pt x="505" y="169"/>
                    </a:lnTo>
                    <a:lnTo>
                      <a:pt x="508" y="166"/>
                    </a:lnTo>
                    <a:lnTo>
                      <a:pt x="509" y="163"/>
                    </a:lnTo>
                    <a:lnTo>
                      <a:pt x="511" y="159"/>
                    </a:lnTo>
                    <a:lnTo>
                      <a:pt x="515" y="157"/>
                    </a:lnTo>
                    <a:lnTo>
                      <a:pt x="518" y="155"/>
                    </a:lnTo>
                    <a:lnTo>
                      <a:pt x="522" y="153"/>
                    </a:lnTo>
                    <a:lnTo>
                      <a:pt x="526" y="152"/>
                    </a:lnTo>
                    <a:lnTo>
                      <a:pt x="530" y="151"/>
                    </a:lnTo>
                    <a:lnTo>
                      <a:pt x="533" y="151"/>
                    </a:lnTo>
                    <a:lnTo>
                      <a:pt x="535" y="152"/>
                    </a:lnTo>
                    <a:lnTo>
                      <a:pt x="539" y="153"/>
                    </a:lnTo>
                    <a:lnTo>
                      <a:pt x="542" y="156"/>
                    </a:lnTo>
                    <a:lnTo>
                      <a:pt x="545" y="158"/>
                    </a:lnTo>
                    <a:lnTo>
                      <a:pt x="549" y="159"/>
                    </a:lnTo>
                    <a:lnTo>
                      <a:pt x="551" y="161"/>
                    </a:lnTo>
                    <a:lnTo>
                      <a:pt x="552" y="162"/>
                    </a:lnTo>
                    <a:lnTo>
                      <a:pt x="555" y="162"/>
                    </a:lnTo>
                    <a:lnTo>
                      <a:pt x="557" y="163"/>
                    </a:lnTo>
                    <a:lnTo>
                      <a:pt x="560" y="163"/>
                    </a:lnTo>
                    <a:lnTo>
                      <a:pt x="563" y="163"/>
                    </a:lnTo>
                    <a:lnTo>
                      <a:pt x="566" y="164"/>
                    </a:lnTo>
                    <a:lnTo>
                      <a:pt x="568" y="164"/>
                    </a:lnTo>
                    <a:lnTo>
                      <a:pt x="571" y="167"/>
                    </a:lnTo>
                    <a:lnTo>
                      <a:pt x="573" y="168"/>
                    </a:lnTo>
                    <a:lnTo>
                      <a:pt x="581" y="174"/>
                    </a:lnTo>
                    <a:lnTo>
                      <a:pt x="589" y="180"/>
                    </a:lnTo>
                    <a:lnTo>
                      <a:pt x="601" y="183"/>
                    </a:lnTo>
                    <a:lnTo>
                      <a:pt x="605" y="181"/>
                    </a:lnTo>
                    <a:lnTo>
                      <a:pt x="609" y="179"/>
                    </a:lnTo>
                    <a:lnTo>
                      <a:pt x="615" y="177"/>
                    </a:lnTo>
                    <a:lnTo>
                      <a:pt x="619" y="177"/>
                    </a:lnTo>
                    <a:lnTo>
                      <a:pt x="621" y="175"/>
                    </a:lnTo>
                    <a:lnTo>
                      <a:pt x="623" y="177"/>
                    </a:lnTo>
                    <a:lnTo>
                      <a:pt x="626" y="178"/>
                    </a:lnTo>
                    <a:lnTo>
                      <a:pt x="628" y="179"/>
                    </a:lnTo>
                    <a:lnTo>
                      <a:pt x="630" y="181"/>
                    </a:lnTo>
                    <a:lnTo>
                      <a:pt x="632" y="183"/>
                    </a:lnTo>
                    <a:lnTo>
                      <a:pt x="636" y="186"/>
                    </a:lnTo>
                    <a:lnTo>
                      <a:pt x="639" y="191"/>
                    </a:lnTo>
                    <a:lnTo>
                      <a:pt x="641" y="195"/>
                    </a:lnTo>
                    <a:lnTo>
                      <a:pt x="641" y="200"/>
                    </a:lnTo>
                    <a:lnTo>
                      <a:pt x="637" y="203"/>
                    </a:lnTo>
                    <a:lnTo>
                      <a:pt x="631" y="204"/>
                    </a:lnTo>
                    <a:lnTo>
                      <a:pt x="626" y="204"/>
                    </a:lnTo>
                    <a:lnTo>
                      <a:pt x="621" y="206"/>
                    </a:lnTo>
                    <a:lnTo>
                      <a:pt x="617" y="212"/>
                    </a:lnTo>
                    <a:lnTo>
                      <a:pt x="617" y="215"/>
                    </a:lnTo>
                    <a:lnTo>
                      <a:pt x="617" y="218"/>
                    </a:lnTo>
                    <a:lnTo>
                      <a:pt x="618" y="221"/>
                    </a:lnTo>
                    <a:lnTo>
                      <a:pt x="620" y="222"/>
                    </a:lnTo>
                    <a:lnTo>
                      <a:pt x="622" y="223"/>
                    </a:lnTo>
                    <a:lnTo>
                      <a:pt x="625" y="223"/>
                    </a:lnTo>
                    <a:lnTo>
                      <a:pt x="628" y="223"/>
                    </a:lnTo>
                    <a:lnTo>
                      <a:pt x="630" y="223"/>
                    </a:lnTo>
                    <a:lnTo>
                      <a:pt x="637" y="223"/>
                    </a:lnTo>
                    <a:lnTo>
                      <a:pt x="643" y="225"/>
                    </a:lnTo>
                    <a:lnTo>
                      <a:pt x="649" y="227"/>
                    </a:lnTo>
                    <a:lnTo>
                      <a:pt x="655" y="228"/>
                    </a:lnTo>
                    <a:lnTo>
                      <a:pt x="663" y="227"/>
                    </a:lnTo>
                    <a:lnTo>
                      <a:pt x="674" y="220"/>
                    </a:lnTo>
                    <a:lnTo>
                      <a:pt x="686" y="214"/>
                    </a:lnTo>
                    <a:lnTo>
                      <a:pt x="701" y="212"/>
                    </a:lnTo>
                    <a:lnTo>
                      <a:pt x="710" y="215"/>
                    </a:lnTo>
                    <a:lnTo>
                      <a:pt x="720" y="221"/>
                    </a:lnTo>
                    <a:lnTo>
                      <a:pt x="729" y="227"/>
                    </a:lnTo>
                    <a:lnTo>
                      <a:pt x="731" y="228"/>
                    </a:lnTo>
                    <a:lnTo>
                      <a:pt x="734" y="228"/>
                    </a:lnTo>
                    <a:lnTo>
                      <a:pt x="735" y="227"/>
                    </a:lnTo>
                    <a:lnTo>
                      <a:pt x="735" y="226"/>
                    </a:lnTo>
                    <a:lnTo>
                      <a:pt x="736" y="224"/>
                    </a:lnTo>
                    <a:lnTo>
                      <a:pt x="736" y="222"/>
                    </a:lnTo>
                    <a:lnTo>
                      <a:pt x="736" y="220"/>
                    </a:lnTo>
                    <a:lnTo>
                      <a:pt x="735" y="217"/>
                    </a:lnTo>
                    <a:lnTo>
                      <a:pt x="735" y="215"/>
                    </a:lnTo>
                    <a:lnTo>
                      <a:pt x="735" y="213"/>
                    </a:lnTo>
                    <a:lnTo>
                      <a:pt x="736" y="212"/>
                    </a:lnTo>
                    <a:lnTo>
                      <a:pt x="737" y="210"/>
                    </a:lnTo>
                    <a:lnTo>
                      <a:pt x="740" y="207"/>
                    </a:lnTo>
                    <a:lnTo>
                      <a:pt x="742" y="205"/>
                    </a:lnTo>
                    <a:lnTo>
                      <a:pt x="746" y="203"/>
                    </a:lnTo>
                    <a:lnTo>
                      <a:pt x="749" y="201"/>
                    </a:lnTo>
                    <a:lnTo>
                      <a:pt x="750" y="199"/>
                    </a:lnTo>
                    <a:lnTo>
                      <a:pt x="753" y="196"/>
                    </a:lnTo>
                    <a:lnTo>
                      <a:pt x="756" y="195"/>
                    </a:lnTo>
                    <a:lnTo>
                      <a:pt x="758" y="194"/>
                    </a:lnTo>
                    <a:lnTo>
                      <a:pt x="760" y="192"/>
                    </a:lnTo>
                    <a:lnTo>
                      <a:pt x="763" y="188"/>
                    </a:lnTo>
                    <a:lnTo>
                      <a:pt x="769" y="183"/>
                    </a:lnTo>
                    <a:lnTo>
                      <a:pt x="775" y="180"/>
                    </a:lnTo>
                    <a:lnTo>
                      <a:pt x="782" y="179"/>
                    </a:lnTo>
                    <a:lnTo>
                      <a:pt x="786" y="179"/>
                    </a:lnTo>
                    <a:lnTo>
                      <a:pt x="789" y="179"/>
                    </a:lnTo>
                    <a:lnTo>
                      <a:pt x="791" y="181"/>
                    </a:lnTo>
                    <a:lnTo>
                      <a:pt x="793" y="182"/>
                    </a:lnTo>
                    <a:lnTo>
                      <a:pt x="795" y="185"/>
                    </a:lnTo>
                    <a:lnTo>
                      <a:pt x="796" y="188"/>
                    </a:lnTo>
                    <a:lnTo>
                      <a:pt x="799" y="190"/>
                    </a:lnTo>
                    <a:lnTo>
                      <a:pt x="801" y="191"/>
                    </a:lnTo>
                    <a:lnTo>
                      <a:pt x="804" y="192"/>
                    </a:lnTo>
                    <a:lnTo>
                      <a:pt x="805" y="192"/>
                    </a:lnTo>
                    <a:lnTo>
                      <a:pt x="807" y="191"/>
                    </a:lnTo>
                    <a:lnTo>
                      <a:pt x="810" y="190"/>
                    </a:lnTo>
                    <a:lnTo>
                      <a:pt x="811" y="189"/>
                    </a:lnTo>
                    <a:lnTo>
                      <a:pt x="813" y="186"/>
                    </a:lnTo>
                    <a:lnTo>
                      <a:pt x="815" y="185"/>
                    </a:lnTo>
                    <a:lnTo>
                      <a:pt x="816" y="184"/>
                    </a:lnTo>
                    <a:lnTo>
                      <a:pt x="818" y="184"/>
                    </a:lnTo>
                    <a:lnTo>
                      <a:pt x="819" y="185"/>
                    </a:lnTo>
                    <a:lnTo>
                      <a:pt x="821" y="186"/>
                    </a:lnTo>
                    <a:lnTo>
                      <a:pt x="823" y="190"/>
                    </a:lnTo>
                    <a:lnTo>
                      <a:pt x="824" y="192"/>
                    </a:lnTo>
                    <a:lnTo>
                      <a:pt x="824" y="194"/>
                    </a:lnTo>
                    <a:lnTo>
                      <a:pt x="825" y="196"/>
                    </a:lnTo>
                    <a:lnTo>
                      <a:pt x="827" y="199"/>
                    </a:lnTo>
                    <a:lnTo>
                      <a:pt x="829" y="201"/>
                    </a:lnTo>
                    <a:lnTo>
                      <a:pt x="833" y="202"/>
                    </a:lnTo>
                    <a:lnTo>
                      <a:pt x="836" y="202"/>
                    </a:lnTo>
                    <a:lnTo>
                      <a:pt x="838" y="203"/>
                    </a:lnTo>
                    <a:lnTo>
                      <a:pt x="850" y="200"/>
                    </a:lnTo>
                    <a:lnTo>
                      <a:pt x="861" y="196"/>
                    </a:lnTo>
                    <a:lnTo>
                      <a:pt x="873" y="195"/>
                    </a:lnTo>
                    <a:lnTo>
                      <a:pt x="884" y="196"/>
                    </a:lnTo>
                    <a:lnTo>
                      <a:pt x="888" y="196"/>
                    </a:lnTo>
                    <a:lnTo>
                      <a:pt x="891" y="196"/>
                    </a:lnTo>
                    <a:lnTo>
                      <a:pt x="893" y="197"/>
                    </a:lnTo>
                    <a:lnTo>
                      <a:pt x="897" y="196"/>
                    </a:lnTo>
                    <a:lnTo>
                      <a:pt x="898" y="196"/>
                    </a:lnTo>
                    <a:lnTo>
                      <a:pt x="901" y="195"/>
                    </a:lnTo>
                    <a:lnTo>
                      <a:pt x="903" y="193"/>
                    </a:lnTo>
                    <a:lnTo>
                      <a:pt x="904" y="191"/>
                    </a:lnTo>
                    <a:lnTo>
                      <a:pt x="905" y="189"/>
                    </a:lnTo>
                    <a:lnTo>
                      <a:pt x="905" y="186"/>
                    </a:lnTo>
                    <a:lnTo>
                      <a:pt x="906" y="185"/>
                    </a:lnTo>
                    <a:lnTo>
                      <a:pt x="906" y="183"/>
                    </a:lnTo>
                    <a:lnTo>
                      <a:pt x="911" y="178"/>
                    </a:lnTo>
                    <a:lnTo>
                      <a:pt x="917" y="175"/>
                    </a:lnTo>
                    <a:lnTo>
                      <a:pt x="924" y="175"/>
                    </a:lnTo>
                    <a:lnTo>
                      <a:pt x="931" y="174"/>
                    </a:lnTo>
                    <a:lnTo>
                      <a:pt x="933" y="174"/>
                    </a:lnTo>
                    <a:lnTo>
                      <a:pt x="935" y="173"/>
                    </a:lnTo>
                    <a:lnTo>
                      <a:pt x="937" y="173"/>
                    </a:lnTo>
                    <a:lnTo>
                      <a:pt x="938" y="173"/>
                    </a:lnTo>
                    <a:lnTo>
                      <a:pt x="939" y="172"/>
                    </a:lnTo>
                    <a:lnTo>
                      <a:pt x="942" y="173"/>
                    </a:lnTo>
                    <a:lnTo>
                      <a:pt x="943" y="174"/>
                    </a:lnTo>
                    <a:lnTo>
                      <a:pt x="944" y="177"/>
                    </a:lnTo>
                    <a:lnTo>
                      <a:pt x="945" y="179"/>
                    </a:lnTo>
                    <a:lnTo>
                      <a:pt x="946" y="181"/>
                    </a:lnTo>
                    <a:lnTo>
                      <a:pt x="947" y="183"/>
                    </a:lnTo>
                    <a:lnTo>
                      <a:pt x="948" y="185"/>
                    </a:lnTo>
                    <a:lnTo>
                      <a:pt x="950" y="188"/>
                    </a:lnTo>
                    <a:lnTo>
                      <a:pt x="952" y="191"/>
                    </a:lnTo>
                    <a:lnTo>
                      <a:pt x="952" y="194"/>
                    </a:lnTo>
                    <a:lnTo>
                      <a:pt x="950" y="197"/>
                    </a:lnTo>
                    <a:lnTo>
                      <a:pt x="948" y="201"/>
                    </a:lnTo>
                    <a:lnTo>
                      <a:pt x="947" y="204"/>
                    </a:lnTo>
                    <a:lnTo>
                      <a:pt x="947" y="207"/>
                    </a:lnTo>
                    <a:lnTo>
                      <a:pt x="947" y="211"/>
                    </a:lnTo>
                    <a:lnTo>
                      <a:pt x="949" y="214"/>
                    </a:lnTo>
                    <a:lnTo>
                      <a:pt x="952" y="216"/>
                    </a:lnTo>
                    <a:lnTo>
                      <a:pt x="954" y="218"/>
                    </a:lnTo>
                    <a:lnTo>
                      <a:pt x="957" y="220"/>
                    </a:lnTo>
                    <a:lnTo>
                      <a:pt x="960" y="220"/>
                    </a:lnTo>
                    <a:lnTo>
                      <a:pt x="964" y="218"/>
                    </a:lnTo>
                    <a:lnTo>
                      <a:pt x="966" y="216"/>
                    </a:lnTo>
                    <a:lnTo>
                      <a:pt x="968" y="208"/>
                    </a:lnTo>
                    <a:lnTo>
                      <a:pt x="966" y="203"/>
                    </a:lnTo>
                    <a:lnTo>
                      <a:pt x="964" y="196"/>
                    </a:lnTo>
                    <a:lnTo>
                      <a:pt x="963" y="191"/>
                    </a:lnTo>
                    <a:lnTo>
                      <a:pt x="964" y="185"/>
                    </a:lnTo>
                    <a:lnTo>
                      <a:pt x="967" y="182"/>
                    </a:lnTo>
                    <a:lnTo>
                      <a:pt x="972" y="177"/>
                    </a:lnTo>
                    <a:lnTo>
                      <a:pt x="979" y="171"/>
                    </a:lnTo>
                    <a:lnTo>
                      <a:pt x="986" y="166"/>
                    </a:lnTo>
                    <a:lnTo>
                      <a:pt x="992" y="160"/>
                    </a:lnTo>
                    <a:lnTo>
                      <a:pt x="996" y="155"/>
                    </a:lnTo>
                    <a:lnTo>
                      <a:pt x="996" y="150"/>
                    </a:lnTo>
                    <a:lnTo>
                      <a:pt x="990" y="148"/>
                    </a:lnTo>
                    <a:lnTo>
                      <a:pt x="987" y="147"/>
                    </a:lnTo>
                    <a:lnTo>
                      <a:pt x="983" y="147"/>
                    </a:lnTo>
                    <a:lnTo>
                      <a:pt x="981" y="145"/>
                    </a:lnTo>
                    <a:lnTo>
                      <a:pt x="980" y="142"/>
                    </a:lnTo>
                    <a:lnTo>
                      <a:pt x="979" y="139"/>
                    </a:lnTo>
                    <a:lnTo>
                      <a:pt x="979" y="136"/>
                    </a:lnTo>
                    <a:lnTo>
                      <a:pt x="980" y="134"/>
                    </a:lnTo>
                    <a:lnTo>
                      <a:pt x="982" y="131"/>
                    </a:lnTo>
                    <a:lnTo>
                      <a:pt x="985" y="129"/>
                    </a:lnTo>
                    <a:lnTo>
                      <a:pt x="988" y="128"/>
                    </a:lnTo>
                    <a:lnTo>
                      <a:pt x="990" y="126"/>
                    </a:lnTo>
                    <a:lnTo>
                      <a:pt x="992" y="125"/>
                    </a:lnTo>
                    <a:lnTo>
                      <a:pt x="994" y="124"/>
                    </a:lnTo>
                    <a:lnTo>
                      <a:pt x="997" y="122"/>
                    </a:lnTo>
                    <a:lnTo>
                      <a:pt x="999" y="119"/>
                    </a:lnTo>
                    <a:lnTo>
                      <a:pt x="999" y="118"/>
                    </a:lnTo>
                    <a:lnTo>
                      <a:pt x="999" y="116"/>
                    </a:lnTo>
                    <a:lnTo>
                      <a:pt x="998" y="115"/>
                    </a:lnTo>
                    <a:lnTo>
                      <a:pt x="996" y="113"/>
                    </a:lnTo>
                    <a:lnTo>
                      <a:pt x="993" y="112"/>
                    </a:lnTo>
                    <a:lnTo>
                      <a:pt x="992" y="111"/>
                    </a:lnTo>
                    <a:lnTo>
                      <a:pt x="982" y="108"/>
                    </a:lnTo>
                    <a:lnTo>
                      <a:pt x="974" y="106"/>
                    </a:lnTo>
                    <a:lnTo>
                      <a:pt x="966" y="102"/>
                    </a:lnTo>
                    <a:lnTo>
                      <a:pt x="959" y="95"/>
                    </a:lnTo>
                    <a:lnTo>
                      <a:pt x="955" y="90"/>
                    </a:lnTo>
                    <a:lnTo>
                      <a:pt x="949" y="84"/>
                    </a:lnTo>
                    <a:lnTo>
                      <a:pt x="946" y="77"/>
                    </a:lnTo>
                    <a:lnTo>
                      <a:pt x="946" y="71"/>
                    </a:lnTo>
                    <a:lnTo>
                      <a:pt x="948" y="69"/>
                    </a:lnTo>
                    <a:lnTo>
                      <a:pt x="950" y="66"/>
                    </a:lnTo>
                    <a:lnTo>
                      <a:pt x="953" y="65"/>
                    </a:lnTo>
                    <a:lnTo>
                      <a:pt x="956" y="64"/>
                    </a:lnTo>
                    <a:lnTo>
                      <a:pt x="957" y="62"/>
                    </a:lnTo>
                    <a:lnTo>
                      <a:pt x="959" y="59"/>
                    </a:lnTo>
                    <a:lnTo>
                      <a:pt x="959" y="57"/>
                    </a:lnTo>
                    <a:lnTo>
                      <a:pt x="958" y="54"/>
                    </a:lnTo>
                    <a:lnTo>
                      <a:pt x="957" y="52"/>
                    </a:lnTo>
                    <a:lnTo>
                      <a:pt x="955" y="51"/>
                    </a:lnTo>
                    <a:lnTo>
                      <a:pt x="954" y="46"/>
                    </a:lnTo>
                    <a:lnTo>
                      <a:pt x="954" y="42"/>
                    </a:lnTo>
                    <a:lnTo>
                      <a:pt x="954" y="38"/>
                    </a:lnTo>
                    <a:lnTo>
                      <a:pt x="955" y="33"/>
                    </a:lnTo>
                    <a:lnTo>
                      <a:pt x="957" y="31"/>
                    </a:lnTo>
                    <a:lnTo>
                      <a:pt x="958" y="29"/>
                    </a:lnTo>
                    <a:lnTo>
                      <a:pt x="960" y="28"/>
                    </a:lnTo>
                    <a:lnTo>
                      <a:pt x="964" y="28"/>
                    </a:lnTo>
                    <a:lnTo>
                      <a:pt x="966" y="27"/>
                    </a:lnTo>
                    <a:lnTo>
                      <a:pt x="969" y="24"/>
                    </a:lnTo>
                    <a:lnTo>
                      <a:pt x="971" y="17"/>
                    </a:lnTo>
                    <a:lnTo>
                      <a:pt x="972" y="11"/>
                    </a:lnTo>
                    <a:lnTo>
                      <a:pt x="975" y="7"/>
                    </a:lnTo>
                    <a:lnTo>
                      <a:pt x="976" y="5"/>
                    </a:lnTo>
                    <a:lnTo>
                      <a:pt x="978" y="4"/>
                    </a:lnTo>
                    <a:lnTo>
                      <a:pt x="980" y="2"/>
                    </a:lnTo>
                    <a:lnTo>
                      <a:pt x="983" y="0"/>
                    </a:lnTo>
                    <a:lnTo>
                      <a:pt x="986"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39" name="Freeform 36"/>
              <p:cNvSpPr>
                <a:spLocks noEditPoints="1"/>
              </p:cNvSpPr>
              <p:nvPr/>
            </p:nvSpPr>
            <p:spPr bwMode="auto">
              <a:xfrm>
                <a:off x="5643" y="727"/>
                <a:ext cx="333" cy="80"/>
              </a:xfrm>
              <a:custGeom>
                <a:avLst/>
                <a:gdLst>
                  <a:gd name="T0" fmla="*/ 2220 w 2332"/>
                  <a:gd name="T1" fmla="*/ 79 h 560"/>
                  <a:gd name="T2" fmla="*/ 1684 w 2332"/>
                  <a:gd name="T3" fmla="*/ 73 h 560"/>
                  <a:gd name="T4" fmla="*/ 343 w 2332"/>
                  <a:gd name="T5" fmla="*/ 71 h 560"/>
                  <a:gd name="T6" fmla="*/ 333 w 2332"/>
                  <a:gd name="T7" fmla="*/ 149 h 560"/>
                  <a:gd name="T8" fmla="*/ 379 w 2332"/>
                  <a:gd name="T9" fmla="*/ 230 h 560"/>
                  <a:gd name="T10" fmla="*/ 349 w 2332"/>
                  <a:gd name="T11" fmla="*/ 271 h 560"/>
                  <a:gd name="T12" fmla="*/ 270 w 2332"/>
                  <a:gd name="T13" fmla="*/ 273 h 560"/>
                  <a:gd name="T14" fmla="*/ 121 w 2332"/>
                  <a:gd name="T15" fmla="*/ 269 h 560"/>
                  <a:gd name="T16" fmla="*/ 128 w 2332"/>
                  <a:gd name="T17" fmla="*/ 228 h 560"/>
                  <a:gd name="T18" fmla="*/ 110 w 2332"/>
                  <a:gd name="T19" fmla="*/ 161 h 560"/>
                  <a:gd name="T20" fmla="*/ 189 w 2332"/>
                  <a:gd name="T21" fmla="*/ 90 h 560"/>
                  <a:gd name="T22" fmla="*/ 224 w 2332"/>
                  <a:gd name="T23" fmla="*/ 122 h 560"/>
                  <a:gd name="T24" fmla="*/ 256 w 2332"/>
                  <a:gd name="T25" fmla="*/ 97 h 560"/>
                  <a:gd name="T26" fmla="*/ 289 w 2332"/>
                  <a:gd name="T27" fmla="*/ 82 h 560"/>
                  <a:gd name="T28" fmla="*/ 306 w 2332"/>
                  <a:gd name="T29" fmla="*/ 69 h 560"/>
                  <a:gd name="T30" fmla="*/ 113 w 2332"/>
                  <a:gd name="T31" fmla="*/ 64 h 560"/>
                  <a:gd name="T32" fmla="*/ 118 w 2332"/>
                  <a:gd name="T33" fmla="*/ 126 h 560"/>
                  <a:gd name="T34" fmla="*/ 14 w 2332"/>
                  <a:gd name="T35" fmla="*/ 197 h 560"/>
                  <a:gd name="T36" fmla="*/ 38 w 2332"/>
                  <a:gd name="T37" fmla="*/ 90 h 560"/>
                  <a:gd name="T38" fmla="*/ 2002 w 2332"/>
                  <a:gd name="T39" fmla="*/ 66 h 560"/>
                  <a:gd name="T40" fmla="*/ 2022 w 2332"/>
                  <a:gd name="T41" fmla="*/ 118 h 560"/>
                  <a:gd name="T42" fmla="*/ 1994 w 2332"/>
                  <a:gd name="T43" fmla="*/ 57 h 560"/>
                  <a:gd name="T44" fmla="*/ 2166 w 2332"/>
                  <a:gd name="T45" fmla="*/ 45 h 560"/>
                  <a:gd name="T46" fmla="*/ 2158 w 2332"/>
                  <a:gd name="T47" fmla="*/ 45 h 560"/>
                  <a:gd name="T48" fmla="*/ 454 w 2332"/>
                  <a:gd name="T49" fmla="*/ 137 h 560"/>
                  <a:gd name="T50" fmla="*/ 380 w 2332"/>
                  <a:gd name="T51" fmla="*/ 105 h 560"/>
                  <a:gd name="T52" fmla="*/ 408 w 2332"/>
                  <a:gd name="T53" fmla="*/ 56 h 560"/>
                  <a:gd name="T54" fmla="*/ 2211 w 2332"/>
                  <a:gd name="T55" fmla="*/ 29 h 560"/>
                  <a:gd name="T56" fmla="*/ 2222 w 2332"/>
                  <a:gd name="T57" fmla="*/ 57 h 560"/>
                  <a:gd name="T58" fmla="*/ 679 w 2332"/>
                  <a:gd name="T59" fmla="*/ 17 h 560"/>
                  <a:gd name="T60" fmla="*/ 665 w 2332"/>
                  <a:gd name="T61" fmla="*/ 110 h 560"/>
                  <a:gd name="T62" fmla="*/ 684 w 2332"/>
                  <a:gd name="T63" fmla="*/ 82 h 560"/>
                  <a:gd name="T64" fmla="*/ 717 w 2332"/>
                  <a:gd name="T65" fmla="*/ 24 h 560"/>
                  <a:gd name="T66" fmla="*/ 781 w 2332"/>
                  <a:gd name="T67" fmla="*/ 95 h 560"/>
                  <a:gd name="T68" fmla="*/ 808 w 2332"/>
                  <a:gd name="T69" fmla="*/ 71 h 560"/>
                  <a:gd name="T70" fmla="*/ 830 w 2332"/>
                  <a:gd name="T71" fmla="*/ 36 h 560"/>
                  <a:gd name="T72" fmla="*/ 864 w 2332"/>
                  <a:gd name="T73" fmla="*/ 94 h 560"/>
                  <a:gd name="T74" fmla="*/ 898 w 2332"/>
                  <a:gd name="T75" fmla="*/ 131 h 560"/>
                  <a:gd name="T76" fmla="*/ 938 w 2332"/>
                  <a:gd name="T77" fmla="*/ 155 h 560"/>
                  <a:gd name="T78" fmla="*/ 1006 w 2332"/>
                  <a:gd name="T79" fmla="*/ 191 h 560"/>
                  <a:gd name="T80" fmla="*/ 1000 w 2332"/>
                  <a:gd name="T81" fmla="*/ 243 h 560"/>
                  <a:gd name="T82" fmla="*/ 1128 w 2332"/>
                  <a:gd name="T83" fmla="*/ 341 h 560"/>
                  <a:gd name="T84" fmla="*/ 1099 w 2332"/>
                  <a:gd name="T85" fmla="*/ 431 h 560"/>
                  <a:gd name="T86" fmla="*/ 1009 w 2332"/>
                  <a:gd name="T87" fmla="*/ 378 h 560"/>
                  <a:gd name="T88" fmla="*/ 1082 w 2332"/>
                  <a:gd name="T89" fmla="*/ 531 h 560"/>
                  <a:gd name="T90" fmla="*/ 991 w 2332"/>
                  <a:gd name="T91" fmla="*/ 525 h 560"/>
                  <a:gd name="T92" fmla="*/ 909 w 2332"/>
                  <a:gd name="T93" fmla="*/ 450 h 560"/>
                  <a:gd name="T94" fmla="*/ 820 w 2332"/>
                  <a:gd name="T95" fmla="*/ 436 h 560"/>
                  <a:gd name="T96" fmla="*/ 929 w 2332"/>
                  <a:gd name="T97" fmla="*/ 356 h 560"/>
                  <a:gd name="T98" fmla="*/ 951 w 2332"/>
                  <a:gd name="T99" fmla="*/ 343 h 560"/>
                  <a:gd name="T100" fmla="*/ 869 w 2332"/>
                  <a:gd name="T101" fmla="*/ 256 h 560"/>
                  <a:gd name="T102" fmla="*/ 838 w 2332"/>
                  <a:gd name="T103" fmla="*/ 231 h 560"/>
                  <a:gd name="T104" fmla="*/ 804 w 2332"/>
                  <a:gd name="T105" fmla="*/ 172 h 560"/>
                  <a:gd name="T106" fmla="*/ 681 w 2332"/>
                  <a:gd name="T107" fmla="*/ 199 h 560"/>
                  <a:gd name="T108" fmla="*/ 627 w 2332"/>
                  <a:gd name="T109" fmla="*/ 147 h 560"/>
                  <a:gd name="T110" fmla="*/ 2237 w 2332"/>
                  <a:gd name="T111" fmla="*/ 42 h 560"/>
                  <a:gd name="T112" fmla="*/ 2221 w 2332"/>
                  <a:gd name="T113" fmla="*/ 27 h 560"/>
                  <a:gd name="T114" fmla="*/ 1656 w 2332"/>
                  <a:gd name="T115" fmla="*/ 12 h 560"/>
                  <a:gd name="T116" fmla="*/ 561 w 2332"/>
                  <a:gd name="T117" fmla="*/ 61 h 560"/>
                  <a:gd name="T118" fmla="*/ 491 w 2332"/>
                  <a:gd name="T119" fmla="*/ 93 h 560"/>
                  <a:gd name="T120" fmla="*/ 2198 w 2332"/>
                  <a:gd name="T121" fmla="*/ 17 h 560"/>
                  <a:gd name="T122" fmla="*/ 1897 w 2332"/>
                  <a:gd name="T123" fmla="*/ 0 h 560"/>
                  <a:gd name="T124" fmla="*/ 1897 w 2332"/>
                  <a:gd name="T125" fmla="*/ 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32" h="560">
                    <a:moveTo>
                      <a:pt x="2326" y="76"/>
                    </a:moveTo>
                    <a:lnTo>
                      <a:pt x="2327" y="77"/>
                    </a:lnTo>
                    <a:lnTo>
                      <a:pt x="2328" y="78"/>
                    </a:lnTo>
                    <a:lnTo>
                      <a:pt x="2329" y="79"/>
                    </a:lnTo>
                    <a:lnTo>
                      <a:pt x="2329" y="82"/>
                    </a:lnTo>
                    <a:lnTo>
                      <a:pt x="2330" y="83"/>
                    </a:lnTo>
                    <a:lnTo>
                      <a:pt x="2330" y="84"/>
                    </a:lnTo>
                    <a:lnTo>
                      <a:pt x="2331" y="86"/>
                    </a:lnTo>
                    <a:lnTo>
                      <a:pt x="2331" y="87"/>
                    </a:lnTo>
                    <a:lnTo>
                      <a:pt x="2332" y="88"/>
                    </a:lnTo>
                    <a:lnTo>
                      <a:pt x="2331" y="89"/>
                    </a:lnTo>
                    <a:lnTo>
                      <a:pt x="2331" y="89"/>
                    </a:lnTo>
                    <a:lnTo>
                      <a:pt x="2330" y="89"/>
                    </a:lnTo>
                    <a:lnTo>
                      <a:pt x="2328" y="87"/>
                    </a:lnTo>
                    <a:lnTo>
                      <a:pt x="2326" y="86"/>
                    </a:lnTo>
                    <a:lnTo>
                      <a:pt x="2324" y="84"/>
                    </a:lnTo>
                    <a:lnTo>
                      <a:pt x="2324" y="82"/>
                    </a:lnTo>
                    <a:lnTo>
                      <a:pt x="2324" y="79"/>
                    </a:lnTo>
                    <a:lnTo>
                      <a:pt x="2325" y="78"/>
                    </a:lnTo>
                    <a:lnTo>
                      <a:pt x="2326" y="77"/>
                    </a:lnTo>
                    <a:lnTo>
                      <a:pt x="2326" y="76"/>
                    </a:lnTo>
                    <a:lnTo>
                      <a:pt x="2326" y="76"/>
                    </a:lnTo>
                    <a:close/>
                    <a:moveTo>
                      <a:pt x="2213" y="65"/>
                    </a:moveTo>
                    <a:lnTo>
                      <a:pt x="2215" y="66"/>
                    </a:lnTo>
                    <a:lnTo>
                      <a:pt x="2215" y="67"/>
                    </a:lnTo>
                    <a:lnTo>
                      <a:pt x="2216" y="68"/>
                    </a:lnTo>
                    <a:lnTo>
                      <a:pt x="2217" y="71"/>
                    </a:lnTo>
                    <a:lnTo>
                      <a:pt x="2219" y="73"/>
                    </a:lnTo>
                    <a:lnTo>
                      <a:pt x="2220" y="75"/>
                    </a:lnTo>
                    <a:lnTo>
                      <a:pt x="2221" y="78"/>
                    </a:lnTo>
                    <a:lnTo>
                      <a:pt x="2221" y="82"/>
                    </a:lnTo>
                    <a:lnTo>
                      <a:pt x="2220" y="79"/>
                    </a:lnTo>
                    <a:lnTo>
                      <a:pt x="2218" y="78"/>
                    </a:lnTo>
                    <a:lnTo>
                      <a:pt x="2217" y="77"/>
                    </a:lnTo>
                    <a:lnTo>
                      <a:pt x="2217" y="77"/>
                    </a:lnTo>
                    <a:lnTo>
                      <a:pt x="2216" y="77"/>
                    </a:lnTo>
                    <a:lnTo>
                      <a:pt x="2215" y="76"/>
                    </a:lnTo>
                    <a:lnTo>
                      <a:pt x="2213" y="75"/>
                    </a:lnTo>
                    <a:lnTo>
                      <a:pt x="2212" y="73"/>
                    </a:lnTo>
                    <a:lnTo>
                      <a:pt x="2212" y="69"/>
                    </a:lnTo>
                    <a:lnTo>
                      <a:pt x="2212" y="67"/>
                    </a:lnTo>
                    <a:lnTo>
                      <a:pt x="2212" y="66"/>
                    </a:lnTo>
                    <a:lnTo>
                      <a:pt x="2213" y="66"/>
                    </a:lnTo>
                    <a:lnTo>
                      <a:pt x="2213" y="65"/>
                    </a:lnTo>
                    <a:close/>
                    <a:moveTo>
                      <a:pt x="1691" y="63"/>
                    </a:moveTo>
                    <a:lnTo>
                      <a:pt x="1693" y="71"/>
                    </a:lnTo>
                    <a:lnTo>
                      <a:pt x="1699" y="76"/>
                    </a:lnTo>
                    <a:lnTo>
                      <a:pt x="1705" y="82"/>
                    </a:lnTo>
                    <a:lnTo>
                      <a:pt x="1706" y="84"/>
                    </a:lnTo>
                    <a:lnTo>
                      <a:pt x="1707" y="86"/>
                    </a:lnTo>
                    <a:lnTo>
                      <a:pt x="1708" y="88"/>
                    </a:lnTo>
                    <a:lnTo>
                      <a:pt x="1709" y="92"/>
                    </a:lnTo>
                    <a:lnTo>
                      <a:pt x="1709" y="94"/>
                    </a:lnTo>
                    <a:lnTo>
                      <a:pt x="1709" y="96"/>
                    </a:lnTo>
                    <a:lnTo>
                      <a:pt x="1709" y="98"/>
                    </a:lnTo>
                    <a:lnTo>
                      <a:pt x="1706" y="98"/>
                    </a:lnTo>
                    <a:lnTo>
                      <a:pt x="1702" y="96"/>
                    </a:lnTo>
                    <a:lnTo>
                      <a:pt x="1696" y="92"/>
                    </a:lnTo>
                    <a:lnTo>
                      <a:pt x="1692" y="87"/>
                    </a:lnTo>
                    <a:lnTo>
                      <a:pt x="1688" y="82"/>
                    </a:lnTo>
                    <a:lnTo>
                      <a:pt x="1686" y="80"/>
                    </a:lnTo>
                    <a:lnTo>
                      <a:pt x="1685" y="78"/>
                    </a:lnTo>
                    <a:lnTo>
                      <a:pt x="1684" y="75"/>
                    </a:lnTo>
                    <a:lnTo>
                      <a:pt x="1684" y="73"/>
                    </a:lnTo>
                    <a:lnTo>
                      <a:pt x="1684" y="71"/>
                    </a:lnTo>
                    <a:lnTo>
                      <a:pt x="1684" y="68"/>
                    </a:lnTo>
                    <a:lnTo>
                      <a:pt x="1684" y="67"/>
                    </a:lnTo>
                    <a:lnTo>
                      <a:pt x="1685" y="66"/>
                    </a:lnTo>
                    <a:lnTo>
                      <a:pt x="1687" y="66"/>
                    </a:lnTo>
                    <a:lnTo>
                      <a:pt x="1689" y="65"/>
                    </a:lnTo>
                    <a:lnTo>
                      <a:pt x="1691" y="63"/>
                    </a:lnTo>
                    <a:close/>
                    <a:moveTo>
                      <a:pt x="291" y="57"/>
                    </a:moveTo>
                    <a:lnTo>
                      <a:pt x="294" y="57"/>
                    </a:lnTo>
                    <a:lnTo>
                      <a:pt x="295" y="58"/>
                    </a:lnTo>
                    <a:lnTo>
                      <a:pt x="297" y="60"/>
                    </a:lnTo>
                    <a:lnTo>
                      <a:pt x="297" y="61"/>
                    </a:lnTo>
                    <a:lnTo>
                      <a:pt x="297" y="62"/>
                    </a:lnTo>
                    <a:lnTo>
                      <a:pt x="296" y="63"/>
                    </a:lnTo>
                    <a:lnTo>
                      <a:pt x="294" y="65"/>
                    </a:lnTo>
                    <a:lnTo>
                      <a:pt x="291" y="67"/>
                    </a:lnTo>
                    <a:lnTo>
                      <a:pt x="289" y="68"/>
                    </a:lnTo>
                    <a:lnTo>
                      <a:pt x="287" y="68"/>
                    </a:lnTo>
                    <a:lnTo>
                      <a:pt x="285" y="68"/>
                    </a:lnTo>
                    <a:lnTo>
                      <a:pt x="283" y="68"/>
                    </a:lnTo>
                    <a:lnTo>
                      <a:pt x="280" y="66"/>
                    </a:lnTo>
                    <a:lnTo>
                      <a:pt x="280" y="64"/>
                    </a:lnTo>
                    <a:lnTo>
                      <a:pt x="281" y="62"/>
                    </a:lnTo>
                    <a:lnTo>
                      <a:pt x="284" y="60"/>
                    </a:lnTo>
                    <a:lnTo>
                      <a:pt x="286" y="58"/>
                    </a:lnTo>
                    <a:lnTo>
                      <a:pt x="289" y="57"/>
                    </a:lnTo>
                    <a:lnTo>
                      <a:pt x="291" y="57"/>
                    </a:lnTo>
                    <a:close/>
                    <a:moveTo>
                      <a:pt x="333" y="55"/>
                    </a:moveTo>
                    <a:lnTo>
                      <a:pt x="341" y="56"/>
                    </a:lnTo>
                    <a:lnTo>
                      <a:pt x="343" y="60"/>
                    </a:lnTo>
                    <a:lnTo>
                      <a:pt x="344" y="64"/>
                    </a:lnTo>
                    <a:lnTo>
                      <a:pt x="343" y="71"/>
                    </a:lnTo>
                    <a:lnTo>
                      <a:pt x="342" y="76"/>
                    </a:lnTo>
                    <a:lnTo>
                      <a:pt x="341" y="77"/>
                    </a:lnTo>
                    <a:lnTo>
                      <a:pt x="340" y="79"/>
                    </a:lnTo>
                    <a:lnTo>
                      <a:pt x="338" y="80"/>
                    </a:lnTo>
                    <a:lnTo>
                      <a:pt x="335" y="82"/>
                    </a:lnTo>
                    <a:lnTo>
                      <a:pt x="334" y="83"/>
                    </a:lnTo>
                    <a:lnTo>
                      <a:pt x="334" y="85"/>
                    </a:lnTo>
                    <a:lnTo>
                      <a:pt x="334" y="86"/>
                    </a:lnTo>
                    <a:lnTo>
                      <a:pt x="333" y="87"/>
                    </a:lnTo>
                    <a:lnTo>
                      <a:pt x="333" y="87"/>
                    </a:lnTo>
                    <a:lnTo>
                      <a:pt x="332" y="89"/>
                    </a:lnTo>
                    <a:lnTo>
                      <a:pt x="331" y="90"/>
                    </a:lnTo>
                    <a:lnTo>
                      <a:pt x="330" y="92"/>
                    </a:lnTo>
                    <a:lnTo>
                      <a:pt x="328" y="94"/>
                    </a:lnTo>
                    <a:lnTo>
                      <a:pt x="328" y="95"/>
                    </a:lnTo>
                    <a:lnTo>
                      <a:pt x="327" y="98"/>
                    </a:lnTo>
                    <a:lnTo>
                      <a:pt x="328" y="99"/>
                    </a:lnTo>
                    <a:lnTo>
                      <a:pt x="328" y="101"/>
                    </a:lnTo>
                    <a:lnTo>
                      <a:pt x="329" y="104"/>
                    </a:lnTo>
                    <a:lnTo>
                      <a:pt x="330" y="106"/>
                    </a:lnTo>
                    <a:lnTo>
                      <a:pt x="329" y="109"/>
                    </a:lnTo>
                    <a:lnTo>
                      <a:pt x="329" y="112"/>
                    </a:lnTo>
                    <a:lnTo>
                      <a:pt x="328" y="117"/>
                    </a:lnTo>
                    <a:lnTo>
                      <a:pt x="328" y="121"/>
                    </a:lnTo>
                    <a:lnTo>
                      <a:pt x="328" y="125"/>
                    </a:lnTo>
                    <a:lnTo>
                      <a:pt x="329" y="127"/>
                    </a:lnTo>
                    <a:lnTo>
                      <a:pt x="329" y="129"/>
                    </a:lnTo>
                    <a:lnTo>
                      <a:pt x="330" y="132"/>
                    </a:lnTo>
                    <a:lnTo>
                      <a:pt x="330" y="141"/>
                    </a:lnTo>
                    <a:lnTo>
                      <a:pt x="330" y="144"/>
                    </a:lnTo>
                    <a:lnTo>
                      <a:pt x="331" y="147"/>
                    </a:lnTo>
                    <a:lnTo>
                      <a:pt x="333" y="149"/>
                    </a:lnTo>
                    <a:lnTo>
                      <a:pt x="334" y="151"/>
                    </a:lnTo>
                    <a:lnTo>
                      <a:pt x="336" y="153"/>
                    </a:lnTo>
                    <a:lnTo>
                      <a:pt x="335" y="158"/>
                    </a:lnTo>
                    <a:lnTo>
                      <a:pt x="334" y="161"/>
                    </a:lnTo>
                    <a:lnTo>
                      <a:pt x="333" y="165"/>
                    </a:lnTo>
                    <a:lnTo>
                      <a:pt x="333" y="169"/>
                    </a:lnTo>
                    <a:lnTo>
                      <a:pt x="334" y="171"/>
                    </a:lnTo>
                    <a:lnTo>
                      <a:pt x="336" y="177"/>
                    </a:lnTo>
                    <a:lnTo>
                      <a:pt x="339" y="182"/>
                    </a:lnTo>
                    <a:lnTo>
                      <a:pt x="341" y="188"/>
                    </a:lnTo>
                    <a:lnTo>
                      <a:pt x="343" y="192"/>
                    </a:lnTo>
                    <a:lnTo>
                      <a:pt x="349" y="193"/>
                    </a:lnTo>
                    <a:lnTo>
                      <a:pt x="355" y="193"/>
                    </a:lnTo>
                    <a:lnTo>
                      <a:pt x="362" y="193"/>
                    </a:lnTo>
                    <a:lnTo>
                      <a:pt x="366" y="193"/>
                    </a:lnTo>
                    <a:lnTo>
                      <a:pt x="368" y="194"/>
                    </a:lnTo>
                    <a:lnTo>
                      <a:pt x="371" y="195"/>
                    </a:lnTo>
                    <a:lnTo>
                      <a:pt x="373" y="197"/>
                    </a:lnTo>
                    <a:lnTo>
                      <a:pt x="374" y="199"/>
                    </a:lnTo>
                    <a:lnTo>
                      <a:pt x="374" y="202"/>
                    </a:lnTo>
                    <a:lnTo>
                      <a:pt x="375" y="204"/>
                    </a:lnTo>
                    <a:lnTo>
                      <a:pt x="376" y="207"/>
                    </a:lnTo>
                    <a:lnTo>
                      <a:pt x="377" y="210"/>
                    </a:lnTo>
                    <a:lnTo>
                      <a:pt x="379" y="212"/>
                    </a:lnTo>
                    <a:lnTo>
                      <a:pt x="382" y="214"/>
                    </a:lnTo>
                    <a:lnTo>
                      <a:pt x="383" y="216"/>
                    </a:lnTo>
                    <a:lnTo>
                      <a:pt x="384" y="217"/>
                    </a:lnTo>
                    <a:lnTo>
                      <a:pt x="383" y="220"/>
                    </a:lnTo>
                    <a:lnTo>
                      <a:pt x="382" y="223"/>
                    </a:lnTo>
                    <a:lnTo>
                      <a:pt x="382" y="226"/>
                    </a:lnTo>
                    <a:lnTo>
                      <a:pt x="380" y="228"/>
                    </a:lnTo>
                    <a:lnTo>
                      <a:pt x="379" y="230"/>
                    </a:lnTo>
                    <a:lnTo>
                      <a:pt x="377" y="231"/>
                    </a:lnTo>
                    <a:lnTo>
                      <a:pt x="375" y="231"/>
                    </a:lnTo>
                    <a:lnTo>
                      <a:pt x="373" y="231"/>
                    </a:lnTo>
                    <a:lnTo>
                      <a:pt x="372" y="231"/>
                    </a:lnTo>
                    <a:lnTo>
                      <a:pt x="369" y="229"/>
                    </a:lnTo>
                    <a:lnTo>
                      <a:pt x="368" y="228"/>
                    </a:lnTo>
                    <a:lnTo>
                      <a:pt x="367" y="227"/>
                    </a:lnTo>
                    <a:lnTo>
                      <a:pt x="366" y="227"/>
                    </a:lnTo>
                    <a:lnTo>
                      <a:pt x="363" y="229"/>
                    </a:lnTo>
                    <a:lnTo>
                      <a:pt x="361" y="230"/>
                    </a:lnTo>
                    <a:lnTo>
                      <a:pt x="358" y="232"/>
                    </a:lnTo>
                    <a:lnTo>
                      <a:pt x="356" y="235"/>
                    </a:lnTo>
                    <a:lnTo>
                      <a:pt x="353" y="236"/>
                    </a:lnTo>
                    <a:lnTo>
                      <a:pt x="351" y="237"/>
                    </a:lnTo>
                    <a:lnTo>
                      <a:pt x="349" y="239"/>
                    </a:lnTo>
                    <a:lnTo>
                      <a:pt x="347" y="241"/>
                    </a:lnTo>
                    <a:lnTo>
                      <a:pt x="349" y="243"/>
                    </a:lnTo>
                    <a:lnTo>
                      <a:pt x="349" y="245"/>
                    </a:lnTo>
                    <a:lnTo>
                      <a:pt x="352" y="246"/>
                    </a:lnTo>
                    <a:lnTo>
                      <a:pt x="353" y="246"/>
                    </a:lnTo>
                    <a:lnTo>
                      <a:pt x="355" y="246"/>
                    </a:lnTo>
                    <a:lnTo>
                      <a:pt x="357" y="245"/>
                    </a:lnTo>
                    <a:lnTo>
                      <a:pt x="360" y="245"/>
                    </a:lnTo>
                    <a:lnTo>
                      <a:pt x="362" y="246"/>
                    </a:lnTo>
                    <a:lnTo>
                      <a:pt x="364" y="248"/>
                    </a:lnTo>
                    <a:lnTo>
                      <a:pt x="365" y="251"/>
                    </a:lnTo>
                    <a:lnTo>
                      <a:pt x="366" y="253"/>
                    </a:lnTo>
                    <a:lnTo>
                      <a:pt x="366" y="257"/>
                    </a:lnTo>
                    <a:lnTo>
                      <a:pt x="366" y="260"/>
                    </a:lnTo>
                    <a:lnTo>
                      <a:pt x="364" y="262"/>
                    </a:lnTo>
                    <a:lnTo>
                      <a:pt x="356" y="268"/>
                    </a:lnTo>
                    <a:lnTo>
                      <a:pt x="349" y="271"/>
                    </a:lnTo>
                    <a:lnTo>
                      <a:pt x="339" y="272"/>
                    </a:lnTo>
                    <a:lnTo>
                      <a:pt x="332" y="273"/>
                    </a:lnTo>
                    <a:lnTo>
                      <a:pt x="324" y="274"/>
                    </a:lnTo>
                    <a:lnTo>
                      <a:pt x="317" y="274"/>
                    </a:lnTo>
                    <a:lnTo>
                      <a:pt x="312" y="272"/>
                    </a:lnTo>
                    <a:lnTo>
                      <a:pt x="311" y="270"/>
                    </a:lnTo>
                    <a:lnTo>
                      <a:pt x="310" y="269"/>
                    </a:lnTo>
                    <a:lnTo>
                      <a:pt x="309" y="268"/>
                    </a:lnTo>
                    <a:lnTo>
                      <a:pt x="308" y="267"/>
                    </a:lnTo>
                    <a:lnTo>
                      <a:pt x="306" y="267"/>
                    </a:lnTo>
                    <a:lnTo>
                      <a:pt x="302" y="265"/>
                    </a:lnTo>
                    <a:lnTo>
                      <a:pt x="299" y="265"/>
                    </a:lnTo>
                    <a:lnTo>
                      <a:pt x="296" y="265"/>
                    </a:lnTo>
                    <a:lnTo>
                      <a:pt x="292" y="267"/>
                    </a:lnTo>
                    <a:lnTo>
                      <a:pt x="290" y="265"/>
                    </a:lnTo>
                    <a:lnTo>
                      <a:pt x="288" y="264"/>
                    </a:lnTo>
                    <a:lnTo>
                      <a:pt x="287" y="262"/>
                    </a:lnTo>
                    <a:lnTo>
                      <a:pt x="286" y="260"/>
                    </a:lnTo>
                    <a:lnTo>
                      <a:pt x="285" y="258"/>
                    </a:lnTo>
                    <a:lnTo>
                      <a:pt x="284" y="256"/>
                    </a:lnTo>
                    <a:lnTo>
                      <a:pt x="283" y="252"/>
                    </a:lnTo>
                    <a:lnTo>
                      <a:pt x="281" y="251"/>
                    </a:lnTo>
                    <a:lnTo>
                      <a:pt x="280" y="251"/>
                    </a:lnTo>
                    <a:lnTo>
                      <a:pt x="279" y="252"/>
                    </a:lnTo>
                    <a:lnTo>
                      <a:pt x="278" y="253"/>
                    </a:lnTo>
                    <a:lnTo>
                      <a:pt x="277" y="256"/>
                    </a:lnTo>
                    <a:lnTo>
                      <a:pt x="276" y="258"/>
                    </a:lnTo>
                    <a:lnTo>
                      <a:pt x="275" y="260"/>
                    </a:lnTo>
                    <a:lnTo>
                      <a:pt x="275" y="262"/>
                    </a:lnTo>
                    <a:lnTo>
                      <a:pt x="274" y="267"/>
                    </a:lnTo>
                    <a:lnTo>
                      <a:pt x="273" y="271"/>
                    </a:lnTo>
                    <a:lnTo>
                      <a:pt x="270" y="273"/>
                    </a:lnTo>
                    <a:lnTo>
                      <a:pt x="267" y="276"/>
                    </a:lnTo>
                    <a:lnTo>
                      <a:pt x="264" y="278"/>
                    </a:lnTo>
                    <a:lnTo>
                      <a:pt x="257" y="279"/>
                    </a:lnTo>
                    <a:lnTo>
                      <a:pt x="254" y="280"/>
                    </a:lnTo>
                    <a:lnTo>
                      <a:pt x="252" y="281"/>
                    </a:lnTo>
                    <a:lnTo>
                      <a:pt x="248" y="283"/>
                    </a:lnTo>
                    <a:lnTo>
                      <a:pt x="246" y="285"/>
                    </a:lnTo>
                    <a:lnTo>
                      <a:pt x="243" y="287"/>
                    </a:lnTo>
                    <a:lnTo>
                      <a:pt x="237" y="290"/>
                    </a:lnTo>
                    <a:lnTo>
                      <a:pt x="232" y="292"/>
                    </a:lnTo>
                    <a:lnTo>
                      <a:pt x="227" y="294"/>
                    </a:lnTo>
                    <a:lnTo>
                      <a:pt x="213" y="298"/>
                    </a:lnTo>
                    <a:lnTo>
                      <a:pt x="199" y="303"/>
                    </a:lnTo>
                    <a:lnTo>
                      <a:pt x="183" y="307"/>
                    </a:lnTo>
                    <a:lnTo>
                      <a:pt x="177" y="309"/>
                    </a:lnTo>
                    <a:lnTo>
                      <a:pt x="171" y="307"/>
                    </a:lnTo>
                    <a:lnTo>
                      <a:pt x="167" y="304"/>
                    </a:lnTo>
                    <a:lnTo>
                      <a:pt x="165" y="298"/>
                    </a:lnTo>
                    <a:lnTo>
                      <a:pt x="164" y="292"/>
                    </a:lnTo>
                    <a:lnTo>
                      <a:pt x="164" y="287"/>
                    </a:lnTo>
                    <a:lnTo>
                      <a:pt x="164" y="284"/>
                    </a:lnTo>
                    <a:lnTo>
                      <a:pt x="164" y="281"/>
                    </a:lnTo>
                    <a:lnTo>
                      <a:pt x="163" y="279"/>
                    </a:lnTo>
                    <a:lnTo>
                      <a:pt x="160" y="278"/>
                    </a:lnTo>
                    <a:lnTo>
                      <a:pt x="158" y="276"/>
                    </a:lnTo>
                    <a:lnTo>
                      <a:pt x="155" y="276"/>
                    </a:lnTo>
                    <a:lnTo>
                      <a:pt x="151" y="276"/>
                    </a:lnTo>
                    <a:lnTo>
                      <a:pt x="143" y="280"/>
                    </a:lnTo>
                    <a:lnTo>
                      <a:pt x="135" y="280"/>
                    </a:lnTo>
                    <a:lnTo>
                      <a:pt x="129" y="278"/>
                    </a:lnTo>
                    <a:lnTo>
                      <a:pt x="125" y="272"/>
                    </a:lnTo>
                    <a:lnTo>
                      <a:pt x="121" y="269"/>
                    </a:lnTo>
                    <a:lnTo>
                      <a:pt x="116" y="265"/>
                    </a:lnTo>
                    <a:lnTo>
                      <a:pt x="112" y="262"/>
                    </a:lnTo>
                    <a:lnTo>
                      <a:pt x="110" y="256"/>
                    </a:lnTo>
                    <a:lnTo>
                      <a:pt x="113" y="250"/>
                    </a:lnTo>
                    <a:lnTo>
                      <a:pt x="120" y="245"/>
                    </a:lnTo>
                    <a:lnTo>
                      <a:pt x="129" y="241"/>
                    </a:lnTo>
                    <a:lnTo>
                      <a:pt x="139" y="238"/>
                    </a:lnTo>
                    <a:lnTo>
                      <a:pt x="147" y="235"/>
                    </a:lnTo>
                    <a:lnTo>
                      <a:pt x="153" y="234"/>
                    </a:lnTo>
                    <a:lnTo>
                      <a:pt x="166" y="232"/>
                    </a:lnTo>
                    <a:lnTo>
                      <a:pt x="179" y="229"/>
                    </a:lnTo>
                    <a:lnTo>
                      <a:pt x="182" y="229"/>
                    </a:lnTo>
                    <a:lnTo>
                      <a:pt x="186" y="229"/>
                    </a:lnTo>
                    <a:lnTo>
                      <a:pt x="189" y="229"/>
                    </a:lnTo>
                    <a:lnTo>
                      <a:pt x="192" y="228"/>
                    </a:lnTo>
                    <a:lnTo>
                      <a:pt x="194" y="227"/>
                    </a:lnTo>
                    <a:lnTo>
                      <a:pt x="198" y="226"/>
                    </a:lnTo>
                    <a:lnTo>
                      <a:pt x="199" y="224"/>
                    </a:lnTo>
                    <a:lnTo>
                      <a:pt x="199" y="223"/>
                    </a:lnTo>
                    <a:lnTo>
                      <a:pt x="198" y="221"/>
                    </a:lnTo>
                    <a:lnTo>
                      <a:pt x="196" y="220"/>
                    </a:lnTo>
                    <a:lnTo>
                      <a:pt x="193" y="220"/>
                    </a:lnTo>
                    <a:lnTo>
                      <a:pt x="191" y="219"/>
                    </a:lnTo>
                    <a:lnTo>
                      <a:pt x="189" y="219"/>
                    </a:lnTo>
                    <a:lnTo>
                      <a:pt x="187" y="219"/>
                    </a:lnTo>
                    <a:lnTo>
                      <a:pt x="185" y="218"/>
                    </a:lnTo>
                    <a:lnTo>
                      <a:pt x="183" y="218"/>
                    </a:lnTo>
                    <a:lnTo>
                      <a:pt x="169" y="218"/>
                    </a:lnTo>
                    <a:lnTo>
                      <a:pt x="157" y="218"/>
                    </a:lnTo>
                    <a:lnTo>
                      <a:pt x="145" y="220"/>
                    </a:lnTo>
                    <a:lnTo>
                      <a:pt x="136" y="225"/>
                    </a:lnTo>
                    <a:lnTo>
                      <a:pt x="128" y="228"/>
                    </a:lnTo>
                    <a:lnTo>
                      <a:pt x="122" y="229"/>
                    </a:lnTo>
                    <a:lnTo>
                      <a:pt x="116" y="227"/>
                    </a:lnTo>
                    <a:lnTo>
                      <a:pt x="112" y="221"/>
                    </a:lnTo>
                    <a:lnTo>
                      <a:pt x="109" y="215"/>
                    </a:lnTo>
                    <a:lnTo>
                      <a:pt x="107" y="208"/>
                    </a:lnTo>
                    <a:lnTo>
                      <a:pt x="112" y="202"/>
                    </a:lnTo>
                    <a:lnTo>
                      <a:pt x="120" y="197"/>
                    </a:lnTo>
                    <a:lnTo>
                      <a:pt x="128" y="194"/>
                    </a:lnTo>
                    <a:lnTo>
                      <a:pt x="136" y="191"/>
                    </a:lnTo>
                    <a:lnTo>
                      <a:pt x="137" y="191"/>
                    </a:lnTo>
                    <a:lnTo>
                      <a:pt x="138" y="189"/>
                    </a:lnTo>
                    <a:lnTo>
                      <a:pt x="139" y="188"/>
                    </a:lnTo>
                    <a:lnTo>
                      <a:pt x="142" y="187"/>
                    </a:lnTo>
                    <a:lnTo>
                      <a:pt x="143" y="186"/>
                    </a:lnTo>
                    <a:lnTo>
                      <a:pt x="144" y="185"/>
                    </a:lnTo>
                    <a:lnTo>
                      <a:pt x="145" y="184"/>
                    </a:lnTo>
                    <a:lnTo>
                      <a:pt x="145" y="184"/>
                    </a:lnTo>
                    <a:lnTo>
                      <a:pt x="144" y="184"/>
                    </a:lnTo>
                    <a:lnTo>
                      <a:pt x="143" y="184"/>
                    </a:lnTo>
                    <a:lnTo>
                      <a:pt x="138" y="184"/>
                    </a:lnTo>
                    <a:lnTo>
                      <a:pt x="135" y="185"/>
                    </a:lnTo>
                    <a:lnTo>
                      <a:pt x="133" y="186"/>
                    </a:lnTo>
                    <a:lnTo>
                      <a:pt x="129" y="187"/>
                    </a:lnTo>
                    <a:lnTo>
                      <a:pt x="127" y="188"/>
                    </a:lnTo>
                    <a:lnTo>
                      <a:pt x="120" y="189"/>
                    </a:lnTo>
                    <a:lnTo>
                      <a:pt x="112" y="188"/>
                    </a:lnTo>
                    <a:lnTo>
                      <a:pt x="105" y="186"/>
                    </a:lnTo>
                    <a:lnTo>
                      <a:pt x="102" y="180"/>
                    </a:lnTo>
                    <a:lnTo>
                      <a:pt x="103" y="171"/>
                    </a:lnTo>
                    <a:lnTo>
                      <a:pt x="107" y="162"/>
                    </a:lnTo>
                    <a:lnTo>
                      <a:pt x="109" y="162"/>
                    </a:lnTo>
                    <a:lnTo>
                      <a:pt x="110" y="161"/>
                    </a:lnTo>
                    <a:lnTo>
                      <a:pt x="112" y="160"/>
                    </a:lnTo>
                    <a:lnTo>
                      <a:pt x="114" y="159"/>
                    </a:lnTo>
                    <a:lnTo>
                      <a:pt x="116" y="156"/>
                    </a:lnTo>
                    <a:lnTo>
                      <a:pt x="117" y="155"/>
                    </a:lnTo>
                    <a:lnTo>
                      <a:pt x="118" y="154"/>
                    </a:lnTo>
                    <a:lnTo>
                      <a:pt x="120" y="152"/>
                    </a:lnTo>
                    <a:lnTo>
                      <a:pt x="120" y="152"/>
                    </a:lnTo>
                    <a:lnTo>
                      <a:pt x="118" y="151"/>
                    </a:lnTo>
                    <a:lnTo>
                      <a:pt x="116" y="151"/>
                    </a:lnTo>
                    <a:lnTo>
                      <a:pt x="115" y="152"/>
                    </a:lnTo>
                    <a:lnTo>
                      <a:pt x="114" y="152"/>
                    </a:lnTo>
                    <a:lnTo>
                      <a:pt x="113" y="152"/>
                    </a:lnTo>
                    <a:lnTo>
                      <a:pt x="112" y="152"/>
                    </a:lnTo>
                    <a:lnTo>
                      <a:pt x="111" y="151"/>
                    </a:lnTo>
                    <a:lnTo>
                      <a:pt x="111" y="151"/>
                    </a:lnTo>
                    <a:lnTo>
                      <a:pt x="111" y="149"/>
                    </a:lnTo>
                    <a:lnTo>
                      <a:pt x="112" y="148"/>
                    </a:lnTo>
                    <a:lnTo>
                      <a:pt x="114" y="144"/>
                    </a:lnTo>
                    <a:lnTo>
                      <a:pt x="117" y="141"/>
                    </a:lnTo>
                    <a:lnTo>
                      <a:pt x="122" y="138"/>
                    </a:lnTo>
                    <a:lnTo>
                      <a:pt x="127" y="134"/>
                    </a:lnTo>
                    <a:lnTo>
                      <a:pt x="135" y="127"/>
                    </a:lnTo>
                    <a:lnTo>
                      <a:pt x="145" y="119"/>
                    </a:lnTo>
                    <a:lnTo>
                      <a:pt x="155" y="112"/>
                    </a:lnTo>
                    <a:lnTo>
                      <a:pt x="165" y="107"/>
                    </a:lnTo>
                    <a:lnTo>
                      <a:pt x="175" y="99"/>
                    </a:lnTo>
                    <a:lnTo>
                      <a:pt x="177" y="98"/>
                    </a:lnTo>
                    <a:lnTo>
                      <a:pt x="179" y="95"/>
                    </a:lnTo>
                    <a:lnTo>
                      <a:pt x="181" y="93"/>
                    </a:lnTo>
                    <a:lnTo>
                      <a:pt x="183" y="90"/>
                    </a:lnTo>
                    <a:lnTo>
                      <a:pt x="187" y="90"/>
                    </a:lnTo>
                    <a:lnTo>
                      <a:pt x="189" y="90"/>
                    </a:lnTo>
                    <a:lnTo>
                      <a:pt x="190" y="92"/>
                    </a:lnTo>
                    <a:lnTo>
                      <a:pt x="191" y="94"/>
                    </a:lnTo>
                    <a:lnTo>
                      <a:pt x="192" y="95"/>
                    </a:lnTo>
                    <a:lnTo>
                      <a:pt x="192" y="97"/>
                    </a:lnTo>
                    <a:lnTo>
                      <a:pt x="193" y="100"/>
                    </a:lnTo>
                    <a:lnTo>
                      <a:pt x="192" y="101"/>
                    </a:lnTo>
                    <a:lnTo>
                      <a:pt x="191" y="104"/>
                    </a:lnTo>
                    <a:lnTo>
                      <a:pt x="190" y="106"/>
                    </a:lnTo>
                    <a:lnTo>
                      <a:pt x="190" y="108"/>
                    </a:lnTo>
                    <a:lnTo>
                      <a:pt x="188" y="111"/>
                    </a:lnTo>
                    <a:lnTo>
                      <a:pt x="185" y="115"/>
                    </a:lnTo>
                    <a:lnTo>
                      <a:pt x="181" y="118"/>
                    </a:lnTo>
                    <a:lnTo>
                      <a:pt x="177" y="122"/>
                    </a:lnTo>
                    <a:lnTo>
                      <a:pt x="176" y="126"/>
                    </a:lnTo>
                    <a:lnTo>
                      <a:pt x="176" y="128"/>
                    </a:lnTo>
                    <a:lnTo>
                      <a:pt x="179" y="128"/>
                    </a:lnTo>
                    <a:lnTo>
                      <a:pt x="192" y="121"/>
                    </a:lnTo>
                    <a:lnTo>
                      <a:pt x="193" y="118"/>
                    </a:lnTo>
                    <a:lnTo>
                      <a:pt x="194" y="115"/>
                    </a:lnTo>
                    <a:lnTo>
                      <a:pt x="196" y="112"/>
                    </a:lnTo>
                    <a:lnTo>
                      <a:pt x="197" y="110"/>
                    </a:lnTo>
                    <a:lnTo>
                      <a:pt x="201" y="106"/>
                    </a:lnTo>
                    <a:lnTo>
                      <a:pt x="208" y="105"/>
                    </a:lnTo>
                    <a:lnTo>
                      <a:pt x="214" y="105"/>
                    </a:lnTo>
                    <a:lnTo>
                      <a:pt x="219" y="106"/>
                    </a:lnTo>
                    <a:lnTo>
                      <a:pt x="222" y="107"/>
                    </a:lnTo>
                    <a:lnTo>
                      <a:pt x="224" y="109"/>
                    </a:lnTo>
                    <a:lnTo>
                      <a:pt x="225" y="111"/>
                    </a:lnTo>
                    <a:lnTo>
                      <a:pt x="226" y="114"/>
                    </a:lnTo>
                    <a:lnTo>
                      <a:pt x="226" y="117"/>
                    </a:lnTo>
                    <a:lnTo>
                      <a:pt x="225" y="121"/>
                    </a:lnTo>
                    <a:lnTo>
                      <a:pt x="224" y="122"/>
                    </a:lnTo>
                    <a:lnTo>
                      <a:pt x="223" y="125"/>
                    </a:lnTo>
                    <a:lnTo>
                      <a:pt x="223" y="126"/>
                    </a:lnTo>
                    <a:lnTo>
                      <a:pt x="222" y="127"/>
                    </a:lnTo>
                    <a:lnTo>
                      <a:pt x="222" y="128"/>
                    </a:lnTo>
                    <a:lnTo>
                      <a:pt x="222" y="129"/>
                    </a:lnTo>
                    <a:lnTo>
                      <a:pt x="222" y="129"/>
                    </a:lnTo>
                    <a:lnTo>
                      <a:pt x="223" y="129"/>
                    </a:lnTo>
                    <a:lnTo>
                      <a:pt x="225" y="128"/>
                    </a:lnTo>
                    <a:lnTo>
                      <a:pt x="227" y="126"/>
                    </a:lnTo>
                    <a:lnTo>
                      <a:pt x="230" y="122"/>
                    </a:lnTo>
                    <a:lnTo>
                      <a:pt x="233" y="120"/>
                    </a:lnTo>
                    <a:lnTo>
                      <a:pt x="235" y="119"/>
                    </a:lnTo>
                    <a:lnTo>
                      <a:pt x="238" y="119"/>
                    </a:lnTo>
                    <a:lnTo>
                      <a:pt x="240" y="119"/>
                    </a:lnTo>
                    <a:lnTo>
                      <a:pt x="242" y="118"/>
                    </a:lnTo>
                    <a:lnTo>
                      <a:pt x="244" y="117"/>
                    </a:lnTo>
                    <a:lnTo>
                      <a:pt x="246" y="116"/>
                    </a:lnTo>
                    <a:lnTo>
                      <a:pt x="247" y="115"/>
                    </a:lnTo>
                    <a:lnTo>
                      <a:pt x="247" y="111"/>
                    </a:lnTo>
                    <a:lnTo>
                      <a:pt x="246" y="109"/>
                    </a:lnTo>
                    <a:lnTo>
                      <a:pt x="245" y="106"/>
                    </a:lnTo>
                    <a:lnTo>
                      <a:pt x="244" y="104"/>
                    </a:lnTo>
                    <a:lnTo>
                      <a:pt x="243" y="100"/>
                    </a:lnTo>
                    <a:lnTo>
                      <a:pt x="243" y="97"/>
                    </a:lnTo>
                    <a:lnTo>
                      <a:pt x="242" y="96"/>
                    </a:lnTo>
                    <a:lnTo>
                      <a:pt x="243" y="96"/>
                    </a:lnTo>
                    <a:lnTo>
                      <a:pt x="245" y="96"/>
                    </a:lnTo>
                    <a:lnTo>
                      <a:pt x="247" y="96"/>
                    </a:lnTo>
                    <a:lnTo>
                      <a:pt x="249" y="96"/>
                    </a:lnTo>
                    <a:lnTo>
                      <a:pt x="252" y="96"/>
                    </a:lnTo>
                    <a:lnTo>
                      <a:pt x="255" y="97"/>
                    </a:lnTo>
                    <a:lnTo>
                      <a:pt x="256" y="97"/>
                    </a:lnTo>
                    <a:lnTo>
                      <a:pt x="257" y="97"/>
                    </a:lnTo>
                    <a:lnTo>
                      <a:pt x="264" y="104"/>
                    </a:lnTo>
                    <a:lnTo>
                      <a:pt x="267" y="112"/>
                    </a:lnTo>
                    <a:lnTo>
                      <a:pt x="268" y="121"/>
                    </a:lnTo>
                    <a:lnTo>
                      <a:pt x="269" y="131"/>
                    </a:lnTo>
                    <a:lnTo>
                      <a:pt x="270" y="141"/>
                    </a:lnTo>
                    <a:lnTo>
                      <a:pt x="270" y="149"/>
                    </a:lnTo>
                    <a:lnTo>
                      <a:pt x="271" y="150"/>
                    </a:lnTo>
                    <a:lnTo>
                      <a:pt x="271" y="151"/>
                    </a:lnTo>
                    <a:lnTo>
                      <a:pt x="273" y="152"/>
                    </a:lnTo>
                    <a:lnTo>
                      <a:pt x="273" y="153"/>
                    </a:lnTo>
                    <a:lnTo>
                      <a:pt x="275" y="153"/>
                    </a:lnTo>
                    <a:lnTo>
                      <a:pt x="277" y="152"/>
                    </a:lnTo>
                    <a:lnTo>
                      <a:pt x="279" y="151"/>
                    </a:lnTo>
                    <a:lnTo>
                      <a:pt x="281" y="149"/>
                    </a:lnTo>
                    <a:lnTo>
                      <a:pt x="284" y="145"/>
                    </a:lnTo>
                    <a:lnTo>
                      <a:pt x="285" y="142"/>
                    </a:lnTo>
                    <a:lnTo>
                      <a:pt x="285" y="140"/>
                    </a:lnTo>
                    <a:lnTo>
                      <a:pt x="284" y="137"/>
                    </a:lnTo>
                    <a:lnTo>
                      <a:pt x="284" y="134"/>
                    </a:lnTo>
                    <a:lnTo>
                      <a:pt x="283" y="130"/>
                    </a:lnTo>
                    <a:lnTo>
                      <a:pt x="283" y="127"/>
                    </a:lnTo>
                    <a:lnTo>
                      <a:pt x="283" y="123"/>
                    </a:lnTo>
                    <a:lnTo>
                      <a:pt x="283" y="120"/>
                    </a:lnTo>
                    <a:lnTo>
                      <a:pt x="281" y="117"/>
                    </a:lnTo>
                    <a:lnTo>
                      <a:pt x="281" y="93"/>
                    </a:lnTo>
                    <a:lnTo>
                      <a:pt x="281" y="92"/>
                    </a:lnTo>
                    <a:lnTo>
                      <a:pt x="281" y="89"/>
                    </a:lnTo>
                    <a:lnTo>
                      <a:pt x="283" y="86"/>
                    </a:lnTo>
                    <a:lnTo>
                      <a:pt x="284" y="84"/>
                    </a:lnTo>
                    <a:lnTo>
                      <a:pt x="286" y="83"/>
                    </a:lnTo>
                    <a:lnTo>
                      <a:pt x="289" y="82"/>
                    </a:lnTo>
                    <a:lnTo>
                      <a:pt x="292" y="82"/>
                    </a:lnTo>
                    <a:lnTo>
                      <a:pt x="294" y="82"/>
                    </a:lnTo>
                    <a:lnTo>
                      <a:pt x="296" y="83"/>
                    </a:lnTo>
                    <a:lnTo>
                      <a:pt x="297" y="85"/>
                    </a:lnTo>
                    <a:lnTo>
                      <a:pt x="300" y="85"/>
                    </a:lnTo>
                    <a:lnTo>
                      <a:pt x="302" y="86"/>
                    </a:lnTo>
                    <a:lnTo>
                      <a:pt x="306" y="86"/>
                    </a:lnTo>
                    <a:lnTo>
                      <a:pt x="309" y="86"/>
                    </a:lnTo>
                    <a:lnTo>
                      <a:pt x="312" y="87"/>
                    </a:lnTo>
                    <a:lnTo>
                      <a:pt x="314" y="88"/>
                    </a:lnTo>
                    <a:lnTo>
                      <a:pt x="316" y="89"/>
                    </a:lnTo>
                    <a:lnTo>
                      <a:pt x="317" y="92"/>
                    </a:lnTo>
                    <a:lnTo>
                      <a:pt x="318" y="94"/>
                    </a:lnTo>
                    <a:lnTo>
                      <a:pt x="319" y="95"/>
                    </a:lnTo>
                    <a:lnTo>
                      <a:pt x="321" y="95"/>
                    </a:lnTo>
                    <a:lnTo>
                      <a:pt x="323" y="95"/>
                    </a:lnTo>
                    <a:lnTo>
                      <a:pt x="324" y="94"/>
                    </a:lnTo>
                    <a:lnTo>
                      <a:pt x="324" y="92"/>
                    </a:lnTo>
                    <a:lnTo>
                      <a:pt x="324" y="89"/>
                    </a:lnTo>
                    <a:lnTo>
                      <a:pt x="324" y="87"/>
                    </a:lnTo>
                    <a:lnTo>
                      <a:pt x="323" y="85"/>
                    </a:lnTo>
                    <a:lnTo>
                      <a:pt x="323" y="84"/>
                    </a:lnTo>
                    <a:lnTo>
                      <a:pt x="323" y="83"/>
                    </a:lnTo>
                    <a:lnTo>
                      <a:pt x="321" y="79"/>
                    </a:lnTo>
                    <a:lnTo>
                      <a:pt x="319" y="77"/>
                    </a:lnTo>
                    <a:lnTo>
                      <a:pt x="316" y="75"/>
                    </a:lnTo>
                    <a:lnTo>
                      <a:pt x="312" y="74"/>
                    </a:lnTo>
                    <a:lnTo>
                      <a:pt x="311" y="73"/>
                    </a:lnTo>
                    <a:lnTo>
                      <a:pt x="309" y="72"/>
                    </a:lnTo>
                    <a:lnTo>
                      <a:pt x="307" y="72"/>
                    </a:lnTo>
                    <a:lnTo>
                      <a:pt x="306" y="71"/>
                    </a:lnTo>
                    <a:lnTo>
                      <a:pt x="306" y="69"/>
                    </a:lnTo>
                    <a:lnTo>
                      <a:pt x="306" y="67"/>
                    </a:lnTo>
                    <a:lnTo>
                      <a:pt x="307" y="65"/>
                    </a:lnTo>
                    <a:lnTo>
                      <a:pt x="309" y="62"/>
                    </a:lnTo>
                    <a:lnTo>
                      <a:pt x="310" y="61"/>
                    </a:lnTo>
                    <a:lnTo>
                      <a:pt x="313" y="58"/>
                    </a:lnTo>
                    <a:lnTo>
                      <a:pt x="317" y="58"/>
                    </a:lnTo>
                    <a:lnTo>
                      <a:pt x="324" y="56"/>
                    </a:lnTo>
                    <a:lnTo>
                      <a:pt x="333" y="55"/>
                    </a:lnTo>
                    <a:close/>
                    <a:moveTo>
                      <a:pt x="2026" y="54"/>
                    </a:moveTo>
                    <a:lnTo>
                      <a:pt x="2034" y="58"/>
                    </a:lnTo>
                    <a:lnTo>
                      <a:pt x="2034" y="60"/>
                    </a:lnTo>
                    <a:lnTo>
                      <a:pt x="2034" y="61"/>
                    </a:lnTo>
                    <a:lnTo>
                      <a:pt x="2034" y="62"/>
                    </a:lnTo>
                    <a:lnTo>
                      <a:pt x="2034" y="62"/>
                    </a:lnTo>
                    <a:lnTo>
                      <a:pt x="2034" y="62"/>
                    </a:lnTo>
                    <a:lnTo>
                      <a:pt x="2034" y="61"/>
                    </a:lnTo>
                    <a:lnTo>
                      <a:pt x="2031" y="58"/>
                    </a:lnTo>
                    <a:lnTo>
                      <a:pt x="2029" y="57"/>
                    </a:lnTo>
                    <a:lnTo>
                      <a:pt x="2027" y="56"/>
                    </a:lnTo>
                    <a:lnTo>
                      <a:pt x="2026" y="54"/>
                    </a:lnTo>
                    <a:close/>
                    <a:moveTo>
                      <a:pt x="92" y="50"/>
                    </a:moveTo>
                    <a:lnTo>
                      <a:pt x="93" y="50"/>
                    </a:lnTo>
                    <a:lnTo>
                      <a:pt x="95" y="51"/>
                    </a:lnTo>
                    <a:lnTo>
                      <a:pt x="95" y="53"/>
                    </a:lnTo>
                    <a:lnTo>
                      <a:pt x="96" y="55"/>
                    </a:lnTo>
                    <a:lnTo>
                      <a:pt x="98" y="57"/>
                    </a:lnTo>
                    <a:lnTo>
                      <a:pt x="99" y="58"/>
                    </a:lnTo>
                    <a:lnTo>
                      <a:pt x="101" y="60"/>
                    </a:lnTo>
                    <a:lnTo>
                      <a:pt x="104" y="61"/>
                    </a:lnTo>
                    <a:lnTo>
                      <a:pt x="106" y="62"/>
                    </a:lnTo>
                    <a:lnTo>
                      <a:pt x="110" y="63"/>
                    </a:lnTo>
                    <a:lnTo>
                      <a:pt x="113" y="64"/>
                    </a:lnTo>
                    <a:lnTo>
                      <a:pt x="115" y="66"/>
                    </a:lnTo>
                    <a:lnTo>
                      <a:pt x="117" y="67"/>
                    </a:lnTo>
                    <a:lnTo>
                      <a:pt x="121" y="67"/>
                    </a:lnTo>
                    <a:lnTo>
                      <a:pt x="123" y="67"/>
                    </a:lnTo>
                    <a:lnTo>
                      <a:pt x="125" y="65"/>
                    </a:lnTo>
                    <a:lnTo>
                      <a:pt x="127" y="64"/>
                    </a:lnTo>
                    <a:lnTo>
                      <a:pt x="128" y="62"/>
                    </a:lnTo>
                    <a:lnTo>
                      <a:pt x="129" y="61"/>
                    </a:lnTo>
                    <a:lnTo>
                      <a:pt x="137" y="55"/>
                    </a:lnTo>
                    <a:lnTo>
                      <a:pt x="145" y="55"/>
                    </a:lnTo>
                    <a:lnTo>
                      <a:pt x="151" y="58"/>
                    </a:lnTo>
                    <a:lnTo>
                      <a:pt x="157" y="63"/>
                    </a:lnTo>
                    <a:lnTo>
                      <a:pt x="161" y="68"/>
                    </a:lnTo>
                    <a:lnTo>
                      <a:pt x="164" y="72"/>
                    </a:lnTo>
                    <a:lnTo>
                      <a:pt x="166" y="74"/>
                    </a:lnTo>
                    <a:lnTo>
                      <a:pt x="168" y="77"/>
                    </a:lnTo>
                    <a:lnTo>
                      <a:pt x="170" y="79"/>
                    </a:lnTo>
                    <a:lnTo>
                      <a:pt x="171" y="83"/>
                    </a:lnTo>
                    <a:lnTo>
                      <a:pt x="170" y="85"/>
                    </a:lnTo>
                    <a:lnTo>
                      <a:pt x="169" y="88"/>
                    </a:lnTo>
                    <a:lnTo>
                      <a:pt x="166" y="92"/>
                    </a:lnTo>
                    <a:lnTo>
                      <a:pt x="164" y="94"/>
                    </a:lnTo>
                    <a:lnTo>
                      <a:pt x="160" y="96"/>
                    </a:lnTo>
                    <a:lnTo>
                      <a:pt x="157" y="98"/>
                    </a:lnTo>
                    <a:lnTo>
                      <a:pt x="146" y="104"/>
                    </a:lnTo>
                    <a:lnTo>
                      <a:pt x="137" y="109"/>
                    </a:lnTo>
                    <a:lnTo>
                      <a:pt x="134" y="111"/>
                    </a:lnTo>
                    <a:lnTo>
                      <a:pt x="132" y="115"/>
                    </a:lnTo>
                    <a:lnTo>
                      <a:pt x="129" y="118"/>
                    </a:lnTo>
                    <a:lnTo>
                      <a:pt x="127" y="121"/>
                    </a:lnTo>
                    <a:lnTo>
                      <a:pt x="123" y="123"/>
                    </a:lnTo>
                    <a:lnTo>
                      <a:pt x="118" y="126"/>
                    </a:lnTo>
                    <a:lnTo>
                      <a:pt x="115" y="129"/>
                    </a:lnTo>
                    <a:lnTo>
                      <a:pt x="112" y="132"/>
                    </a:lnTo>
                    <a:lnTo>
                      <a:pt x="109" y="136"/>
                    </a:lnTo>
                    <a:lnTo>
                      <a:pt x="106" y="140"/>
                    </a:lnTo>
                    <a:lnTo>
                      <a:pt x="104" y="144"/>
                    </a:lnTo>
                    <a:lnTo>
                      <a:pt x="101" y="148"/>
                    </a:lnTo>
                    <a:lnTo>
                      <a:pt x="99" y="151"/>
                    </a:lnTo>
                    <a:lnTo>
                      <a:pt x="95" y="153"/>
                    </a:lnTo>
                    <a:lnTo>
                      <a:pt x="93" y="155"/>
                    </a:lnTo>
                    <a:lnTo>
                      <a:pt x="90" y="156"/>
                    </a:lnTo>
                    <a:lnTo>
                      <a:pt x="83" y="163"/>
                    </a:lnTo>
                    <a:lnTo>
                      <a:pt x="80" y="172"/>
                    </a:lnTo>
                    <a:lnTo>
                      <a:pt x="78" y="181"/>
                    </a:lnTo>
                    <a:lnTo>
                      <a:pt x="76" y="191"/>
                    </a:lnTo>
                    <a:lnTo>
                      <a:pt x="70" y="198"/>
                    </a:lnTo>
                    <a:lnTo>
                      <a:pt x="63" y="203"/>
                    </a:lnTo>
                    <a:lnTo>
                      <a:pt x="57" y="206"/>
                    </a:lnTo>
                    <a:lnTo>
                      <a:pt x="49" y="210"/>
                    </a:lnTo>
                    <a:lnTo>
                      <a:pt x="40" y="218"/>
                    </a:lnTo>
                    <a:lnTo>
                      <a:pt x="33" y="228"/>
                    </a:lnTo>
                    <a:lnTo>
                      <a:pt x="30" y="228"/>
                    </a:lnTo>
                    <a:lnTo>
                      <a:pt x="28" y="228"/>
                    </a:lnTo>
                    <a:lnTo>
                      <a:pt x="27" y="227"/>
                    </a:lnTo>
                    <a:lnTo>
                      <a:pt x="27" y="226"/>
                    </a:lnTo>
                    <a:lnTo>
                      <a:pt x="26" y="224"/>
                    </a:lnTo>
                    <a:lnTo>
                      <a:pt x="26" y="223"/>
                    </a:lnTo>
                    <a:lnTo>
                      <a:pt x="26" y="221"/>
                    </a:lnTo>
                    <a:lnTo>
                      <a:pt x="25" y="217"/>
                    </a:lnTo>
                    <a:lnTo>
                      <a:pt x="24" y="213"/>
                    </a:lnTo>
                    <a:lnTo>
                      <a:pt x="22" y="208"/>
                    </a:lnTo>
                    <a:lnTo>
                      <a:pt x="17" y="203"/>
                    </a:lnTo>
                    <a:lnTo>
                      <a:pt x="14" y="197"/>
                    </a:lnTo>
                    <a:lnTo>
                      <a:pt x="11" y="193"/>
                    </a:lnTo>
                    <a:lnTo>
                      <a:pt x="4" y="191"/>
                    </a:lnTo>
                    <a:lnTo>
                      <a:pt x="2" y="189"/>
                    </a:lnTo>
                    <a:lnTo>
                      <a:pt x="1" y="188"/>
                    </a:lnTo>
                    <a:lnTo>
                      <a:pt x="0" y="187"/>
                    </a:lnTo>
                    <a:lnTo>
                      <a:pt x="1" y="185"/>
                    </a:lnTo>
                    <a:lnTo>
                      <a:pt x="2" y="183"/>
                    </a:lnTo>
                    <a:lnTo>
                      <a:pt x="3" y="181"/>
                    </a:lnTo>
                    <a:lnTo>
                      <a:pt x="4" y="178"/>
                    </a:lnTo>
                    <a:lnTo>
                      <a:pt x="6" y="176"/>
                    </a:lnTo>
                    <a:lnTo>
                      <a:pt x="13" y="166"/>
                    </a:lnTo>
                    <a:lnTo>
                      <a:pt x="17" y="154"/>
                    </a:lnTo>
                    <a:lnTo>
                      <a:pt x="24" y="141"/>
                    </a:lnTo>
                    <a:lnTo>
                      <a:pt x="26" y="128"/>
                    </a:lnTo>
                    <a:lnTo>
                      <a:pt x="26" y="121"/>
                    </a:lnTo>
                    <a:lnTo>
                      <a:pt x="26" y="114"/>
                    </a:lnTo>
                    <a:lnTo>
                      <a:pt x="28" y="105"/>
                    </a:lnTo>
                    <a:lnTo>
                      <a:pt x="29" y="106"/>
                    </a:lnTo>
                    <a:lnTo>
                      <a:pt x="32" y="107"/>
                    </a:lnTo>
                    <a:lnTo>
                      <a:pt x="33" y="108"/>
                    </a:lnTo>
                    <a:lnTo>
                      <a:pt x="35" y="109"/>
                    </a:lnTo>
                    <a:lnTo>
                      <a:pt x="36" y="110"/>
                    </a:lnTo>
                    <a:lnTo>
                      <a:pt x="37" y="109"/>
                    </a:lnTo>
                    <a:lnTo>
                      <a:pt x="40" y="107"/>
                    </a:lnTo>
                    <a:lnTo>
                      <a:pt x="41" y="104"/>
                    </a:lnTo>
                    <a:lnTo>
                      <a:pt x="44" y="100"/>
                    </a:lnTo>
                    <a:lnTo>
                      <a:pt x="44" y="98"/>
                    </a:lnTo>
                    <a:lnTo>
                      <a:pt x="45" y="96"/>
                    </a:lnTo>
                    <a:lnTo>
                      <a:pt x="43" y="95"/>
                    </a:lnTo>
                    <a:lnTo>
                      <a:pt x="41" y="94"/>
                    </a:lnTo>
                    <a:lnTo>
                      <a:pt x="40" y="93"/>
                    </a:lnTo>
                    <a:lnTo>
                      <a:pt x="38" y="90"/>
                    </a:lnTo>
                    <a:lnTo>
                      <a:pt x="37" y="89"/>
                    </a:lnTo>
                    <a:lnTo>
                      <a:pt x="37" y="87"/>
                    </a:lnTo>
                    <a:lnTo>
                      <a:pt x="37" y="85"/>
                    </a:lnTo>
                    <a:lnTo>
                      <a:pt x="38" y="83"/>
                    </a:lnTo>
                    <a:lnTo>
                      <a:pt x="39" y="80"/>
                    </a:lnTo>
                    <a:lnTo>
                      <a:pt x="39" y="78"/>
                    </a:lnTo>
                    <a:lnTo>
                      <a:pt x="40" y="76"/>
                    </a:lnTo>
                    <a:lnTo>
                      <a:pt x="41" y="74"/>
                    </a:lnTo>
                    <a:lnTo>
                      <a:pt x="46" y="72"/>
                    </a:lnTo>
                    <a:lnTo>
                      <a:pt x="49" y="69"/>
                    </a:lnTo>
                    <a:lnTo>
                      <a:pt x="54" y="67"/>
                    </a:lnTo>
                    <a:lnTo>
                      <a:pt x="67" y="61"/>
                    </a:lnTo>
                    <a:lnTo>
                      <a:pt x="69" y="61"/>
                    </a:lnTo>
                    <a:lnTo>
                      <a:pt x="71" y="61"/>
                    </a:lnTo>
                    <a:lnTo>
                      <a:pt x="74" y="60"/>
                    </a:lnTo>
                    <a:lnTo>
                      <a:pt x="78" y="58"/>
                    </a:lnTo>
                    <a:lnTo>
                      <a:pt x="80" y="56"/>
                    </a:lnTo>
                    <a:lnTo>
                      <a:pt x="82" y="53"/>
                    </a:lnTo>
                    <a:lnTo>
                      <a:pt x="85" y="51"/>
                    </a:lnTo>
                    <a:lnTo>
                      <a:pt x="89" y="50"/>
                    </a:lnTo>
                    <a:lnTo>
                      <a:pt x="92" y="50"/>
                    </a:lnTo>
                    <a:close/>
                    <a:moveTo>
                      <a:pt x="1994" y="46"/>
                    </a:moveTo>
                    <a:lnTo>
                      <a:pt x="1997" y="46"/>
                    </a:lnTo>
                    <a:lnTo>
                      <a:pt x="1998" y="49"/>
                    </a:lnTo>
                    <a:lnTo>
                      <a:pt x="1999" y="51"/>
                    </a:lnTo>
                    <a:lnTo>
                      <a:pt x="2000" y="54"/>
                    </a:lnTo>
                    <a:lnTo>
                      <a:pt x="2001" y="57"/>
                    </a:lnTo>
                    <a:lnTo>
                      <a:pt x="2002" y="60"/>
                    </a:lnTo>
                    <a:lnTo>
                      <a:pt x="2002" y="62"/>
                    </a:lnTo>
                    <a:lnTo>
                      <a:pt x="2001" y="63"/>
                    </a:lnTo>
                    <a:lnTo>
                      <a:pt x="2001" y="64"/>
                    </a:lnTo>
                    <a:lnTo>
                      <a:pt x="2002" y="66"/>
                    </a:lnTo>
                    <a:lnTo>
                      <a:pt x="2004" y="67"/>
                    </a:lnTo>
                    <a:lnTo>
                      <a:pt x="2004" y="67"/>
                    </a:lnTo>
                    <a:lnTo>
                      <a:pt x="2005" y="67"/>
                    </a:lnTo>
                    <a:lnTo>
                      <a:pt x="2008" y="68"/>
                    </a:lnTo>
                    <a:lnTo>
                      <a:pt x="2009" y="69"/>
                    </a:lnTo>
                    <a:lnTo>
                      <a:pt x="2010" y="72"/>
                    </a:lnTo>
                    <a:lnTo>
                      <a:pt x="2011" y="74"/>
                    </a:lnTo>
                    <a:lnTo>
                      <a:pt x="2012" y="76"/>
                    </a:lnTo>
                    <a:lnTo>
                      <a:pt x="2012" y="77"/>
                    </a:lnTo>
                    <a:lnTo>
                      <a:pt x="2011" y="78"/>
                    </a:lnTo>
                    <a:lnTo>
                      <a:pt x="2011" y="79"/>
                    </a:lnTo>
                    <a:lnTo>
                      <a:pt x="2011" y="82"/>
                    </a:lnTo>
                    <a:lnTo>
                      <a:pt x="2012" y="84"/>
                    </a:lnTo>
                    <a:lnTo>
                      <a:pt x="2013" y="86"/>
                    </a:lnTo>
                    <a:lnTo>
                      <a:pt x="2015" y="87"/>
                    </a:lnTo>
                    <a:lnTo>
                      <a:pt x="2019" y="89"/>
                    </a:lnTo>
                    <a:lnTo>
                      <a:pt x="2021" y="92"/>
                    </a:lnTo>
                    <a:lnTo>
                      <a:pt x="2023" y="94"/>
                    </a:lnTo>
                    <a:lnTo>
                      <a:pt x="2025" y="96"/>
                    </a:lnTo>
                    <a:lnTo>
                      <a:pt x="2025" y="98"/>
                    </a:lnTo>
                    <a:lnTo>
                      <a:pt x="2024" y="100"/>
                    </a:lnTo>
                    <a:lnTo>
                      <a:pt x="2024" y="101"/>
                    </a:lnTo>
                    <a:lnTo>
                      <a:pt x="2023" y="103"/>
                    </a:lnTo>
                    <a:lnTo>
                      <a:pt x="2023" y="104"/>
                    </a:lnTo>
                    <a:lnTo>
                      <a:pt x="2023" y="105"/>
                    </a:lnTo>
                    <a:lnTo>
                      <a:pt x="2022" y="106"/>
                    </a:lnTo>
                    <a:lnTo>
                      <a:pt x="2022" y="108"/>
                    </a:lnTo>
                    <a:lnTo>
                      <a:pt x="2023" y="109"/>
                    </a:lnTo>
                    <a:lnTo>
                      <a:pt x="2023" y="111"/>
                    </a:lnTo>
                    <a:lnTo>
                      <a:pt x="2023" y="117"/>
                    </a:lnTo>
                    <a:lnTo>
                      <a:pt x="2022" y="118"/>
                    </a:lnTo>
                    <a:lnTo>
                      <a:pt x="2022" y="118"/>
                    </a:lnTo>
                    <a:lnTo>
                      <a:pt x="2021" y="118"/>
                    </a:lnTo>
                    <a:lnTo>
                      <a:pt x="2020" y="117"/>
                    </a:lnTo>
                    <a:lnTo>
                      <a:pt x="2019" y="115"/>
                    </a:lnTo>
                    <a:lnTo>
                      <a:pt x="2017" y="112"/>
                    </a:lnTo>
                    <a:lnTo>
                      <a:pt x="2016" y="110"/>
                    </a:lnTo>
                    <a:lnTo>
                      <a:pt x="2015" y="108"/>
                    </a:lnTo>
                    <a:lnTo>
                      <a:pt x="2014" y="105"/>
                    </a:lnTo>
                    <a:lnTo>
                      <a:pt x="2012" y="103"/>
                    </a:lnTo>
                    <a:lnTo>
                      <a:pt x="2010" y="103"/>
                    </a:lnTo>
                    <a:lnTo>
                      <a:pt x="2009" y="103"/>
                    </a:lnTo>
                    <a:lnTo>
                      <a:pt x="2008" y="100"/>
                    </a:lnTo>
                    <a:lnTo>
                      <a:pt x="2006" y="98"/>
                    </a:lnTo>
                    <a:lnTo>
                      <a:pt x="2004" y="97"/>
                    </a:lnTo>
                    <a:lnTo>
                      <a:pt x="2003" y="95"/>
                    </a:lnTo>
                    <a:lnTo>
                      <a:pt x="2003" y="92"/>
                    </a:lnTo>
                    <a:lnTo>
                      <a:pt x="2002" y="89"/>
                    </a:lnTo>
                    <a:lnTo>
                      <a:pt x="2002" y="88"/>
                    </a:lnTo>
                    <a:lnTo>
                      <a:pt x="2002" y="85"/>
                    </a:lnTo>
                    <a:lnTo>
                      <a:pt x="2002" y="83"/>
                    </a:lnTo>
                    <a:lnTo>
                      <a:pt x="2002" y="79"/>
                    </a:lnTo>
                    <a:lnTo>
                      <a:pt x="2001" y="77"/>
                    </a:lnTo>
                    <a:lnTo>
                      <a:pt x="1999" y="74"/>
                    </a:lnTo>
                    <a:lnTo>
                      <a:pt x="1998" y="71"/>
                    </a:lnTo>
                    <a:lnTo>
                      <a:pt x="1998" y="68"/>
                    </a:lnTo>
                    <a:lnTo>
                      <a:pt x="1997" y="67"/>
                    </a:lnTo>
                    <a:lnTo>
                      <a:pt x="1997" y="65"/>
                    </a:lnTo>
                    <a:lnTo>
                      <a:pt x="1998" y="65"/>
                    </a:lnTo>
                    <a:lnTo>
                      <a:pt x="1998" y="64"/>
                    </a:lnTo>
                    <a:lnTo>
                      <a:pt x="1998" y="63"/>
                    </a:lnTo>
                    <a:lnTo>
                      <a:pt x="1997" y="62"/>
                    </a:lnTo>
                    <a:lnTo>
                      <a:pt x="1995" y="60"/>
                    </a:lnTo>
                    <a:lnTo>
                      <a:pt x="1994" y="57"/>
                    </a:lnTo>
                    <a:lnTo>
                      <a:pt x="1992" y="56"/>
                    </a:lnTo>
                    <a:lnTo>
                      <a:pt x="1991" y="55"/>
                    </a:lnTo>
                    <a:lnTo>
                      <a:pt x="1990" y="53"/>
                    </a:lnTo>
                    <a:lnTo>
                      <a:pt x="1990" y="51"/>
                    </a:lnTo>
                    <a:lnTo>
                      <a:pt x="1991" y="50"/>
                    </a:lnTo>
                    <a:lnTo>
                      <a:pt x="1992" y="49"/>
                    </a:lnTo>
                    <a:lnTo>
                      <a:pt x="1993" y="47"/>
                    </a:lnTo>
                    <a:lnTo>
                      <a:pt x="1993" y="47"/>
                    </a:lnTo>
                    <a:lnTo>
                      <a:pt x="1994" y="46"/>
                    </a:lnTo>
                    <a:close/>
                    <a:moveTo>
                      <a:pt x="2166" y="45"/>
                    </a:moveTo>
                    <a:lnTo>
                      <a:pt x="2167" y="45"/>
                    </a:lnTo>
                    <a:lnTo>
                      <a:pt x="2168" y="46"/>
                    </a:lnTo>
                    <a:lnTo>
                      <a:pt x="2171" y="46"/>
                    </a:lnTo>
                    <a:lnTo>
                      <a:pt x="2173" y="47"/>
                    </a:lnTo>
                    <a:lnTo>
                      <a:pt x="2176" y="49"/>
                    </a:lnTo>
                    <a:lnTo>
                      <a:pt x="2178" y="49"/>
                    </a:lnTo>
                    <a:lnTo>
                      <a:pt x="2182" y="50"/>
                    </a:lnTo>
                    <a:lnTo>
                      <a:pt x="2184" y="51"/>
                    </a:lnTo>
                    <a:lnTo>
                      <a:pt x="2184" y="52"/>
                    </a:lnTo>
                    <a:lnTo>
                      <a:pt x="2184" y="52"/>
                    </a:lnTo>
                    <a:lnTo>
                      <a:pt x="2182" y="53"/>
                    </a:lnTo>
                    <a:lnTo>
                      <a:pt x="2179" y="53"/>
                    </a:lnTo>
                    <a:lnTo>
                      <a:pt x="2177" y="52"/>
                    </a:lnTo>
                    <a:lnTo>
                      <a:pt x="2175" y="52"/>
                    </a:lnTo>
                    <a:lnTo>
                      <a:pt x="2174" y="52"/>
                    </a:lnTo>
                    <a:lnTo>
                      <a:pt x="2173" y="52"/>
                    </a:lnTo>
                    <a:lnTo>
                      <a:pt x="2169" y="51"/>
                    </a:lnTo>
                    <a:lnTo>
                      <a:pt x="2167" y="50"/>
                    </a:lnTo>
                    <a:lnTo>
                      <a:pt x="2166" y="49"/>
                    </a:lnTo>
                    <a:lnTo>
                      <a:pt x="2166" y="47"/>
                    </a:lnTo>
                    <a:lnTo>
                      <a:pt x="2166" y="46"/>
                    </a:lnTo>
                    <a:lnTo>
                      <a:pt x="2166" y="45"/>
                    </a:lnTo>
                    <a:close/>
                    <a:moveTo>
                      <a:pt x="2158" y="45"/>
                    </a:moveTo>
                    <a:lnTo>
                      <a:pt x="2160" y="45"/>
                    </a:lnTo>
                    <a:lnTo>
                      <a:pt x="2162" y="46"/>
                    </a:lnTo>
                    <a:lnTo>
                      <a:pt x="2162" y="49"/>
                    </a:lnTo>
                    <a:lnTo>
                      <a:pt x="2162" y="50"/>
                    </a:lnTo>
                    <a:lnTo>
                      <a:pt x="2163" y="51"/>
                    </a:lnTo>
                    <a:lnTo>
                      <a:pt x="2164" y="53"/>
                    </a:lnTo>
                    <a:lnTo>
                      <a:pt x="2167" y="54"/>
                    </a:lnTo>
                    <a:lnTo>
                      <a:pt x="2167" y="54"/>
                    </a:lnTo>
                    <a:lnTo>
                      <a:pt x="2167" y="54"/>
                    </a:lnTo>
                    <a:lnTo>
                      <a:pt x="2167" y="53"/>
                    </a:lnTo>
                    <a:lnTo>
                      <a:pt x="2168" y="53"/>
                    </a:lnTo>
                    <a:lnTo>
                      <a:pt x="2169" y="54"/>
                    </a:lnTo>
                    <a:lnTo>
                      <a:pt x="2169" y="56"/>
                    </a:lnTo>
                    <a:lnTo>
                      <a:pt x="2172" y="57"/>
                    </a:lnTo>
                    <a:lnTo>
                      <a:pt x="2173" y="60"/>
                    </a:lnTo>
                    <a:lnTo>
                      <a:pt x="2175" y="62"/>
                    </a:lnTo>
                    <a:lnTo>
                      <a:pt x="2175" y="63"/>
                    </a:lnTo>
                    <a:lnTo>
                      <a:pt x="2173" y="63"/>
                    </a:lnTo>
                    <a:lnTo>
                      <a:pt x="2169" y="62"/>
                    </a:lnTo>
                    <a:lnTo>
                      <a:pt x="2167" y="60"/>
                    </a:lnTo>
                    <a:lnTo>
                      <a:pt x="2165" y="58"/>
                    </a:lnTo>
                    <a:lnTo>
                      <a:pt x="2163" y="56"/>
                    </a:lnTo>
                    <a:lnTo>
                      <a:pt x="2161" y="55"/>
                    </a:lnTo>
                    <a:lnTo>
                      <a:pt x="2160" y="54"/>
                    </a:lnTo>
                    <a:lnTo>
                      <a:pt x="2158" y="54"/>
                    </a:lnTo>
                    <a:lnTo>
                      <a:pt x="2157" y="54"/>
                    </a:lnTo>
                    <a:lnTo>
                      <a:pt x="2157" y="53"/>
                    </a:lnTo>
                    <a:lnTo>
                      <a:pt x="2156" y="52"/>
                    </a:lnTo>
                    <a:lnTo>
                      <a:pt x="2156" y="46"/>
                    </a:lnTo>
                    <a:lnTo>
                      <a:pt x="2157" y="45"/>
                    </a:lnTo>
                    <a:lnTo>
                      <a:pt x="2158" y="45"/>
                    </a:lnTo>
                    <a:close/>
                    <a:moveTo>
                      <a:pt x="465" y="29"/>
                    </a:moveTo>
                    <a:lnTo>
                      <a:pt x="472" y="29"/>
                    </a:lnTo>
                    <a:lnTo>
                      <a:pt x="475" y="31"/>
                    </a:lnTo>
                    <a:lnTo>
                      <a:pt x="477" y="33"/>
                    </a:lnTo>
                    <a:lnTo>
                      <a:pt x="477" y="36"/>
                    </a:lnTo>
                    <a:lnTo>
                      <a:pt x="476" y="40"/>
                    </a:lnTo>
                    <a:lnTo>
                      <a:pt x="474" y="43"/>
                    </a:lnTo>
                    <a:lnTo>
                      <a:pt x="469" y="49"/>
                    </a:lnTo>
                    <a:lnTo>
                      <a:pt x="462" y="54"/>
                    </a:lnTo>
                    <a:lnTo>
                      <a:pt x="456" y="60"/>
                    </a:lnTo>
                    <a:lnTo>
                      <a:pt x="454" y="65"/>
                    </a:lnTo>
                    <a:lnTo>
                      <a:pt x="458" y="71"/>
                    </a:lnTo>
                    <a:lnTo>
                      <a:pt x="461" y="71"/>
                    </a:lnTo>
                    <a:lnTo>
                      <a:pt x="466" y="69"/>
                    </a:lnTo>
                    <a:lnTo>
                      <a:pt x="471" y="67"/>
                    </a:lnTo>
                    <a:lnTo>
                      <a:pt x="474" y="66"/>
                    </a:lnTo>
                    <a:lnTo>
                      <a:pt x="476" y="71"/>
                    </a:lnTo>
                    <a:lnTo>
                      <a:pt x="476" y="75"/>
                    </a:lnTo>
                    <a:lnTo>
                      <a:pt x="475" y="79"/>
                    </a:lnTo>
                    <a:lnTo>
                      <a:pt x="474" y="84"/>
                    </a:lnTo>
                    <a:lnTo>
                      <a:pt x="474" y="86"/>
                    </a:lnTo>
                    <a:lnTo>
                      <a:pt x="474" y="88"/>
                    </a:lnTo>
                    <a:lnTo>
                      <a:pt x="474" y="90"/>
                    </a:lnTo>
                    <a:lnTo>
                      <a:pt x="475" y="93"/>
                    </a:lnTo>
                    <a:lnTo>
                      <a:pt x="476" y="95"/>
                    </a:lnTo>
                    <a:lnTo>
                      <a:pt x="478" y="100"/>
                    </a:lnTo>
                    <a:lnTo>
                      <a:pt x="478" y="108"/>
                    </a:lnTo>
                    <a:lnTo>
                      <a:pt x="476" y="115"/>
                    </a:lnTo>
                    <a:lnTo>
                      <a:pt x="473" y="122"/>
                    </a:lnTo>
                    <a:lnTo>
                      <a:pt x="465" y="130"/>
                    </a:lnTo>
                    <a:lnTo>
                      <a:pt x="458" y="137"/>
                    </a:lnTo>
                    <a:lnTo>
                      <a:pt x="454" y="137"/>
                    </a:lnTo>
                    <a:lnTo>
                      <a:pt x="452" y="137"/>
                    </a:lnTo>
                    <a:lnTo>
                      <a:pt x="450" y="138"/>
                    </a:lnTo>
                    <a:lnTo>
                      <a:pt x="448" y="139"/>
                    </a:lnTo>
                    <a:lnTo>
                      <a:pt x="447" y="141"/>
                    </a:lnTo>
                    <a:lnTo>
                      <a:pt x="445" y="143"/>
                    </a:lnTo>
                    <a:lnTo>
                      <a:pt x="444" y="145"/>
                    </a:lnTo>
                    <a:lnTo>
                      <a:pt x="444" y="148"/>
                    </a:lnTo>
                    <a:lnTo>
                      <a:pt x="441" y="151"/>
                    </a:lnTo>
                    <a:lnTo>
                      <a:pt x="438" y="153"/>
                    </a:lnTo>
                    <a:lnTo>
                      <a:pt x="434" y="154"/>
                    </a:lnTo>
                    <a:lnTo>
                      <a:pt x="430" y="153"/>
                    </a:lnTo>
                    <a:lnTo>
                      <a:pt x="427" y="152"/>
                    </a:lnTo>
                    <a:lnTo>
                      <a:pt x="423" y="149"/>
                    </a:lnTo>
                    <a:lnTo>
                      <a:pt x="421" y="147"/>
                    </a:lnTo>
                    <a:lnTo>
                      <a:pt x="420" y="143"/>
                    </a:lnTo>
                    <a:lnTo>
                      <a:pt x="418" y="140"/>
                    </a:lnTo>
                    <a:lnTo>
                      <a:pt x="416" y="137"/>
                    </a:lnTo>
                    <a:lnTo>
                      <a:pt x="414" y="133"/>
                    </a:lnTo>
                    <a:lnTo>
                      <a:pt x="411" y="130"/>
                    </a:lnTo>
                    <a:lnTo>
                      <a:pt x="408" y="128"/>
                    </a:lnTo>
                    <a:lnTo>
                      <a:pt x="404" y="127"/>
                    </a:lnTo>
                    <a:lnTo>
                      <a:pt x="398" y="126"/>
                    </a:lnTo>
                    <a:lnTo>
                      <a:pt x="396" y="123"/>
                    </a:lnTo>
                    <a:lnTo>
                      <a:pt x="394" y="121"/>
                    </a:lnTo>
                    <a:lnTo>
                      <a:pt x="393" y="119"/>
                    </a:lnTo>
                    <a:lnTo>
                      <a:pt x="391" y="117"/>
                    </a:lnTo>
                    <a:lnTo>
                      <a:pt x="390" y="115"/>
                    </a:lnTo>
                    <a:lnTo>
                      <a:pt x="388" y="112"/>
                    </a:lnTo>
                    <a:lnTo>
                      <a:pt x="387" y="111"/>
                    </a:lnTo>
                    <a:lnTo>
                      <a:pt x="385" y="110"/>
                    </a:lnTo>
                    <a:lnTo>
                      <a:pt x="384" y="108"/>
                    </a:lnTo>
                    <a:lnTo>
                      <a:pt x="380" y="105"/>
                    </a:lnTo>
                    <a:lnTo>
                      <a:pt x="379" y="101"/>
                    </a:lnTo>
                    <a:lnTo>
                      <a:pt x="378" y="98"/>
                    </a:lnTo>
                    <a:lnTo>
                      <a:pt x="379" y="94"/>
                    </a:lnTo>
                    <a:lnTo>
                      <a:pt x="382" y="90"/>
                    </a:lnTo>
                    <a:lnTo>
                      <a:pt x="382" y="88"/>
                    </a:lnTo>
                    <a:lnTo>
                      <a:pt x="383" y="86"/>
                    </a:lnTo>
                    <a:lnTo>
                      <a:pt x="384" y="85"/>
                    </a:lnTo>
                    <a:lnTo>
                      <a:pt x="385" y="83"/>
                    </a:lnTo>
                    <a:lnTo>
                      <a:pt x="386" y="82"/>
                    </a:lnTo>
                    <a:lnTo>
                      <a:pt x="387" y="82"/>
                    </a:lnTo>
                    <a:lnTo>
                      <a:pt x="389" y="82"/>
                    </a:lnTo>
                    <a:lnTo>
                      <a:pt x="389" y="84"/>
                    </a:lnTo>
                    <a:lnTo>
                      <a:pt x="391" y="86"/>
                    </a:lnTo>
                    <a:lnTo>
                      <a:pt x="394" y="88"/>
                    </a:lnTo>
                    <a:lnTo>
                      <a:pt x="396" y="90"/>
                    </a:lnTo>
                    <a:lnTo>
                      <a:pt x="398" y="92"/>
                    </a:lnTo>
                    <a:lnTo>
                      <a:pt x="401" y="92"/>
                    </a:lnTo>
                    <a:lnTo>
                      <a:pt x="405" y="90"/>
                    </a:lnTo>
                    <a:lnTo>
                      <a:pt x="408" y="87"/>
                    </a:lnTo>
                    <a:lnTo>
                      <a:pt x="410" y="84"/>
                    </a:lnTo>
                    <a:lnTo>
                      <a:pt x="412" y="79"/>
                    </a:lnTo>
                    <a:lnTo>
                      <a:pt x="412" y="76"/>
                    </a:lnTo>
                    <a:lnTo>
                      <a:pt x="411" y="73"/>
                    </a:lnTo>
                    <a:lnTo>
                      <a:pt x="411" y="71"/>
                    </a:lnTo>
                    <a:lnTo>
                      <a:pt x="409" y="68"/>
                    </a:lnTo>
                    <a:lnTo>
                      <a:pt x="408" y="67"/>
                    </a:lnTo>
                    <a:lnTo>
                      <a:pt x="406" y="65"/>
                    </a:lnTo>
                    <a:lnTo>
                      <a:pt x="405" y="63"/>
                    </a:lnTo>
                    <a:lnTo>
                      <a:pt x="404" y="61"/>
                    </a:lnTo>
                    <a:lnTo>
                      <a:pt x="404" y="58"/>
                    </a:lnTo>
                    <a:lnTo>
                      <a:pt x="405" y="57"/>
                    </a:lnTo>
                    <a:lnTo>
                      <a:pt x="408" y="56"/>
                    </a:lnTo>
                    <a:lnTo>
                      <a:pt x="410" y="55"/>
                    </a:lnTo>
                    <a:lnTo>
                      <a:pt x="410" y="54"/>
                    </a:lnTo>
                    <a:lnTo>
                      <a:pt x="409" y="54"/>
                    </a:lnTo>
                    <a:lnTo>
                      <a:pt x="407" y="53"/>
                    </a:lnTo>
                    <a:lnTo>
                      <a:pt x="405" y="51"/>
                    </a:lnTo>
                    <a:lnTo>
                      <a:pt x="405" y="49"/>
                    </a:lnTo>
                    <a:lnTo>
                      <a:pt x="405" y="45"/>
                    </a:lnTo>
                    <a:lnTo>
                      <a:pt x="406" y="42"/>
                    </a:lnTo>
                    <a:lnTo>
                      <a:pt x="409" y="40"/>
                    </a:lnTo>
                    <a:lnTo>
                      <a:pt x="414" y="38"/>
                    </a:lnTo>
                    <a:lnTo>
                      <a:pt x="417" y="36"/>
                    </a:lnTo>
                    <a:lnTo>
                      <a:pt x="420" y="35"/>
                    </a:lnTo>
                    <a:lnTo>
                      <a:pt x="423" y="35"/>
                    </a:lnTo>
                    <a:lnTo>
                      <a:pt x="427" y="35"/>
                    </a:lnTo>
                    <a:lnTo>
                      <a:pt x="429" y="35"/>
                    </a:lnTo>
                    <a:lnTo>
                      <a:pt x="431" y="36"/>
                    </a:lnTo>
                    <a:lnTo>
                      <a:pt x="432" y="38"/>
                    </a:lnTo>
                    <a:lnTo>
                      <a:pt x="433" y="39"/>
                    </a:lnTo>
                    <a:lnTo>
                      <a:pt x="434" y="41"/>
                    </a:lnTo>
                    <a:lnTo>
                      <a:pt x="436" y="42"/>
                    </a:lnTo>
                    <a:lnTo>
                      <a:pt x="438" y="42"/>
                    </a:lnTo>
                    <a:lnTo>
                      <a:pt x="441" y="42"/>
                    </a:lnTo>
                    <a:lnTo>
                      <a:pt x="443" y="41"/>
                    </a:lnTo>
                    <a:lnTo>
                      <a:pt x="447" y="40"/>
                    </a:lnTo>
                    <a:lnTo>
                      <a:pt x="449" y="39"/>
                    </a:lnTo>
                    <a:lnTo>
                      <a:pt x="451" y="38"/>
                    </a:lnTo>
                    <a:lnTo>
                      <a:pt x="456" y="34"/>
                    </a:lnTo>
                    <a:lnTo>
                      <a:pt x="461" y="31"/>
                    </a:lnTo>
                    <a:lnTo>
                      <a:pt x="465" y="29"/>
                    </a:lnTo>
                    <a:close/>
                    <a:moveTo>
                      <a:pt x="2209" y="28"/>
                    </a:moveTo>
                    <a:lnTo>
                      <a:pt x="2210" y="28"/>
                    </a:lnTo>
                    <a:lnTo>
                      <a:pt x="2211" y="29"/>
                    </a:lnTo>
                    <a:lnTo>
                      <a:pt x="2212" y="31"/>
                    </a:lnTo>
                    <a:lnTo>
                      <a:pt x="2213" y="32"/>
                    </a:lnTo>
                    <a:lnTo>
                      <a:pt x="2215" y="33"/>
                    </a:lnTo>
                    <a:lnTo>
                      <a:pt x="2215" y="34"/>
                    </a:lnTo>
                    <a:lnTo>
                      <a:pt x="2215" y="35"/>
                    </a:lnTo>
                    <a:lnTo>
                      <a:pt x="2215" y="36"/>
                    </a:lnTo>
                    <a:lnTo>
                      <a:pt x="2216" y="38"/>
                    </a:lnTo>
                    <a:lnTo>
                      <a:pt x="2218" y="39"/>
                    </a:lnTo>
                    <a:lnTo>
                      <a:pt x="2221" y="40"/>
                    </a:lnTo>
                    <a:lnTo>
                      <a:pt x="2221" y="40"/>
                    </a:lnTo>
                    <a:lnTo>
                      <a:pt x="2222" y="41"/>
                    </a:lnTo>
                    <a:lnTo>
                      <a:pt x="2223" y="42"/>
                    </a:lnTo>
                    <a:lnTo>
                      <a:pt x="2226" y="44"/>
                    </a:lnTo>
                    <a:lnTo>
                      <a:pt x="2226" y="45"/>
                    </a:lnTo>
                    <a:lnTo>
                      <a:pt x="2227" y="46"/>
                    </a:lnTo>
                    <a:lnTo>
                      <a:pt x="2226" y="47"/>
                    </a:lnTo>
                    <a:lnTo>
                      <a:pt x="2224" y="47"/>
                    </a:lnTo>
                    <a:lnTo>
                      <a:pt x="2221" y="45"/>
                    </a:lnTo>
                    <a:lnTo>
                      <a:pt x="2220" y="46"/>
                    </a:lnTo>
                    <a:lnTo>
                      <a:pt x="2220" y="47"/>
                    </a:lnTo>
                    <a:lnTo>
                      <a:pt x="2221" y="49"/>
                    </a:lnTo>
                    <a:lnTo>
                      <a:pt x="2222" y="50"/>
                    </a:lnTo>
                    <a:lnTo>
                      <a:pt x="2224" y="51"/>
                    </a:lnTo>
                    <a:lnTo>
                      <a:pt x="2224" y="53"/>
                    </a:lnTo>
                    <a:lnTo>
                      <a:pt x="2226" y="54"/>
                    </a:lnTo>
                    <a:lnTo>
                      <a:pt x="2227" y="56"/>
                    </a:lnTo>
                    <a:lnTo>
                      <a:pt x="2228" y="57"/>
                    </a:lnTo>
                    <a:lnTo>
                      <a:pt x="2228" y="58"/>
                    </a:lnTo>
                    <a:lnTo>
                      <a:pt x="2228" y="58"/>
                    </a:lnTo>
                    <a:lnTo>
                      <a:pt x="2227" y="58"/>
                    </a:lnTo>
                    <a:lnTo>
                      <a:pt x="2224" y="58"/>
                    </a:lnTo>
                    <a:lnTo>
                      <a:pt x="2222" y="57"/>
                    </a:lnTo>
                    <a:lnTo>
                      <a:pt x="2221" y="57"/>
                    </a:lnTo>
                    <a:lnTo>
                      <a:pt x="2219" y="56"/>
                    </a:lnTo>
                    <a:lnTo>
                      <a:pt x="2218" y="56"/>
                    </a:lnTo>
                    <a:lnTo>
                      <a:pt x="2218" y="57"/>
                    </a:lnTo>
                    <a:lnTo>
                      <a:pt x="2218" y="58"/>
                    </a:lnTo>
                    <a:lnTo>
                      <a:pt x="2216" y="57"/>
                    </a:lnTo>
                    <a:lnTo>
                      <a:pt x="2213" y="56"/>
                    </a:lnTo>
                    <a:lnTo>
                      <a:pt x="2211" y="53"/>
                    </a:lnTo>
                    <a:lnTo>
                      <a:pt x="2210" y="52"/>
                    </a:lnTo>
                    <a:lnTo>
                      <a:pt x="2210" y="51"/>
                    </a:lnTo>
                    <a:lnTo>
                      <a:pt x="2207" y="49"/>
                    </a:lnTo>
                    <a:lnTo>
                      <a:pt x="2206" y="47"/>
                    </a:lnTo>
                    <a:lnTo>
                      <a:pt x="2206" y="46"/>
                    </a:lnTo>
                    <a:lnTo>
                      <a:pt x="2206" y="44"/>
                    </a:lnTo>
                    <a:lnTo>
                      <a:pt x="2206" y="42"/>
                    </a:lnTo>
                    <a:lnTo>
                      <a:pt x="2205" y="41"/>
                    </a:lnTo>
                    <a:lnTo>
                      <a:pt x="2205" y="40"/>
                    </a:lnTo>
                    <a:lnTo>
                      <a:pt x="2205" y="39"/>
                    </a:lnTo>
                    <a:lnTo>
                      <a:pt x="2206" y="38"/>
                    </a:lnTo>
                    <a:lnTo>
                      <a:pt x="2208" y="38"/>
                    </a:lnTo>
                    <a:lnTo>
                      <a:pt x="2208" y="38"/>
                    </a:lnTo>
                    <a:lnTo>
                      <a:pt x="2208" y="36"/>
                    </a:lnTo>
                    <a:lnTo>
                      <a:pt x="2207" y="36"/>
                    </a:lnTo>
                    <a:lnTo>
                      <a:pt x="2206" y="35"/>
                    </a:lnTo>
                    <a:lnTo>
                      <a:pt x="2205" y="35"/>
                    </a:lnTo>
                    <a:lnTo>
                      <a:pt x="2202" y="34"/>
                    </a:lnTo>
                    <a:lnTo>
                      <a:pt x="2204" y="32"/>
                    </a:lnTo>
                    <a:lnTo>
                      <a:pt x="2205" y="31"/>
                    </a:lnTo>
                    <a:lnTo>
                      <a:pt x="2207" y="29"/>
                    </a:lnTo>
                    <a:lnTo>
                      <a:pt x="2209" y="28"/>
                    </a:lnTo>
                    <a:lnTo>
                      <a:pt x="2209" y="28"/>
                    </a:lnTo>
                    <a:close/>
                    <a:moveTo>
                      <a:pt x="679" y="17"/>
                    </a:moveTo>
                    <a:lnTo>
                      <a:pt x="683" y="18"/>
                    </a:lnTo>
                    <a:lnTo>
                      <a:pt x="688" y="18"/>
                    </a:lnTo>
                    <a:lnTo>
                      <a:pt x="690" y="20"/>
                    </a:lnTo>
                    <a:lnTo>
                      <a:pt x="692" y="21"/>
                    </a:lnTo>
                    <a:lnTo>
                      <a:pt x="693" y="23"/>
                    </a:lnTo>
                    <a:lnTo>
                      <a:pt x="692" y="27"/>
                    </a:lnTo>
                    <a:lnTo>
                      <a:pt x="690" y="29"/>
                    </a:lnTo>
                    <a:lnTo>
                      <a:pt x="685" y="32"/>
                    </a:lnTo>
                    <a:lnTo>
                      <a:pt x="683" y="34"/>
                    </a:lnTo>
                    <a:lnTo>
                      <a:pt x="682" y="36"/>
                    </a:lnTo>
                    <a:lnTo>
                      <a:pt x="681" y="40"/>
                    </a:lnTo>
                    <a:lnTo>
                      <a:pt x="679" y="43"/>
                    </a:lnTo>
                    <a:lnTo>
                      <a:pt x="677" y="45"/>
                    </a:lnTo>
                    <a:lnTo>
                      <a:pt x="673" y="47"/>
                    </a:lnTo>
                    <a:lnTo>
                      <a:pt x="671" y="49"/>
                    </a:lnTo>
                    <a:lnTo>
                      <a:pt x="669" y="51"/>
                    </a:lnTo>
                    <a:lnTo>
                      <a:pt x="667" y="53"/>
                    </a:lnTo>
                    <a:lnTo>
                      <a:pt x="663" y="54"/>
                    </a:lnTo>
                    <a:lnTo>
                      <a:pt x="661" y="57"/>
                    </a:lnTo>
                    <a:lnTo>
                      <a:pt x="659" y="60"/>
                    </a:lnTo>
                    <a:lnTo>
                      <a:pt x="657" y="63"/>
                    </a:lnTo>
                    <a:lnTo>
                      <a:pt x="656" y="66"/>
                    </a:lnTo>
                    <a:lnTo>
                      <a:pt x="655" y="69"/>
                    </a:lnTo>
                    <a:lnTo>
                      <a:pt x="657" y="74"/>
                    </a:lnTo>
                    <a:lnTo>
                      <a:pt x="659" y="77"/>
                    </a:lnTo>
                    <a:lnTo>
                      <a:pt x="661" y="80"/>
                    </a:lnTo>
                    <a:lnTo>
                      <a:pt x="662" y="87"/>
                    </a:lnTo>
                    <a:lnTo>
                      <a:pt x="660" y="94"/>
                    </a:lnTo>
                    <a:lnTo>
                      <a:pt x="659" y="100"/>
                    </a:lnTo>
                    <a:lnTo>
                      <a:pt x="660" y="104"/>
                    </a:lnTo>
                    <a:lnTo>
                      <a:pt x="662" y="107"/>
                    </a:lnTo>
                    <a:lnTo>
                      <a:pt x="665" y="110"/>
                    </a:lnTo>
                    <a:lnTo>
                      <a:pt x="666" y="114"/>
                    </a:lnTo>
                    <a:lnTo>
                      <a:pt x="668" y="116"/>
                    </a:lnTo>
                    <a:lnTo>
                      <a:pt x="669" y="118"/>
                    </a:lnTo>
                    <a:lnTo>
                      <a:pt x="669" y="120"/>
                    </a:lnTo>
                    <a:lnTo>
                      <a:pt x="670" y="122"/>
                    </a:lnTo>
                    <a:lnTo>
                      <a:pt x="672" y="125"/>
                    </a:lnTo>
                    <a:lnTo>
                      <a:pt x="674" y="127"/>
                    </a:lnTo>
                    <a:lnTo>
                      <a:pt x="677" y="128"/>
                    </a:lnTo>
                    <a:lnTo>
                      <a:pt x="681" y="129"/>
                    </a:lnTo>
                    <a:lnTo>
                      <a:pt x="684" y="129"/>
                    </a:lnTo>
                    <a:lnTo>
                      <a:pt x="687" y="129"/>
                    </a:lnTo>
                    <a:lnTo>
                      <a:pt x="688" y="129"/>
                    </a:lnTo>
                    <a:lnTo>
                      <a:pt x="688" y="128"/>
                    </a:lnTo>
                    <a:lnTo>
                      <a:pt x="688" y="127"/>
                    </a:lnTo>
                    <a:lnTo>
                      <a:pt x="688" y="125"/>
                    </a:lnTo>
                    <a:lnTo>
                      <a:pt x="687" y="122"/>
                    </a:lnTo>
                    <a:lnTo>
                      <a:pt x="685" y="120"/>
                    </a:lnTo>
                    <a:lnTo>
                      <a:pt x="684" y="119"/>
                    </a:lnTo>
                    <a:lnTo>
                      <a:pt x="682" y="117"/>
                    </a:lnTo>
                    <a:lnTo>
                      <a:pt x="681" y="116"/>
                    </a:lnTo>
                    <a:lnTo>
                      <a:pt x="678" y="112"/>
                    </a:lnTo>
                    <a:lnTo>
                      <a:pt x="674" y="107"/>
                    </a:lnTo>
                    <a:lnTo>
                      <a:pt x="672" y="101"/>
                    </a:lnTo>
                    <a:lnTo>
                      <a:pt x="672" y="97"/>
                    </a:lnTo>
                    <a:lnTo>
                      <a:pt x="677" y="94"/>
                    </a:lnTo>
                    <a:lnTo>
                      <a:pt x="681" y="92"/>
                    </a:lnTo>
                    <a:lnTo>
                      <a:pt x="683" y="89"/>
                    </a:lnTo>
                    <a:lnTo>
                      <a:pt x="685" y="88"/>
                    </a:lnTo>
                    <a:lnTo>
                      <a:pt x="687" y="87"/>
                    </a:lnTo>
                    <a:lnTo>
                      <a:pt x="687" y="85"/>
                    </a:lnTo>
                    <a:lnTo>
                      <a:pt x="685" y="84"/>
                    </a:lnTo>
                    <a:lnTo>
                      <a:pt x="684" y="82"/>
                    </a:lnTo>
                    <a:lnTo>
                      <a:pt x="681" y="78"/>
                    </a:lnTo>
                    <a:lnTo>
                      <a:pt x="680" y="77"/>
                    </a:lnTo>
                    <a:lnTo>
                      <a:pt x="678" y="75"/>
                    </a:lnTo>
                    <a:lnTo>
                      <a:pt x="677" y="73"/>
                    </a:lnTo>
                    <a:lnTo>
                      <a:pt x="674" y="71"/>
                    </a:lnTo>
                    <a:lnTo>
                      <a:pt x="674" y="67"/>
                    </a:lnTo>
                    <a:lnTo>
                      <a:pt x="674" y="65"/>
                    </a:lnTo>
                    <a:lnTo>
                      <a:pt x="676" y="63"/>
                    </a:lnTo>
                    <a:lnTo>
                      <a:pt x="677" y="61"/>
                    </a:lnTo>
                    <a:lnTo>
                      <a:pt x="679" y="60"/>
                    </a:lnTo>
                    <a:lnTo>
                      <a:pt x="681" y="58"/>
                    </a:lnTo>
                    <a:lnTo>
                      <a:pt x="683" y="57"/>
                    </a:lnTo>
                    <a:lnTo>
                      <a:pt x="685" y="56"/>
                    </a:lnTo>
                    <a:lnTo>
                      <a:pt x="688" y="55"/>
                    </a:lnTo>
                    <a:lnTo>
                      <a:pt x="688" y="54"/>
                    </a:lnTo>
                    <a:lnTo>
                      <a:pt x="688" y="52"/>
                    </a:lnTo>
                    <a:lnTo>
                      <a:pt x="687" y="50"/>
                    </a:lnTo>
                    <a:lnTo>
                      <a:pt x="688" y="47"/>
                    </a:lnTo>
                    <a:lnTo>
                      <a:pt x="688" y="47"/>
                    </a:lnTo>
                    <a:lnTo>
                      <a:pt x="689" y="45"/>
                    </a:lnTo>
                    <a:lnTo>
                      <a:pt x="689" y="43"/>
                    </a:lnTo>
                    <a:lnTo>
                      <a:pt x="690" y="41"/>
                    </a:lnTo>
                    <a:lnTo>
                      <a:pt x="690" y="39"/>
                    </a:lnTo>
                    <a:lnTo>
                      <a:pt x="690" y="36"/>
                    </a:lnTo>
                    <a:lnTo>
                      <a:pt x="701" y="36"/>
                    </a:lnTo>
                    <a:lnTo>
                      <a:pt x="704" y="35"/>
                    </a:lnTo>
                    <a:lnTo>
                      <a:pt x="706" y="33"/>
                    </a:lnTo>
                    <a:lnTo>
                      <a:pt x="707" y="31"/>
                    </a:lnTo>
                    <a:lnTo>
                      <a:pt x="710" y="29"/>
                    </a:lnTo>
                    <a:lnTo>
                      <a:pt x="712" y="25"/>
                    </a:lnTo>
                    <a:lnTo>
                      <a:pt x="714" y="25"/>
                    </a:lnTo>
                    <a:lnTo>
                      <a:pt x="717" y="24"/>
                    </a:lnTo>
                    <a:lnTo>
                      <a:pt x="720" y="24"/>
                    </a:lnTo>
                    <a:lnTo>
                      <a:pt x="723" y="24"/>
                    </a:lnTo>
                    <a:lnTo>
                      <a:pt x="727" y="23"/>
                    </a:lnTo>
                    <a:lnTo>
                      <a:pt x="735" y="23"/>
                    </a:lnTo>
                    <a:lnTo>
                      <a:pt x="743" y="24"/>
                    </a:lnTo>
                    <a:lnTo>
                      <a:pt x="748" y="28"/>
                    </a:lnTo>
                    <a:lnTo>
                      <a:pt x="756" y="39"/>
                    </a:lnTo>
                    <a:lnTo>
                      <a:pt x="760" y="51"/>
                    </a:lnTo>
                    <a:lnTo>
                      <a:pt x="762" y="63"/>
                    </a:lnTo>
                    <a:lnTo>
                      <a:pt x="760" y="75"/>
                    </a:lnTo>
                    <a:lnTo>
                      <a:pt x="755" y="85"/>
                    </a:lnTo>
                    <a:lnTo>
                      <a:pt x="754" y="87"/>
                    </a:lnTo>
                    <a:lnTo>
                      <a:pt x="753" y="89"/>
                    </a:lnTo>
                    <a:lnTo>
                      <a:pt x="751" y="92"/>
                    </a:lnTo>
                    <a:lnTo>
                      <a:pt x="751" y="95"/>
                    </a:lnTo>
                    <a:lnTo>
                      <a:pt x="751" y="97"/>
                    </a:lnTo>
                    <a:lnTo>
                      <a:pt x="753" y="100"/>
                    </a:lnTo>
                    <a:lnTo>
                      <a:pt x="754" y="101"/>
                    </a:lnTo>
                    <a:lnTo>
                      <a:pt x="754" y="103"/>
                    </a:lnTo>
                    <a:lnTo>
                      <a:pt x="755" y="104"/>
                    </a:lnTo>
                    <a:lnTo>
                      <a:pt x="757" y="105"/>
                    </a:lnTo>
                    <a:lnTo>
                      <a:pt x="758" y="104"/>
                    </a:lnTo>
                    <a:lnTo>
                      <a:pt x="759" y="103"/>
                    </a:lnTo>
                    <a:lnTo>
                      <a:pt x="764" y="98"/>
                    </a:lnTo>
                    <a:lnTo>
                      <a:pt x="767" y="94"/>
                    </a:lnTo>
                    <a:lnTo>
                      <a:pt x="770" y="89"/>
                    </a:lnTo>
                    <a:lnTo>
                      <a:pt x="772" y="88"/>
                    </a:lnTo>
                    <a:lnTo>
                      <a:pt x="775" y="88"/>
                    </a:lnTo>
                    <a:lnTo>
                      <a:pt x="777" y="89"/>
                    </a:lnTo>
                    <a:lnTo>
                      <a:pt x="778" y="90"/>
                    </a:lnTo>
                    <a:lnTo>
                      <a:pt x="780" y="93"/>
                    </a:lnTo>
                    <a:lnTo>
                      <a:pt x="781" y="95"/>
                    </a:lnTo>
                    <a:lnTo>
                      <a:pt x="783" y="96"/>
                    </a:lnTo>
                    <a:lnTo>
                      <a:pt x="783" y="97"/>
                    </a:lnTo>
                    <a:lnTo>
                      <a:pt x="785" y="99"/>
                    </a:lnTo>
                    <a:lnTo>
                      <a:pt x="787" y="100"/>
                    </a:lnTo>
                    <a:lnTo>
                      <a:pt x="788" y="101"/>
                    </a:lnTo>
                    <a:lnTo>
                      <a:pt x="790" y="103"/>
                    </a:lnTo>
                    <a:lnTo>
                      <a:pt x="791" y="103"/>
                    </a:lnTo>
                    <a:lnTo>
                      <a:pt x="792" y="101"/>
                    </a:lnTo>
                    <a:lnTo>
                      <a:pt x="793" y="100"/>
                    </a:lnTo>
                    <a:lnTo>
                      <a:pt x="793" y="98"/>
                    </a:lnTo>
                    <a:lnTo>
                      <a:pt x="793" y="97"/>
                    </a:lnTo>
                    <a:lnTo>
                      <a:pt x="794" y="96"/>
                    </a:lnTo>
                    <a:lnTo>
                      <a:pt x="794" y="95"/>
                    </a:lnTo>
                    <a:lnTo>
                      <a:pt x="797" y="94"/>
                    </a:lnTo>
                    <a:lnTo>
                      <a:pt x="799" y="94"/>
                    </a:lnTo>
                    <a:lnTo>
                      <a:pt x="801" y="93"/>
                    </a:lnTo>
                    <a:lnTo>
                      <a:pt x="803" y="93"/>
                    </a:lnTo>
                    <a:lnTo>
                      <a:pt x="805" y="92"/>
                    </a:lnTo>
                    <a:lnTo>
                      <a:pt x="807" y="90"/>
                    </a:lnTo>
                    <a:lnTo>
                      <a:pt x="808" y="89"/>
                    </a:lnTo>
                    <a:lnTo>
                      <a:pt x="808" y="88"/>
                    </a:lnTo>
                    <a:lnTo>
                      <a:pt x="808" y="86"/>
                    </a:lnTo>
                    <a:lnTo>
                      <a:pt x="808" y="84"/>
                    </a:lnTo>
                    <a:lnTo>
                      <a:pt x="808" y="83"/>
                    </a:lnTo>
                    <a:lnTo>
                      <a:pt x="805" y="82"/>
                    </a:lnTo>
                    <a:lnTo>
                      <a:pt x="804" y="79"/>
                    </a:lnTo>
                    <a:lnTo>
                      <a:pt x="802" y="77"/>
                    </a:lnTo>
                    <a:lnTo>
                      <a:pt x="801" y="75"/>
                    </a:lnTo>
                    <a:lnTo>
                      <a:pt x="800" y="73"/>
                    </a:lnTo>
                    <a:lnTo>
                      <a:pt x="801" y="72"/>
                    </a:lnTo>
                    <a:lnTo>
                      <a:pt x="804" y="71"/>
                    </a:lnTo>
                    <a:lnTo>
                      <a:pt x="808" y="71"/>
                    </a:lnTo>
                    <a:lnTo>
                      <a:pt x="811" y="71"/>
                    </a:lnTo>
                    <a:lnTo>
                      <a:pt x="814" y="69"/>
                    </a:lnTo>
                    <a:lnTo>
                      <a:pt x="815" y="68"/>
                    </a:lnTo>
                    <a:lnTo>
                      <a:pt x="815" y="67"/>
                    </a:lnTo>
                    <a:lnTo>
                      <a:pt x="814" y="65"/>
                    </a:lnTo>
                    <a:lnTo>
                      <a:pt x="812" y="64"/>
                    </a:lnTo>
                    <a:lnTo>
                      <a:pt x="810" y="63"/>
                    </a:lnTo>
                    <a:lnTo>
                      <a:pt x="808" y="63"/>
                    </a:lnTo>
                    <a:lnTo>
                      <a:pt x="802" y="63"/>
                    </a:lnTo>
                    <a:lnTo>
                      <a:pt x="799" y="64"/>
                    </a:lnTo>
                    <a:lnTo>
                      <a:pt x="794" y="65"/>
                    </a:lnTo>
                    <a:lnTo>
                      <a:pt x="790" y="65"/>
                    </a:lnTo>
                    <a:lnTo>
                      <a:pt x="783" y="63"/>
                    </a:lnTo>
                    <a:lnTo>
                      <a:pt x="777" y="56"/>
                    </a:lnTo>
                    <a:lnTo>
                      <a:pt x="772" y="50"/>
                    </a:lnTo>
                    <a:lnTo>
                      <a:pt x="768" y="43"/>
                    </a:lnTo>
                    <a:lnTo>
                      <a:pt x="767" y="42"/>
                    </a:lnTo>
                    <a:lnTo>
                      <a:pt x="766" y="40"/>
                    </a:lnTo>
                    <a:lnTo>
                      <a:pt x="765" y="38"/>
                    </a:lnTo>
                    <a:lnTo>
                      <a:pt x="764" y="35"/>
                    </a:lnTo>
                    <a:lnTo>
                      <a:pt x="762" y="32"/>
                    </a:lnTo>
                    <a:lnTo>
                      <a:pt x="762" y="30"/>
                    </a:lnTo>
                    <a:lnTo>
                      <a:pt x="762" y="28"/>
                    </a:lnTo>
                    <a:lnTo>
                      <a:pt x="764" y="27"/>
                    </a:lnTo>
                    <a:lnTo>
                      <a:pt x="765" y="25"/>
                    </a:lnTo>
                    <a:lnTo>
                      <a:pt x="767" y="25"/>
                    </a:lnTo>
                    <a:lnTo>
                      <a:pt x="770" y="25"/>
                    </a:lnTo>
                    <a:lnTo>
                      <a:pt x="781" y="27"/>
                    </a:lnTo>
                    <a:lnTo>
                      <a:pt x="792" y="28"/>
                    </a:lnTo>
                    <a:lnTo>
                      <a:pt x="814" y="28"/>
                    </a:lnTo>
                    <a:lnTo>
                      <a:pt x="822" y="31"/>
                    </a:lnTo>
                    <a:lnTo>
                      <a:pt x="830" y="36"/>
                    </a:lnTo>
                    <a:lnTo>
                      <a:pt x="835" y="42"/>
                    </a:lnTo>
                    <a:lnTo>
                      <a:pt x="840" y="47"/>
                    </a:lnTo>
                    <a:lnTo>
                      <a:pt x="842" y="51"/>
                    </a:lnTo>
                    <a:lnTo>
                      <a:pt x="844" y="53"/>
                    </a:lnTo>
                    <a:lnTo>
                      <a:pt x="845" y="55"/>
                    </a:lnTo>
                    <a:lnTo>
                      <a:pt x="846" y="58"/>
                    </a:lnTo>
                    <a:lnTo>
                      <a:pt x="845" y="61"/>
                    </a:lnTo>
                    <a:lnTo>
                      <a:pt x="845" y="62"/>
                    </a:lnTo>
                    <a:lnTo>
                      <a:pt x="843" y="63"/>
                    </a:lnTo>
                    <a:lnTo>
                      <a:pt x="841" y="64"/>
                    </a:lnTo>
                    <a:lnTo>
                      <a:pt x="837" y="64"/>
                    </a:lnTo>
                    <a:lnTo>
                      <a:pt x="833" y="63"/>
                    </a:lnTo>
                    <a:lnTo>
                      <a:pt x="835" y="65"/>
                    </a:lnTo>
                    <a:lnTo>
                      <a:pt x="837" y="68"/>
                    </a:lnTo>
                    <a:lnTo>
                      <a:pt x="841" y="72"/>
                    </a:lnTo>
                    <a:lnTo>
                      <a:pt x="844" y="74"/>
                    </a:lnTo>
                    <a:lnTo>
                      <a:pt x="847" y="75"/>
                    </a:lnTo>
                    <a:lnTo>
                      <a:pt x="851" y="76"/>
                    </a:lnTo>
                    <a:lnTo>
                      <a:pt x="853" y="76"/>
                    </a:lnTo>
                    <a:lnTo>
                      <a:pt x="855" y="75"/>
                    </a:lnTo>
                    <a:lnTo>
                      <a:pt x="858" y="74"/>
                    </a:lnTo>
                    <a:lnTo>
                      <a:pt x="862" y="74"/>
                    </a:lnTo>
                    <a:lnTo>
                      <a:pt x="864" y="75"/>
                    </a:lnTo>
                    <a:lnTo>
                      <a:pt x="865" y="77"/>
                    </a:lnTo>
                    <a:lnTo>
                      <a:pt x="866" y="79"/>
                    </a:lnTo>
                    <a:lnTo>
                      <a:pt x="866" y="82"/>
                    </a:lnTo>
                    <a:lnTo>
                      <a:pt x="866" y="83"/>
                    </a:lnTo>
                    <a:lnTo>
                      <a:pt x="866" y="85"/>
                    </a:lnTo>
                    <a:lnTo>
                      <a:pt x="866" y="87"/>
                    </a:lnTo>
                    <a:lnTo>
                      <a:pt x="865" y="89"/>
                    </a:lnTo>
                    <a:lnTo>
                      <a:pt x="864" y="92"/>
                    </a:lnTo>
                    <a:lnTo>
                      <a:pt x="864" y="94"/>
                    </a:lnTo>
                    <a:lnTo>
                      <a:pt x="864" y="95"/>
                    </a:lnTo>
                    <a:lnTo>
                      <a:pt x="865" y="97"/>
                    </a:lnTo>
                    <a:lnTo>
                      <a:pt x="867" y="98"/>
                    </a:lnTo>
                    <a:lnTo>
                      <a:pt x="870" y="100"/>
                    </a:lnTo>
                    <a:lnTo>
                      <a:pt x="874" y="101"/>
                    </a:lnTo>
                    <a:lnTo>
                      <a:pt x="877" y="103"/>
                    </a:lnTo>
                    <a:lnTo>
                      <a:pt x="878" y="105"/>
                    </a:lnTo>
                    <a:lnTo>
                      <a:pt x="878" y="107"/>
                    </a:lnTo>
                    <a:lnTo>
                      <a:pt x="877" y="109"/>
                    </a:lnTo>
                    <a:lnTo>
                      <a:pt x="875" y="111"/>
                    </a:lnTo>
                    <a:lnTo>
                      <a:pt x="873" y="114"/>
                    </a:lnTo>
                    <a:lnTo>
                      <a:pt x="871" y="115"/>
                    </a:lnTo>
                    <a:lnTo>
                      <a:pt x="870" y="117"/>
                    </a:lnTo>
                    <a:lnTo>
                      <a:pt x="870" y="119"/>
                    </a:lnTo>
                    <a:lnTo>
                      <a:pt x="870" y="121"/>
                    </a:lnTo>
                    <a:lnTo>
                      <a:pt x="870" y="123"/>
                    </a:lnTo>
                    <a:lnTo>
                      <a:pt x="871" y="125"/>
                    </a:lnTo>
                    <a:lnTo>
                      <a:pt x="873" y="126"/>
                    </a:lnTo>
                    <a:lnTo>
                      <a:pt x="875" y="126"/>
                    </a:lnTo>
                    <a:lnTo>
                      <a:pt x="877" y="125"/>
                    </a:lnTo>
                    <a:lnTo>
                      <a:pt x="881" y="120"/>
                    </a:lnTo>
                    <a:lnTo>
                      <a:pt x="886" y="118"/>
                    </a:lnTo>
                    <a:lnTo>
                      <a:pt x="892" y="116"/>
                    </a:lnTo>
                    <a:lnTo>
                      <a:pt x="897" y="117"/>
                    </a:lnTo>
                    <a:lnTo>
                      <a:pt x="898" y="120"/>
                    </a:lnTo>
                    <a:lnTo>
                      <a:pt x="897" y="125"/>
                    </a:lnTo>
                    <a:lnTo>
                      <a:pt x="895" y="129"/>
                    </a:lnTo>
                    <a:lnTo>
                      <a:pt x="893" y="133"/>
                    </a:lnTo>
                    <a:lnTo>
                      <a:pt x="893" y="137"/>
                    </a:lnTo>
                    <a:lnTo>
                      <a:pt x="896" y="138"/>
                    </a:lnTo>
                    <a:lnTo>
                      <a:pt x="897" y="134"/>
                    </a:lnTo>
                    <a:lnTo>
                      <a:pt x="898" y="131"/>
                    </a:lnTo>
                    <a:lnTo>
                      <a:pt x="899" y="129"/>
                    </a:lnTo>
                    <a:lnTo>
                      <a:pt x="901" y="127"/>
                    </a:lnTo>
                    <a:lnTo>
                      <a:pt x="903" y="126"/>
                    </a:lnTo>
                    <a:lnTo>
                      <a:pt x="907" y="125"/>
                    </a:lnTo>
                    <a:lnTo>
                      <a:pt x="914" y="123"/>
                    </a:lnTo>
                    <a:lnTo>
                      <a:pt x="923" y="123"/>
                    </a:lnTo>
                    <a:lnTo>
                      <a:pt x="931" y="127"/>
                    </a:lnTo>
                    <a:lnTo>
                      <a:pt x="934" y="128"/>
                    </a:lnTo>
                    <a:lnTo>
                      <a:pt x="938" y="130"/>
                    </a:lnTo>
                    <a:lnTo>
                      <a:pt x="940" y="133"/>
                    </a:lnTo>
                    <a:lnTo>
                      <a:pt x="942" y="137"/>
                    </a:lnTo>
                    <a:lnTo>
                      <a:pt x="942" y="141"/>
                    </a:lnTo>
                    <a:lnTo>
                      <a:pt x="942" y="144"/>
                    </a:lnTo>
                    <a:lnTo>
                      <a:pt x="939" y="147"/>
                    </a:lnTo>
                    <a:lnTo>
                      <a:pt x="935" y="148"/>
                    </a:lnTo>
                    <a:lnTo>
                      <a:pt x="931" y="149"/>
                    </a:lnTo>
                    <a:lnTo>
                      <a:pt x="928" y="149"/>
                    </a:lnTo>
                    <a:lnTo>
                      <a:pt x="925" y="150"/>
                    </a:lnTo>
                    <a:lnTo>
                      <a:pt x="924" y="151"/>
                    </a:lnTo>
                    <a:lnTo>
                      <a:pt x="922" y="153"/>
                    </a:lnTo>
                    <a:lnTo>
                      <a:pt x="921" y="153"/>
                    </a:lnTo>
                    <a:lnTo>
                      <a:pt x="921" y="154"/>
                    </a:lnTo>
                    <a:lnTo>
                      <a:pt x="920" y="156"/>
                    </a:lnTo>
                    <a:lnTo>
                      <a:pt x="920" y="158"/>
                    </a:lnTo>
                    <a:lnTo>
                      <a:pt x="920" y="160"/>
                    </a:lnTo>
                    <a:lnTo>
                      <a:pt x="922" y="160"/>
                    </a:lnTo>
                    <a:lnTo>
                      <a:pt x="924" y="160"/>
                    </a:lnTo>
                    <a:lnTo>
                      <a:pt x="927" y="160"/>
                    </a:lnTo>
                    <a:lnTo>
                      <a:pt x="928" y="160"/>
                    </a:lnTo>
                    <a:lnTo>
                      <a:pt x="929" y="160"/>
                    </a:lnTo>
                    <a:lnTo>
                      <a:pt x="932" y="158"/>
                    </a:lnTo>
                    <a:lnTo>
                      <a:pt x="938" y="155"/>
                    </a:lnTo>
                    <a:lnTo>
                      <a:pt x="943" y="155"/>
                    </a:lnTo>
                    <a:lnTo>
                      <a:pt x="947" y="155"/>
                    </a:lnTo>
                    <a:lnTo>
                      <a:pt x="951" y="160"/>
                    </a:lnTo>
                    <a:lnTo>
                      <a:pt x="951" y="161"/>
                    </a:lnTo>
                    <a:lnTo>
                      <a:pt x="951" y="163"/>
                    </a:lnTo>
                    <a:lnTo>
                      <a:pt x="952" y="165"/>
                    </a:lnTo>
                    <a:lnTo>
                      <a:pt x="954" y="166"/>
                    </a:lnTo>
                    <a:lnTo>
                      <a:pt x="955" y="167"/>
                    </a:lnTo>
                    <a:lnTo>
                      <a:pt x="958" y="167"/>
                    </a:lnTo>
                    <a:lnTo>
                      <a:pt x="962" y="165"/>
                    </a:lnTo>
                    <a:lnTo>
                      <a:pt x="975" y="165"/>
                    </a:lnTo>
                    <a:lnTo>
                      <a:pt x="989" y="167"/>
                    </a:lnTo>
                    <a:lnTo>
                      <a:pt x="990" y="178"/>
                    </a:lnTo>
                    <a:lnTo>
                      <a:pt x="986" y="186"/>
                    </a:lnTo>
                    <a:lnTo>
                      <a:pt x="977" y="192"/>
                    </a:lnTo>
                    <a:lnTo>
                      <a:pt x="973" y="194"/>
                    </a:lnTo>
                    <a:lnTo>
                      <a:pt x="969" y="195"/>
                    </a:lnTo>
                    <a:lnTo>
                      <a:pt x="967" y="196"/>
                    </a:lnTo>
                    <a:lnTo>
                      <a:pt x="966" y="198"/>
                    </a:lnTo>
                    <a:lnTo>
                      <a:pt x="966" y="200"/>
                    </a:lnTo>
                    <a:lnTo>
                      <a:pt x="966" y="204"/>
                    </a:lnTo>
                    <a:lnTo>
                      <a:pt x="966" y="206"/>
                    </a:lnTo>
                    <a:lnTo>
                      <a:pt x="966" y="208"/>
                    </a:lnTo>
                    <a:lnTo>
                      <a:pt x="968" y="209"/>
                    </a:lnTo>
                    <a:lnTo>
                      <a:pt x="971" y="209"/>
                    </a:lnTo>
                    <a:lnTo>
                      <a:pt x="976" y="209"/>
                    </a:lnTo>
                    <a:lnTo>
                      <a:pt x="979" y="206"/>
                    </a:lnTo>
                    <a:lnTo>
                      <a:pt x="983" y="200"/>
                    </a:lnTo>
                    <a:lnTo>
                      <a:pt x="986" y="196"/>
                    </a:lnTo>
                    <a:lnTo>
                      <a:pt x="989" y="192"/>
                    </a:lnTo>
                    <a:lnTo>
                      <a:pt x="997" y="189"/>
                    </a:lnTo>
                    <a:lnTo>
                      <a:pt x="1006" y="191"/>
                    </a:lnTo>
                    <a:lnTo>
                      <a:pt x="1012" y="195"/>
                    </a:lnTo>
                    <a:lnTo>
                      <a:pt x="1018" y="200"/>
                    </a:lnTo>
                    <a:lnTo>
                      <a:pt x="1018" y="204"/>
                    </a:lnTo>
                    <a:lnTo>
                      <a:pt x="1018" y="206"/>
                    </a:lnTo>
                    <a:lnTo>
                      <a:pt x="1017" y="208"/>
                    </a:lnTo>
                    <a:lnTo>
                      <a:pt x="1016" y="209"/>
                    </a:lnTo>
                    <a:lnTo>
                      <a:pt x="1013" y="209"/>
                    </a:lnTo>
                    <a:lnTo>
                      <a:pt x="1010" y="212"/>
                    </a:lnTo>
                    <a:lnTo>
                      <a:pt x="1009" y="213"/>
                    </a:lnTo>
                    <a:lnTo>
                      <a:pt x="1008" y="216"/>
                    </a:lnTo>
                    <a:lnTo>
                      <a:pt x="1009" y="218"/>
                    </a:lnTo>
                    <a:lnTo>
                      <a:pt x="1011" y="220"/>
                    </a:lnTo>
                    <a:lnTo>
                      <a:pt x="1016" y="223"/>
                    </a:lnTo>
                    <a:lnTo>
                      <a:pt x="1021" y="225"/>
                    </a:lnTo>
                    <a:lnTo>
                      <a:pt x="1027" y="227"/>
                    </a:lnTo>
                    <a:lnTo>
                      <a:pt x="1031" y="229"/>
                    </a:lnTo>
                    <a:lnTo>
                      <a:pt x="1031" y="234"/>
                    </a:lnTo>
                    <a:lnTo>
                      <a:pt x="1029" y="235"/>
                    </a:lnTo>
                    <a:lnTo>
                      <a:pt x="1024" y="234"/>
                    </a:lnTo>
                    <a:lnTo>
                      <a:pt x="1019" y="232"/>
                    </a:lnTo>
                    <a:lnTo>
                      <a:pt x="1013" y="231"/>
                    </a:lnTo>
                    <a:lnTo>
                      <a:pt x="1009" y="231"/>
                    </a:lnTo>
                    <a:lnTo>
                      <a:pt x="1007" y="231"/>
                    </a:lnTo>
                    <a:lnTo>
                      <a:pt x="1005" y="231"/>
                    </a:lnTo>
                    <a:lnTo>
                      <a:pt x="1002" y="231"/>
                    </a:lnTo>
                    <a:lnTo>
                      <a:pt x="1000" y="232"/>
                    </a:lnTo>
                    <a:lnTo>
                      <a:pt x="998" y="234"/>
                    </a:lnTo>
                    <a:lnTo>
                      <a:pt x="997" y="235"/>
                    </a:lnTo>
                    <a:lnTo>
                      <a:pt x="996" y="236"/>
                    </a:lnTo>
                    <a:lnTo>
                      <a:pt x="996" y="238"/>
                    </a:lnTo>
                    <a:lnTo>
                      <a:pt x="998" y="241"/>
                    </a:lnTo>
                    <a:lnTo>
                      <a:pt x="1000" y="243"/>
                    </a:lnTo>
                    <a:lnTo>
                      <a:pt x="1002" y="246"/>
                    </a:lnTo>
                    <a:lnTo>
                      <a:pt x="1004" y="249"/>
                    </a:lnTo>
                    <a:lnTo>
                      <a:pt x="1005" y="251"/>
                    </a:lnTo>
                    <a:lnTo>
                      <a:pt x="1005" y="256"/>
                    </a:lnTo>
                    <a:lnTo>
                      <a:pt x="1005" y="259"/>
                    </a:lnTo>
                    <a:lnTo>
                      <a:pt x="1006" y="261"/>
                    </a:lnTo>
                    <a:lnTo>
                      <a:pt x="1006" y="264"/>
                    </a:lnTo>
                    <a:lnTo>
                      <a:pt x="1008" y="268"/>
                    </a:lnTo>
                    <a:lnTo>
                      <a:pt x="1011" y="271"/>
                    </a:lnTo>
                    <a:lnTo>
                      <a:pt x="1024" y="278"/>
                    </a:lnTo>
                    <a:lnTo>
                      <a:pt x="1029" y="281"/>
                    </a:lnTo>
                    <a:lnTo>
                      <a:pt x="1033" y="285"/>
                    </a:lnTo>
                    <a:lnTo>
                      <a:pt x="1037" y="289"/>
                    </a:lnTo>
                    <a:lnTo>
                      <a:pt x="1040" y="293"/>
                    </a:lnTo>
                    <a:lnTo>
                      <a:pt x="1049" y="298"/>
                    </a:lnTo>
                    <a:lnTo>
                      <a:pt x="1060" y="302"/>
                    </a:lnTo>
                    <a:lnTo>
                      <a:pt x="1071" y="305"/>
                    </a:lnTo>
                    <a:lnTo>
                      <a:pt x="1081" y="311"/>
                    </a:lnTo>
                    <a:lnTo>
                      <a:pt x="1084" y="316"/>
                    </a:lnTo>
                    <a:lnTo>
                      <a:pt x="1085" y="322"/>
                    </a:lnTo>
                    <a:lnTo>
                      <a:pt x="1087" y="327"/>
                    </a:lnTo>
                    <a:lnTo>
                      <a:pt x="1092" y="330"/>
                    </a:lnTo>
                    <a:lnTo>
                      <a:pt x="1095" y="332"/>
                    </a:lnTo>
                    <a:lnTo>
                      <a:pt x="1098" y="334"/>
                    </a:lnTo>
                    <a:lnTo>
                      <a:pt x="1100" y="337"/>
                    </a:lnTo>
                    <a:lnTo>
                      <a:pt x="1103" y="340"/>
                    </a:lnTo>
                    <a:lnTo>
                      <a:pt x="1105" y="343"/>
                    </a:lnTo>
                    <a:lnTo>
                      <a:pt x="1107" y="345"/>
                    </a:lnTo>
                    <a:lnTo>
                      <a:pt x="1109" y="345"/>
                    </a:lnTo>
                    <a:lnTo>
                      <a:pt x="1116" y="345"/>
                    </a:lnTo>
                    <a:lnTo>
                      <a:pt x="1122" y="343"/>
                    </a:lnTo>
                    <a:lnTo>
                      <a:pt x="1128" y="341"/>
                    </a:lnTo>
                    <a:lnTo>
                      <a:pt x="1135" y="344"/>
                    </a:lnTo>
                    <a:lnTo>
                      <a:pt x="1140" y="349"/>
                    </a:lnTo>
                    <a:lnTo>
                      <a:pt x="1141" y="359"/>
                    </a:lnTo>
                    <a:lnTo>
                      <a:pt x="1138" y="368"/>
                    </a:lnTo>
                    <a:lnTo>
                      <a:pt x="1132" y="376"/>
                    </a:lnTo>
                    <a:lnTo>
                      <a:pt x="1127" y="382"/>
                    </a:lnTo>
                    <a:lnTo>
                      <a:pt x="1125" y="389"/>
                    </a:lnTo>
                    <a:lnTo>
                      <a:pt x="1122" y="394"/>
                    </a:lnTo>
                    <a:lnTo>
                      <a:pt x="1120" y="400"/>
                    </a:lnTo>
                    <a:lnTo>
                      <a:pt x="1120" y="401"/>
                    </a:lnTo>
                    <a:lnTo>
                      <a:pt x="1120" y="403"/>
                    </a:lnTo>
                    <a:lnTo>
                      <a:pt x="1119" y="405"/>
                    </a:lnTo>
                    <a:lnTo>
                      <a:pt x="1119" y="406"/>
                    </a:lnTo>
                    <a:lnTo>
                      <a:pt x="1118" y="409"/>
                    </a:lnTo>
                    <a:lnTo>
                      <a:pt x="1117" y="409"/>
                    </a:lnTo>
                    <a:lnTo>
                      <a:pt x="1116" y="409"/>
                    </a:lnTo>
                    <a:lnTo>
                      <a:pt x="1111" y="407"/>
                    </a:lnTo>
                    <a:lnTo>
                      <a:pt x="1109" y="406"/>
                    </a:lnTo>
                    <a:lnTo>
                      <a:pt x="1106" y="405"/>
                    </a:lnTo>
                    <a:lnTo>
                      <a:pt x="1104" y="405"/>
                    </a:lnTo>
                    <a:lnTo>
                      <a:pt x="1103" y="406"/>
                    </a:lnTo>
                    <a:lnTo>
                      <a:pt x="1103" y="407"/>
                    </a:lnTo>
                    <a:lnTo>
                      <a:pt x="1103" y="411"/>
                    </a:lnTo>
                    <a:lnTo>
                      <a:pt x="1103" y="415"/>
                    </a:lnTo>
                    <a:lnTo>
                      <a:pt x="1103" y="417"/>
                    </a:lnTo>
                    <a:lnTo>
                      <a:pt x="1104" y="421"/>
                    </a:lnTo>
                    <a:lnTo>
                      <a:pt x="1104" y="423"/>
                    </a:lnTo>
                    <a:lnTo>
                      <a:pt x="1104" y="425"/>
                    </a:lnTo>
                    <a:lnTo>
                      <a:pt x="1104" y="427"/>
                    </a:lnTo>
                    <a:lnTo>
                      <a:pt x="1103" y="428"/>
                    </a:lnTo>
                    <a:lnTo>
                      <a:pt x="1102" y="429"/>
                    </a:lnTo>
                    <a:lnTo>
                      <a:pt x="1099" y="431"/>
                    </a:lnTo>
                    <a:lnTo>
                      <a:pt x="1097" y="429"/>
                    </a:lnTo>
                    <a:lnTo>
                      <a:pt x="1095" y="428"/>
                    </a:lnTo>
                    <a:lnTo>
                      <a:pt x="1092" y="426"/>
                    </a:lnTo>
                    <a:lnTo>
                      <a:pt x="1085" y="423"/>
                    </a:lnTo>
                    <a:lnTo>
                      <a:pt x="1078" y="417"/>
                    </a:lnTo>
                    <a:lnTo>
                      <a:pt x="1072" y="413"/>
                    </a:lnTo>
                    <a:lnTo>
                      <a:pt x="1067" y="406"/>
                    </a:lnTo>
                    <a:lnTo>
                      <a:pt x="1067" y="400"/>
                    </a:lnTo>
                    <a:lnTo>
                      <a:pt x="1071" y="394"/>
                    </a:lnTo>
                    <a:lnTo>
                      <a:pt x="1075" y="391"/>
                    </a:lnTo>
                    <a:lnTo>
                      <a:pt x="1078" y="387"/>
                    </a:lnTo>
                    <a:lnTo>
                      <a:pt x="1078" y="382"/>
                    </a:lnTo>
                    <a:lnTo>
                      <a:pt x="1076" y="380"/>
                    </a:lnTo>
                    <a:lnTo>
                      <a:pt x="1071" y="381"/>
                    </a:lnTo>
                    <a:lnTo>
                      <a:pt x="1064" y="382"/>
                    </a:lnTo>
                    <a:lnTo>
                      <a:pt x="1058" y="383"/>
                    </a:lnTo>
                    <a:lnTo>
                      <a:pt x="1053" y="382"/>
                    </a:lnTo>
                    <a:lnTo>
                      <a:pt x="1050" y="379"/>
                    </a:lnTo>
                    <a:lnTo>
                      <a:pt x="1047" y="374"/>
                    </a:lnTo>
                    <a:lnTo>
                      <a:pt x="1043" y="371"/>
                    </a:lnTo>
                    <a:lnTo>
                      <a:pt x="1039" y="367"/>
                    </a:lnTo>
                    <a:lnTo>
                      <a:pt x="1036" y="365"/>
                    </a:lnTo>
                    <a:lnTo>
                      <a:pt x="1032" y="366"/>
                    </a:lnTo>
                    <a:lnTo>
                      <a:pt x="1031" y="370"/>
                    </a:lnTo>
                    <a:lnTo>
                      <a:pt x="1031" y="377"/>
                    </a:lnTo>
                    <a:lnTo>
                      <a:pt x="1031" y="382"/>
                    </a:lnTo>
                    <a:lnTo>
                      <a:pt x="1031" y="387"/>
                    </a:lnTo>
                    <a:lnTo>
                      <a:pt x="1029" y="388"/>
                    </a:lnTo>
                    <a:lnTo>
                      <a:pt x="1024" y="385"/>
                    </a:lnTo>
                    <a:lnTo>
                      <a:pt x="1019" y="382"/>
                    </a:lnTo>
                    <a:lnTo>
                      <a:pt x="1013" y="379"/>
                    </a:lnTo>
                    <a:lnTo>
                      <a:pt x="1009" y="378"/>
                    </a:lnTo>
                    <a:lnTo>
                      <a:pt x="1012" y="387"/>
                    </a:lnTo>
                    <a:lnTo>
                      <a:pt x="1017" y="395"/>
                    </a:lnTo>
                    <a:lnTo>
                      <a:pt x="1022" y="403"/>
                    </a:lnTo>
                    <a:lnTo>
                      <a:pt x="1031" y="409"/>
                    </a:lnTo>
                    <a:lnTo>
                      <a:pt x="1037" y="415"/>
                    </a:lnTo>
                    <a:lnTo>
                      <a:pt x="1041" y="423"/>
                    </a:lnTo>
                    <a:lnTo>
                      <a:pt x="1045" y="431"/>
                    </a:lnTo>
                    <a:lnTo>
                      <a:pt x="1051" y="437"/>
                    </a:lnTo>
                    <a:lnTo>
                      <a:pt x="1054" y="438"/>
                    </a:lnTo>
                    <a:lnTo>
                      <a:pt x="1058" y="440"/>
                    </a:lnTo>
                    <a:lnTo>
                      <a:pt x="1062" y="443"/>
                    </a:lnTo>
                    <a:lnTo>
                      <a:pt x="1065" y="446"/>
                    </a:lnTo>
                    <a:lnTo>
                      <a:pt x="1069" y="449"/>
                    </a:lnTo>
                    <a:lnTo>
                      <a:pt x="1070" y="453"/>
                    </a:lnTo>
                    <a:lnTo>
                      <a:pt x="1071" y="457"/>
                    </a:lnTo>
                    <a:lnTo>
                      <a:pt x="1072" y="461"/>
                    </a:lnTo>
                    <a:lnTo>
                      <a:pt x="1078" y="469"/>
                    </a:lnTo>
                    <a:lnTo>
                      <a:pt x="1085" y="476"/>
                    </a:lnTo>
                    <a:lnTo>
                      <a:pt x="1091" y="483"/>
                    </a:lnTo>
                    <a:lnTo>
                      <a:pt x="1094" y="494"/>
                    </a:lnTo>
                    <a:lnTo>
                      <a:pt x="1094" y="497"/>
                    </a:lnTo>
                    <a:lnTo>
                      <a:pt x="1093" y="500"/>
                    </a:lnTo>
                    <a:lnTo>
                      <a:pt x="1092" y="502"/>
                    </a:lnTo>
                    <a:lnTo>
                      <a:pt x="1091" y="505"/>
                    </a:lnTo>
                    <a:lnTo>
                      <a:pt x="1091" y="509"/>
                    </a:lnTo>
                    <a:lnTo>
                      <a:pt x="1092" y="511"/>
                    </a:lnTo>
                    <a:lnTo>
                      <a:pt x="1093" y="514"/>
                    </a:lnTo>
                    <a:lnTo>
                      <a:pt x="1093" y="519"/>
                    </a:lnTo>
                    <a:lnTo>
                      <a:pt x="1093" y="522"/>
                    </a:lnTo>
                    <a:lnTo>
                      <a:pt x="1092" y="526"/>
                    </a:lnTo>
                    <a:lnTo>
                      <a:pt x="1089" y="529"/>
                    </a:lnTo>
                    <a:lnTo>
                      <a:pt x="1082" y="531"/>
                    </a:lnTo>
                    <a:lnTo>
                      <a:pt x="1074" y="531"/>
                    </a:lnTo>
                    <a:lnTo>
                      <a:pt x="1065" y="527"/>
                    </a:lnTo>
                    <a:lnTo>
                      <a:pt x="1058" y="522"/>
                    </a:lnTo>
                    <a:lnTo>
                      <a:pt x="1053" y="515"/>
                    </a:lnTo>
                    <a:lnTo>
                      <a:pt x="1050" y="512"/>
                    </a:lnTo>
                    <a:lnTo>
                      <a:pt x="1044" y="507"/>
                    </a:lnTo>
                    <a:lnTo>
                      <a:pt x="1037" y="500"/>
                    </a:lnTo>
                    <a:lnTo>
                      <a:pt x="1028" y="493"/>
                    </a:lnTo>
                    <a:lnTo>
                      <a:pt x="1019" y="488"/>
                    </a:lnTo>
                    <a:lnTo>
                      <a:pt x="1012" y="486"/>
                    </a:lnTo>
                    <a:lnTo>
                      <a:pt x="1007" y="486"/>
                    </a:lnTo>
                    <a:lnTo>
                      <a:pt x="1009" y="496"/>
                    </a:lnTo>
                    <a:lnTo>
                      <a:pt x="1013" y="503"/>
                    </a:lnTo>
                    <a:lnTo>
                      <a:pt x="1020" y="510"/>
                    </a:lnTo>
                    <a:lnTo>
                      <a:pt x="1029" y="515"/>
                    </a:lnTo>
                    <a:lnTo>
                      <a:pt x="1040" y="524"/>
                    </a:lnTo>
                    <a:lnTo>
                      <a:pt x="1049" y="533"/>
                    </a:lnTo>
                    <a:lnTo>
                      <a:pt x="1056" y="544"/>
                    </a:lnTo>
                    <a:lnTo>
                      <a:pt x="1058" y="548"/>
                    </a:lnTo>
                    <a:lnTo>
                      <a:pt x="1059" y="552"/>
                    </a:lnTo>
                    <a:lnTo>
                      <a:pt x="1059" y="555"/>
                    </a:lnTo>
                    <a:lnTo>
                      <a:pt x="1056" y="558"/>
                    </a:lnTo>
                    <a:lnTo>
                      <a:pt x="1055" y="559"/>
                    </a:lnTo>
                    <a:lnTo>
                      <a:pt x="1050" y="560"/>
                    </a:lnTo>
                    <a:lnTo>
                      <a:pt x="1044" y="558"/>
                    </a:lnTo>
                    <a:lnTo>
                      <a:pt x="1039" y="556"/>
                    </a:lnTo>
                    <a:lnTo>
                      <a:pt x="1033" y="553"/>
                    </a:lnTo>
                    <a:lnTo>
                      <a:pt x="1026" y="551"/>
                    </a:lnTo>
                    <a:lnTo>
                      <a:pt x="1019" y="547"/>
                    </a:lnTo>
                    <a:lnTo>
                      <a:pt x="1011" y="542"/>
                    </a:lnTo>
                    <a:lnTo>
                      <a:pt x="998" y="529"/>
                    </a:lnTo>
                    <a:lnTo>
                      <a:pt x="991" y="525"/>
                    </a:lnTo>
                    <a:lnTo>
                      <a:pt x="985" y="523"/>
                    </a:lnTo>
                    <a:lnTo>
                      <a:pt x="978" y="522"/>
                    </a:lnTo>
                    <a:lnTo>
                      <a:pt x="976" y="521"/>
                    </a:lnTo>
                    <a:lnTo>
                      <a:pt x="975" y="519"/>
                    </a:lnTo>
                    <a:lnTo>
                      <a:pt x="973" y="516"/>
                    </a:lnTo>
                    <a:lnTo>
                      <a:pt x="972" y="514"/>
                    </a:lnTo>
                    <a:lnTo>
                      <a:pt x="969" y="513"/>
                    </a:lnTo>
                    <a:lnTo>
                      <a:pt x="967" y="512"/>
                    </a:lnTo>
                    <a:lnTo>
                      <a:pt x="964" y="511"/>
                    </a:lnTo>
                    <a:lnTo>
                      <a:pt x="957" y="510"/>
                    </a:lnTo>
                    <a:lnTo>
                      <a:pt x="953" y="505"/>
                    </a:lnTo>
                    <a:lnTo>
                      <a:pt x="950" y="500"/>
                    </a:lnTo>
                    <a:lnTo>
                      <a:pt x="949" y="493"/>
                    </a:lnTo>
                    <a:lnTo>
                      <a:pt x="949" y="488"/>
                    </a:lnTo>
                    <a:lnTo>
                      <a:pt x="949" y="485"/>
                    </a:lnTo>
                    <a:lnTo>
                      <a:pt x="947" y="483"/>
                    </a:lnTo>
                    <a:lnTo>
                      <a:pt x="945" y="482"/>
                    </a:lnTo>
                    <a:lnTo>
                      <a:pt x="944" y="482"/>
                    </a:lnTo>
                    <a:lnTo>
                      <a:pt x="942" y="482"/>
                    </a:lnTo>
                    <a:lnTo>
                      <a:pt x="940" y="481"/>
                    </a:lnTo>
                    <a:lnTo>
                      <a:pt x="938" y="481"/>
                    </a:lnTo>
                    <a:lnTo>
                      <a:pt x="934" y="479"/>
                    </a:lnTo>
                    <a:lnTo>
                      <a:pt x="932" y="476"/>
                    </a:lnTo>
                    <a:lnTo>
                      <a:pt x="930" y="472"/>
                    </a:lnTo>
                    <a:lnTo>
                      <a:pt x="929" y="469"/>
                    </a:lnTo>
                    <a:lnTo>
                      <a:pt x="927" y="466"/>
                    </a:lnTo>
                    <a:lnTo>
                      <a:pt x="924" y="464"/>
                    </a:lnTo>
                    <a:lnTo>
                      <a:pt x="923" y="459"/>
                    </a:lnTo>
                    <a:lnTo>
                      <a:pt x="920" y="457"/>
                    </a:lnTo>
                    <a:lnTo>
                      <a:pt x="917" y="454"/>
                    </a:lnTo>
                    <a:lnTo>
                      <a:pt x="913" y="452"/>
                    </a:lnTo>
                    <a:lnTo>
                      <a:pt x="909" y="450"/>
                    </a:lnTo>
                    <a:lnTo>
                      <a:pt x="907" y="448"/>
                    </a:lnTo>
                    <a:lnTo>
                      <a:pt x="905" y="447"/>
                    </a:lnTo>
                    <a:lnTo>
                      <a:pt x="902" y="447"/>
                    </a:lnTo>
                    <a:lnTo>
                      <a:pt x="901" y="447"/>
                    </a:lnTo>
                    <a:lnTo>
                      <a:pt x="899" y="448"/>
                    </a:lnTo>
                    <a:lnTo>
                      <a:pt x="896" y="450"/>
                    </a:lnTo>
                    <a:lnTo>
                      <a:pt x="892" y="450"/>
                    </a:lnTo>
                    <a:lnTo>
                      <a:pt x="887" y="448"/>
                    </a:lnTo>
                    <a:lnTo>
                      <a:pt x="881" y="446"/>
                    </a:lnTo>
                    <a:lnTo>
                      <a:pt x="877" y="443"/>
                    </a:lnTo>
                    <a:lnTo>
                      <a:pt x="873" y="443"/>
                    </a:lnTo>
                    <a:lnTo>
                      <a:pt x="870" y="446"/>
                    </a:lnTo>
                    <a:lnTo>
                      <a:pt x="869" y="448"/>
                    </a:lnTo>
                    <a:lnTo>
                      <a:pt x="869" y="450"/>
                    </a:lnTo>
                    <a:lnTo>
                      <a:pt x="869" y="452"/>
                    </a:lnTo>
                    <a:lnTo>
                      <a:pt x="868" y="454"/>
                    </a:lnTo>
                    <a:lnTo>
                      <a:pt x="867" y="454"/>
                    </a:lnTo>
                    <a:lnTo>
                      <a:pt x="866" y="455"/>
                    </a:lnTo>
                    <a:lnTo>
                      <a:pt x="864" y="455"/>
                    </a:lnTo>
                    <a:lnTo>
                      <a:pt x="862" y="455"/>
                    </a:lnTo>
                    <a:lnTo>
                      <a:pt x="859" y="455"/>
                    </a:lnTo>
                    <a:lnTo>
                      <a:pt x="857" y="455"/>
                    </a:lnTo>
                    <a:lnTo>
                      <a:pt x="855" y="456"/>
                    </a:lnTo>
                    <a:lnTo>
                      <a:pt x="853" y="457"/>
                    </a:lnTo>
                    <a:lnTo>
                      <a:pt x="851" y="459"/>
                    </a:lnTo>
                    <a:lnTo>
                      <a:pt x="845" y="460"/>
                    </a:lnTo>
                    <a:lnTo>
                      <a:pt x="837" y="459"/>
                    </a:lnTo>
                    <a:lnTo>
                      <a:pt x="831" y="455"/>
                    </a:lnTo>
                    <a:lnTo>
                      <a:pt x="824" y="450"/>
                    </a:lnTo>
                    <a:lnTo>
                      <a:pt x="820" y="446"/>
                    </a:lnTo>
                    <a:lnTo>
                      <a:pt x="820" y="440"/>
                    </a:lnTo>
                    <a:lnTo>
                      <a:pt x="820" y="436"/>
                    </a:lnTo>
                    <a:lnTo>
                      <a:pt x="821" y="432"/>
                    </a:lnTo>
                    <a:lnTo>
                      <a:pt x="822" y="428"/>
                    </a:lnTo>
                    <a:lnTo>
                      <a:pt x="824" y="422"/>
                    </a:lnTo>
                    <a:lnTo>
                      <a:pt x="826" y="416"/>
                    </a:lnTo>
                    <a:lnTo>
                      <a:pt x="829" y="411"/>
                    </a:lnTo>
                    <a:lnTo>
                      <a:pt x="833" y="405"/>
                    </a:lnTo>
                    <a:lnTo>
                      <a:pt x="837" y="404"/>
                    </a:lnTo>
                    <a:lnTo>
                      <a:pt x="844" y="404"/>
                    </a:lnTo>
                    <a:lnTo>
                      <a:pt x="851" y="406"/>
                    </a:lnTo>
                    <a:lnTo>
                      <a:pt x="857" y="409"/>
                    </a:lnTo>
                    <a:lnTo>
                      <a:pt x="867" y="410"/>
                    </a:lnTo>
                    <a:lnTo>
                      <a:pt x="879" y="410"/>
                    </a:lnTo>
                    <a:lnTo>
                      <a:pt x="891" y="407"/>
                    </a:lnTo>
                    <a:lnTo>
                      <a:pt x="900" y="404"/>
                    </a:lnTo>
                    <a:lnTo>
                      <a:pt x="902" y="403"/>
                    </a:lnTo>
                    <a:lnTo>
                      <a:pt x="905" y="401"/>
                    </a:lnTo>
                    <a:lnTo>
                      <a:pt x="905" y="399"/>
                    </a:lnTo>
                    <a:lnTo>
                      <a:pt x="905" y="395"/>
                    </a:lnTo>
                    <a:lnTo>
                      <a:pt x="905" y="393"/>
                    </a:lnTo>
                    <a:lnTo>
                      <a:pt x="905" y="390"/>
                    </a:lnTo>
                    <a:lnTo>
                      <a:pt x="903" y="388"/>
                    </a:lnTo>
                    <a:lnTo>
                      <a:pt x="901" y="384"/>
                    </a:lnTo>
                    <a:lnTo>
                      <a:pt x="899" y="382"/>
                    </a:lnTo>
                    <a:lnTo>
                      <a:pt x="896" y="380"/>
                    </a:lnTo>
                    <a:lnTo>
                      <a:pt x="893" y="376"/>
                    </a:lnTo>
                    <a:lnTo>
                      <a:pt x="895" y="371"/>
                    </a:lnTo>
                    <a:lnTo>
                      <a:pt x="899" y="366"/>
                    </a:lnTo>
                    <a:lnTo>
                      <a:pt x="903" y="361"/>
                    </a:lnTo>
                    <a:lnTo>
                      <a:pt x="907" y="358"/>
                    </a:lnTo>
                    <a:lnTo>
                      <a:pt x="914" y="355"/>
                    </a:lnTo>
                    <a:lnTo>
                      <a:pt x="922" y="356"/>
                    </a:lnTo>
                    <a:lnTo>
                      <a:pt x="929" y="356"/>
                    </a:lnTo>
                    <a:lnTo>
                      <a:pt x="933" y="356"/>
                    </a:lnTo>
                    <a:lnTo>
                      <a:pt x="936" y="357"/>
                    </a:lnTo>
                    <a:lnTo>
                      <a:pt x="940" y="357"/>
                    </a:lnTo>
                    <a:lnTo>
                      <a:pt x="943" y="358"/>
                    </a:lnTo>
                    <a:lnTo>
                      <a:pt x="946" y="360"/>
                    </a:lnTo>
                    <a:lnTo>
                      <a:pt x="949" y="365"/>
                    </a:lnTo>
                    <a:lnTo>
                      <a:pt x="951" y="371"/>
                    </a:lnTo>
                    <a:lnTo>
                      <a:pt x="954" y="378"/>
                    </a:lnTo>
                    <a:lnTo>
                      <a:pt x="957" y="383"/>
                    </a:lnTo>
                    <a:lnTo>
                      <a:pt x="962" y="384"/>
                    </a:lnTo>
                    <a:lnTo>
                      <a:pt x="967" y="382"/>
                    </a:lnTo>
                    <a:lnTo>
                      <a:pt x="974" y="379"/>
                    </a:lnTo>
                    <a:lnTo>
                      <a:pt x="982" y="373"/>
                    </a:lnTo>
                    <a:lnTo>
                      <a:pt x="986" y="368"/>
                    </a:lnTo>
                    <a:lnTo>
                      <a:pt x="987" y="362"/>
                    </a:lnTo>
                    <a:lnTo>
                      <a:pt x="986" y="360"/>
                    </a:lnTo>
                    <a:lnTo>
                      <a:pt x="984" y="358"/>
                    </a:lnTo>
                    <a:lnTo>
                      <a:pt x="980" y="356"/>
                    </a:lnTo>
                    <a:lnTo>
                      <a:pt x="978" y="354"/>
                    </a:lnTo>
                    <a:lnTo>
                      <a:pt x="977" y="349"/>
                    </a:lnTo>
                    <a:lnTo>
                      <a:pt x="976" y="348"/>
                    </a:lnTo>
                    <a:lnTo>
                      <a:pt x="974" y="346"/>
                    </a:lnTo>
                    <a:lnTo>
                      <a:pt x="973" y="345"/>
                    </a:lnTo>
                    <a:lnTo>
                      <a:pt x="971" y="343"/>
                    </a:lnTo>
                    <a:lnTo>
                      <a:pt x="968" y="341"/>
                    </a:lnTo>
                    <a:lnTo>
                      <a:pt x="966" y="340"/>
                    </a:lnTo>
                    <a:lnTo>
                      <a:pt x="963" y="340"/>
                    </a:lnTo>
                    <a:lnTo>
                      <a:pt x="961" y="339"/>
                    </a:lnTo>
                    <a:lnTo>
                      <a:pt x="957" y="339"/>
                    </a:lnTo>
                    <a:lnTo>
                      <a:pt x="954" y="340"/>
                    </a:lnTo>
                    <a:lnTo>
                      <a:pt x="952" y="341"/>
                    </a:lnTo>
                    <a:lnTo>
                      <a:pt x="951" y="343"/>
                    </a:lnTo>
                    <a:lnTo>
                      <a:pt x="949" y="346"/>
                    </a:lnTo>
                    <a:lnTo>
                      <a:pt x="947" y="347"/>
                    </a:lnTo>
                    <a:lnTo>
                      <a:pt x="946" y="349"/>
                    </a:lnTo>
                    <a:lnTo>
                      <a:pt x="945" y="350"/>
                    </a:lnTo>
                    <a:lnTo>
                      <a:pt x="942" y="351"/>
                    </a:lnTo>
                    <a:lnTo>
                      <a:pt x="938" y="352"/>
                    </a:lnTo>
                    <a:lnTo>
                      <a:pt x="932" y="352"/>
                    </a:lnTo>
                    <a:lnTo>
                      <a:pt x="927" y="354"/>
                    </a:lnTo>
                    <a:lnTo>
                      <a:pt x="921" y="352"/>
                    </a:lnTo>
                    <a:lnTo>
                      <a:pt x="918" y="349"/>
                    </a:lnTo>
                    <a:lnTo>
                      <a:pt x="918" y="343"/>
                    </a:lnTo>
                    <a:lnTo>
                      <a:pt x="921" y="335"/>
                    </a:lnTo>
                    <a:lnTo>
                      <a:pt x="924" y="328"/>
                    </a:lnTo>
                    <a:lnTo>
                      <a:pt x="925" y="318"/>
                    </a:lnTo>
                    <a:lnTo>
                      <a:pt x="924" y="308"/>
                    </a:lnTo>
                    <a:lnTo>
                      <a:pt x="922" y="300"/>
                    </a:lnTo>
                    <a:lnTo>
                      <a:pt x="921" y="295"/>
                    </a:lnTo>
                    <a:lnTo>
                      <a:pt x="918" y="292"/>
                    </a:lnTo>
                    <a:lnTo>
                      <a:pt x="916" y="290"/>
                    </a:lnTo>
                    <a:lnTo>
                      <a:pt x="912" y="286"/>
                    </a:lnTo>
                    <a:lnTo>
                      <a:pt x="909" y="284"/>
                    </a:lnTo>
                    <a:lnTo>
                      <a:pt x="907" y="281"/>
                    </a:lnTo>
                    <a:lnTo>
                      <a:pt x="903" y="278"/>
                    </a:lnTo>
                    <a:lnTo>
                      <a:pt x="900" y="275"/>
                    </a:lnTo>
                    <a:lnTo>
                      <a:pt x="897" y="272"/>
                    </a:lnTo>
                    <a:lnTo>
                      <a:pt x="895" y="269"/>
                    </a:lnTo>
                    <a:lnTo>
                      <a:pt x="891" y="263"/>
                    </a:lnTo>
                    <a:lnTo>
                      <a:pt x="887" y="258"/>
                    </a:lnTo>
                    <a:lnTo>
                      <a:pt x="881" y="253"/>
                    </a:lnTo>
                    <a:lnTo>
                      <a:pt x="875" y="253"/>
                    </a:lnTo>
                    <a:lnTo>
                      <a:pt x="871" y="254"/>
                    </a:lnTo>
                    <a:lnTo>
                      <a:pt x="869" y="256"/>
                    </a:lnTo>
                    <a:lnTo>
                      <a:pt x="867" y="257"/>
                    </a:lnTo>
                    <a:lnTo>
                      <a:pt x="865" y="258"/>
                    </a:lnTo>
                    <a:lnTo>
                      <a:pt x="863" y="258"/>
                    </a:lnTo>
                    <a:lnTo>
                      <a:pt x="859" y="258"/>
                    </a:lnTo>
                    <a:lnTo>
                      <a:pt x="857" y="258"/>
                    </a:lnTo>
                    <a:lnTo>
                      <a:pt x="854" y="257"/>
                    </a:lnTo>
                    <a:lnTo>
                      <a:pt x="852" y="256"/>
                    </a:lnTo>
                    <a:lnTo>
                      <a:pt x="849" y="253"/>
                    </a:lnTo>
                    <a:lnTo>
                      <a:pt x="848" y="252"/>
                    </a:lnTo>
                    <a:lnTo>
                      <a:pt x="847" y="250"/>
                    </a:lnTo>
                    <a:lnTo>
                      <a:pt x="848" y="249"/>
                    </a:lnTo>
                    <a:lnTo>
                      <a:pt x="851" y="247"/>
                    </a:lnTo>
                    <a:lnTo>
                      <a:pt x="852" y="246"/>
                    </a:lnTo>
                    <a:lnTo>
                      <a:pt x="854" y="246"/>
                    </a:lnTo>
                    <a:lnTo>
                      <a:pt x="856" y="246"/>
                    </a:lnTo>
                    <a:lnTo>
                      <a:pt x="858" y="245"/>
                    </a:lnTo>
                    <a:lnTo>
                      <a:pt x="860" y="245"/>
                    </a:lnTo>
                    <a:lnTo>
                      <a:pt x="862" y="242"/>
                    </a:lnTo>
                    <a:lnTo>
                      <a:pt x="863" y="240"/>
                    </a:lnTo>
                    <a:lnTo>
                      <a:pt x="863" y="238"/>
                    </a:lnTo>
                    <a:lnTo>
                      <a:pt x="862" y="236"/>
                    </a:lnTo>
                    <a:lnTo>
                      <a:pt x="859" y="234"/>
                    </a:lnTo>
                    <a:lnTo>
                      <a:pt x="857" y="231"/>
                    </a:lnTo>
                    <a:lnTo>
                      <a:pt x="854" y="230"/>
                    </a:lnTo>
                    <a:lnTo>
                      <a:pt x="852" y="229"/>
                    </a:lnTo>
                    <a:lnTo>
                      <a:pt x="849" y="230"/>
                    </a:lnTo>
                    <a:lnTo>
                      <a:pt x="848" y="231"/>
                    </a:lnTo>
                    <a:lnTo>
                      <a:pt x="846" y="232"/>
                    </a:lnTo>
                    <a:lnTo>
                      <a:pt x="844" y="234"/>
                    </a:lnTo>
                    <a:lnTo>
                      <a:pt x="843" y="234"/>
                    </a:lnTo>
                    <a:lnTo>
                      <a:pt x="841" y="232"/>
                    </a:lnTo>
                    <a:lnTo>
                      <a:pt x="838" y="231"/>
                    </a:lnTo>
                    <a:lnTo>
                      <a:pt x="836" y="229"/>
                    </a:lnTo>
                    <a:lnTo>
                      <a:pt x="835" y="227"/>
                    </a:lnTo>
                    <a:lnTo>
                      <a:pt x="835" y="225"/>
                    </a:lnTo>
                    <a:lnTo>
                      <a:pt x="836" y="224"/>
                    </a:lnTo>
                    <a:lnTo>
                      <a:pt x="837" y="223"/>
                    </a:lnTo>
                    <a:lnTo>
                      <a:pt x="838" y="220"/>
                    </a:lnTo>
                    <a:lnTo>
                      <a:pt x="841" y="218"/>
                    </a:lnTo>
                    <a:lnTo>
                      <a:pt x="842" y="217"/>
                    </a:lnTo>
                    <a:lnTo>
                      <a:pt x="842" y="215"/>
                    </a:lnTo>
                    <a:lnTo>
                      <a:pt x="842" y="214"/>
                    </a:lnTo>
                    <a:lnTo>
                      <a:pt x="841" y="213"/>
                    </a:lnTo>
                    <a:lnTo>
                      <a:pt x="838" y="213"/>
                    </a:lnTo>
                    <a:lnTo>
                      <a:pt x="836" y="213"/>
                    </a:lnTo>
                    <a:lnTo>
                      <a:pt x="835" y="213"/>
                    </a:lnTo>
                    <a:lnTo>
                      <a:pt x="833" y="212"/>
                    </a:lnTo>
                    <a:lnTo>
                      <a:pt x="831" y="212"/>
                    </a:lnTo>
                    <a:lnTo>
                      <a:pt x="829" y="210"/>
                    </a:lnTo>
                    <a:lnTo>
                      <a:pt x="826" y="210"/>
                    </a:lnTo>
                    <a:lnTo>
                      <a:pt x="824" y="209"/>
                    </a:lnTo>
                    <a:lnTo>
                      <a:pt x="822" y="207"/>
                    </a:lnTo>
                    <a:lnTo>
                      <a:pt x="821" y="205"/>
                    </a:lnTo>
                    <a:lnTo>
                      <a:pt x="821" y="203"/>
                    </a:lnTo>
                    <a:lnTo>
                      <a:pt x="822" y="200"/>
                    </a:lnTo>
                    <a:lnTo>
                      <a:pt x="822" y="197"/>
                    </a:lnTo>
                    <a:lnTo>
                      <a:pt x="822" y="194"/>
                    </a:lnTo>
                    <a:lnTo>
                      <a:pt x="822" y="192"/>
                    </a:lnTo>
                    <a:lnTo>
                      <a:pt x="821" y="187"/>
                    </a:lnTo>
                    <a:lnTo>
                      <a:pt x="819" y="184"/>
                    </a:lnTo>
                    <a:lnTo>
                      <a:pt x="818" y="181"/>
                    </a:lnTo>
                    <a:lnTo>
                      <a:pt x="815" y="178"/>
                    </a:lnTo>
                    <a:lnTo>
                      <a:pt x="811" y="174"/>
                    </a:lnTo>
                    <a:lnTo>
                      <a:pt x="804" y="172"/>
                    </a:lnTo>
                    <a:lnTo>
                      <a:pt x="797" y="172"/>
                    </a:lnTo>
                    <a:lnTo>
                      <a:pt x="790" y="174"/>
                    </a:lnTo>
                    <a:lnTo>
                      <a:pt x="790" y="175"/>
                    </a:lnTo>
                    <a:lnTo>
                      <a:pt x="791" y="177"/>
                    </a:lnTo>
                    <a:lnTo>
                      <a:pt x="793" y="180"/>
                    </a:lnTo>
                    <a:lnTo>
                      <a:pt x="796" y="182"/>
                    </a:lnTo>
                    <a:lnTo>
                      <a:pt x="798" y="184"/>
                    </a:lnTo>
                    <a:lnTo>
                      <a:pt x="800" y="186"/>
                    </a:lnTo>
                    <a:lnTo>
                      <a:pt x="802" y="188"/>
                    </a:lnTo>
                    <a:lnTo>
                      <a:pt x="804" y="189"/>
                    </a:lnTo>
                    <a:lnTo>
                      <a:pt x="805" y="189"/>
                    </a:lnTo>
                    <a:lnTo>
                      <a:pt x="807" y="193"/>
                    </a:lnTo>
                    <a:lnTo>
                      <a:pt x="807" y="196"/>
                    </a:lnTo>
                    <a:lnTo>
                      <a:pt x="805" y="198"/>
                    </a:lnTo>
                    <a:lnTo>
                      <a:pt x="804" y="199"/>
                    </a:lnTo>
                    <a:lnTo>
                      <a:pt x="802" y="202"/>
                    </a:lnTo>
                    <a:lnTo>
                      <a:pt x="799" y="202"/>
                    </a:lnTo>
                    <a:lnTo>
                      <a:pt x="796" y="203"/>
                    </a:lnTo>
                    <a:lnTo>
                      <a:pt x="793" y="203"/>
                    </a:lnTo>
                    <a:lnTo>
                      <a:pt x="790" y="203"/>
                    </a:lnTo>
                    <a:lnTo>
                      <a:pt x="777" y="199"/>
                    </a:lnTo>
                    <a:lnTo>
                      <a:pt x="764" y="196"/>
                    </a:lnTo>
                    <a:lnTo>
                      <a:pt x="760" y="197"/>
                    </a:lnTo>
                    <a:lnTo>
                      <a:pt x="758" y="199"/>
                    </a:lnTo>
                    <a:lnTo>
                      <a:pt x="756" y="200"/>
                    </a:lnTo>
                    <a:lnTo>
                      <a:pt x="754" y="202"/>
                    </a:lnTo>
                    <a:lnTo>
                      <a:pt x="750" y="203"/>
                    </a:lnTo>
                    <a:lnTo>
                      <a:pt x="746" y="203"/>
                    </a:lnTo>
                    <a:lnTo>
                      <a:pt x="732" y="202"/>
                    </a:lnTo>
                    <a:lnTo>
                      <a:pt x="716" y="200"/>
                    </a:lnTo>
                    <a:lnTo>
                      <a:pt x="694" y="200"/>
                    </a:lnTo>
                    <a:lnTo>
                      <a:pt x="681" y="199"/>
                    </a:lnTo>
                    <a:lnTo>
                      <a:pt x="669" y="195"/>
                    </a:lnTo>
                    <a:lnTo>
                      <a:pt x="657" y="192"/>
                    </a:lnTo>
                    <a:lnTo>
                      <a:pt x="649" y="192"/>
                    </a:lnTo>
                    <a:lnTo>
                      <a:pt x="640" y="191"/>
                    </a:lnTo>
                    <a:lnTo>
                      <a:pt x="634" y="187"/>
                    </a:lnTo>
                    <a:lnTo>
                      <a:pt x="629" y="184"/>
                    </a:lnTo>
                    <a:lnTo>
                      <a:pt x="625" y="180"/>
                    </a:lnTo>
                    <a:lnTo>
                      <a:pt x="620" y="176"/>
                    </a:lnTo>
                    <a:lnTo>
                      <a:pt x="616" y="172"/>
                    </a:lnTo>
                    <a:lnTo>
                      <a:pt x="614" y="171"/>
                    </a:lnTo>
                    <a:lnTo>
                      <a:pt x="611" y="169"/>
                    </a:lnTo>
                    <a:lnTo>
                      <a:pt x="608" y="166"/>
                    </a:lnTo>
                    <a:lnTo>
                      <a:pt x="605" y="164"/>
                    </a:lnTo>
                    <a:lnTo>
                      <a:pt x="604" y="162"/>
                    </a:lnTo>
                    <a:lnTo>
                      <a:pt x="603" y="160"/>
                    </a:lnTo>
                    <a:lnTo>
                      <a:pt x="603" y="156"/>
                    </a:lnTo>
                    <a:lnTo>
                      <a:pt x="604" y="153"/>
                    </a:lnTo>
                    <a:lnTo>
                      <a:pt x="605" y="152"/>
                    </a:lnTo>
                    <a:lnTo>
                      <a:pt x="606" y="150"/>
                    </a:lnTo>
                    <a:lnTo>
                      <a:pt x="608" y="150"/>
                    </a:lnTo>
                    <a:lnTo>
                      <a:pt x="612" y="151"/>
                    </a:lnTo>
                    <a:lnTo>
                      <a:pt x="618" y="152"/>
                    </a:lnTo>
                    <a:lnTo>
                      <a:pt x="626" y="154"/>
                    </a:lnTo>
                    <a:lnTo>
                      <a:pt x="634" y="155"/>
                    </a:lnTo>
                    <a:lnTo>
                      <a:pt x="635" y="154"/>
                    </a:lnTo>
                    <a:lnTo>
                      <a:pt x="635" y="154"/>
                    </a:lnTo>
                    <a:lnTo>
                      <a:pt x="634" y="153"/>
                    </a:lnTo>
                    <a:lnTo>
                      <a:pt x="633" y="151"/>
                    </a:lnTo>
                    <a:lnTo>
                      <a:pt x="631" y="150"/>
                    </a:lnTo>
                    <a:lnTo>
                      <a:pt x="629" y="149"/>
                    </a:lnTo>
                    <a:lnTo>
                      <a:pt x="628" y="148"/>
                    </a:lnTo>
                    <a:lnTo>
                      <a:pt x="627" y="147"/>
                    </a:lnTo>
                    <a:lnTo>
                      <a:pt x="618" y="143"/>
                    </a:lnTo>
                    <a:lnTo>
                      <a:pt x="608" y="141"/>
                    </a:lnTo>
                    <a:lnTo>
                      <a:pt x="598" y="138"/>
                    </a:lnTo>
                    <a:lnTo>
                      <a:pt x="592" y="133"/>
                    </a:lnTo>
                    <a:lnTo>
                      <a:pt x="591" y="128"/>
                    </a:lnTo>
                    <a:lnTo>
                      <a:pt x="592" y="120"/>
                    </a:lnTo>
                    <a:lnTo>
                      <a:pt x="592" y="114"/>
                    </a:lnTo>
                    <a:lnTo>
                      <a:pt x="592" y="96"/>
                    </a:lnTo>
                    <a:lnTo>
                      <a:pt x="596" y="82"/>
                    </a:lnTo>
                    <a:lnTo>
                      <a:pt x="603" y="67"/>
                    </a:lnTo>
                    <a:lnTo>
                      <a:pt x="609" y="54"/>
                    </a:lnTo>
                    <a:lnTo>
                      <a:pt x="613" y="51"/>
                    </a:lnTo>
                    <a:lnTo>
                      <a:pt x="615" y="46"/>
                    </a:lnTo>
                    <a:lnTo>
                      <a:pt x="617" y="43"/>
                    </a:lnTo>
                    <a:lnTo>
                      <a:pt x="620" y="39"/>
                    </a:lnTo>
                    <a:lnTo>
                      <a:pt x="625" y="36"/>
                    </a:lnTo>
                    <a:lnTo>
                      <a:pt x="630" y="34"/>
                    </a:lnTo>
                    <a:lnTo>
                      <a:pt x="634" y="32"/>
                    </a:lnTo>
                    <a:lnTo>
                      <a:pt x="638" y="30"/>
                    </a:lnTo>
                    <a:lnTo>
                      <a:pt x="650" y="23"/>
                    </a:lnTo>
                    <a:lnTo>
                      <a:pt x="665" y="19"/>
                    </a:lnTo>
                    <a:lnTo>
                      <a:pt x="679" y="17"/>
                    </a:lnTo>
                    <a:close/>
                    <a:moveTo>
                      <a:pt x="2227" y="17"/>
                    </a:moveTo>
                    <a:lnTo>
                      <a:pt x="2228" y="18"/>
                    </a:lnTo>
                    <a:lnTo>
                      <a:pt x="2230" y="20"/>
                    </a:lnTo>
                    <a:lnTo>
                      <a:pt x="2231" y="24"/>
                    </a:lnTo>
                    <a:lnTo>
                      <a:pt x="2232" y="28"/>
                    </a:lnTo>
                    <a:lnTo>
                      <a:pt x="2232" y="31"/>
                    </a:lnTo>
                    <a:lnTo>
                      <a:pt x="2233" y="33"/>
                    </a:lnTo>
                    <a:lnTo>
                      <a:pt x="2233" y="35"/>
                    </a:lnTo>
                    <a:lnTo>
                      <a:pt x="2235" y="39"/>
                    </a:lnTo>
                    <a:lnTo>
                      <a:pt x="2237" y="42"/>
                    </a:lnTo>
                    <a:lnTo>
                      <a:pt x="2238" y="45"/>
                    </a:lnTo>
                    <a:lnTo>
                      <a:pt x="2238" y="47"/>
                    </a:lnTo>
                    <a:lnTo>
                      <a:pt x="2238" y="49"/>
                    </a:lnTo>
                    <a:lnTo>
                      <a:pt x="2238" y="49"/>
                    </a:lnTo>
                    <a:lnTo>
                      <a:pt x="2237" y="49"/>
                    </a:lnTo>
                    <a:lnTo>
                      <a:pt x="2237" y="47"/>
                    </a:lnTo>
                    <a:lnTo>
                      <a:pt x="2235" y="46"/>
                    </a:lnTo>
                    <a:lnTo>
                      <a:pt x="2234" y="46"/>
                    </a:lnTo>
                    <a:lnTo>
                      <a:pt x="2233" y="46"/>
                    </a:lnTo>
                    <a:lnTo>
                      <a:pt x="2233" y="46"/>
                    </a:lnTo>
                    <a:lnTo>
                      <a:pt x="2233" y="47"/>
                    </a:lnTo>
                    <a:lnTo>
                      <a:pt x="2233" y="54"/>
                    </a:lnTo>
                    <a:lnTo>
                      <a:pt x="2232" y="54"/>
                    </a:lnTo>
                    <a:lnTo>
                      <a:pt x="2231" y="53"/>
                    </a:lnTo>
                    <a:lnTo>
                      <a:pt x="2231" y="52"/>
                    </a:lnTo>
                    <a:lnTo>
                      <a:pt x="2230" y="52"/>
                    </a:lnTo>
                    <a:lnTo>
                      <a:pt x="2229" y="50"/>
                    </a:lnTo>
                    <a:lnTo>
                      <a:pt x="2228" y="47"/>
                    </a:lnTo>
                    <a:lnTo>
                      <a:pt x="2227" y="46"/>
                    </a:lnTo>
                    <a:lnTo>
                      <a:pt x="2227" y="45"/>
                    </a:lnTo>
                    <a:lnTo>
                      <a:pt x="2226" y="43"/>
                    </a:lnTo>
                    <a:lnTo>
                      <a:pt x="2224" y="42"/>
                    </a:lnTo>
                    <a:lnTo>
                      <a:pt x="2223" y="41"/>
                    </a:lnTo>
                    <a:lnTo>
                      <a:pt x="2223" y="40"/>
                    </a:lnTo>
                    <a:lnTo>
                      <a:pt x="2223" y="39"/>
                    </a:lnTo>
                    <a:lnTo>
                      <a:pt x="2223" y="38"/>
                    </a:lnTo>
                    <a:lnTo>
                      <a:pt x="2223" y="36"/>
                    </a:lnTo>
                    <a:lnTo>
                      <a:pt x="2223" y="34"/>
                    </a:lnTo>
                    <a:lnTo>
                      <a:pt x="2223" y="32"/>
                    </a:lnTo>
                    <a:lnTo>
                      <a:pt x="2222" y="30"/>
                    </a:lnTo>
                    <a:lnTo>
                      <a:pt x="2221" y="28"/>
                    </a:lnTo>
                    <a:lnTo>
                      <a:pt x="2221" y="27"/>
                    </a:lnTo>
                    <a:lnTo>
                      <a:pt x="2222" y="25"/>
                    </a:lnTo>
                    <a:lnTo>
                      <a:pt x="2222" y="23"/>
                    </a:lnTo>
                    <a:lnTo>
                      <a:pt x="2223" y="22"/>
                    </a:lnTo>
                    <a:lnTo>
                      <a:pt x="2224" y="20"/>
                    </a:lnTo>
                    <a:lnTo>
                      <a:pt x="2224" y="18"/>
                    </a:lnTo>
                    <a:lnTo>
                      <a:pt x="2226" y="17"/>
                    </a:lnTo>
                    <a:lnTo>
                      <a:pt x="2227" y="17"/>
                    </a:lnTo>
                    <a:close/>
                    <a:moveTo>
                      <a:pt x="1659" y="12"/>
                    </a:moveTo>
                    <a:lnTo>
                      <a:pt x="1661" y="12"/>
                    </a:lnTo>
                    <a:lnTo>
                      <a:pt x="1663" y="14"/>
                    </a:lnTo>
                    <a:lnTo>
                      <a:pt x="1665" y="18"/>
                    </a:lnTo>
                    <a:lnTo>
                      <a:pt x="1666" y="21"/>
                    </a:lnTo>
                    <a:lnTo>
                      <a:pt x="1667" y="24"/>
                    </a:lnTo>
                    <a:lnTo>
                      <a:pt x="1669" y="27"/>
                    </a:lnTo>
                    <a:lnTo>
                      <a:pt x="1670" y="30"/>
                    </a:lnTo>
                    <a:lnTo>
                      <a:pt x="1672" y="34"/>
                    </a:lnTo>
                    <a:lnTo>
                      <a:pt x="1674" y="39"/>
                    </a:lnTo>
                    <a:lnTo>
                      <a:pt x="1674" y="43"/>
                    </a:lnTo>
                    <a:lnTo>
                      <a:pt x="1674" y="44"/>
                    </a:lnTo>
                    <a:lnTo>
                      <a:pt x="1674" y="46"/>
                    </a:lnTo>
                    <a:lnTo>
                      <a:pt x="1673" y="47"/>
                    </a:lnTo>
                    <a:lnTo>
                      <a:pt x="1673" y="49"/>
                    </a:lnTo>
                    <a:lnTo>
                      <a:pt x="1672" y="49"/>
                    </a:lnTo>
                    <a:lnTo>
                      <a:pt x="1671" y="49"/>
                    </a:lnTo>
                    <a:lnTo>
                      <a:pt x="1670" y="45"/>
                    </a:lnTo>
                    <a:lnTo>
                      <a:pt x="1665" y="36"/>
                    </a:lnTo>
                    <a:lnTo>
                      <a:pt x="1660" y="28"/>
                    </a:lnTo>
                    <a:lnTo>
                      <a:pt x="1655" y="19"/>
                    </a:lnTo>
                    <a:lnTo>
                      <a:pt x="1655" y="17"/>
                    </a:lnTo>
                    <a:lnTo>
                      <a:pt x="1656" y="16"/>
                    </a:lnTo>
                    <a:lnTo>
                      <a:pt x="1656" y="13"/>
                    </a:lnTo>
                    <a:lnTo>
                      <a:pt x="1656" y="12"/>
                    </a:lnTo>
                    <a:lnTo>
                      <a:pt x="1658" y="12"/>
                    </a:lnTo>
                    <a:lnTo>
                      <a:pt x="1659" y="12"/>
                    </a:lnTo>
                    <a:close/>
                    <a:moveTo>
                      <a:pt x="537" y="10"/>
                    </a:moveTo>
                    <a:lnTo>
                      <a:pt x="548" y="12"/>
                    </a:lnTo>
                    <a:lnTo>
                      <a:pt x="551" y="12"/>
                    </a:lnTo>
                    <a:lnTo>
                      <a:pt x="554" y="13"/>
                    </a:lnTo>
                    <a:lnTo>
                      <a:pt x="557" y="13"/>
                    </a:lnTo>
                    <a:lnTo>
                      <a:pt x="560" y="14"/>
                    </a:lnTo>
                    <a:lnTo>
                      <a:pt x="563" y="14"/>
                    </a:lnTo>
                    <a:lnTo>
                      <a:pt x="580" y="14"/>
                    </a:lnTo>
                    <a:lnTo>
                      <a:pt x="585" y="13"/>
                    </a:lnTo>
                    <a:lnTo>
                      <a:pt x="592" y="14"/>
                    </a:lnTo>
                    <a:lnTo>
                      <a:pt x="597" y="17"/>
                    </a:lnTo>
                    <a:lnTo>
                      <a:pt x="600" y="21"/>
                    </a:lnTo>
                    <a:lnTo>
                      <a:pt x="596" y="27"/>
                    </a:lnTo>
                    <a:lnTo>
                      <a:pt x="590" y="31"/>
                    </a:lnTo>
                    <a:lnTo>
                      <a:pt x="582" y="33"/>
                    </a:lnTo>
                    <a:lnTo>
                      <a:pt x="579" y="34"/>
                    </a:lnTo>
                    <a:lnTo>
                      <a:pt x="578" y="35"/>
                    </a:lnTo>
                    <a:lnTo>
                      <a:pt x="576" y="35"/>
                    </a:lnTo>
                    <a:lnTo>
                      <a:pt x="576" y="36"/>
                    </a:lnTo>
                    <a:lnTo>
                      <a:pt x="576" y="38"/>
                    </a:lnTo>
                    <a:lnTo>
                      <a:pt x="576" y="40"/>
                    </a:lnTo>
                    <a:lnTo>
                      <a:pt x="576" y="42"/>
                    </a:lnTo>
                    <a:lnTo>
                      <a:pt x="575" y="44"/>
                    </a:lnTo>
                    <a:lnTo>
                      <a:pt x="574" y="46"/>
                    </a:lnTo>
                    <a:lnTo>
                      <a:pt x="573" y="47"/>
                    </a:lnTo>
                    <a:lnTo>
                      <a:pt x="572" y="51"/>
                    </a:lnTo>
                    <a:lnTo>
                      <a:pt x="569" y="53"/>
                    </a:lnTo>
                    <a:lnTo>
                      <a:pt x="567" y="55"/>
                    </a:lnTo>
                    <a:lnTo>
                      <a:pt x="563" y="58"/>
                    </a:lnTo>
                    <a:lnTo>
                      <a:pt x="561" y="61"/>
                    </a:lnTo>
                    <a:lnTo>
                      <a:pt x="560" y="64"/>
                    </a:lnTo>
                    <a:lnTo>
                      <a:pt x="559" y="67"/>
                    </a:lnTo>
                    <a:lnTo>
                      <a:pt x="558" y="69"/>
                    </a:lnTo>
                    <a:lnTo>
                      <a:pt x="557" y="72"/>
                    </a:lnTo>
                    <a:lnTo>
                      <a:pt x="552" y="75"/>
                    </a:lnTo>
                    <a:lnTo>
                      <a:pt x="547" y="75"/>
                    </a:lnTo>
                    <a:lnTo>
                      <a:pt x="540" y="73"/>
                    </a:lnTo>
                    <a:lnTo>
                      <a:pt x="534" y="71"/>
                    </a:lnTo>
                    <a:lnTo>
                      <a:pt x="528" y="69"/>
                    </a:lnTo>
                    <a:lnTo>
                      <a:pt x="526" y="69"/>
                    </a:lnTo>
                    <a:lnTo>
                      <a:pt x="525" y="71"/>
                    </a:lnTo>
                    <a:lnTo>
                      <a:pt x="525" y="72"/>
                    </a:lnTo>
                    <a:lnTo>
                      <a:pt x="525" y="73"/>
                    </a:lnTo>
                    <a:lnTo>
                      <a:pt x="526" y="74"/>
                    </a:lnTo>
                    <a:lnTo>
                      <a:pt x="527" y="75"/>
                    </a:lnTo>
                    <a:lnTo>
                      <a:pt x="528" y="76"/>
                    </a:lnTo>
                    <a:lnTo>
                      <a:pt x="529" y="77"/>
                    </a:lnTo>
                    <a:lnTo>
                      <a:pt x="530" y="78"/>
                    </a:lnTo>
                    <a:lnTo>
                      <a:pt x="532" y="84"/>
                    </a:lnTo>
                    <a:lnTo>
                      <a:pt x="531" y="92"/>
                    </a:lnTo>
                    <a:lnTo>
                      <a:pt x="526" y="97"/>
                    </a:lnTo>
                    <a:lnTo>
                      <a:pt x="519" y="103"/>
                    </a:lnTo>
                    <a:lnTo>
                      <a:pt x="511" y="107"/>
                    </a:lnTo>
                    <a:lnTo>
                      <a:pt x="504" y="110"/>
                    </a:lnTo>
                    <a:lnTo>
                      <a:pt x="500" y="109"/>
                    </a:lnTo>
                    <a:lnTo>
                      <a:pt x="498" y="108"/>
                    </a:lnTo>
                    <a:lnTo>
                      <a:pt x="496" y="106"/>
                    </a:lnTo>
                    <a:lnTo>
                      <a:pt x="494" y="103"/>
                    </a:lnTo>
                    <a:lnTo>
                      <a:pt x="493" y="100"/>
                    </a:lnTo>
                    <a:lnTo>
                      <a:pt x="492" y="97"/>
                    </a:lnTo>
                    <a:lnTo>
                      <a:pt x="491" y="95"/>
                    </a:lnTo>
                    <a:lnTo>
                      <a:pt x="491" y="93"/>
                    </a:lnTo>
                    <a:lnTo>
                      <a:pt x="489" y="83"/>
                    </a:lnTo>
                    <a:lnTo>
                      <a:pt x="492" y="72"/>
                    </a:lnTo>
                    <a:lnTo>
                      <a:pt x="493" y="61"/>
                    </a:lnTo>
                    <a:lnTo>
                      <a:pt x="494" y="54"/>
                    </a:lnTo>
                    <a:lnTo>
                      <a:pt x="496" y="49"/>
                    </a:lnTo>
                    <a:lnTo>
                      <a:pt x="499" y="43"/>
                    </a:lnTo>
                    <a:lnTo>
                      <a:pt x="506" y="40"/>
                    </a:lnTo>
                    <a:lnTo>
                      <a:pt x="508" y="39"/>
                    </a:lnTo>
                    <a:lnTo>
                      <a:pt x="509" y="38"/>
                    </a:lnTo>
                    <a:lnTo>
                      <a:pt x="509" y="35"/>
                    </a:lnTo>
                    <a:lnTo>
                      <a:pt x="509" y="34"/>
                    </a:lnTo>
                    <a:lnTo>
                      <a:pt x="507" y="32"/>
                    </a:lnTo>
                    <a:lnTo>
                      <a:pt x="506" y="31"/>
                    </a:lnTo>
                    <a:lnTo>
                      <a:pt x="505" y="29"/>
                    </a:lnTo>
                    <a:lnTo>
                      <a:pt x="504" y="27"/>
                    </a:lnTo>
                    <a:lnTo>
                      <a:pt x="503" y="25"/>
                    </a:lnTo>
                    <a:lnTo>
                      <a:pt x="503" y="23"/>
                    </a:lnTo>
                    <a:lnTo>
                      <a:pt x="504" y="22"/>
                    </a:lnTo>
                    <a:lnTo>
                      <a:pt x="506" y="20"/>
                    </a:lnTo>
                    <a:lnTo>
                      <a:pt x="509" y="19"/>
                    </a:lnTo>
                    <a:lnTo>
                      <a:pt x="511" y="18"/>
                    </a:lnTo>
                    <a:lnTo>
                      <a:pt x="515" y="17"/>
                    </a:lnTo>
                    <a:lnTo>
                      <a:pt x="526" y="12"/>
                    </a:lnTo>
                    <a:lnTo>
                      <a:pt x="537" y="10"/>
                    </a:lnTo>
                    <a:close/>
                    <a:moveTo>
                      <a:pt x="2196" y="10"/>
                    </a:moveTo>
                    <a:lnTo>
                      <a:pt x="2197" y="10"/>
                    </a:lnTo>
                    <a:lnTo>
                      <a:pt x="2198" y="11"/>
                    </a:lnTo>
                    <a:lnTo>
                      <a:pt x="2199" y="12"/>
                    </a:lnTo>
                    <a:lnTo>
                      <a:pt x="2199" y="14"/>
                    </a:lnTo>
                    <a:lnTo>
                      <a:pt x="2199" y="16"/>
                    </a:lnTo>
                    <a:lnTo>
                      <a:pt x="2198" y="17"/>
                    </a:lnTo>
                    <a:lnTo>
                      <a:pt x="2198" y="17"/>
                    </a:lnTo>
                    <a:lnTo>
                      <a:pt x="2197" y="16"/>
                    </a:lnTo>
                    <a:lnTo>
                      <a:pt x="2196" y="14"/>
                    </a:lnTo>
                    <a:lnTo>
                      <a:pt x="2196" y="13"/>
                    </a:lnTo>
                    <a:lnTo>
                      <a:pt x="2195" y="11"/>
                    </a:lnTo>
                    <a:lnTo>
                      <a:pt x="2196" y="10"/>
                    </a:lnTo>
                    <a:lnTo>
                      <a:pt x="2196" y="10"/>
                    </a:lnTo>
                    <a:close/>
                    <a:moveTo>
                      <a:pt x="2074" y="9"/>
                    </a:moveTo>
                    <a:lnTo>
                      <a:pt x="2075" y="10"/>
                    </a:lnTo>
                    <a:lnTo>
                      <a:pt x="2078" y="11"/>
                    </a:lnTo>
                    <a:lnTo>
                      <a:pt x="2080" y="12"/>
                    </a:lnTo>
                    <a:lnTo>
                      <a:pt x="2082" y="12"/>
                    </a:lnTo>
                    <a:lnTo>
                      <a:pt x="2082" y="17"/>
                    </a:lnTo>
                    <a:lnTo>
                      <a:pt x="2080" y="17"/>
                    </a:lnTo>
                    <a:lnTo>
                      <a:pt x="2078" y="14"/>
                    </a:lnTo>
                    <a:lnTo>
                      <a:pt x="2075" y="12"/>
                    </a:lnTo>
                    <a:lnTo>
                      <a:pt x="2074" y="11"/>
                    </a:lnTo>
                    <a:lnTo>
                      <a:pt x="2074" y="10"/>
                    </a:lnTo>
                    <a:lnTo>
                      <a:pt x="2074" y="9"/>
                    </a:lnTo>
                    <a:lnTo>
                      <a:pt x="2074" y="9"/>
                    </a:lnTo>
                    <a:close/>
                    <a:moveTo>
                      <a:pt x="2147" y="1"/>
                    </a:moveTo>
                    <a:lnTo>
                      <a:pt x="2150" y="1"/>
                    </a:lnTo>
                    <a:lnTo>
                      <a:pt x="2151" y="1"/>
                    </a:lnTo>
                    <a:lnTo>
                      <a:pt x="2153" y="1"/>
                    </a:lnTo>
                    <a:lnTo>
                      <a:pt x="2154" y="2"/>
                    </a:lnTo>
                    <a:lnTo>
                      <a:pt x="2156" y="3"/>
                    </a:lnTo>
                    <a:lnTo>
                      <a:pt x="2156" y="8"/>
                    </a:lnTo>
                    <a:lnTo>
                      <a:pt x="2152" y="6"/>
                    </a:lnTo>
                    <a:lnTo>
                      <a:pt x="2150" y="3"/>
                    </a:lnTo>
                    <a:lnTo>
                      <a:pt x="2148" y="2"/>
                    </a:lnTo>
                    <a:lnTo>
                      <a:pt x="2147" y="1"/>
                    </a:lnTo>
                    <a:close/>
                    <a:moveTo>
                      <a:pt x="1897" y="0"/>
                    </a:moveTo>
                    <a:lnTo>
                      <a:pt x="1897" y="0"/>
                    </a:lnTo>
                    <a:lnTo>
                      <a:pt x="1899" y="1"/>
                    </a:lnTo>
                    <a:lnTo>
                      <a:pt x="1900" y="3"/>
                    </a:lnTo>
                    <a:lnTo>
                      <a:pt x="1903" y="5"/>
                    </a:lnTo>
                    <a:lnTo>
                      <a:pt x="1905" y="7"/>
                    </a:lnTo>
                    <a:lnTo>
                      <a:pt x="1906" y="9"/>
                    </a:lnTo>
                    <a:lnTo>
                      <a:pt x="1909" y="12"/>
                    </a:lnTo>
                    <a:lnTo>
                      <a:pt x="1910" y="14"/>
                    </a:lnTo>
                    <a:lnTo>
                      <a:pt x="1912" y="17"/>
                    </a:lnTo>
                    <a:lnTo>
                      <a:pt x="1913" y="19"/>
                    </a:lnTo>
                    <a:lnTo>
                      <a:pt x="1914" y="22"/>
                    </a:lnTo>
                    <a:lnTo>
                      <a:pt x="1914" y="22"/>
                    </a:lnTo>
                    <a:lnTo>
                      <a:pt x="1915" y="24"/>
                    </a:lnTo>
                    <a:lnTo>
                      <a:pt x="1917" y="25"/>
                    </a:lnTo>
                    <a:lnTo>
                      <a:pt x="1918" y="28"/>
                    </a:lnTo>
                    <a:lnTo>
                      <a:pt x="1920" y="29"/>
                    </a:lnTo>
                    <a:lnTo>
                      <a:pt x="1920" y="30"/>
                    </a:lnTo>
                    <a:lnTo>
                      <a:pt x="1920" y="31"/>
                    </a:lnTo>
                    <a:lnTo>
                      <a:pt x="1920" y="31"/>
                    </a:lnTo>
                    <a:lnTo>
                      <a:pt x="1918" y="30"/>
                    </a:lnTo>
                    <a:lnTo>
                      <a:pt x="1916" y="29"/>
                    </a:lnTo>
                    <a:lnTo>
                      <a:pt x="1914" y="24"/>
                    </a:lnTo>
                    <a:lnTo>
                      <a:pt x="1912" y="21"/>
                    </a:lnTo>
                    <a:lnTo>
                      <a:pt x="1909" y="17"/>
                    </a:lnTo>
                    <a:lnTo>
                      <a:pt x="1905" y="12"/>
                    </a:lnTo>
                    <a:lnTo>
                      <a:pt x="1903" y="11"/>
                    </a:lnTo>
                    <a:lnTo>
                      <a:pt x="1901" y="9"/>
                    </a:lnTo>
                    <a:lnTo>
                      <a:pt x="1899" y="7"/>
                    </a:lnTo>
                    <a:lnTo>
                      <a:pt x="1897" y="5"/>
                    </a:lnTo>
                    <a:lnTo>
                      <a:pt x="1896" y="3"/>
                    </a:lnTo>
                    <a:lnTo>
                      <a:pt x="1896" y="2"/>
                    </a:lnTo>
                    <a:lnTo>
                      <a:pt x="1896" y="1"/>
                    </a:lnTo>
                    <a:lnTo>
                      <a:pt x="1897"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40" name="Freeform 37"/>
              <p:cNvSpPr>
                <a:spLocks noEditPoints="1"/>
              </p:cNvSpPr>
              <p:nvPr/>
            </p:nvSpPr>
            <p:spPr bwMode="auto">
              <a:xfrm>
                <a:off x="5656" y="667"/>
                <a:ext cx="304" cy="155"/>
              </a:xfrm>
              <a:custGeom>
                <a:avLst/>
                <a:gdLst>
                  <a:gd name="T0" fmla="*/ 2064 w 2128"/>
                  <a:gd name="T1" fmla="*/ 478 h 1086"/>
                  <a:gd name="T2" fmla="*/ 1956 w 2128"/>
                  <a:gd name="T3" fmla="*/ 421 h 1086"/>
                  <a:gd name="T4" fmla="*/ 2104 w 2128"/>
                  <a:gd name="T5" fmla="*/ 456 h 1086"/>
                  <a:gd name="T6" fmla="*/ 2084 w 2128"/>
                  <a:gd name="T7" fmla="*/ 446 h 1086"/>
                  <a:gd name="T8" fmla="*/ 2115 w 2128"/>
                  <a:gd name="T9" fmla="*/ 411 h 1086"/>
                  <a:gd name="T10" fmla="*/ 269 w 2128"/>
                  <a:gd name="T11" fmla="*/ 403 h 1086"/>
                  <a:gd name="T12" fmla="*/ 1838 w 2128"/>
                  <a:gd name="T13" fmla="*/ 404 h 1086"/>
                  <a:gd name="T14" fmla="*/ 1887 w 2128"/>
                  <a:gd name="T15" fmla="*/ 472 h 1086"/>
                  <a:gd name="T16" fmla="*/ 1853 w 2128"/>
                  <a:gd name="T17" fmla="*/ 480 h 1086"/>
                  <a:gd name="T18" fmla="*/ 1824 w 2128"/>
                  <a:gd name="T19" fmla="*/ 418 h 1086"/>
                  <a:gd name="T20" fmla="*/ 1876 w 2128"/>
                  <a:gd name="T21" fmla="*/ 383 h 1086"/>
                  <a:gd name="T22" fmla="*/ 1899 w 2128"/>
                  <a:gd name="T23" fmla="*/ 439 h 1086"/>
                  <a:gd name="T24" fmla="*/ 1855 w 2128"/>
                  <a:gd name="T25" fmla="*/ 385 h 1086"/>
                  <a:gd name="T26" fmla="*/ 699 w 2128"/>
                  <a:gd name="T27" fmla="*/ 339 h 1086"/>
                  <a:gd name="T28" fmla="*/ 221 w 2128"/>
                  <a:gd name="T29" fmla="*/ 369 h 1086"/>
                  <a:gd name="T30" fmla="*/ 143 w 2128"/>
                  <a:gd name="T31" fmla="*/ 427 h 1086"/>
                  <a:gd name="T32" fmla="*/ 94 w 2128"/>
                  <a:gd name="T33" fmla="*/ 401 h 1086"/>
                  <a:gd name="T34" fmla="*/ 197 w 2128"/>
                  <a:gd name="T35" fmla="*/ 386 h 1086"/>
                  <a:gd name="T36" fmla="*/ 365 w 2128"/>
                  <a:gd name="T37" fmla="*/ 395 h 1086"/>
                  <a:gd name="T38" fmla="*/ 123 w 2128"/>
                  <a:gd name="T39" fmla="*/ 314 h 1086"/>
                  <a:gd name="T40" fmla="*/ 36 w 2128"/>
                  <a:gd name="T41" fmla="*/ 414 h 1086"/>
                  <a:gd name="T42" fmla="*/ 1551 w 2128"/>
                  <a:gd name="T43" fmla="*/ 320 h 1086"/>
                  <a:gd name="T44" fmla="*/ 261 w 2128"/>
                  <a:gd name="T45" fmla="*/ 298 h 1086"/>
                  <a:gd name="T46" fmla="*/ 502 w 2128"/>
                  <a:gd name="T47" fmla="*/ 284 h 1086"/>
                  <a:gd name="T48" fmla="*/ 434 w 2128"/>
                  <a:gd name="T49" fmla="*/ 260 h 1086"/>
                  <a:gd name="T50" fmla="*/ 441 w 2128"/>
                  <a:gd name="T51" fmla="*/ 222 h 1086"/>
                  <a:gd name="T52" fmla="*/ 393 w 2128"/>
                  <a:gd name="T53" fmla="*/ 217 h 1086"/>
                  <a:gd name="T54" fmla="*/ 347 w 2128"/>
                  <a:gd name="T55" fmla="*/ 254 h 1086"/>
                  <a:gd name="T56" fmla="*/ 401 w 2128"/>
                  <a:gd name="T57" fmla="*/ 163 h 1086"/>
                  <a:gd name="T58" fmla="*/ 1311 w 2128"/>
                  <a:gd name="T59" fmla="*/ 28 h 1086"/>
                  <a:gd name="T60" fmla="*/ 1367 w 2128"/>
                  <a:gd name="T61" fmla="*/ 73 h 1086"/>
                  <a:gd name="T62" fmla="*/ 1304 w 2128"/>
                  <a:gd name="T63" fmla="*/ 123 h 1086"/>
                  <a:gd name="T64" fmla="*/ 1431 w 2128"/>
                  <a:gd name="T65" fmla="*/ 149 h 1086"/>
                  <a:gd name="T66" fmla="*/ 1481 w 2128"/>
                  <a:gd name="T67" fmla="*/ 173 h 1086"/>
                  <a:gd name="T68" fmla="*/ 1538 w 2128"/>
                  <a:gd name="T69" fmla="*/ 216 h 1086"/>
                  <a:gd name="T70" fmla="*/ 1511 w 2128"/>
                  <a:gd name="T71" fmla="*/ 253 h 1086"/>
                  <a:gd name="T72" fmla="*/ 1527 w 2128"/>
                  <a:gd name="T73" fmla="*/ 306 h 1086"/>
                  <a:gd name="T74" fmla="*/ 1552 w 2128"/>
                  <a:gd name="T75" fmla="*/ 401 h 1086"/>
                  <a:gd name="T76" fmla="*/ 1564 w 2128"/>
                  <a:gd name="T77" fmla="*/ 456 h 1086"/>
                  <a:gd name="T78" fmla="*/ 1591 w 2128"/>
                  <a:gd name="T79" fmla="*/ 533 h 1086"/>
                  <a:gd name="T80" fmla="*/ 1549 w 2128"/>
                  <a:gd name="T81" fmla="*/ 591 h 1086"/>
                  <a:gd name="T82" fmla="*/ 1546 w 2128"/>
                  <a:gd name="T83" fmla="*/ 653 h 1086"/>
                  <a:gd name="T84" fmla="*/ 1559 w 2128"/>
                  <a:gd name="T85" fmla="*/ 702 h 1086"/>
                  <a:gd name="T86" fmla="*/ 1503 w 2128"/>
                  <a:gd name="T87" fmla="*/ 789 h 1086"/>
                  <a:gd name="T88" fmla="*/ 1416 w 2128"/>
                  <a:gd name="T89" fmla="*/ 866 h 1086"/>
                  <a:gd name="T90" fmla="*/ 1388 w 2128"/>
                  <a:gd name="T91" fmla="*/ 979 h 1086"/>
                  <a:gd name="T92" fmla="*/ 1313 w 2128"/>
                  <a:gd name="T93" fmla="*/ 1046 h 1086"/>
                  <a:gd name="T94" fmla="*/ 1191 w 2128"/>
                  <a:gd name="T95" fmla="*/ 800 h 1086"/>
                  <a:gd name="T96" fmla="*/ 1192 w 2128"/>
                  <a:gd name="T97" fmla="*/ 731 h 1086"/>
                  <a:gd name="T98" fmla="*/ 1150 w 2128"/>
                  <a:gd name="T99" fmla="*/ 667 h 1086"/>
                  <a:gd name="T100" fmla="*/ 1161 w 2128"/>
                  <a:gd name="T101" fmla="*/ 570 h 1086"/>
                  <a:gd name="T102" fmla="*/ 1109 w 2128"/>
                  <a:gd name="T103" fmla="*/ 483 h 1086"/>
                  <a:gd name="T104" fmla="*/ 937 w 2128"/>
                  <a:gd name="T105" fmla="*/ 340 h 1086"/>
                  <a:gd name="T106" fmla="*/ 826 w 2128"/>
                  <a:gd name="T107" fmla="*/ 291 h 1086"/>
                  <a:gd name="T108" fmla="*/ 844 w 2128"/>
                  <a:gd name="T109" fmla="*/ 263 h 1086"/>
                  <a:gd name="T110" fmla="*/ 904 w 2128"/>
                  <a:gd name="T111" fmla="*/ 158 h 1086"/>
                  <a:gd name="T112" fmla="*/ 896 w 2128"/>
                  <a:gd name="T113" fmla="*/ 100 h 1086"/>
                  <a:gd name="T114" fmla="*/ 960 w 2128"/>
                  <a:gd name="T115" fmla="*/ 44 h 1086"/>
                  <a:gd name="T116" fmla="*/ 1049 w 2128"/>
                  <a:gd name="T117" fmla="*/ 47 h 1086"/>
                  <a:gd name="T118" fmla="*/ 1137 w 2128"/>
                  <a:gd name="T119" fmla="*/ 71 h 1086"/>
                  <a:gd name="T120" fmla="*/ 1194 w 2128"/>
                  <a:gd name="T121" fmla="*/ 45 h 1086"/>
                  <a:gd name="T122" fmla="*/ 1142 w 2128"/>
                  <a:gd name="T123" fmla="*/ 9 h 1086"/>
                  <a:gd name="T124" fmla="*/ 1210 w 2128"/>
                  <a:gd name="T125" fmla="*/ 23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8" h="1086">
                    <a:moveTo>
                      <a:pt x="2056" y="426"/>
                    </a:moveTo>
                    <a:lnTo>
                      <a:pt x="2056" y="427"/>
                    </a:lnTo>
                    <a:lnTo>
                      <a:pt x="2056" y="427"/>
                    </a:lnTo>
                    <a:lnTo>
                      <a:pt x="2056" y="427"/>
                    </a:lnTo>
                    <a:lnTo>
                      <a:pt x="2056" y="426"/>
                    </a:lnTo>
                    <a:close/>
                    <a:moveTo>
                      <a:pt x="2034" y="426"/>
                    </a:moveTo>
                    <a:lnTo>
                      <a:pt x="2037" y="427"/>
                    </a:lnTo>
                    <a:lnTo>
                      <a:pt x="2039" y="427"/>
                    </a:lnTo>
                    <a:lnTo>
                      <a:pt x="2041" y="428"/>
                    </a:lnTo>
                    <a:lnTo>
                      <a:pt x="2043" y="429"/>
                    </a:lnTo>
                    <a:lnTo>
                      <a:pt x="2045" y="432"/>
                    </a:lnTo>
                    <a:lnTo>
                      <a:pt x="2048" y="434"/>
                    </a:lnTo>
                    <a:lnTo>
                      <a:pt x="2050" y="436"/>
                    </a:lnTo>
                    <a:lnTo>
                      <a:pt x="2053" y="438"/>
                    </a:lnTo>
                    <a:lnTo>
                      <a:pt x="2054" y="438"/>
                    </a:lnTo>
                    <a:lnTo>
                      <a:pt x="2055" y="438"/>
                    </a:lnTo>
                    <a:lnTo>
                      <a:pt x="2056" y="439"/>
                    </a:lnTo>
                    <a:lnTo>
                      <a:pt x="2057" y="438"/>
                    </a:lnTo>
                    <a:lnTo>
                      <a:pt x="2057" y="438"/>
                    </a:lnTo>
                    <a:lnTo>
                      <a:pt x="2057" y="436"/>
                    </a:lnTo>
                    <a:lnTo>
                      <a:pt x="2057" y="435"/>
                    </a:lnTo>
                    <a:lnTo>
                      <a:pt x="2056" y="434"/>
                    </a:lnTo>
                    <a:lnTo>
                      <a:pt x="2056" y="434"/>
                    </a:lnTo>
                    <a:lnTo>
                      <a:pt x="2057" y="434"/>
                    </a:lnTo>
                    <a:lnTo>
                      <a:pt x="2057" y="433"/>
                    </a:lnTo>
                    <a:lnTo>
                      <a:pt x="2059" y="433"/>
                    </a:lnTo>
                    <a:lnTo>
                      <a:pt x="2060" y="434"/>
                    </a:lnTo>
                    <a:lnTo>
                      <a:pt x="2062" y="435"/>
                    </a:lnTo>
                    <a:lnTo>
                      <a:pt x="2063" y="437"/>
                    </a:lnTo>
                    <a:lnTo>
                      <a:pt x="2064" y="438"/>
                    </a:lnTo>
                    <a:lnTo>
                      <a:pt x="2064" y="440"/>
                    </a:lnTo>
                    <a:lnTo>
                      <a:pt x="2065" y="443"/>
                    </a:lnTo>
                    <a:lnTo>
                      <a:pt x="2066" y="445"/>
                    </a:lnTo>
                    <a:lnTo>
                      <a:pt x="2066" y="447"/>
                    </a:lnTo>
                    <a:lnTo>
                      <a:pt x="2067" y="448"/>
                    </a:lnTo>
                    <a:lnTo>
                      <a:pt x="2069" y="449"/>
                    </a:lnTo>
                    <a:lnTo>
                      <a:pt x="2070" y="451"/>
                    </a:lnTo>
                    <a:lnTo>
                      <a:pt x="2071" y="454"/>
                    </a:lnTo>
                    <a:lnTo>
                      <a:pt x="2072" y="456"/>
                    </a:lnTo>
                    <a:lnTo>
                      <a:pt x="2072" y="457"/>
                    </a:lnTo>
                    <a:lnTo>
                      <a:pt x="2072" y="458"/>
                    </a:lnTo>
                    <a:lnTo>
                      <a:pt x="2071" y="459"/>
                    </a:lnTo>
                    <a:lnTo>
                      <a:pt x="2070" y="460"/>
                    </a:lnTo>
                    <a:lnTo>
                      <a:pt x="2069" y="460"/>
                    </a:lnTo>
                    <a:lnTo>
                      <a:pt x="2067" y="459"/>
                    </a:lnTo>
                    <a:lnTo>
                      <a:pt x="2066" y="459"/>
                    </a:lnTo>
                    <a:lnTo>
                      <a:pt x="2066" y="460"/>
                    </a:lnTo>
                    <a:lnTo>
                      <a:pt x="2067" y="462"/>
                    </a:lnTo>
                    <a:lnTo>
                      <a:pt x="2069" y="465"/>
                    </a:lnTo>
                    <a:lnTo>
                      <a:pt x="2069" y="467"/>
                    </a:lnTo>
                    <a:lnTo>
                      <a:pt x="2070" y="468"/>
                    </a:lnTo>
                    <a:lnTo>
                      <a:pt x="2069" y="468"/>
                    </a:lnTo>
                    <a:lnTo>
                      <a:pt x="2069" y="468"/>
                    </a:lnTo>
                    <a:lnTo>
                      <a:pt x="2067" y="467"/>
                    </a:lnTo>
                    <a:lnTo>
                      <a:pt x="2065" y="466"/>
                    </a:lnTo>
                    <a:lnTo>
                      <a:pt x="2064" y="465"/>
                    </a:lnTo>
                    <a:lnTo>
                      <a:pt x="2063" y="464"/>
                    </a:lnTo>
                    <a:lnTo>
                      <a:pt x="2062" y="464"/>
                    </a:lnTo>
                    <a:lnTo>
                      <a:pt x="2061" y="464"/>
                    </a:lnTo>
                    <a:lnTo>
                      <a:pt x="2061" y="465"/>
                    </a:lnTo>
                    <a:lnTo>
                      <a:pt x="2062" y="467"/>
                    </a:lnTo>
                    <a:lnTo>
                      <a:pt x="2063" y="468"/>
                    </a:lnTo>
                    <a:lnTo>
                      <a:pt x="2064" y="470"/>
                    </a:lnTo>
                    <a:lnTo>
                      <a:pt x="2065" y="472"/>
                    </a:lnTo>
                    <a:lnTo>
                      <a:pt x="2065" y="475"/>
                    </a:lnTo>
                    <a:lnTo>
                      <a:pt x="2064" y="476"/>
                    </a:lnTo>
                    <a:lnTo>
                      <a:pt x="2064" y="478"/>
                    </a:lnTo>
                    <a:lnTo>
                      <a:pt x="2064" y="479"/>
                    </a:lnTo>
                    <a:lnTo>
                      <a:pt x="2063" y="479"/>
                    </a:lnTo>
                    <a:lnTo>
                      <a:pt x="2062" y="478"/>
                    </a:lnTo>
                    <a:lnTo>
                      <a:pt x="2061" y="477"/>
                    </a:lnTo>
                    <a:lnTo>
                      <a:pt x="2060" y="476"/>
                    </a:lnTo>
                    <a:lnTo>
                      <a:pt x="2057" y="472"/>
                    </a:lnTo>
                    <a:lnTo>
                      <a:pt x="2055" y="469"/>
                    </a:lnTo>
                    <a:lnTo>
                      <a:pt x="2053" y="467"/>
                    </a:lnTo>
                    <a:lnTo>
                      <a:pt x="2052" y="465"/>
                    </a:lnTo>
                    <a:lnTo>
                      <a:pt x="2050" y="462"/>
                    </a:lnTo>
                    <a:lnTo>
                      <a:pt x="2050" y="460"/>
                    </a:lnTo>
                    <a:lnTo>
                      <a:pt x="2050" y="458"/>
                    </a:lnTo>
                    <a:lnTo>
                      <a:pt x="2050" y="456"/>
                    </a:lnTo>
                    <a:lnTo>
                      <a:pt x="2049" y="454"/>
                    </a:lnTo>
                    <a:lnTo>
                      <a:pt x="2048" y="451"/>
                    </a:lnTo>
                    <a:lnTo>
                      <a:pt x="2045" y="449"/>
                    </a:lnTo>
                    <a:lnTo>
                      <a:pt x="2045" y="447"/>
                    </a:lnTo>
                    <a:lnTo>
                      <a:pt x="2044" y="445"/>
                    </a:lnTo>
                    <a:lnTo>
                      <a:pt x="2043" y="443"/>
                    </a:lnTo>
                    <a:lnTo>
                      <a:pt x="2043" y="442"/>
                    </a:lnTo>
                    <a:lnTo>
                      <a:pt x="2042" y="440"/>
                    </a:lnTo>
                    <a:lnTo>
                      <a:pt x="2042" y="439"/>
                    </a:lnTo>
                    <a:lnTo>
                      <a:pt x="2041" y="440"/>
                    </a:lnTo>
                    <a:lnTo>
                      <a:pt x="2041" y="443"/>
                    </a:lnTo>
                    <a:lnTo>
                      <a:pt x="2041" y="444"/>
                    </a:lnTo>
                    <a:lnTo>
                      <a:pt x="2042" y="446"/>
                    </a:lnTo>
                    <a:lnTo>
                      <a:pt x="2042" y="447"/>
                    </a:lnTo>
                    <a:lnTo>
                      <a:pt x="2041" y="449"/>
                    </a:lnTo>
                    <a:lnTo>
                      <a:pt x="2041" y="450"/>
                    </a:lnTo>
                    <a:lnTo>
                      <a:pt x="2039" y="449"/>
                    </a:lnTo>
                    <a:lnTo>
                      <a:pt x="2038" y="449"/>
                    </a:lnTo>
                    <a:lnTo>
                      <a:pt x="2035" y="447"/>
                    </a:lnTo>
                    <a:lnTo>
                      <a:pt x="2034" y="445"/>
                    </a:lnTo>
                    <a:lnTo>
                      <a:pt x="2031" y="440"/>
                    </a:lnTo>
                    <a:lnTo>
                      <a:pt x="2030" y="437"/>
                    </a:lnTo>
                    <a:lnTo>
                      <a:pt x="2029" y="435"/>
                    </a:lnTo>
                    <a:lnTo>
                      <a:pt x="2029" y="432"/>
                    </a:lnTo>
                    <a:lnTo>
                      <a:pt x="2030" y="429"/>
                    </a:lnTo>
                    <a:lnTo>
                      <a:pt x="2031" y="427"/>
                    </a:lnTo>
                    <a:lnTo>
                      <a:pt x="2032" y="426"/>
                    </a:lnTo>
                    <a:lnTo>
                      <a:pt x="2033" y="426"/>
                    </a:lnTo>
                    <a:lnTo>
                      <a:pt x="2034" y="426"/>
                    </a:lnTo>
                    <a:close/>
                    <a:moveTo>
                      <a:pt x="1956" y="420"/>
                    </a:moveTo>
                    <a:lnTo>
                      <a:pt x="1957" y="420"/>
                    </a:lnTo>
                    <a:lnTo>
                      <a:pt x="1960" y="421"/>
                    </a:lnTo>
                    <a:lnTo>
                      <a:pt x="1961" y="423"/>
                    </a:lnTo>
                    <a:lnTo>
                      <a:pt x="1962" y="425"/>
                    </a:lnTo>
                    <a:lnTo>
                      <a:pt x="1962" y="428"/>
                    </a:lnTo>
                    <a:lnTo>
                      <a:pt x="1960" y="429"/>
                    </a:lnTo>
                    <a:lnTo>
                      <a:pt x="1958" y="431"/>
                    </a:lnTo>
                    <a:lnTo>
                      <a:pt x="1957" y="431"/>
                    </a:lnTo>
                    <a:lnTo>
                      <a:pt x="1956" y="431"/>
                    </a:lnTo>
                    <a:lnTo>
                      <a:pt x="1955" y="432"/>
                    </a:lnTo>
                    <a:lnTo>
                      <a:pt x="1954" y="432"/>
                    </a:lnTo>
                    <a:lnTo>
                      <a:pt x="1953" y="432"/>
                    </a:lnTo>
                    <a:lnTo>
                      <a:pt x="1951" y="431"/>
                    </a:lnTo>
                    <a:lnTo>
                      <a:pt x="1945" y="423"/>
                    </a:lnTo>
                    <a:lnTo>
                      <a:pt x="1945" y="422"/>
                    </a:lnTo>
                    <a:lnTo>
                      <a:pt x="1946" y="421"/>
                    </a:lnTo>
                    <a:lnTo>
                      <a:pt x="1949" y="421"/>
                    </a:lnTo>
                    <a:lnTo>
                      <a:pt x="1951" y="422"/>
                    </a:lnTo>
                    <a:lnTo>
                      <a:pt x="1952" y="422"/>
                    </a:lnTo>
                    <a:lnTo>
                      <a:pt x="1954" y="423"/>
                    </a:lnTo>
                    <a:lnTo>
                      <a:pt x="1955" y="423"/>
                    </a:lnTo>
                    <a:lnTo>
                      <a:pt x="1955" y="423"/>
                    </a:lnTo>
                    <a:lnTo>
                      <a:pt x="1955" y="422"/>
                    </a:lnTo>
                    <a:lnTo>
                      <a:pt x="1956" y="421"/>
                    </a:lnTo>
                    <a:lnTo>
                      <a:pt x="1956" y="420"/>
                    </a:lnTo>
                    <a:lnTo>
                      <a:pt x="1956" y="420"/>
                    </a:lnTo>
                    <a:close/>
                    <a:moveTo>
                      <a:pt x="2114" y="417"/>
                    </a:moveTo>
                    <a:lnTo>
                      <a:pt x="2115" y="417"/>
                    </a:lnTo>
                    <a:lnTo>
                      <a:pt x="2115" y="418"/>
                    </a:lnTo>
                    <a:lnTo>
                      <a:pt x="2117" y="418"/>
                    </a:lnTo>
                    <a:lnTo>
                      <a:pt x="2119" y="420"/>
                    </a:lnTo>
                    <a:lnTo>
                      <a:pt x="2121" y="420"/>
                    </a:lnTo>
                    <a:lnTo>
                      <a:pt x="2121" y="422"/>
                    </a:lnTo>
                    <a:lnTo>
                      <a:pt x="2120" y="423"/>
                    </a:lnTo>
                    <a:lnTo>
                      <a:pt x="2120" y="423"/>
                    </a:lnTo>
                    <a:lnTo>
                      <a:pt x="2119" y="423"/>
                    </a:lnTo>
                    <a:lnTo>
                      <a:pt x="2118" y="422"/>
                    </a:lnTo>
                    <a:lnTo>
                      <a:pt x="2118" y="422"/>
                    </a:lnTo>
                    <a:lnTo>
                      <a:pt x="2117" y="421"/>
                    </a:lnTo>
                    <a:lnTo>
                      <a:pt x="2116" y="421"/>
                    </a:lnTo>
                    <a:lnTo>
                      <a:pt x="2115" y="420"/>
                    </a:lnTo>
                    <a:lnTo>
                      <a:pt x="2115" y="418"/>
                    </a:lnTo>
                    <a:lnTo>
                      <a:pt x="2114" y="417"/>
                    </a:lnTo>
                    <a:lnTo>
                      <a:pt x="2114" y="417"/>
                    </a:lnTo>
                    <a:close/>
                    <a:moveTo>
                      <a:pt x="2087" y="416"/>
                    </a:moveTo>
                    <a:lnTo>
                      <a:pt x="2087" y="416"/>
                    </a:lnTo>
                    <a:lnTo>
                      <a:pt x="2088" y="417"/>
                    </a:lnTo>
                    <a:lnTo>
                      <a:pt x="2091" y="420"/>
                    </a:lnTo>
                    <a:lnTo>
                      <a:pt x="2092" y="422"/>
                    </a:lnTo>
                    <a:lnTo>
                      <a:pt x="2094" y="423"/>
                    </a:lnTo>
                    <a:lnTo>
                      <a:pt x="2095" y="424"/>
                    </a:lnTo>
                    <a:lnTo>
                      <a:pt x="2097" y="423"/>
                    </a:lnTo>
                    <a:lnTo>
                      <a:pt x="2097" y="422"/>
                    </a:lnTo>
                    <a:lnTo>
                      <a:pt x="2098" y="422"/>
                    </a:lnTo>
                    <a:lnTo>
                      <a:pt x="2099" y="421"/>
                    </a:lnTo>
                    <a:lnTo>
                      <a:pt x="2100" y="422"/>
                    </a:lnTo>
                    <a:lnTo>
                      <a:pt x="2102" y="422"/>
                    </a:lnTo>
                    <a:lnTo>
                      <a:pt x="2104" y="424"/>
                    </a:lnTo>
                    <a:lnTo>
                      <a:pt x="2105" y="426"/>
                    </a:lnTo>
                    <a:lnTo>
                      <a:pt x="2105" y="427"/>
                    </a:lnTo>
                    <a:lnTo>
                      <a:pt x="2106" y="429"/>
                    </a:lnTo>
                    <a:lnTo>
                      <a:pt x="2106" y="431"/>
                    </a:lnTo>
                    <a:lnTo>
                      <a:pt x="2105" y="431"/>
                    </a:lnTo>
                    <a:lnTo>
                      <a:pt x="2105" y="431"/>
                    </a:lnTo>
                    <a:lnTo>
                      <a:pt x="2104" y="429"/>
                    </a:lnTo>
                    <a:lnTo>
                      <a:pt x="2103" y="429"/>
                    </a:lnTo>
                    <a:lnTo>
                      <a:pt x="2100" y="429"/>
                    </a:lnTo>
                    <a:lnTo>
                      <a:pt x="2099" y="429"/>
                    </a:lnTo>
                    <a:lnTo>
                      <a:pt x="2097" y="428"/>
                    </a:lnTo>
                    <a:lnTo>
                      <a:pt x="2096" y="429"/>
                    </a:lnTo>
                    <a:lnTo>
                      <a:pt x="2095" y="429"/>
                    </a:lnTo>
                    <a:lnTo>
                      <a:pt x="2097" y="432"/>
                    </a:lnTo>
                    <a:lnTo>
                      <a:pt x="2099" y="435"/>
                    </a:lnTo>
                    <a:lnTo>
                      <a:pt x="2103" y="437"/>
                    </a:lnTo>
                    <a:lnTo>
                      <a:pt x="2104" y="439"/>
                    </a:lnTo>
                    <a:lnTo>
                      <a:pt x="2105" y="442"/>
                    </a:lnTo>
                    <a:lnTo>
                      <a:pt x="2105" y="443"/>
                    </a:lnTo>
                    <a:lnTo>
                      <a:pt x="2105" y="444"/>
                    </a:lnTo>
                    <a:lnTo>
                      <a:pt x="2105" y="445"/>
                    </a:lnTo>
                    <a:lnTo>
                      <a:pt x="2106" y="446"/>
                    </a:lnTo>
                    <a:lnTo>
                      <a:pt x="2107" y="448"/>
                    </a:lnTo>
                    <a:lnTo>
                      <a:pt x="2109" y="450"/>
                    </a:lnTo>
                    <a:lnTo>
                      <a:pt x="2109" y="453"/>
                    </a:lnTo>
                    <a:lnTo>
                      <a:pt x="2109" y="455"/>
                    </a:lnTo>
                    <a:lnTo>
                      <a:pt x="2110" y="456"/>
                    </a:lnTo>
                    <a:lnTo>
                      <a:pt x="2109" y="457"/>
                    </a:lnTo>
                    <a:lnTo>
                      <a:pt x="2109" y="457"/>
                    </a:lnTo>
                    <a:lnTo>
                      <a:pt x="2107" y="457"/>
                    </a:lnTo>
                    <a:lnTo>
                      <a:pt x="2106" y="457"/>
                    </a:lnTo>
                    <a:lnTo>
                      <a:pt x="2105" y="457"/>
                    </a:lnTo>
                    <a:lnTo>
                      <a:pt x="2104" y="456"/>
                    </a:lnTo>
                    <a:lnTo>
                      <a:pt x="2104" y="457"/>
                    </a:lnTo>
                    <a:lnTo>
                      <a:pt x="2104" y="458"/>
                    </a:lnTo>
                    <a:lnTo>
                      <a:pt x="2104" y="459"/>
                    </a:lnTo>
                    <a:lnTo>
                      <a:pt x="2105" y="461"/>
                    </a:lnTo>
                    <a:lnTo>
                      <a:pt x="2105" y="462"/>
                    </a:lnTo>
                    <a:lnTo>
                      <a:pt x="2106" y="464"/>
                    </a:lnTo>
                    <a:lnTo>
                      <a:pt x="2108" y="465"/>
                    </a:lnTo>
                    <a:lnTo>
                      <a:pt x="2109" y="466"/>
                    </a:lnTo>
                    <a:lnTo>
                      <a:pt x="2109" y="467"/>
                    </a:lnTo>
                    <a:lnTo>
                      <a:pt x="2111" y="467"/>
                    </a:lnTo>
                    <a:lnTo>
                      <a:pt x="2114" y="469"/>
                    </a:lnTo>
                    <a:lnTo>
                      <a:pt x="2114" y="471"/>
                    </a:lnTo>
                    <a:lnTo>
                      <a:pt x="2115" y="473"/>
                    </a:lnTo>
                    <a:lnTo>
                      <a:pt x="2115" y="473"/>
                    </a:lnTo>
                    <a:lnTo>
                      <a:pt x="2116" y="475"/>
                    </a:lnTo>
                    <a:lnTo>
                      <a:pt x="2118" y="477"/>
                    </a:lnTo>
                    <a:lnTo>
                      <a:pt x="2119" y="478"/>
                    </a:lnTo>
                    <a:lnTo>
                      <a:pt x="2119" y="479"/>
                    </a:lnTo>
                    <a:lnTo>
                      <a:pt x="2119" y="481"/>
                    </a:lnTo>
                    <a:lnTo>
                      <a:pt x="2118" y="481"/>
                    </a:lnTo>
                    <a:lnTo>
                      <a:pt x="2117" y="482"/>
                    </a:lnTo>
                    <a:lnTo>
                      <a:pt x="2116" y="483"/>
                    </a:lnTo>
                    <a:lnTo>
                      <a:pt x="2116" y="483"/>
                    </a:lnTo>
                    <a:lnTo>
                      <a:pt x="2116" y="486"/>
                    </a:lnTo>
                    <a:lnTo>
                      <a:pt x="2116" y="487"/>
                    </a:lnTo>
                    <a:lnTo>
                      <a:pt x="2116" y="488"/>
                    </a:lnTo>
                    <a:lnTo>
                      <a:pt x="2116" y="489"/>
                    </a:lnTo>
                    <a:lnTo>
                      <a:pt x="2114" y="489"/>
                    </a:lnTo>
                    <a:lnTo>
                      <a:pt x="2114" y="489"/>
                    </a:lnTo>
                    <a:lnTo>
                      <a:pt x="2113" y="488"/>
                    </a:lnTo>
                    <a:lnTo>
                      <a:pt x="2111" y="487"/>
                    </a:lnTo>
                    <a:lnTo>
                      <a:pt x="2109" y="486"/>
                    </a:lnTo>
                    <a:lnTo>
                      <a:pt x="2108" y="484"/>
                    </a:lnTo>
                    <a:lnTo>
                      <a:pt x="2107" y="484"/>
                    </a:lnTo>
                    <a:lnTo>
                      <a:pt x="2107" y="486"/>
                    </a:lnTo>
                    <a:lnTo>
                      <a:pt x="2106" y="486"/>
                    </a:lnTo>
                    <a:lnTo>
                      <a:pt x="2105" y="486"/>
                    </a:lnTo>
                    <a:lnTo>
                      <a:pt x="2104" y="484"/>
                    </a:lnTo>
                    <a:lnTo>
                      <a:pt x="2103" y="483"/>
                    </a:lnTo>
                    <a:lnTo>
                      <a:pt x="2102" y="482"/>
                    </a:lnTo>
                    <a:lnTo>
                      <a:pt x="2102" y="480"/>
                    </a:lnTo>
                    <a:lnTo>
                      <a:pt x="2100" y="479"/>
                    </a:lnTo>
                    <a:lnTo>
                      <a:pt x="2098" y="478"/>
                    </a:lnTo>
                    <a:lnTo>
                      <a:pt x="2098" y="477"/>
                    </a:lnTo>
                    <a:lnTo>
                      <a:pt x="2097" y="477"/>
                    </a:lnTo>
                    <a:lnTo>
                      <a:pt x="2095" y="475"/>
                    </a:lnTo>
                    <a:lnTo>
                      <a:pt x="2094" y="475"/>
                    </a:lnTo>
                    <a:lnTo>
                      <a:pt x="2094" y="473"/>
                    </a:lnTo>
                    <a:lnTo>
                      <a:pt x="2094" y="472"/>
                    </a:lnTo>
                    <a:lnTo>
                      <a:pt x="2093" y="470"/>
                    </a:lnTo>
                    <a:lnTo>
                      <a:pt x="2093" y="469"/>
                    </a:lnTo>
                    <a:lnTo>
                      <a:pt x="2091" y="466"/>
                    </a:lnTo>
                    <a:lnTo>
                      <a:pt x="2088" y="464"/>
                    </a:lnTo>
                    <a:lnTo>
                      <a:pt x="2085" y="462"/>
                    </a:lnTo>
                    <a:lnTo>
                      <a:pt x="2082" y="460"/>
                    </a:lnTo>
                    <a:lnTo>
                      <a:pt x="2080" y="457"/>
                    </a:lnTo>
                    <a:lnTo>
                      <a:pt x="2080" y="453"/>
                    </a:lnTo>
                    <a:lnTo>
                      <a:pt x="2080" y="448"/>
                    </a:lnTo>
                    <a:lnTo>
                      <a:pt x="2080" y="447"/>
                    </a:lnTo>
                    <a:lnTo>
                      <a:pt x="2078" y="445"/>
                    </a:lnTo>
                    <a:lnTo>
                      <a:pt x="2078" y="444"/>
                    </a:lnTo>
                    <a:lnTo>
                      <a:pt x="2078" y="443"/>
                    </a:lnTo>
                    <a:lnTo>
                      <a:pt x="2078" y="442"/>
                    </a:lnTo>
                    <a:lnTo>
                      <a:pt x="2080" y="442"/>
                    </a:lnTo>
                    <a:lnTo>
                      <a:pt x="2081" y="443"/>
                    </a:lnTo>
                    <a:lnTo>
                      <a:pt x="2082" y="445"/>
                    </a:lnTo>
                    <a:lnTo>
                      <a:pt x="2084" y="446"/>
                    </a:lnTo>
                    <a:lnTo>
                      <a:pt x="2085" y="448"/>
                    </a:lnTo>
                    <a:lnTo>
                      <a:pt x="2086" y="450"/>
                    </a:lnTo>
                    <a:lnTo>
                      <a:pt x="2086" y="450"/>
                    </a:lnTo>
                    <a:lnTo>
                      <a:pt x="2087" y="451"/>
                    </a:lnTo>
                    <a:lnTo>
                      <a:pt x="2089" y="453"/>
                    </a:lnTo>
                    <a:lnTo>
                      <a:pt x="2091" y="453"/>
                    </a:lnTo>
                    <a:lnTo>
                      <a:pt x="2091" y="451"/>
                    </a:lnTo>
                    <a:lnTo>
                      <a:pt x="2091" y="450"/>
                    </a:lnTo>
                    <a:lnTo>
                      <a:pt x="2089" y="449"/>
                    </a:lnTo>
                    <a:lnTo>
                      <a:pt x="2088" y="448"/>
                    </a:lnTo>
                    <a:lnTo>
                      <a:pt x="2088" y="446"/>
                    </a:lnTo>
                    <a:lnTo>
                      <a:pt x="2086" y="445"/>
                    </a:lnTo>
                    <a:lnTo>
                      <a:pt x="2084" y="444"/>
                    </a:lnTo>
                    <a:lnTo>
                      <a:pt x="2082" y="442"/>
                    </a:lnTo>
                    <a:lnTo>
                      <a:pt x="2082" y="440"/>
                    </a:lnTo>
                    <a:lnTo>
                      <a:pt x="2081" y="438"/>
                    </a:lnTo>
                    <a:lnTo>
                      <a:pt x="2080" y="436"/>
                    </a:lnTo>
                    <a:lnTo>
                      <a:pt x="2080" y="434"/>
                    </a:lnTo>
                    <a:lnTo>
                      <a:pt x="2078" y="432"/>
                    </a:lnTo>
                    <a:lnTo>
                      <a:pt x="2077" y="431"/>
                    </a:lnTo>
                    <a:lnTo>
                      <a:pt x="2077" y="431"/>
                    </a:lnTo>
                    <a:lnTo>
                      <a:pt x="2078" y="431"/>
                    </a:lnTo>
                    <a:lnTo>
                      <a:pt x="2080" y="432"/>
                    </a:lnTo>
                    <a:lnTo>
                      <a:pt x="2081" y="432"/>
                    </a:lnTo>
                    <a:lnTo>
                      <a:pt x="2082" y="433"/>
                    </a:lnTo>
                    <a:lnTo>
                      <a:pt x="2084" y="434"/>
                    </a:lnTo>
                    <a:lnTo>
                      <a:pt x="2086" y="436"/>
                    </a:lnTo>
                    <a:lnTo>
                      <a:pt x="2088" y="437"/>
                    </a:lnTo>
                    <a:lnTo>
                      <a:pt x="2091" y="438"/>
                    </a:lnTo>
                    <a:lnTo>
                      <a:pt x="2091" y="432"/>
                    </a:lnTo>
                    <a:lnTo>
                      <a:pt x="2089" y="431"/>
                    </a:lnTo>
                    <a:lnTo>
                      <a:pt x="2087" y="429"/>
                    </a:lnTo>
                    <a:lnTo>
                      <a:pt x="2086" y="428"/>
                    </a:lnTo>
                    <a:lnTo>
                      <a:pt x="2086" y="427"/>
                    </a:lnTo>
                    <a:lnTo>
                      <a:pt x="2083" y="426"/>
                    </a:lnTo>
                    <a:lnTo>
                      <a:pt x="2082" y="425"/>
                    </a:lnTo>
                    <a:lnTo>
                      <a:pt x="2081" y="423"/>
                    </a:lnTo>
                    <a:lnTo>
                      <a:pt x="2081" y="422"/>
                    </a:lnTo>
                    <a:lnTo>
                      <a:pt x="2082" y="421"/>
                    </a:lnTo>
                    <a:lnTo>
                      <a:pt x="2084" y="422"/>
                    </a:lnTo>
                    <a:lnTo>
                      <a:pt x="2085" y="422"/>
                    </a:lnTo>
                    <a:lnTo>
                      <a:pt x="2086" y="422"/>
                    </a:lnTo>
                    <a:lnTo>
                      <a:pt x="2086" y="421"/>
                    </a:lnTo>
                    <a:lnTo>
                      <a:pt x="2086" y="420"/>
                    </a:lnTo>
                    <a:lnTo>
                      <a:pt x="2086" y="417"/>
                    </a:lnTo>
                    <a:lnTo>
                      <a:pt x="2086" y="417"/>
                    </a:lnTo>
                    <a:lnTo>
                      <a:pt x="2086" y="416"/>
                    </a:lnTo>
                    <a:lnTo>
                      <a:pt x="2087" y="416"/>
                    </a:lnTo>
                    <a:close/>
                    <a:moveTo>
                      <a:pt x="2115" y="410"/>
                    </a:moveTo>
                    <a:lnTo>
                      <a:pt x="2116" y="410"/>
                    </a:lnTo>
                    <a:lnTo>
                      <a:pt x="2118" y="411"/>
                    </a:lnTo>
                    <a:lnTo>
                      <a:pt x="2120" y="412"/>
                    </a:lnTo>
                    <a:lnTo>
                      <a:pt x="2121" y="414"/>
                    </a:lnTo>
                    <a:lnTo>
                      <a:pt x="2124" y="416"/>
                    </a:lnTo>
                    <a:lnTo>
                      <a:pt x="2126" y="418"/>
                    </a:lnTo>
                    <a:lnTo>
                      <a:pt x="2127" y="420"/>
                    </a:lnTo>
                    <a:lnTo>
                      <a:pt x="2127" y="422"/>
                    </a:lnTo>
                    <a:lnTo>
                      <a:pt x="2128" y="423"/>
                    </a:lnTo>
                    <a:lnTo>
                      <a:pt x="2127" y="423"/>
                    </a:lnTo>
                    <a:lnTo>
                      <a:pt x="2126" y="422"/>
                    </a:lnTo>
                    <a:lnTo>
                      <a:pt x="2124" y="421"/>
                    </a:lnTo>
                    <a:lnTo>
                      <a:pt x="2122" y="420"/>
                    </a:lnTo>
                    <a:lnTo>
                      <a:pt x="2120" y="417"/>
                    </a:lnTo>
                    <a:lnTo>
                      <a:pt x="2118" y="415"/>
                    </a:lnTo>
                    <a:lnTo>
                      <a:pt x="2116" y="414"/>
                    </a:lnTo>
                    <a:lnTo>
                      <a:pt x="2115" y="412"/>
                    </a:lnTo>
                    <a:lnTo>
                      <a:pt x="2115" y="411"/>
                    </a:lnTo>
                    <a:lnTo>
                      <a:pt x="2115" y="410"/>
                    </a:lnTo>
                    <a:lnTo>
                      <a:pt x="2115" y="410"/>
                    </a:lnTo>
                    <a:close/>
                    <a:moveTo>
                      <a:pt x="2086" y="399"/>
                    </a:moveTo>
                    <a:lnTo>
                      <a:pt x="2087" y="399"/>
                    </a:lnTo>
                    <a:lnTo>
                      <a:pt x="2093" y="401"/>
                    </a:lnTo>
                    <a:lnTo>
                      <a:pt x="2096" y="404"/>
                    </a:lnTo>
                    <a:lnTo>
                      <a:pt x="2097" y="406"/>
                    </a:lnTo>
                    <a:lnTo>
                      <a:pt x="2098" y="409"/>
                    </a:lnTo>
                    <a:lnTo>
                      <a:pt x="2098" y="411"/>
                    </a:lnTo>
                    <a:lnTo>
                      <a:pt x="2097" y="413"/>
                    </a:lnTo>
                    <a:lnTo>
                      <a:pt x="2096" y="414"/>
                    </a:lnTo>
                    <a:lnTo>
                      <a:pt x="2095" y="415"/>
                    </a:lnTo>
                    <a:lnTo>
                      <a:pt x="2092" y="411"/>
                    </a:lnTo>
                    <a:lnTo>
                      <a:pt x="2089" y="410"/>
                    </a:lnTo>
                    <a:lnTo>
                      <a:pt x="2087" y="409"/>
                    </a:lnTo>
                    <a:lnTo>
                      <a:pt x="2086" y="406"/>
                    </a:lnTo>
                    <a:lnTo>
                      <a:pt x="2084" y="405"/>
                    </a:lnTo>
                    <a:lnTo>
                      <a:pt x="2084" y="404"/>
                    </a:lnTo>
                    <a:lnTo>
                      <a:pt x="2084" y="402"/>
                    </a:lnTo>
                    <a:lnTo>
                      <a:pt x="2084" y="401"/>
                    </a:lnTo>
                    <a:lnTo>
                      <a:pt x="2085" y="399"/>
                    </a:lnTo>
                    <a:lnTo>
                      <a:pt x="2086" y="399"/>
                    </a:lnTo>
                    <a:close/>
                    <a:moveTo>
                      <a:pt x="77" y="399"/>
                    </a:moveTo>
                    <a:lnTo>
                      <a:pt x="79" y="399"/>
                    </a:lnTo>
                    <a:lnTo>
                      <a:pt x="80" y="400"/>
                    </a:lnTo>
                    <a:lnTo>
                      <a:pt x="79" y="402"/>
                    </a:lnTo>
                    <a:lnTo>
                      <a:pt x="77" y="403"/>
                    </a:lnTo>
                    <a:lnTo>
                      <a:pt x="75" y="405"/>
                    </a:lnTo>
                    <a:lnTo>
                      <a:pt x="74" y="406"/>
                    </a:lnTo>
                    <a:lnTo>
                      <a:pt x="72" y="407"/>
                    </a:lnTo>
                    <a:lnTo>
                      <a:pt x="69" y="411"/>
                    </a:lnTo>
                    <a:lnTo>
                      <a:pt x="66" y="414"/>
                    </a:lnTo>
                    <a:lnTo>
                      <a:pt x="64" y="418"/>
                    </a:lnTo>
                    <a:lnTo>
                      <a:pt x="58" y="425"/>
                    </a:lnTo>
                    <a:lnTo>
                      <a:pt x="51" y="431"/>
                    </a:lnTo>
                    <a:lnTo>
                      <a:pt x="43" y="432"/>
                    </a:lnTo>
                    <a:lnTo>
                      <a:pt x="41" y="428"/>
                    </a:lnTo>
                    <a:lnTo>
                      <a:pt x="43" y="423"/>
                    </a:lnTo>
                    <a:lnTo>
                      <a:pt x="46" y="416"/>
                    </a:lnTo>
                    <a:lnTo>
                      <a:pt x="53" y="412"/>
                    </a:lnTo>
                    <a:lnTo>
                      <a:pt x="58" y="407"/>
                    </a:lnTo>
                    <a:lnTo>
                      <a:pt x="62" y="406"/>
                    </a:lnTo>
                    <a:lnTo>
                      <a:pt x="64" y="405"/>
                    </a:lnTo>
                    <a:lnTo>
                      <a:pt x="66" y="403"/>
                    </a:lnTo>
                    <a:lnTo>
                      <a:pt x="66" y="403"/>
                    </a:lnTo>
                    <a:lnTo>
                      <a:pt x="67" y="402"/>
                    </a:lnTo>
                    <a:lnTo>
                      <a:pt x="67" y="402"/>
                    </a:lnTo>
                    <a:lnTo>
                      <a:pt x="69" y="401"/>
                    </a:lnTo>
                    <a:lnTo>
                      <a:pt x="70" y="400"/>
                    </a:lnTo>
                    <a:lnTo>
                      <a:pt x="73" y="399"/>
                    </a:lnTo>
                    <a:lnTo>
                      <a:pt x="75" y="399"/>
                    </a:lnTo>
                    <a:lnTo>
                      <a:pt x="77" y="399"/>
                    </a:lnTo>
                    <a:close/>
                    <a:moveTo>
                      <a:pt x="278" y="381"/>
                    </a:moveTo>
                    <a:lnTo>
                      <a:pt x="281" y="382"/>
                    </a:lnTo>
                    <a:lnTo>
                      <a:pt x="283" y="382"/>
                    </a:lnTo>
                    <a:lnTo>
                      <a:pt x="286" y="383"/>
                    </a:lnTo>
                    <a:lnTo>
                      <a:pt x="286" y="385"/>
                    </a:lnTo>
                    <a:lnTo>
                      <a:pt x="285" y="389"/>
                    </a:lnTo>
                    <a:lnTo>
                      <a:pt x="285" y="392"/>
                    </a:lnTo>
                    <a:lnTo>
                      <a:pt x="284" y="395"/>
                    </a:lnTo>
                    <a:lnTo>
                      <a:pt x="283" y="398"/>
                    </a:lnTo>
                    <a:lnTo>
                      <a:pt x="281" y="399"/>
                    </a:lnTo>
                    <a:lnTo>
                      <a:pt x="278" y="401"/>
                    </a:lnTo>
                    <a:lnTo>
                      <a:pt x="275" y="403"/>
                    </a:lnTo>
                    <a:lnTo>
                      <a:pt x="273" y="404"/>
                    </a:lnTo>
                    <a:lnTo>
                      <a:pt x="271" y="404"/>
                    </a:lnTo>
                    <a:lnTo>
                      <a:pt x="269" y="403"/>
                    </a:lnTo>
                    <a:lnTo>
                      <a:pt x="267" y="401"/>
                    </a:lnTo>
                    <a:lnTo>
                      <a:pt x="267" y="398"/>
                    </a:lnTo>
                    <a:lnTo>
                      <a:pt x="269" y="393"/>
                    </a:lnTo>
                    <a:lnTo>
                      <a:pt x="271" y="389"/>
                    </a:lnTo>
                    <a:lnTo>
                      <a:pt x="273" y="385"/>
                    </a:lnTo>
                    <a:lnTo>
                      <a:pt x="275" y="382"/>
                    </a:lnTo>
                    <a:lnTo>
                      <a:pt x="276" y="381"/>
                    </a:lnTo>
                    <a:lnTo>
                      <a:pt x="278" y="381"/>
                    </a:lnTo>
                    <a:close/>
                    <a:moveTo>
                      <a:pt x="1567" y="380"/>
                    </a:moveTo>
                    <a:lnTo>
                      <a:pt x="1568" y="381"/>
                    </a:lnTo>
                    <a:lnTo>
                      <a:pt x="1570" y="381"/>
                    </a:lnTo>
                    <a:lnTo>
                      <a:pt x="1571" y="382"/>
                    </a:lnTo>
                    <a:lnTo>
                      <a:pt x="1572" y="384"/>
                    </a:lnTo>
                    <a:lnTo>
                      <a:pt x="1572" y="388"/>
                    </a:lnTo>
                    <a:lnTo>
                      <a:pt x="1573" y="389"/>
                    </a:lnTo>
                    <a:lnTo>
                      <a:pt x="1573" y="391"/>
                    </a:lnTo>
                    <a:lnTo>
                      <a:pt x="1573" y="393"/>
                    </a:lnTo>
                    <a:lnTo>
                      <a:pt x="1573" y="394"/>
                    </a:lnTo>
                    <a:lnTo>
                      <a:pt x="1572" y="394"/>
                    </a:lnTo>
                    <a:lnTo>
                      <a:pt x="1571" y="395"/>
                    </a:lnTo>
                    <a:lnTo>
                      <a:pt x="1570" y="395"/>
                    </a:lnTo>
                    <a:lnTo>
                      <a:pt x="1569" y="394"/>
                    </a:lnTo>
                    <a:lnTo>
                      <a:pt x="1568" y="392"/>
                    </a:lnTo>
                    <a:lnTo>
                      <a:pt x="1568" y="391"/>
                    </a:lnTo>
                    <a:lnTo>
                      <a:pt x="1568" y="389"/>
                    </a:lnTo>
                    <a:lnTo>
                      <a:pt x="1568" y="386"/>
                    </a:lnTo>
                    <a:lnTo>
                      <a:pt x="1567" y="384"/>
                    </a:lnTo>
                    <a:lnTo>
                      <a:pt x="1567" y="382"/>
                    </a:lnTo>
                    <a:lnTo>
                      <a:pt x="1567" y="381"/>
                    </a:lnTo>
                    <a:lnTo>
                      <a:pt x="1567" y="380"/>
                    </a:lnTo>
                    <a:close/>
                    <a:moveTo>
                      <a:pt x="1811" y="380"/>
                    </a:moveTo>
                    <a:lnTo>
                      <a:pt x="1812" y="380"/>
                    </a:lnTo>
                    <a:lnTo>
                      <a:pt x="1812" y="381"/>
                    </a:lnTo>
                    <a:lnTo>
                      <a:pt x="1813" y="382"/>
                    </a:lnTo>
                    <a:lnTo>
                      <a:pt x="1814" y="384"/>
                    </a:lnTo>
                    <a:lnTo>
                      <a:pt x="1816" y="386"/>
                    </a:lnTo>
                    <a:lnTo>
                      <a:pt x="1818" y="386"/>
                    </a:lnTo>
                    <a:lnTo>
                      <a:pt x="1819" y="386"/>
                    </a:lnTo>
                    <a:lnTo>
                      <a:pt x="1820" y="385"/>
                    </a:lnTo>
                    <a:lnTo>
                      <a:pt x="1820" y="384"/>
                    </a:lnTo>
                    <a:lnTo>
                      <a:pt x="1821" y="384"/>
                    </a:lnTo>
                    <a:lnTo>
                      <a:pt x="1822" y="384"/>
                    </a:lnTo>
                    <a:lnTo>
                      <a:pt x="1823" y="386"/>
                    </a:lnTo>
                    <a:lnTo>
                      <a:pt x="1825" y="389"/>
                    </a:lnTo>
                    <a:lnTo>
                      <a:pt x="1826" y="391"/>
                    </a:lnTo>
                    <a:lnTo>
                      <a:pt x="1826" y="392"/>
                    </a:lnTo>
                    <a:lnTo>
                      <a:pt x="1826" y="393"/>
                    </a:lnTo>
                    <a:lnTo>
                      <a:pt x="1826" y="393"/>
                    </a:lnTo>
                    <a:lnTo>
                      <a:pt x="1825" y="394"/>
                    </a:lnTo>
                    <a:lnTo>
                      <a:pt x="1825" y="395"/>
                    </a:lnTo>
                    <a:lnTo>
                      <a:pt x="1826" y="398"/>
                    </a:lnTo>
                    <a:lnTo>
                      <a:pt x="1826" y="399"/>
                    </a:lnTo>
                    <a:lnTo>
                      <a:pt x="1827" y="401"/>
                    </a:lnTo>
                    <a:lnTo>
                      <a:pt x="1829" y="403"/>
                    </a:lnTo>
                    <a:lnTo>
                      <a:pt x="1831" y="404"/>
                    </a:lnTo>
                    <a:lnTo>
                      <a:pt x="1832" y="405"/>
                    </a:lnTo>
                    <a:lnTo>
                      <a:pt x="1833" y="405"/>
                    </a:lnTo>
                    <a:lnTo>
                      <a:pt x="1833" y="404"/>
                    </a:lnTo>
                    <a:lnTo>
                      <a:pt x="1832" y="402"/>
                    </a:lnTo>
                    <a:lnTo>
                      <a:pt x="1832" y="400"/>
                    </a:lnTo>
                    <a:lnTo>
                      <a:pt x="1832" y="398"/>
                    </a:lnTo>
                    <a:lnTo>
                      <a:pt x="1832" y="395"/>
                    </a:lnTo>
                    <a:lnTo>
                      <a:pt x="1832" y="395"/>
                    </a:lnTo>
                    <a:lnTo>
                      <a:pt x="1834" y="396"/>
                    </a:lnTo>
                    <a:lnTo>
                      <a:pt x="1835" y="399"/>
                    </a:lnTo>
                    <a:lnTo>
                      <a:pt x="1837" y="401"/>
                    </a:lnTo>
                    <a:lnTo>
                      <a:pt x="1838" y="404"/>
                    </a:lnTo>
                    <a:lnTo>
                      <a:pt x="1841" y="406"/>
                    </a:lnTo>
                    <a:lnTo>
                      <a:pt x="1843" y="409"/>
                    </a:lnTo>
                    <a:lnTo>
                      <a:pt x="1844" y="410"/>
                    </a:lnTo>
                    <a:lnTo>
                      <a:pt x="1845" y="411"/>
                    </a:lnTo>
                    <a:lnTo>
                      <a:pt x="1846" y="410"/>
                    </a:lnTo>
                    <a:lnTo>
                      <a:pt x="1846" y="404"/>
                    </a:lnTo>
                    <a:lnTo>
                      <a:pt x="1844" y="398"/>
                    </a:lnTo>
                    <a:lnTo>
                      <a:pt x="1842" y="391"/>
                    </a:lnTo>
                    <a:lnTo>
                      <a:pt x="1841" y="390"/>
                    </a:lnTo>
                    <a:lnTo>
                      <a:pt x="1841" y="388"/>
                    </a:lnTo>
                    <a:lnTo>
                      <a:pt x="1841" y="386"/>
                    </a:lnTo>
                    <a:lnTo>
                      <a:pt x="1841" y="385"/>
                    </a:lnTo>
                    <a:lnTo>
                      <a:pt x="1842" y="384"/>
                    </a:lnTo>
                    <a:lnTo>
                      <a:pt x="1844" y="385"/>
                    </a:lnTo>
                    <a:lnTo>
                      <a:pt x="1846" y="388"/>
                    </a:lnTo>
                    <a:lnTo>
                      <a:pt x="1847" y="390"/>
                    </a:lnTo>
                    <a:lnTo>
                      <a:pt x="1849" y="392"/>
                    </a:lnTo>
                    <a:lnTo>
                      <a:pt x="1851" y="395"/>
                    </a:lnTo>
                    <a:lnTo>
                      <a:pt x="1855" y="400"/>
                    </a:lnTo>
                    <a:lnTo>
                      <a:pt x="1855" y="402"/>
                    </a:lnTo>
                    <a:lnTo>
                      <a:pt x="1857" y="404"/>
                    </a:lnTo>
                    <a:lnTo>
                      <a:pt x="1858" y="405"/>
                    </a:lnTo>
                    <a:lnTo>
                      <a:pt x="1858" y="406"/>
                    </a:lnTo>
                    <a:lnTo>
                      <a:pt x="1858" y="407"/>
                    </a:lnTo>
                    <a:lnTo>
                      <a:pt x="1859" y="410"/>
                    </a:lnTo>
                    <a:lnTo>
                      <a:pt x="1860" y="412"/>
                    </a:lnTo>
                    <a:lnTo>
                      <a:pt x="1863" y="414"/>
                    </a:lnTo>
                    <a:lnTo>
                      <a:pt x="1863" y="412"/>
                    </a:lnTo>
                    <a:lnTo>
                      <a:pt x="1865" y="414"/>
                    </a:lnTo>
                    <a:lnTo>
                      <a:pt x="1866" y="417"/>
                    </a:lnTo>
                    <a:lnTo>
                      <a:pt x="1867" y="421"/>
                    </a:lnTo>
                    <a:lnTo>
                      <a:pt x="1868" y="424"/>
                    </a:lnTo>
                    <a:lnTo>
                      <a:pt x="1868" y="427"/>
                    </a:lnTo>
                    <a:lnTo>
                      <a:pt x="1875" y="434"/>
                    </a:lnTo>
                    <a:lnTo>
                      <a:pt x="1876" y="436"/>
                    </a:lnTo>
                    <a:lnTo>
                      <a:pt x="1877" y="437"/>
                    </a:lnTo>
                    <a:lnTo>
                      <a:pt x="1879" y="438"/>
                    </a:lnTo>
                    <a:lnTo>
                      <a:pt x="1880" y="439"/>
                    </a:lnTo>
                    <a:lnTo>
                      <a:pt x="1882" y="440"/>
                    </a:lnTo>
                    <a:lnTo>
                      <a:pt x="1884" y="442"/>
                    </a:lnTo>
                    <a:lnTo>
                      <a:pt x="1885" y="444"/>
                    </a:lnTo>
                    <a:lnTo>
                      <a:pt x="1886" y="445"/>
                    </a:lnTo>
                    <a:lnTo>
                      <a:pt x="1887" y="446"/>
                    </a:lnTo>
                    <a:lnTo>
                      <a:pt x="1887" y="447"/>
                    </a:lnTo>
                    <a:lnTo>
                      <a:pt x="1888" y="448"/>
                    </a:lnTo>
                    <a:lnTo>
                      <a:pt x="1890" y="450"/>
                    </a:lnTo>
                    <a:lnTo>
                      <a:pt x="1891" y="451"/>
                    </a:lnTo>
                    <a:lnTo>
                      <a:pt x="1892" y="451"/>
                    </a:lnTo>
                    <a:lnTo>
                      <a:pt x="1893" y="453"/>
                    </a:lnTo>
                    <a:lnTo>
                      <a:pt x="1895" y="455"/>
                    </a:lnTo>
                    <a:lnTo>
                      <a:pt x="1895" y="457"/>
                    </a:lnTo>
                    <a:lnTo>
                      <a:pt x="1896" y="459"/>
                    </a:lnTo>
                    <a:lnTo>
                      <a:pt x="1897" y="460"/>
                    </a:lnTo>
                    <a:lnTo>
                      <a:pt x="1898" y="461"/>
                    </a:lnTo>
                    <a:lnTo>
                      <a:pt x="1899" y="464"/>
                    </a:lnTo>
                    <a:lnTo>
                      <a:pt x="1898" y="464"/>
                    </a:lnTo>
                    <a:lnTo>
                      <a:pt x="1897" y="465"/>
                    </a:lnTo>
                    <a:lnTo>
                      <a:pt x="1896" y="465"/>
                    </a:lnTo>
                    <a:lnTo>
                      <a:pt x="1893" y="465"/>
                    </a:lnTo>
                    <a:lnTo>
                      <a:pt x="1892" y="465"/>
                    </a:lnTo>
                    <a:lnTo>
                      <a:pt x="1891" y="465"/>
                    </a:lnTo>
                    <a:lnTo>
                      <a:pt x="1890" y="465"/>
                    </a:lnTo>
                    <a:lnTo>
                      <a:pt x="1889" y="466"/>
                    </a:lnTo>
                    <a:lnTo>
                      <a:pt x="1889" y="467"/>
                    </a:lnTo>
                    <a:lnTo>
                      <a:pt x="1888" y="468"/>
                    </a:lnTo>
                    <a:lnTo>
                      <a:pt x="1888" y="469"/>
                    </a:lnTo>
                    <a:lnTo>
                      <a:pt x="1887" y="472"/>
                    </a:lnTo>
                    <a:lnTo>
                      <a:pt x="1887" y="475"/>
                    </a:lnTo>
                    <a:lnTo>
                      <a:pt x="1887" y="477"/>
                    </a:lnTo>
                    <a:lnTo>
                      <a:pt x="1888" y="480"/>
                    </a:lnTo>
                    <a:lnTo>
                      <a:pt x="1889" y="483"/>
                    </a:lnTo>
                    <a:lnTo>
                      <a:pt x="1889" y="487"/>
                    </a:lnTo>
                    <a:lnTo>
                      <a:pt x="1890" y="489"/>
                    </a:lnTo>
                    <a:lnTo>
                      <a:pt x="1890" y="491"/>
                    </a:lnTo>
                    <a:lnTo>
                      <a:pt x="1889" y="491"/>
                    </a:lnTo>
                    <a:lnTo>
                      <a:pt x="1889" y="492"/>
                    </a:lnTo>
                    <a:lnTo>
                      <a:pt x="1889" y="494"/>
                    </a:lnTo>
                    <a:lnTo>
                      <a:pt x="1888" y="497"/>
                    </a:lnTo>
                    <a:lnTo>
                      <a:pt x="1888" y="499"/>
                    </a:lnTo>
                    <a:lnTo>
                      <a:pt x="1890" y="503"/>
                    </a:lnTo>
                    <a:lnTo>
                      <a:pt x="1890" y="508"/>
                    </a:lnTo>
                    <a:lnTo>
                      <a:pt x="1890" y="512"/>
                    </a:lnTo>
                    <a:lnTo>
                      <a:pt x="1891" y="514"/>
                    </a:lnTo>
                    <a:lnTo>
                      <a:pt x="1891" y="515"/>
                    </a:lnTo>
                    <a:lnTo>
                      <a:pt x="1891" y="518"/>
                    </a:lnTo>
                    <a:lnTo>
                      <a:pt x="1890" y="520"/>
                    </a:lnTo>
                    <a:lnTo>
                      <a:pt x="1890" y="523"/>
                    </a:lnTo>
                    <a:lnTo>
                      <a:pt x="1893" y="538"/>
                    </a:lnTo>
                    <a:lnTo>
                      <a:pt x="1895" y="554"/>
                    </a:lnTo>
                    <a:lnTo>
                      <a:pt x="1892" y="552"/>
                    </a:lnTo>
                    <a:lnTo>
                      <a:pt x="1890" y="549"/>
                    </a:lnTo>
                    <a:lnTo>
                      <a:pt x="1888" y="546"/>
                    </a:lnTo>
                    <a:lnTo>
                      <a:pt x="1886" y="543"/>
                    </a:lnTo>
                    <a:lnTo>
                      <a:pt x="1885" y="540"/>
                    </a:lnTo>
                    <a:lnTo>
                      <a:pt x="1885" y="537"/>
                    </a:lnTo>
                    <a:lnTo>
                      <a:pt x="1885" y="535"/>
                    </a:lnTo>
                    <a:lnTo>
                      <a:pt x="1886" y="533"/>
                    </a:lnTo>
                    <a:lnTo>
                      <a:pt x="1887" y="531"/>
                    </a:lnTo>
                    <a:lnTo>
                      <a:pt x="1885" y="531"/>
                    </a:lnTo>
                    <a:lnTo>
                      <a:pt x="1884" y="532"/>
                    </a:lnTo>
                    <a:lnTo>
                      <a:pt x="1882" y="532"/>
                    </a:lnTo>
                    <a:lnTo>
                      <a:pt x="1881" y="531"/>
                    </a:lnTo>
                    <a:lnTo>
                      <a:pt x="1880" y="529"/>
                    </a:lnTo>
                    <a:lnTo>
                      <a:pt x="1878" y="526"/>
                    </a:lnTo>
                    <a:lnTo>
                      <a:pt x="1877" y="524"/>
                    </a:lnTo>
                    <a:lnTo>
                      <a:pt x="1876" y="523"/>
                    </a:lnTo>
                    <a:lnTo>
                      <a:pt x="1874" y="520"/>
                    </a:lnTo>
                    <a:lnTo>
                      <a:pt x="1871" y="518"/>
                    </a:lnTo>
                    <a:lnTo>
                      <a:pt x="1870" y="515"/>
                    </a:lnTo>
                    <a:lnTo>
                      <a:pt x="1868" y="514"/>
                    </a:lnTo>
                    <a:lnTo>
                      <a:pt x="1866" y="511"/>
                    </a:lnTo>
                    <a:lnTo>
                      <a:pt x="1864" y="509"/>
                    </a:lnTo>
                    <a:lnTo>
                      <a:pt x="1863" y="505"/>
                    </a:lnTo>
                    <a:lnTo>
                      <a:pt x="1863" y="504"/>
                    </a:lnTo>
                    <a:lnTo>
                      <a:pt x="1864" y="503"/>
                    </a:lnTo>
                    <a:lnTo>
                      <a:pt x="1864" y="503"/>
                    </a:lnTo>
                    <a:lnTo>
                      <a:pt x="1865" y="503"/>
                    </a:lnTo>
                    <a:lnTo>
                      <a:pt x="1866" y="503"/>
                    </a:lnTo>
                    <a:lnTo>
                      <a:pt x="1866" y="503"/>
                    </a:lnTo>
                    <a:lnTo>
                      <a:pt x="1867" y="503"/>
                    </a:lnTo>
                    <a:lnTo>
                      <a:pt x="1868" y="504"/>
                    </a:lnTo>
                    <a:lnTo>
                      <a:pt x="1869" y="504"/>
                    </a:lnTo>
                    <a:lnTo>
                      <a:pt x="1870" y="503"/>
                    </a:lnTo>
                    <a:lnTo>
                      <a:pt x="1870" y="501"/>
                    </a:lnTo>
                    <a:lnTo>
                      <a:pt x="1868" y="499"/>
                    </a:lnTo>
                    <a:lnTo>
                      <a:pt x="1866" y="495"/>
                    </a:lnTo>
                    <a:lnTo>
                      <a:pt x="1864" y="493"/>
                    </a:lnTo>
                    <a:lnTo>
                      <a:pt x="1863" y="492"/>
                    </a:lnTo>
                    <a:lnTo>
                      <a:pt x="1862" y="492"/>
                    </a:lnTo>
                    <a:lnTo>
                      <a:pt x="1859" y="491"/>
                    </a:lnTo>
                    <a:lnTo>
                      <a:pt x="1858" y="489"/>
                    </a:lnTo>
                    <a:lnTo>
                      <a:pt x="1856" y="486"/>
                    </a:lnTo>
                    <a:lnTo>
                      <a:pt x="1854" y="482"/>
                    </a:lnTo>
                    <a:lnTo>
                      <a:pt x="1853" y="480"/>
                    </a:lnTo>
                    <a:lnTo>
                      <a:pt x="1851" y="477"/>
                    </a:lnTo>
                    <a:lnTo>
                      <a:pt x="1851" y="476"/>
                    </a:lnTo>
                    <a:lnTo>
                      <a:pt x="1851" y="475"/>
                    </a:lnTo>
                    <a:lnTo>
                      <a:pt x="1852" y="473"/>
                    </a:lnTo>
                    <a:lnTo>
                      <a:pt x="1852" y="473"/>
                    </a:lnTo>
                    <a:lnTo>
                      <a:pt x="1854" y="473"/>
                    </a:lnTo>
                    <a:lnTo>
                      <a:pt x="1855" y="473"/>
                    </a:lnTo>
                    <a:lnTo>
                      <a:pt x="1856" y="473"/>
                    </a:lnTo>
                    <a:lnTo>
                      <a:pt x="1857" y="473"/>
                    </a:lnTo>
                    <a:lnTo>
                      <a:pt x="1858" y="472"/>
                    </a:lnTo>
                    <a:lnTo>
                      <a:pt x="1858" y="470"/>
                    </a:lnTo>
                    <a:lnTo>
                      <a:pt x="1858" y="469"/>
                    </a:lnTo>
                    <a:lnTo>
                      <a:pt x="1858" y="467"/>
                    </a:lnTo>
                    <a:lnTo>
                      <a:pt x="1859" y="467"/>
                    </a:lnTo>
                    <a:lnTo>
                      <a:pt x="1862" y="467"/>
                    </a:lnTo>
                    <a:lnTo>
                      <a:pt x="1863" y="467"/>
                    </a:lnTo>
                    <a:lnTo>
                      <a:pt x="1864" y="467"/>
                    </a:lnTo>
                    <a:lnTo>
                      <a:pt x="1866" y="468"/>
                    </a:lnTo>
                    <a:lnTo>
                      <a:pt x="1868" y="467"/>
                    </a:lnTo>
                    <a:lnTo>
                      <a:pt x="1868" y="466"/>
                    </a:lnTo>
                    <a:lnTo>
                      <a:pt x="1868" y="464"/>
                    </a:lnTo>
                    <a:lnTo>
                      <a:pt x="1868" y="461"/>
                    </a:lnTo>
                    <a:lnTo>
                      <a:pt x="1867" y="458"/>
                    </a:lnTo>
                    <a:lnTo>
                      <a:pt x="1866" y="455"/>
                    </a:lnTo>
                    <a:lnTo>
                      <a:pt x="1865" y="453"/>
                    </a:lnTo>
                    <a:lnTo>
                      <a:pt x="1864" y="453"/>
                    </a:lnTo>
                    <a:lnTo>
                      <a:pt x="1863" y="453"/>
                    </a:lnTo>
                    <a:lnTo>
                      <a:pt x="1863" y="454"/>
                    </a:lnTo>
                    <a:lnTo>
                      <a:pt x="1863" y="455"/>
                    </a:lnTo>
                    <a:lnTo>
                      <a:pt x="1863" y="455"/>
                    </a:lnTo>
                    <a:lnTo>
                      <a:pt x="1863" y="457"/>
                    </a:lnTo>
                    <a:lnTo>
                      <a:pt x="1862" y="458"/>
                    </a:lnTo>
                    <a:lnTo>
                      <a:pt x="1862" y="460"/>
                    </a:lnTo>
                    <a:lnTo>
                      <a:pt x="1862" y="461"/>
                    </a:lnTo>
                    <a:lnTo>
                      <a:pt x="1860" y="461"/>
                    </a:lnTo>
                    <a:lnTo>
                      <a:pt x="1859" y="458"/>
                    </a:lnTo>
                    <a:lnTo>
                      <a:pt x="1858" y="456"/>
                    </a:lnTo>
                    <a:lnTo>
                      <a:pt x="1857" y="454"/>
                    </a:lnTo>
                    <a:lnTo>
                      <a:pt x="1856" y="453"/>
                    </a:lnTo>
                    <a:lnTo>
                      <a:pt x="1855" y="451"/>
                    </a:lnTo>
                    <a:lnTo>
                      <a:pt x="1854" y="451"/>
                    </a:lnTo>
                    <a:lnTo>
                      <a:pt x="1853" y="453"/>
                    </a:lnTo>
                    <a:lnTo>
                      <a:pt x="1853" y="453"/>
                    </a:lnTo>
                    <a:lnTo>
                      <a:pt x="1853" y="456"/>
                    </a:lnTo>
                    <a:lnTo>
                      <a:pt x="1853" y="458"/>
                    </a:lnTo>
                    <a:lnTo>
                      <a:pt x="1854" y="460"/>
                    </a:lnTo>
                    <a:lnTo>
                      <a:pt x="1854" y="464"/>
                    </a:lnTo>
                    <a:lnTo>
                      <a:pt x="1854" y="465"/>
                    </a:lnTo>
                    <a:lnTo>
                      <a:pt x="1853" y="465"/>
                    </a:lnTo>
                    <a:lnTo>
                      <a:pt x="1852" y="465"/>
                    </a:lnTo>
                    <a:lnTo>
                      <a:pt x="1851" y="465"/>
                    </a:lnTo>
                    <a:lnTo>
                      <a:pt x="1848" y="467"/>
                    </a:lnTo>
                    <a:lnTo>
                      <a:pt x="1847" y="467"/>
                    </a:lnTo>
                    <a:lnTo>
                      <a:pt x="1846" y="466"/>
                    </a:lnTo>
                    <a:lnTo>
                      <a:pt x="1844" y="464"/>
                    </a:lnTo>
                    <a:lnTo>
                      <a:pt x="1843" y="461"/>
                    </a:lnTo>
                    <a:lnTo>
                      <a:pt x="1842" y="458"/>
                    </a:lnTo>
                    <a:lnTo>
                      <a:pt x="1841" y="456"/>
                    </a:lnTo>
                    <a:lnTo>
                      <a:pt x="1838" y="453"/>
                    </a:lnTo>
                    <a:lnTo>
                      <a:pt x="1832" y="444"/>
                    </a:lnTo>
                    <a:lnTo>
                      <a:pt x="1826" y="434"/>
                    </a:lnTo>
                    <a:lnTo>
                      <a:pt x="1825" y="432"/>
                    </a:lnTo>
                    <a:lnTo>
                      <a:pt x="1824" y="429"/>
                    </a:lnTo>
                    <a:lnTo>
                      <a:pt x="1825" y="427"/>
                    </a:lnTo>
                    <a:lnTo>
                      <a:pt x="1825" y="424"/>
                    </a:lnTo>
                    <a:lnTo>
                      <a:pt x="1825" y="422"/>
                    </a:lnTo>
                    <a:lnTo>
                      <a:pt x="1824" y="418"/>
                    </a:lnTo>
                    <a:lnTo>
                      <a:pt x="1818" y="412"/>
                    </a:lnTo>
                    <a:lnTo>
                      <a:pt x="1816" y="410"/>
                    </a:lnTo>
                    <a:lnTo>
                      <a:pt x="1814" y="407"/>
                    </a:lnTo>
                    <a:lnTo>
                      <a:pt x="1814" y="406"/>
                    </a:lnTo>
                    <a:lnTo>
                      <a:pt x="1813" y="404"/>
                    </a:lnTo>
                    <a:lnTo>
                      <a:pt x="1812" y="402"/>
                    </a:lnTo>
                    <a:lnTo>
                      <a:pt x="1811" y="399"/>
                    </a:lnTo>
                    <a:lnTo>
                      <a:pt x="1810" y="396"/>
                    </a:lnTo>
                    <a:lnTo>
                      <a:pt x="1809" y="393"/>
                    </a:lnTo>
                    <a:lnTo>
                      <a:pt x="1808" y="390"/>
                    </a:lnTo>
                    <a:lnTo>
                      <a:pt x="1806" y="386"/>
                    </a:lnTo>
                    <a:lnTo>
                      <a:pt x="1805" y="384"/>
                    </a:lnTo>
                    <a:lnTo>
                      <a:pt x="1806" y="382"/>
                    </a:lnTo>
                    <a:lnTo>
                      <a:pt x="1808" y="381"/>
                    </a:lnTo>
                    <a:lnTo>
                      <a:pt x="1810" y="380"/>
                    </a:lnTo>
                    <a:lnTo>
                      <a:pt x="1811" y="380"/>
                    </a:lnTo>
                    <a:close/>
                    <a:moveTo>
                      <a:pt x="428" y="372"/>
                    </a:moveTo>
                    <a:lnTo>
                      <a:pt x="436" y="374"/>
                    </a:lnTo>
                    <a:lnTo>
                      <a:pt x="440" y="378"/>
                    </a:lnTo>
                    <a:lnTo>
                      <a:pt x="446" y="384"/>
                    </a:lnTo>
                    <a:lnTo>
                      <a:pt x="450" y="390"/>
                    </a:lnTo>
                    <a:lnTo>
                      <a:pt x="454" y="396"/>
                    </a:lnTo>
                    <a:lnTo>
                      <a:pt x="455" y="403"/>
                    </a:lnTo>
                    <a:lnTo>
                      <a:pt x="450" y="411"/>
                    </a:lnTo>
                    <a:lnTo>
                      <a:pt x="443" y="417"/>
                    </a:lnTo>
                    <a:lnTo>
                      <a:pt x="434" y="420"/>
                    </a:lnTo>
                    <a:lnTo>
                      <a:pt x="423" y="418"/>
                    </a:lnTo>
                    <a:lnTo>
                      <a:pt x="413" y="416"/>
                    </a:lnTo>
                    <a:lnTo>
                      <a:pt x="404" y="413"/>
                    </a:lnTo>
                    <a:lnTo>
                      <a:pt x="398" y="410"/>
                    </a:lnTo>
                    <a:lnTo>
                      <a:pt x="397" y="405"/>
                    </a:lnTo>
                    <a:lnTo>
                      <a:pt x="398" y="399"/>
                    </a:lnTo>
                    <a:lnTo>
                      <a:pt x="402" y="392"/>
                    </a:lnTo>
                    <a:lnTo>
                      <a:pt x="406" y="385"/>
                    </a:lnTo>
                    <a:lnTo>
                      <a:pt x="409" y="380"/>
                    </a:lnTo>
                    <a:lnTo>
                      <a:pt x="414" y="374"/>
                    </a:lnTo>
                    <a:lnTo>
                      <a:pt x="420" y="372"/>
                    </a:lnTo>
                    <a:lnTo>
                      <a:pt x="428" y="372"/>
                    </a:lnTo>
                    <a:close/>
                    <a:moveTo>
                      <a:pt x="1855" y="372"/>
                    </a:moveTo>
                    <a:lnTo>
                      <a:pt x="1856" y="373"/>
                    </a:lnTo>
                    <a:lnTo>
                      <a:pt x="1857" y="374"/>
                    </a:lnTo>
                    <a:lnTo>
                      <a:pt x="1858" y="375"/>
                    </a:lnTo>
                    <a:lnTo>
                      <a:pt x="1859" y="378"/>
                    </a:lnTo>
                    <a:lnTo>
                      <a:pt x="1860" y="379"/>
                    </a:lnTo>
                    <a:lnTo>
                      <a:pt x="1862" y="381"/>
                    </a:lnTo>
                    <a:lnTo>
                      <a:pt x="1863" y="383"/>
                    </a:lnTo>
                    <a:lnTo>
                      <a:pt x="1864" y="385"/>
                    </a:lnTo>
                    <a:lnTo>
                      <a:pt x="1866" y="386"/>
                    </a:lnTo>
                    <a:lnTo>
                      <a:pt x="1868" y="389"/>
                    </a:lnTo>
                    <a:lnTo>
                      <a:pt x="1869" y="390"/>
                    </a:lnTo>
                    <a:lnTo>
                      <a:pt x="1869" y="390"/>
                    </a:lnTo>
                    <a:lnTo>
                      <a:pt x="1870" y="389"/>
                    </a:lnTo>
                    <a:lnTo>
                      <a:pt x="1870" y="388"/>
                    </a:lnTo>
                    <a:lnTo>
                      <a:pt x="1870" y="388"/>
                    </a:lnTo>
                    <a:lnTo>
                      <a:pt x="1870" y="386"/>
                    </a:lnTo>
                    <a:lnTo>
                      <a:pt x="1871" y="385"/>
                    </a:lnTo>
                    <a:lnTo>
                      <a:pt x="1871" y="385"/>
                    </a:lnTo>
                    <a:lnTo>
                      <a:pt x="1873" y="386"/>
                    </a:lnTo>
                    <a:lnTo>
                      <a:pt x="1876" y="389"/>
                    </a:lnTo>
                    <a:lnTo>
                      <a:pt x="1876" y="390"/>
                    </a:lnTo>
                    <a:lnTo>
                      <a:pt x="1876" y="389"/>
                    </a:lnTo>
                    <a:lnTo>
                      <a:pt x="1876" y="389"/>
                    </a:lnTo>
                    <a:lnTo>
                      <a:pt x="1876" y="388"/>
                    </a:lnTo>
                    <a:lnTo>
                      <a:pt x="1876" y="386"/>
                    </a:lnTo>
                    <a:lnTo>
                      <a:pt x="1876" y="386"/>
                    </a:lnTo>
                    <a:lnTo>
                      <a:pt x="1876" y="385"/>
                    </a:lnTo>
                    <a:lnTo>
                      <a:pt x="1876" y="383"/>
                    </a:lnTo>
                    <a:lnTo>
                      <a:pt x="1876" y="382"/>
                    </a:lnTo>
                    <a:lnTo>
                      <a:pt x="1877" y="381"/>
                    </a:lnTo>
                    <a:lnTo>
                      <a:pt x="1878" y="382"/>
                    </a:lnTo>
                    <a:lnTo>
                      <a:pt x="1880" y="383"/>
                    </a:lnTo>
                    <a:lnTo>
                      <a:pt x="1882" y="384"/>
                    </a:lnTo>
                    <a:lnTo>
                      <a:pt x="1885" y="386"/>
                    </a:lnTo>
                    <a:lnTo>
                      <a:pt x="1886" y="390"/>
                    </a:lnTo>
                    <a:lnTo>
                      <a:pt x="1887" y="392"/>
                    </a:lnTo>
                    <a:lnTo>
                      <a:pt x="1887" y="393"/>
                    </a:lnTo>
                    <a:lnTo>
                      <a:pt x="1887" y="395"/>
                    </a:lnTo>
                    <a:lnTo>
                      <a:pt x="1887" y="396"/>
                    </a:lnTo>
                    <a:lnTo>
                      <a:pt x="1887" y="399"/>
                    </a:lnTo>
                    <a:lnTo>
                      <a:pt x="1887" y="400"/>
                    </a:lnTo>
                    <a:lnTo>
                      <a:pt x="1888" y="402"/>
                    </a:lnTo>
                    <a:lnTo>
                      <a:pt x="1889" y="402"/>
                    </a:lnTo>
                    <a:lnTo>
                      <a:pt x="1890" y="402"/>
                    </a:lnTo>
                    <a:lnTo>
                      <a:pt x="1890" y="400"/>
                    </a:lnTo>
                    <a:lnTo>
                      <a:pt x="1890" y="399"/>
                    </a:lnTo>
                    <a:lnTo>
                      <a:pt x="1889" y="396"/>
                    </a:lnTo>
                    <a:lnTo>
                      <a:pt x="1889" y="395"/>
                    </a:lnTo>
                    <a:lnTo>
                      <a:pt x="1890" y="394"/>
                    </a:lnTo>
                    <a:lnTo>
                      <a:pt x="1890" y="393"/>
                    </a:lnTo>
                    <a:lnTo>
                      <a:pt x="1892" y="393"/>
                    </a:lnTo>
                    <a:lnTo>
                      <a:pt x="1893" y="393"/>
                    </a:lnTo>
                    <a:lnTo>
                      <a:pt x="1901" y="400"/>
                    </a:lnTo>
                    <a:lnTo>
                      <a:pt x="1902" y="402"/>
                    </a:lnTo>
                    <a:lnTo>
                      <a:pt x="1904" y="404"/>
                    </a:lnTo>
                    <a:lnTo>
                      <a:pt x="1906" y="405"/>
                    </a:lnTo>
                    <a:lnTo>
                      <a:pt x="1908" y="406"/>
                    </a:lnTo>
                    <a:lnTo>
                      <a:pt x="1910" y="407"/>
                    </a:lnTo>
                    <a:lnTo>
                      <a:pt x="1913" y="409"/>
                    </a:lnTo>
                    <a:lnTo>
                      <a:pt x="1915" y="410"/>
                    </a:lnTo>
                    <a:lnTo>
                      <a:pt x="1918" y="411"/>
                    </a:lnTo>
                    <a:lnTo>
                      <a:pt x="1920" y="413"/>
                    </a:lnTo>
                    <a:lnTo>
                      <a:pt x="1922" y="414"/>
                    </a:lnTo>
                    <a:lnTo>
                      <a:pt x="1923" y="416"/>
                    </a:lnTo>
                    <a:lnTo>
                      <a:pt x="1923" y="417"/>
                    </a:lnTo>
                    <a:lnTo>
                      <a:pt x="1923" y="418"/>
                    </a:lnTo>
                    <a:lnTo>
                      <a:pt x="1922" y="420"/>
                    </a:lnTo>
                    <a:lnTo>
                      <a:pt x="1922" y="421"/>
                    </a:lnTo>
                    <a:lnTo>
                      <a:pt x="1922" y="422"/>
                    </a:lnTo>
                    <a:lnTo>
                      <a:pt x="1922" y="423"/>
                    </a:lnTo>
                    <a:lnTo>
                      <a:pt x="1923" y="424"/>
                    </a:lnTo>
                    <a:lnTo>
                      <a:pt x="1924" y="426"/>
                    </a:lnTo>
                    <a:lnTo>
                      <a:pt x="1925" y="428"/>
                    </a:lnTo>
                    <a:lnTo>
                      <a:pt x="1925" y="429"/>
                    </a:lnTo>
                    <a:lnTo>
                      <a:pt x="1924" y="431"/>
                    </a:lnTo>
                    <a:lnTo>
                      <a:pt x="1924" y="432"/>
                    </a:lnTo>
                    <a:lnTo>
                      <a:pt x="1924" y="433"/>
                    </a:lnTo>
                    <a:lnTo>
                      <a:pt x="1922" y="435"/>
                    </a:lnTo>
                    <a:lnTo>
                      <a:pt x="1922" y="437"/>
                    </a:lnTo>
                    <a:lnTo>
                      <a:pt x="1922" y="439"/>
                    </a:lnTo>
                    <a:lnTo>
                      <a:pt x="1921" y="442"/>
                    </a:lnTo>
                    <a:lnTo>
                      <a:pt x="1921" y="444"/>
                    </a:lnTo>
                    <a:lnTo>
                      <a:pt x="1920" y="446"/>
                    </a:lnTo>
                    <a:lnTo>
                      <a:pt x="1920" y="448"/>
                    </a:lnTo>
                    <a:lnTo>
                      <a:pt x="1920" y="449"/>
                    </a:lnTo>
                    <a:lnTo>
                      <a:pt x="1919" y="450"/>
                    </a:lnTo>
                    <a:lnTo>
                      <a:pt x="1917" y="450"/>
                    </a:lnTo>
                    <a:lnTo>
                      <a:pt x="1914" y="450"/>
                    </a:lnTo>
                    <a:lnTo>
                      <a:pt x="1913" y="449"/>
                    </a:lnTo>
                    <a:lnTo>
                      <a:pt x="1911" y="448"/>
                    </a:lnTo>
                    <a:lnTo>
                      <a:pt x="1909" y="447"/>
                    </a:lnTo>
                    <a:lnTo>
                      <a:pt x="1907" y="445"/>
                    </a:lnTo>
                    <a:lnTo>
                      <a:pt x="1906" y="444"/>
                    </a:lnTo>
                    <a:lnTo>
                      <a:pt x="1902" y="442"/>
                    </a:lnTo>
                    <a:lnTo>
                      <a:pt x="1899" y="439"/>
                    </a:lnTo>
                    <a:lnTo>
                      <a:pt x="1896" y="437"/>
                    </a:lnTo>
                    <a:lnTo>
                      <a:pt x="1889" y="436"/>
                    </a:lnTo>
                    <a:lnTo>
                      <a:pt x="1882" y="434"/>
                    </a:lnTo>
                    <a:lnTo>
                      <a:pt x="1876" y="428"/>
                    </a:lnTo>
                    <a:lnTo>
                      <a:pt x="1875" y="427"/>
                    </a:lnTo>
                    <a:lnTo>
                      <a:pt x="1874" y="425"/>
                    </a:lnTo>
                    <a:lnTo>
                      <a:pt x="1874" y="424"/>
                    </a:lnTo>
                    <a:lnTo>
                      <a:pt x="1873" y="422"/>
                    </a:lnTo>
                    <a:lnTo>
                      <a:pt x="1873" y="421"/>
                    </a:lnTo>
                    <a:lnTo>
                      <a:pt x="1873" y="420"/>
                    </a:lnTo>
                    <a:lnTo>
                      <a:pt x="1878" y="422"/>
                    </a:lnTo>
                    <a:lnTo>
                      <a:pt x="1878" y="422"/>
                    </a:lnTo>
                    <a:lnTo>
                      <a:pt x="1878" y="421"/>
                    </a:lnTo>
                    <a:lnTo>
                      <a:pt x="1878" y="420"/>
                    </a:lnTo>
                    <a:lnTo>
                      <a:pt x="1877" y="418"/>
                    </a:lnTo>
                    <a:lnTo>
                      <a:pt x="1877" y="417"/>
                    </a:lnTo>
                    <a:lnTo>
                      <a:pt x="1878" y="417"/>
                    </a:lnTo>
                    <a:lnTo>
                      <a:pt x="1879" y="417"/>
                    </a:lnTo>
                    <a:lnTo>
                      <a:pt x="1880" y="417"/>
                    </a:lnTo>
                    <a:lnTo>
                      <a:pt x="1880" y="417"/>
                    </a:lnTo>
                    <a:lnTo>
                      <a:pt x="1881" y="417"/>
                    </a:lnTo>
                    <a:lnTo>
                      <a:pt x="1880" y="416"/>
                    </a:lnTo>
                    <a:lnTo>
                      <a:pt x="1880" y="415"/>
                    </a:lnTo>
                    <a:lnTo>
                      <a:pt x="1879" y="413"/>
                    </a:lnTo>
                    <a:lnTo>
                      <a:pt x="1878" y="411"/>
                    </a:lnTo>
                    <a:lnTo>
                      <a:pt x="1877" y="410"/>
                    </a:lnTo>
                    <a:lnTo>
                      <a:pt x="1875" y="409"/>
                    </a:lnTo>
                    <a:lnTo>
                      <a:pt x="1874" y="409"/>
                    </a:lnTo>
                    <a:lnTo>
                      <a:pt x="1871" y="409"/>
                    </a:lnTo>
                    <a:lnTo>
                      <a:pt x="1870" y="409"/>
                    </a:lnTo>
                    <a:lnTo>
                      <a:pt x="1869" y="410"/>
                    </a:lnTo>
                    <a:lnTo>
                      <a:pt x="1868" y="411"/>
                    </a:lnTo>
                    <a:lnTo>
                      <a:pt x="1867" y="412"/>
                    </a:lnTo>
                    <a:lnTo>
                      <a:pt x="1866" y="412"/>
                    </a:lnTo>
                    <a:lnTo>
                      <a:pt x="1864" y="411"/>
                    </a:lnTo>
                    <a:lnTo>
                      <a:pt x="1863" y="411"/>
                    </a:lnTo>
                    <a:lnTo>
                      <a:pt x="1862" y="411"/>
                    </a:lnTo>
                    <a:lnTo>
                      <a:pt x="1862" y="410"/>
                    </a:lnTo>
                    <a:lnTo>
                      <a:pt x="1860" y="409"/>
                    </a:lnTo>
                    <a:lnTo>
                      <a:pt x="1859" y="406"/>
                    </a:lnTo>
                    <a:lnTo>
                      <a:pt x="1858" y="405"/>
                    </a:lnTo>
                    <a:lnTo>
                      <a:pt x="1857" y="404"/>
                    </a:lnTo>
                    <a:lnTo>
                      <a:pt x="1856" y="402"/>
                    </a:lnTo>
                    <a:lnTo>
                      <a:pt x="1855" y="400"/>
                    </a:lnTo>
                    <a:lnTo>
                      <a:pt x="1855" y="400"/>
                    </a:lnTo>
                    <a:lnTo>
                      <a:pt x="1855" y="399"/>
                    </a:lnTo>
                    <a:lnTo>
                      <a:pt x="1856" y="398"/>
                    </a:lnTo>
                    <a:lnTo>
                      <a:pt x="1856" y="398"/>
                    </a:lnTo>
                    <a:lnTo>
                      <a:pt x="1857" y="398"/>
                    </a:lnTo>
                    <a:lnTo>
                      <a:pt x="1856" y="396"/>
                    </a:lnTo>
                    <a:lnTo>
                      <a:pt x="1855" y="394"/>
                    </a:lnTo>
                    <a:lnTo>
                      <a:pt x="1854" y="392"/>
                    </a:lnTo>
                    <a:lnTo>
                      <a:pt x="1852" y="390"/>
                    </a:lnTo>
                    <a:lnTo>
                      <a:pt x="1849" y="389"/>
                    </a:lnTo>
                    <a:lnTo>
                      <a:pt x="1848" y="389"/>
                    </a:lnTo>
                    <a:lnTo>
                      <a:pt x="1846" y="386"/>
                    </a:lnTo>
                    <a:lnTo>
                      <a:pt x="1845" y="385"/>
                    </a:lnTo>
                    <a:lnTo>
                      <a:pt x="1845" y="383"/>
                    </a:lnTo>
                    <a:lnTo>
                      <a:pt x="1845" y="382"/>
                    </a:lnTo>
                    <a:lnTo>
                      <a:pt x="1846" y="381"/>
                    </a:lnTo>
                    <a:lnTo>
                      <a:pt x="1847" y="381"/>
                    </a:lnTo>
                    <a:lnTo>
                      <a:pt x="1848" y="382"/>
                    </a:lnTo>
                    <a:lnTo>
                      <a:pt x="1851" y="383"/>
                    </a:lnTo>
                    <a:lnTo>
                      <a:pt x="1853" y="384"/>
                    </a:lnTo>
                    <a:lnTo>
                      <a:pt x="1854" y="385"/>
                    </a:lnTo>
                    <a:lnTo>
                      <a:pt x="1855" y="385"/>
                    </a:lnTo>
                    <a:lnTo>
                      <a:pt x="1855" y="385"/>
                    </a:lnTo>
                    <a:lnTo>
                      <a:pt x="1855" y="384"/>
                    </a:lnTo>
                    <a:lnTo>
                      <a:pt x="1855" y="382"/>
                    </a:lnTo>
                    <a:lnTo>
                      <a:pt x="1855" y="381"/>
                    </a:lnTo>
                    <a:lnTo>
                      <a:pt x="1855" y="380"/>
                    </a:lnTo>
                    <a:lnTo>
                      <a:pt x="1854" y="379"/>
                    </a:lnTo>
                    <a:lnTo>
                      <a:pt x="1854" y="378"/>
                    </a:lnTo>
                    <a:lnTo>
                      <a:pt x="1854" y="378"/>
                    </a:lnTo>
                    <a:lnTo>
                      <a:pt x="1854" y="377"/>
                    </a:lnTo>
                    <a:lnTo>
                      <a:pt x="1855" y="375"/>
                    </a:lnTo>
                    <a:lnTo>
                      <a:pt x="1854" y="373"/>
                    </a:lnTo>
                    <a:lnTo>
                      <a:pt x="1854" y="372"/>
                    </a:lnTo>
                    <a:lnTo>
                      <a:pt x="1855" y="372"/>
                    </a:lnTo>
                    <a:close/>
                    <a:moveTo>
                      <a:pt x="1843" y="361"/>
                    </a:moveTo>
                    <a:lnTo>
                      <a:pt x="1844" y="361"/>
                    </a:lnTo>
                    <a:lnTo>
                      <a:pt x="1845" y="361"/>
                    </a:lnTo>
                    <a:lnTo>
                      <a:pt x="1847" y="362"/>
                    </a:lnTo>
                    <a:lnTo>
                      <a:pt x="1849" y="363"/>
                    </a:lnTo>
                    <a:lnTo>
                      <a:pt x="1853" y="367"/>
                    </a:lnTo>
                    <a:lnTo>
                      <a:pt x="1852" y="368"/>
                    </a:lnTo>
                    <a:lnTo>
                      <a:pt x="1851" y="368"/>
                    </a:lnTo>
                    <a:lnTo>
                      <a:pt x="1849" y="367"/>
                    </a:lnTo>
                    <a:lnTo>
                      <a:pt x="1848" y="367"/>
                    </a:lnTo>
                    <a:lnTo>
                      <a:pt x="1846" y="366"/>
                    </a:lnTo>
                    <a:lnTo>
                      <a:pt x="1845" y="364"/>
                    </a:lnTo>
                    <a:lnTo>
                      <a:pt x="1844" y="363"/>
                    </a:lnTo>
                    <a:lnTo>
                      <a:pt x="1843" y="362"/>
                    </a:lnTo>
                    <a:lnTo>
                      <a:pt x="1843" y="362"/>
                    </a:lnTo>
                    <a:lnTo>
                      <a:pt x="1843" y="361"/>
                    </a:lnTo>
                    <a:lnTo>
                      <a:pt x="1843" y="361"/>
                    </a:lnTo>
                    <a:close/>
                    <a:moveTo>
                      <a:pt x="431" y="352"/>
                    </a:moveTo>
                    <a:lnTo>
                      <a:pt x="437" y="352"/>
                    </a:lnTo>
                    <a:lnTo>
                      <a:pt x="441" y="353"/>
                    </a:lnTo>
                    <a:lnTo>
                      <a:pt x="444" y="355"/>
                    </a:lnTo>
                    <a:lnTo>
                      <a:pt x="439" y="358"/>
                    </a:lnTo>
                    <a:lnTo>
                      <a:pt x="433" y="359"/>
                    </a:lnTo>
                    <a:lnTo>
                      <a:pt x="427" y="358"/>
                    </a:lnTo>
                    <a:lnTo>
                      <a:pt x="425" y="355"/>
                    </a:lnTo>
                    <a:lnTo>
                      <a:pt x="427" y="353"/>
                    </a:lnTo>
                    <a:lnTo>
                      <a:pt x="431" y="352"/>
                    </a:lnTo>
                    <a:close/>
                    <a:moveTo>
                      <a:pt x="133" y="345"/>
                    </a:moveTo>
                    <a:lnTo>
                      <a:pt x="134" y="345"/>
                    </a:lnTo>
                    <a:lnTo>
                      <a:pt x="135" y="346"/>
                    </a:lnTo>
                    <a:lnTo>
                      <a:pt x="135" y="347"/>
                    </a:lnTo>
                    <a:lnTo>
                      <a:pt x="136" y="348"/>
                    </a:lnTo>
                    <a:lnTo>
                      <a:pt x="136" y="350"/>
                    </a:lnTo>
                    <a:lnTo>
                      <a:pt x="138" y="352"/>
                    </a:lnTo>
                    <a:lnTo>
                      <a:pt x="136" y="355"/>
                    </a:lnTo>
                    <a:lnTo>
                      <a:pt x="136" y="356"/>
                    </a:lnTo>
                    <a:lnTo>
                      <a:pt x="135" y="357"/>
                    </a:lnTo>
                    <a:lnTo>
                      <a:pt x="132" y="358"/>
                    </a:lnTo>
                    <a:lnTo>
                      <a:pt x="129" y="359"/>
                    </a:lnTo>
                    <a:lnTo>
                      <a:pt x="125" y="360"/>
                    </a:lnTo>
                    <a:lnTo>
                      <a:pt x="122" y="360"/>
                    </a:lnTo>
                    <a:lnTo>
                      <a:pt x="121" y="358"/>
                    </a:lnTo>
                    <a:lnTo>
                      <a:pt x="120" y="355"/>
                    </a:lnTo>
                    <a:lnTo>
                      <a:pt x="120" y="352"/>
                    </a:lnTo>
                    <a:lnTo>
                      <a:pt x="122" y="349"/>
                    </a:lnTo>
                    <a:lnTo>
                      <a:pt x="124" y="347"/>
                    </a:lnTo>
                    <a:lnTo>
                      <a:pt x="127" y="347"/>
                    </a:lnTo>
                    <a:lnTo>
                      <a:pt x="128" y="347"/>
                    </a:lnTo>
                    <a:lnTo>
                      <a:pt x="130" y="346"/>
                    </a:lnTo>
                    <a:lnTo>
                      <a:pt x="131" y="345"/>
                    </a:lnTo>
                    <a:lnTo>
                      <a:pt x="133" y="345"/>
                    </a:lnTo>
                    <a:close/>
                    <a:moveTo>
                      <a:pt x="696" y="334"/>
                    </a:moveTo>
                    <a:lnTo>
                      <a:pt x="698" y="335"/>
                    </a:lnTo>
                    <a:lnTo>
                      <a:pt x="699" y="337"/>
                    </a:lnTo>
                    <a:lnTo>
                      <a:pt x="699" y="339"/>
                    </a:lnTo>
                    <a:lnTo>
                      <a:pt x="699" y="341"/>
                    </a:lnTo>
                    <a:lnTo>
                      <a:pt x="698" y="344"/>
                    </a:lnTo>
                    <a:lnTo>
                      <a:pt x="697" y="347"/>
                    </a:lnTo>
                    <a:lnTo>
                      <a:pt x="695" y="348"/>
                    </a:lnTo>
                    <a:lnTo>
                      <a:pt x="692" y="350"/>
                    </a:lnTo>
                    <a:lnTo>
                      <a:pt x="689" y="350"/>
                    </a:lnTo>
                    <a:lnTo>
                      <a:pt x="686" y="349"/>
                    </a:lnTo>
                    <a:lnTo>
                      <a:pt x="684" y="348"/>
                    </a:lnTo>
                    <a:lnTo>
                      <a:pt x="681" y="347"/>
                    </a:lnTo>
                    <a:lnTo>
                      <a:pt x="680" y="346"/>
                    </a:lnTo>
                    <a:lnTo>
                      <a:pt x="680" y="344"/>
                    </a:lnTo>
                    <a:lnTo>
                      <a:pt x="681" y="341"/>
                    </a:lnTo>
                    <a:lnTo>
                      <a:pt x="685" y="340"/>
                    </a:lnTo>
                    <a:lnTo>
                      <a:pt x="686" y="339"/>
                    </a:lnTo>
                    <a:lnTo>
                      <a:pt x="688" y="337"/>
                    </a:lnTo>
                    <a:lnTo>
                      <a:pt x="690" y="336"/>
                    </a:lnTo>
                    <a:lnTo>
                      <a:pt x="692" y="335"/>
                    </a:lnTo>
                    <a:lnTo>
                      <a:pt x="694" y="334"/>
                    </a:lnTo>
                    <a:lnTo>
                      <a:pt x="696" y="334"/>
                    </a:lnTo>
                    <a:close/>
                    <a:moveTo>
                      <a:pt x="281" y="331"/>
                    </a:moveTo>
                    <a:lnTo>
                      <a:pt x="282" y="333"/>
                    </a:lnTo>
                    <a:lnTo>
                      <a:pt x="283" y="333"/>
                    </a:lnTo>
                    <a:lnTo>
                      <a:pt x="283" y="333"/>
                    </a:lnTo>
                    <a:lnTo>
                      <a:pt x="284" y="333"/>
                    </a:lnTo>
                    <a:lnTo>
                      <a:pt x="285" y="331"/>
                    </a:lnTo>
                    <a:lnTo>
                      <a:pt x="288" y="335"/>
                    </a:lnTo>
                    <a:lnTo>
                      <a:pt x="292" y="336"/>
                    </a:lnTo>
                    <a:lnTo>
                      <a:pt x="294" y="337"/>
                    </a:lnTo>
                    <a:lnTo>
                      <a:pt x="296" y="339"/>
                    </a:lnTo>
                    <a:lnTo>
                      <a:pt x="298" y="340"/>
                    </a:lnTo>
                    <a:lnTo>
                      <a:pt x="300" y="341"/>
                    </a:lnTo>
                    <a:lnTo>
                      <a:pt x="303" y="342"/>
                    </a:lnTo>
                    <a:lnTo>
                      <a:pt x="303" y="345"/>
                    </a:lnTo>
                    <a:lnTo>
                      <a:pt x="302" y="347"/>
                    </a:lnTo>
                    <a:lnTo>
                      <a:pt x="299" y="348"/>
                    </a:lnTo>
                    <a:lnTo>
                      <a:pt x="296" y="349"/>
                    </a:lnTo>
                    <a:lnTo>
                      <a:pt x="294" y="350"/>
                    </a:lnTo>
                    <a:lnTo>
                      <a:pt x="292" y="350"/>
                    </a:lnTo>
                    <a:lnTo>
                      <a:pt x="288" y="350"/>
                    </a:lnTo>
                    <a:lnTo>
                      <a:pt x="285" y="349"/>
                    </a:lnTo>
                    <a:lnTo>
                      <a:pt x="282" y="348"/>
                    </a:lnTo>
                    <a:lnTo>
                      <a:pt x="278" y="347"/>
                    </a:lnTo>
                    <a:lnTo>
                      <a:pt x="277" y="345"/>
                    </a:lnTo>
                    <a:lnTo>
                      <a:pt x="276" y="342"/>
                    </a:lnTo>
                    <a:lnTo>
                      <a:pt x="277" y="340"/>
                    </a:lnTo>
                    <a:lnTo>
                      <a:pt x="277" y="337"/>
                    </a:lnTo>
                    <a:lnTo>
                      <a:pt x="280" y="335"/>
                    </a:lnTo>
                    <a:lnTo>
                      <a:pt x="281" y="331"/>
                    </a:lnTo>
                    <a:close/>
                    <a:moveTo>
                      <a:pt x="210" y="326"/>
                    </a:moveTo>
                    <a:lnTo>
                      <a:pt x="212" y="327"/>
                    </a:lnTo>
                    <a:lnTo>
                      <a:pt x="215" y="331"/>
                    </a:lnTo>
                    <a:lnTo>
                      <a:pt x="214" y="336"/>
                    </a:lnTo>
                    <a:lnTo>
                      <a:pt x="211" y="342"/>
                    </a:lnTo>
                    <a:lnTo>
                      <a:pt x="210" y="347"/>
                    </a:lnTo>
                    <a:lnTo>
                      <a:pt x="211" y="350"/>
                    </a:lnTo>
                    <a:lnTo>
                      <a:pt x="211" y="352"/>
                    </a:lnTo>
                    <a:lnTo>
                      <a:pt x="211" y="353"/>
                    </a:lnTo>
                    <a:lnTo>
                      <a:pt x="211" y="356"/>
                    </a:lnTo>
                    <a:lnTo>
                      <a:pt x="210" y="359"/>
                    </a:lnTo>
                    <a:lnTo>
                      <a:pt x="210" y="361"/>
                    </a:lnTo>
                    <a:lnTo>
                      <a:pt x="210" y="363"/>
                    </a:lnTo>
                    <a:lnTo>
                      <a:pt x="211" y="364"/>
                    </a:lnTo>
                    <a:lnTo>
                      <a:pt x="212" y="364"/>
                    </a:lnTo>
                    <a:lnTo>
                      <a:pt x="215" y="366"/>
                    </a:lnTo>
                    <a:lnTo>
                      <a:pt x="218" y="366"/>
                    </a:lnTo>
                    <a:lnTo>
                      <a:pt x="219" y="367"/>
                    </a:lnTo>
                    <a:lnTo>
                      <a:pt x="221" y="369"/>
                    </a:lnTo>
                    <a:lnTo>
                      <a:pt x="222" y="371"/>
                    </a:lnTo>
                    <a:lnTo>
                      <a:pt x="223" y="372"/>
                    </a:lnTo>
                    <a:lnTo>
                      <a:pt x="225" y="373"/>
                    </a:lnTo>
                    <a:lnTo>
                      <a:pt x="226" y="374"/>
                    </a:lnTo>
                    <a:lnTo>
                      <a:pt x="228" y="374"/>
                    </a:lnTo>
                    <a:lnTo>
                      <a:pt x="230" y="373"/>
                    </a:lnTo>
                    <a:lnTo>
                      <a:pt x="231" y="372"/>
                    </a:lnTo>
                    <a:lnTo>
                      <a:pt x="232" y="370"/>
                    </a:lnTo>
                    <a:lnTo>
                      <a:pt x="234" y="367"/>
                    </a:lnTo>
                    <a:lnTo>
                      <a:pt x="236" y="366"/>
                    </a:lnTo>
                    <a:lnTo>
                      <a:pt x="238" y="363"/>
                    </a:lnTo>
                    <a:lnTo>
                      <a:pt x="241" y="363"/>
                    </a:lnTo>
                    <a:lnTo>
                      <a:pt x="249" y="363"/>
                    </a:lnTo>
                    <a:lnTo>
                      <a:pt x="253" y="367"/>
                    </a:lnTo>
                    <a:lnTo>
                      <a:pt x="254" y="372"/>
                    </a:lnTo>
                    <a:lnTo>
                      <a:pt x="253" y="380"/>
                    </a:lnTo>
                    <a:lnTo>
                      <a:pt x="250" y="388"/>
                    </a:lnTo>
                    <a:lnTo>
                      <a:pt x="247" y="395"/>
                    </a:lnTo>
                    <a:lnTo>
                      <a:pt x="242" y="403"/>
                    </a:lnTo>
                    <a:lnTo>
                      <a:pt x="239" y="407"/>
                    </a:lnTo>
                    <a:lnTo>
                      <a:pt x="233" y="414"/>
                    </a:lnTo>
                    <a:lnTo>
                      <a:pt x="227" y="420"/>
                    </a:lnTo>
                    <a:lnTo>
                      <a:pt x="220" y="423"/>
                    </a:lnTo>
                    <a:lnTo>
                      <a:pt x="212" y="422"/>
                    </a:lnTo>
                    <a:lnTo>
                      <a:pt x="210" y="420"/>
                    </a:lnTo>
                    <a:lnTo>
                      <a:pt x="208" y="420"/>
                    </a:lnTo>
                    <a:lnTo>
                      <a:pt x="206" y="420"/>
                    </a:lnTo>
                    <a:lnTo>
                      <a:pt x="205" y="421"/>
                    </a:lnTo>
                    <a:lnTo>
                      <a:pt x="204" y="423"/>
                    </a:lnTo>
                    <a:lnTo>
                      <a:pt x="203" y="424"/>
                    </a:lnTo>
                    <a:lnTo>
                      <a:pt x="201" y="425"/>
                    </a:lnTo>
                    <a:lnTo>
                      <a:pt x="200" y="427"/>
                    </a:lnTo>
                    <a:lnTo>
                      <a:pt x="199" y="428"/>
                    </a:lnTo>
                    <a:lnTo>
                      <a:pt x="198" y="428"/>
                    </a:lnTo>
                    <a:lnTo>
                      <a:pt x="189" y="427"/>
                    </a:lnTo>
                    <a:lnTo>
                      <a:pt x="182" y="427"/>
                    </a:lnTo>
                    <a:lnTo>
                      <a:pt x="174" y="431"/>
                    </a:lnTo>
                    <a:lnTo>
                      <a:pt x="171" y="434"/>
                    </a:lnTo>
                    <a:lnTo>
                      <a:pt x="168" y="437"/>
                    </a:lnTo>
                    <a:lnTo>
                      <a:pt x="166" y="439"/>
                    </a:lnTo>
                    <a:lnTo>
                      <a:pt x="163" y="442"/>
                    </a:lnTo>
                    <a:lnTo>
                      <a:pt x="160" y="445"/>
                    </a:lnTo>
                    <a:lnTo>
                      <a:pt x="155" y="447"/>
                    </a:lnTo>
                    <a:lnTo>
                      <a:pt x="151" y="450"/>
                    </a:lnTo>
                    <a:lnTo>
                      <a:pt x="147" y="453"/>
                    </a:lnTo>
                    <a:lnTo>
                      <a:pt x="144" y="456"/>
                    </a:lnTo>
                    <a:lnTo>
                      <a:pt x="142" y="459"/>
                    </a:lnTo>
                    <a:lnTo>
                      <a:pt x="139" y="462"/>
                    </a:lnTo>
                    <a:lnTo>
                      <a:pt x="134" y="467"/>
                    </a:lnTo>
                    <a:lnTo>
                      <a:pt x="131" y="468"/>
                    </a:lnTo>
                    <a:lnTo>
                      <a:pt x="127" y="469"/>
                    </a:lnTo>
                    <a:lnTo>
                      <a:pt x="123" y="470"/>
                    </a:lnTo>
                    <a:lnTo>
                      <a:pt x="119" y="471"/>
                    </a:lnTo>
                    <a:lnTo>
                      <a:pt x="111" y="469"/>
                    </a:lnTo>
                    <a:lnTo>
                      <a:pt x="103" y="466"/>
                    </a:lnTo>
                    <a:lnTo>
                      <a:pt x="100" y="459"/>
                    </a:lnTo>
                    <a:lnTo>
                      <a:pt x="100" y="454"/>
                    </a:lnTo>
                    <a:lnTo>
                      <a:pt x="103" y="450"/>
                    </a:lnTo>
                    <a:lnTo>
                      <a:pt x="109" y="447"/>
                    </a:lnTo>
                    <a:lnTo>
                      <a:pt x="113" y="444"/>
                    </a:lnTo>
                    <a:lnTo>
                      <a:pt x="117" y="439"/>
                    </a:lnTo>
                    <a:lnTo>
                      <a:pt x="122" y="436"/>
                    </a:lnTo>
                    <a:lnTo>
                      <a:pt x="128" y="435"/>
                    </a:lnTo>
                    <a:lnTo>
                      <a:pt x="134" y="434"/>
                    </a:lnTo>
                    <a:lnTo>
                      <a:pt x="140" y="432"/>
                    </a:lnTo>
                    <a:lnTo>
                      <a:pt x="143" y="428"/>
                    </a:lnTo>
                    <a:lnTo>
                      <a:pt x="143" y="427"/>
                    </a:lnTo>
                    <a:lnTo>
                      <a:pt x="143" y="426"/>
                    </a:lnTo>
                    <a:lnTo>
                      <a:pt x="141" y="426"/>
                    </a:lnTo>
                    <a:lnTo>
                      <a:pt x="140" y="426"/>
                    </a:lnTo>
                    <a:lnTo>
                      <a:pt x="136" y="427"/>
                    </a:lnTo>
                    <a:lnTo>
                      <a:pt x="134" y="428"/>
                    </a:lnTo>
                    <a:lnTo>
                      <a:pt x="132" y="428"/>
                    </a:lnTo>
                    <a:lnTo>
                      <a:pt x="130" y="429"/>
                    </a:lnTo>
                    <a:lnTo>
                      <a:pt x="128" y="431"/>
                    </a:lnTo>
                    <a:lnTo>
                      <a:pt x="125" y="431"/>
                    </a:lnTo>
                    <a:lnTo>
                      <a:pt x="123" y="429"/>
                    </a:lnTo>
                    <a:lnTo>
                      <a:pt x="122" y="429"/>
                    </a:lnTo>
                    <a:lnTo>
                      <a:pt x="120" y="429"/>
                    </a:lnTo>
                    <a:lnTo>
                      <a:pt x="117" y="431"/>
                    </a:lnTo>
                    <a:lnTo>
                      <a:pt x="114" y="432"/>
                    </a:lnTo>
                    <a:lnTo>
                      <a:pt x="112" y="432"/>
                    </a:lnTo>
                    <a:lnTo>
                      <a:pt x="110" y="432"/>
                    </a:lnTo>
                    <a:lnTo>
                      <a:pt x="109" y="431"/>
                    </a:lnTo>
                    <a:lnTo>
                      <a:pt x="106" y="429"/>
                    </a:lnTo>
                    <a:lnTo>
                      <a:pt x="105" y="431"/>
                    </a:lnTo>
                    <a:lnTo>
                      <a:pt x="103" y="432"/>
                    </a:lnTo>
                    <a:lnTo>
                      <a:pt x="102" y="434"/>
                    </a:lnTo>
                    <a:lnTo>
                      <a:pt x="102" y="435"/>
                    </a:lnTo>
                    <a:lnTo>
                      <a:pt x="96" y="442"/>
                    </a:lnTo>
                    <a:lnTo>
                      <a:pt x="89" y="446"/>
                    </a:lnTo>
                    <a:lnTo>
                      <a:pt x="83" y="446"/>
                    </a:lnTo>
                    <a:lnTo>
                      <a:pt x="80" y="445"/>
                    </a:lnTo>
                    <a:lnTo>
                      <a:pt x="79" y="443"/>
                    </a:lnTo>
                    <a:lnTo>
                      <a:pt x="79" y="440"/>
                    </a:lnTo>
                    <a:lnTo>
                      <a:pt x="79" y="438"/>
                    </a:lnTo>
                    <a:lnTo>
                      <a:pt x="78" y="437"/>
                    </a:lnTo>
                    <a:lnTo>
                      <a:pt x="77" y="436"/>
                    </a:lnTo>
                    <a:lnTo>
                      <a:pt x="76" y="436"/>
                    </a:lnTo>
                    <a:lnTo>
                      <a:pt x="74" y="436"/>
                    </a:lnTo>
                    <a:lnTo>
                      <a:pt x="72" y="437"/>
                    </a:lnTo>
                    <a:lnTo>
                      <a:pt x="69" y="437"/>
                    </a:lnTo>
                    <a:lnTo>
                      <a:pt x="67" y="437"/>
                    </a:lnTo>
                    <a:lnTo>
                      <a:pt x="65" y="436"/>
                    </a:lnTo>
                    <a:lnTo>
                      <a:pt x="63" y="436"/>
                    </a:lnTo>
                    <a:lnTo>
                      <a:pt x="62" y="435"/>
                    </a:lnTo>
                    <a:lnTo>
                      <a:pt x="60" y="433"/>
                    </a:lnTo>
                    <a:lnTo>
                      <a:pt x="59" y="432"/>
                    </a:lnTo>
                    <a:lnTo>
                      <a:pt x="60" y="429"/>
                    </a:lnTo>
                    <a:lnTo>
                      <a:pt x="62" y="426"/>
                    </a:lnTo>
                    <a:lnTo>
                      <a:pt x="65" y="424"/>
                    </a:lnTo>
                    <a:lnTo>
                      <a:pt x="73" y="418"/>
                    </a:lnTo>
                    <a:lnTo>
                      <a:pt x="81" y="416"/>
                    </a:lnTo>
                    <a:lnTo>
                      <a:pt x="91" y="415"/>
                    </a:lnTo>
                    <a:lnTo>
                      <a:pt x="94" y="413"/>
                    </a:lnTo>
                    <a:lnTo>
                      <a:pt x="95" y="412"/>
                    </a:lnTo>
                    <a:lnTo>
                      <a:pt x="95" y="412"/>
                    </a:lnTo>
                    <a:lnTo>
                      <a:pt x="94" y="411"/>
                    </a:lnTo>
                    <a:lnTo>
                      <a:pt x="92" y="411"/>
                    </a:lnTo>
                    <a:lnTo>
                      <a:pt x="90" y="411"/>
                    </a:lnTo>
                    <a:lnTo>
                      <a:pt x="88" y="411"/>
                    </a:lnTo>
                    <a:lnTo>
                      <a:pt x="86" y="411"/>
                    </a:lnTo>
                    <a:lnTo>
                      <a:pt x="84" y="411"/>
                    </a:lnTo>
                    <a:lnTo>
                      <a:pt x="81" y="411"/>
                    </a:lnTo>
                    <a:lnTo>
                      <a:pt x="80" y="411"/>
                    </a:lnTo>
                    <a:lnTo>
                      <a:pt x="80" y="411"/>
                    </a:lnTo>
                    <a:lnTo>
                      <a:pt x="80" y="409"/>
                    </a:lnTo>
                    <a:lnTo>
                      <a:pt x="81" y="407"/>
                    </a:lnTo>
                    <a:lnTo>
                      <a:pt x="84" y="406"/>
                    </a:lnTo>
                    <a:lnTo>
                      <a:pt x="86" y="405"/>
                    </a:lnTo>
                    <a:lnTo>
                      <a:pt x="88" y="404"/>
                    </a:lnTo>
                    <a:lnTo>
                      <a:pt x="91" y="403"/>
                    </a:lnTo>
                    <a:lnTo>
                      <a:pt x="92" y="402"/>
                    </a:lnTo>
                    <a:lnTo>
                      <a:pt x="94" y="401"/>
                    </a:lnTo>
                    <a:lnTo>
                      <a:pt x="92" y="400"/>
                    </a:lnTo>
                    <a:lnTo>
                      <a:pt x="91" y="400"/>
                    </a:lnTo>
                    <a:lnTo>
                      <a:pt x="90" y="399"/>
                    </a:lnTo>
                    <a:lnTo>
                      <a:pt x="88" y="399"/>
                    </a:lnTo>
                    <a:lnTo>
                      <a:pt x="86" y="399"/>
                    </a:lnTo>
                    <a:lnTo>
                      <a:pt x="84" y="399"/>
                    </a:lnTo>
                    <a:lnTo>
                      <a:pt x="83" y="398"/>
                    </a:lnTo>
                    <a:lnTo>
                      <a:pt x="83" y="396"/>
                    </a:lnTo>
                    <a:lnTo>
                      <a:pt x="85" y="390"/>
                    </a:lnTo>
                    <a:lnTo>
                      <a:pt x="91" y="384"/>
                    </a:lnTo>
                    <a:lnTo>
                      <a:pt x="100" y="379"/>
                    </a:lnTo>
                    <a:lnTo>
                      <a:pt x="102" y="377"/>
                    </a:lnTo>
                    <a:lnTo>
                      <a:pt x="105" y="373"/>
                    </a:lnTo>
                    <a:lnTo>
                      <a:pt x="106" y="371"/>
                    </a:lnTo>
                    <a:lnTo>
                      <a:pt x="107" y="368"/>
                    </a:lnTo>
                    <a:lnTo>
                      <a:pt x="109" y="366"/>
                    </a:lnTo>
                    <a:lnTo>
                      <a:pt x="110" y="363"/>
                    </a:lnTo>
                    <a:lnTo>
                      <a:pt x="113" y="363"/>
                    </a:lnTo>
                    <a:lnTo>
                      <a:pt x="117" y="362"/>
                    </a:lnTo>
                    <a:lnTo>
                      <a:pt x="120" y="362"/>
                    </a:lnTo>
                    <a:lnTo>
                      <a:pt x="122" y="362"/>
                    </a:lnTo>
                    <a:lnTo>
                      <a:pt x="124" y="363"/>
                    </a:lnTo>
                    <a:lnTo>
                      <a:pt x="125" y="366"/>
                    </a:lnTo>
                    <a:lnTo>
                      <a:pt x="125" y="367"/>
                    </a:lnTo>
                    <a:lnTo>
                      <a:pt x="125" y="370"/>
                    </a:lnTo>
                    <a:lnTo>
                      <a:pt x="127" y="372"/>
                    </a:lnTo>
                    <a:lnTo>
                      <a:pt x="128" y="373"/>
                    </a:lnTo>
                    <a:lnTo>
                      <a:pt x="130" y="374"/>
                    </a:lnTo>
                    <a:lnTo>
                      <a:pt x="132" y="374"/>
                    </a:lnTo>
                    <a:lnTo>
                      <a:pt x="134" y="373"/>
                    </a:lnTo>
                    <a:lnTo>
                      <a:pt x="136" y="372"/>
                    </a:lnTo>
                    <a:lnTo>
                      <a:pt x="139" y="371"/>
                    </a:lnTo>
                    <a:lnTo>
                      <a:pt x="141" y="370"/>
                    </a:lnTo>
                    <a:lnTo>
                      <a:pt x="145" y="368"/>
                    </a:lnTo>
                    <a:lnTo>
                      <a:pt x="149" y="368"/>
                    </a:lnTo>
                    <a:lnTo>
                      <a:pt x="152" y="368"/>
                    </a:lnTo>
                    <a:lnTo>
                      <a:pt x="154" y="370"/>
                    </a:lnTo>
                    <a:lnTo>
                      <a:pt x="156" y="372"/>
                    </a:lnTo>
                    <a:lnTo>
                      <a:pt x="157" y="373"/>
                    </a:lnTo>
                    <a:lnTo>
                      <a:pt x="157" y="375"/>
                    </a:lnTo>
                    <a:lnTo>
                      <a:pt x="157" y="378"/>
                    </a:lnTo>
                    <a:lnTo>
                      <a:pt x="156" y="381"/>
                    </a:lnTo>
                    <a:lnTo>
                      <a:pt x="156" y="383"/>
                    </a:lnTo>
                    <a:lnTo>
                      <a:pt x="156" y="384"/>
                    </a:lnTo>
                    <a:lnTo>
                      <a:pt x="157" y="384"/>
                    </a:lnTo>
                    <a:lnTo>
                      <a:pt x="158" y="384"/>
                    </a:lnTo>
                    <a:lnTo>
                      <a:pt x="161" y="384"/>
                    </a:lnTo>
                    <a:lnTo>
                      <a:pt x="162" y="385"/>
                    </a:lnTo>
                    <a:lnTo>
                      <a:pt x="163" y="386"/>
                    </a:lnTo>
                    <a:lnTo>
                      <a:pt x="163" y="388"/>
                    </a:lnTo>
                    <a:lnTo>
                      <a:pt x="164" y="389"/>
                    </a:lnTo>
                    <a:lnTo>
                      <a:pt x="163" y="391"/>
                    </a:lnTo>
                    <a:lnTo>
                      <a:pt x="163" y="392"/>
                    </a:lnTo>
                    <a:lnTo>
                      <a:pt x="162" y="393"/>
                    </a:lnTo>
                    <a:lnTo>
                      <a:pt x="163" y="394"/>
                    </a:lnTo>
                    <a:lnTo>
                      <a:pt x="165" y="395"/>
                    </a:lnTo>
                    <a:lnTo>
                      <a:pt x="167" y="396"/>
                    </a:lnTo>
                    <a:lnTo>
                      <a:pt x="169" y="396"/>
                    </a:lnTo>
                    <a:lnTo>
                      <a:pt x="172" y="396"/>
                    </a:lnTo>
                    <a:lnTo>
                      <a:pt x="174" y="396"/>
                    </a:lnTo>
                    <a:lnTo>
                      <a:pt x="178" y="398"/>
                    </a:lnTo>
                    <a:lnTo>
                      <a:pt x="184" y="399"/>
                    </a:lnTo>
                    <a:lnTo>
                      <a:pt x="189" y="399"/>
                    </a:lnTo>
                    <a:lnTo>
                      <a:pt x="194" y="398"/>
                    </a:lnTo>
                    <a:lnTo>
                      <a:pt x="198" y="392"/>
                    </a:lnTo>
                    <a:lnTo>
                      <a:pt x="198" y="389"/>
                    </a:lnTo>
                    <a:lnTo>
                      <a:pt x="197" y="386"/>
                    </a:lnTo>
                    <a:lnTo>
                      <a:pt x="196" y="384"/>
                    </a:lnTo>
                    <a:lnTo>
                      <a:pt x="194" y="382"/>
                    </a:lnTo>
                    <a:lnTo>
                      <a:pt x="193" y="380"/>
                    </a:lnTo>
                    <a:lnTo>
                      <a:pt x="192" y="377"/>
                    </a:lnTo>
                    <a:lnTo>
                      <a:pt x="192" y="373"/>
                    </a:lnTo>
                    <a:lnTo>
                      <a:pt x="192" y="371"/>
                    </a:lnTo>
                    <a:lnTo>
                      <a:pt x="192" y="369"/>
                    </a:lnTo>
                    <a:lnTo>
                      <a:pt x="192" y="367"/>
                    </a:lnTo>
                    <a:lnTo>
                      <a:pt x="192" y="366"/>
                    </a:lnTo>
                    <a:lnTo>
                      <a:pt x="189" y="364"/>
                    </a:lnTo>
                    <a:lnTo>
                      <a:pt x="187" y="363"/>
                    </a:lnTo>
                    <a:lnTo>
                      <a:pt x="185" y="363"/>
                    </a:lnTo>
                    <a:lnTo>
                      <a:pt x="183" y="363"/>
                    </a:lnTo>
                    <a:lnTo>
                      <a:pt x="179" y="362"/>
                    </a:lnTo>
                    <a:lnTo>
                      <a:pt x="178" y="360"/>
                    </a:lnTo>
                    <a:lnTo>
                      <a:pt x="177" y="358"/>
                    </a:lnTo>
                    <a:lnTo>
                      <a:pt x="178" y="356"/>
                    </a:lnTo>
                    <a:lnTo>
                      <a:pt x="178" y="353"/>
                    </a:lnTo>
                    <a:lnTo>
                      <a:pt x="180" y="351"/>
                    </a:lnTo>
                    <a:lnTo>
                      <a:pt x="183" y="349"/>
                    </a:lnTo>
                    <a:lnTo>
                      <a:pt x="185" y="347"/>
                    </a:lnTo>
                    <a:lnTo>
                      <a:pt x="189" y="345"/>
                    </a:lnTo>
                    <a:lnTo>
                      <a:pt x="194" y="342"/>
                    </a:lnTo>
                    <a:lnTo>
                      <a:pt x="197" y="340"/>
                    </a:lnTo>
                    <a:lnTo>
                      <a:pt x="199" y="337"/>
                    </a:lnTo>
                    <a:lnTo>
                      <a:pt x="203" y="334"/>
                    </a:lnTo>
                    <a:lnTo>
                      <a:pt x="203" y="333"/>
                    </a:lnTo>
                    <a:lnTo>
                      <a:pt x="203" y="330"/>
                    </a:lnTo>
                    <a:lnTo>
                      <a:pt x="205" y="329"/>
                    </a:lnTo>
                    <a:lnTo>
                      <a:pt x="206" y="327"/>
                    </a:lnTo>
                    <a:lnTo>
                      <a:pt x="208" y="326"/>
                    </a:lnTo>
                    <a:lnTo>
                      <a:pt x="210" y="326"/>
                    </a:lnTo>
                    <a:close/>
                    <a:moveTo>
                      <a:pt x="347" y="315"/>
                    </a:moveTo>
                    <a:lnTo>
                      <a:pt x="357" y="316"/>
                    </a:lnTo>
                    <a:lnTo>
                      <a:pt x="360" y="316"/>
                    </a:lnTo>
                    <a:lnTo>
                      <a:pt x="363" y="316"/>
                    </a:lnTo>
                    <a:lnTo>
                      <a:pt x="365" y="317"/>
                    </a:lnTo>
                    <a:lnTo>
                      <a:pt x="368" y="317"/>
                    </a:lnTo>
                    <a:lnTo>
                      <a:pt x="370" y="318"/>
                    </a:lnTo>
                    <a:lnTo>
                      <a:pt x="373" y="319"/>
                    </a:lnTo>
                    <a:lnTo>
                      <a:pt x="376" y="320"/>
                    </a:lnTo>
                    <a:lnTo>
                      <a:pt x="379" y="320"/>
                    </a:lnTo>
                    <a:lnTo>
                      <a:pt x="381" y="323"/>
                    </a:lnTo>
                    <a:lnTo>
                      <a:pt x="385" y="327"/>
                    </a:lnTo>
                    <a:lnTo>
                      <a:pt x="386" y="334"/>
                    </a:lnTo>
                    <a:lnTo>
                      <a:pt x="386" y="340"/>
                    </a:lnTo>
                    <a:lnTo>
                      <a:pt x="385" y="347"/>
                    </a:lnTo>
                    <a:lnTo>
                      <a:pt x="385" y="352"/>
                    </a:lnTo>
                    <a:lnTo>
                      <a:pt x="387" y="357"/>
                    </a:lnTo>
                    <a:lnTo>
                      <a:pt x="391" y="361"/>
                    </a:lnTo>
                    <a:lnTo>
                      <a:pt x="395" y="367"/>
                    </a:lnTo>
                    <a:lnTo>
                      <a:pt x="395" y="369"/>
                    </a:lnTo>
                    <a:lnTo>
                      <a:pt x="394" y="370"/>
                    </a:lnTo>
                    <a:lnTo>
                      <a:pt x="393" y="371"/>
                    </a:lnTo>
                    <a:lnTo>
                      <a:pt x="391" y="371"/>
                    </a:lnTo>
                    <a:lnTo>
                      <a:pt x="389" y="372"/>
                    </a:lnTo>
                    <a:lnTo>
                      <a:pt x="385" y="373"/>
                    </a:lnTo>
                    <a:lnTo>
                      <a:pt x="383" y="373"/>
                    </a:lnTo>
                    <a:lnTo>
                      <a:pt x="381" y="375"/>
                    </a:lnTo>
                    <a:lnTo>
                      <a:pt x="379" y="379"/>
                    </a:lnTo>
                    <a:lnTo>
                      <a:pt x="376" y="381"/>
                    </a:lnTo>
                    <a:lnTo>
                      <a:pt x="375" y="384"/>
                    </a:lnTo>
                    <a:lnTo>
                      <a:pt x="374" y="386"/>
                    </a:lnTo>
                    <a:lnTo>
                      <a:pt x="372" y="389"/>
                    </a:lnTo>
                    <a:lnTo>
                      <a:pt x="370" y="391"/>
                    </a:lnTo>
                    <a:lnTo>
                      <a:pt x="368" y="393"/>
                    </a:lnTo>
                    <a:lnTo>
                      <a:pt x="365" y="395"/>
                    </a:lnTo>
                    <a:lnTo>
                      <a:pt x="359" y="400"/>
                    </a:lnTo>
                    <a:lnTo>
                      <a:pt x="351" y="402"/>
                    </a:lnTo>
                    <a:lnTo>
                      <a:pt x="343" y="403"/>
                    </a:lnTo>
                    <a:lnTo>
                      <a:pt x="336" y="402"/>
                    </a:lnTo>
                    <a:lnTo>
                      <a:pt x="334" y="400"/>
                    </a:lnTo>
                    <a:lnTo>
                      <a:pt x="331" y="398"/>
                    </a:lnTo>
                    <a:lnTo>
                      <a:pt x="329" y="395"/>
                    </a:lnTo>
                    <a:lnTo>
                      <a:pt x="327" y="393"/>
                    </a:lnTo>
                    <a:lnTo>
                      <a:pt x="326" y="391"/>
                    </a:lnTo>
                    <a:lnTo>
                      <a:pt x="325" y="389"/>
                    </a:lnTo>
                    <a:lnTo>
                      <a:pt x="326" y="386"/>
                    </a:lnTo>
                    <a:lnTo>
                      <a:pt x="327" y="384"/>
                    </a:lnTo>
                    <a:lnTo>
                      <a:pt x="330" y="382"/>
                    </a:lnTo>
                    <a:lnTo>
                      <a:pt x="335" y="379"/>
                    </a:lnTo>
                    <a:lnTo>
                      <a:pt x="340" y="375"/>
                    </a:lnTo>
                    <a:lnTo>
                      <a:pt x="345" y="371"/>
                    </a:lnTo>
                    <a:lnTo>
                      <a:pt x="345" y="369"/>
                    </a:lnTo>
                    <a:lnTo>
                      <a:pt x="341" y="368"/>
                    </a:lnTo>
                    <a:lnTo>
                      <a:pt x="336" y="370"/>
                    </a:lnTo>
                    <a:lnTo>
                      <a:pt x="329" y="372"/>
                    </a:lnTo>
                    <a:lnTo>
                      <a:pt x="325" y="373"/>
                    </a:lnTo>
                    <a:lnTo>
                      <a:pt x="320" y="375"/>
                    </a:lnTo>
                    <a:lnTo>
                      <a:pt x="316" y="379"/>
                    </a:lnTo>
                    <a:lnTo>
                      <a:pt x="310" y="380"/>
                    </a:lnTo>
                    <a:lnTo>
                      <a:pt x="306" y="380"/>
                    </a:lnTo>
                    <a:lnTo>
                      <a:pt x="304" y="378"/>
                    </a:lnTo>
                    <a:lnTo>
                      <a:pt x="305" y="372"/>
                    </a:lnTo>
                    <a:lnTo>
                      <a:pt x="306" y="366"/>
                    </a:lnTo>
                    <a:lnTo>
                      <a:pt x="309" y="360"/>
                    </a:lnTo>
                    <a:lnTo>
                      <a:pt x="314" y="356"/>
                    </a:lnTo>
                    <a:lnTo>
                      <a:pt x="319" y="353"/>
                    </a:lnTo>
                    <a:lnTo>
                      <a:pt x="325" y="350"/>
                    </a:lnTo>
                    <a:lnTo>
                      <a:pt x="327" y="347"/>
                    </a:lnTo>
                    <a:lnTo>
                      <a:pt x="327" y="346"/>
                    </a:lnTo>
                    <a:lnTo>
                      <a:pt x="325" y="345"/>
                    </a:lnTo>
                    <a:lnTo>
                      <a:pt x="324" y="345"/>
                    </a:lnTo>
                    <a:lnTo>
                      <a:pt x="321" y="344"/>
                    </a:lnTo>
                    <a:lnTo>
                      <a:pt x="319" y="342"/>
                    </a:lnTo>
                    <a:lnTo>
                      <a:pt x="318" y="341"/>
                    </a:lnTo>
                    <a:lnTo>
                      <a:pt x="317" y="340"/>
                    </a:lnTo>
                    <a:lnTo>
                      <a:pt x="317" y="339"/>
                    </a:lnTo>
                    <a:lnTo>
                      <a:pt x="318" y="337"/>
                    </a:lnTo>
                    <a:lnTo>
                      <a:pt x="320" y="336"/>
                    </a:lnTo>
                    <a:lnTo>
                      <a:pt x="320" y="335"/>
                    </a:lnTo>
                    <a:lnTo>
                      <a:pt x="323" y="335"/>
                    </a:lnTo>
                    <a:lnTo>
                      <a:pt x="325" y="335"/>
                    </a:lnTo>
                    <a:lnTo>
                      <a:pt x="328" y="334"/>
                    </a:lnTo>
                    <a:lnTo>
                      <a:pt x="331" y="333"/>
                    </a:lnTo>
                    <a:lnTo>
                      <a:pt x="334" y="333"/>
                    </a:lnTo>
                    <a:lnTo>
                      <a:pt x="336" y="331"/>
                    </a:lnTo>
                    <a:lnTo>
                      <a:pt x="338" y="330"/>
                    </a:lnTo>
                    <a:lnTo>
                      <a:pt x="339" y="329"/>
                    </a:lnTo>
                    <a:lnTo>
                      <a:pt x="338" y="328"/>
                    </a:lnTo>
                    <a:lnTo>
                      <a:pt x="336" y="327"/>
                    </a:lnTo>
                    <a:lnTo>
                      <a:pt x="335" y="327"/>
                    </a:lnTo>
                    <a:lnTo>
                      <a:pt x="332" y="327"/>
                    </a:lnTo>
                    <a:lnTo>
                      <a:pt x="330" y="326"/>
                    </a:lnTo>
                    <a:lnTo>
                      <a:pt x="328" y="326"/>
                    </a:lnTo>
                    <a:lnTo>
                      <a:pt x="326" y="326"/>
                    </a:lnTo>
                    <a:lnTo>
                      <a:pt x="324" y="325"/>
                    </a:lnTo>
                    <a:lnTo>
                      <a:pt x="323" y="324"/>
                    </a:lnTo>
                    <a:lnTo>
                      <a:pt x="324" y="323"/>
                    </a:lnTo>
                    <a:lnTo>
                      <a:pt x="325" y="322"/>
                    </a:lnTo>
                    <a:lnTo>
                      <a:pt x="327" y="320"/>
                    </a:lnTo>
                    <a:lnTo>
                      <a:pt x="337" y="316"/>
                    </a:lnTo>
                    <a:lnTo>
                      <a:pt x="347" y="315"/>
                    </a:lnTo>
                    <a:close/>
                    <a:moveTo>
                      <a:pt x="123" y="314"/>
                    </a:moveTo>
                    <a:lnTo>
                      <a:pt x="124" y="314"/>
                    </a:lnTo>
                    <a:lnTo>
                      <a:pt x="125" y="315"/>
                    </a:lnTo>
                    <a:lnTo>
                      <a:pt x="124" y="316"/>
                    </a:lnTo>
                    <a:lnTo>
                      <a:pt x="123" y="317"/>
                    </a:lnTo>
                    <a:lnTo>
                      <a:pt x="122" y="319"/>
                    </a:lnTo>
                    <a:lnTo>
                      <a:pt x="121" y="320"/>
                    </a:lnTo>
                    <a:lnTo>
                      <a:pt x="120" y="322"/>
                    </a:lnTo>
                    <a:lnTo>
                      <a:pt x="120" y="322"/>
                    </a:lnTo>
                    <a:lnTo>
                      <a:pt x="118" y="324"/>
                    </a:lnTo>
                    <a:lnTo>
                      <a:pt x="118" y="325"/>
                    </a:lnTo>
                    <a:lnTo>
                      <a:pt x="118" y="326"/>
                    </a:lnTo>
                    <a:lnTo>
                      <a:pt x="119" y="326"/>
                    </a:lnTo>
                    <a:lnTo>
                      <a:pt x="119" y="327"/>
                    </a:lnTo>
                    <a:lnTo>
                      <a:pt x="120" y="328"/>
                    </a:lnTo>
                    <a:lnTo>
                      <a:pt x="121" y="329"/>
                    </a:lnTo>
                    <a:lnTo>
                      <a:pt x="122" y="331"/>
                    </a:lnTo>
                    <a:lnTo>
                      <a:pt x="121" y="333"/>
                    </a:lnTo>
                    <a:lnTo>
                      <a:pt x="120" y="334"/>
                    </a:lnTo>
                    <a:lnTo>
                      <a:pt x="118" y="335"/>
                    </a:lnTo>
                    <a:lnTo>
                      <a:pt x="116" y="336"/>
                    </a:lnTo>
                    <a:lnTo>
                      <a:pt x="112" y="339"/>
                    </a:lnTo>
                    <a:lnTo>
                      <a:pt x="111" y="341"/>
                    </a:lnTo>
                    <a:lnTo>
                      <a:pt x="110" y="344"/>
                    </a:lnTo>
                    <a:lnTo>
                      <a:pt x="110" y="346"/>
                    </a:lnTo>
                    <a:lnTo>
                      <a:pt x="111" y="349"/>
                    </a:lnTo>
                    <a:lnTo>
                      <a:pt x="110" y="351"/>
                    </a:lnTo>
                    <a:lnTo>
                      <a:pt x="110" y="355"/>
                    </a:lnTo>
                    <a:lnTo>
                      <a:pt x="108" y="357"/>
                    </a:lnTo>
                    <a:lnTo>
                      <a:pt x="107" y="359"/>
                    </a:lnTo>
                    <a:lnTo>
                      <a:pt x="105" y="361"/>
                    </a:lnTo>
                    <a:lnTo>
                      <a:pt x="100" y="366"/>
                    </a:lnTo>
                    <a:lnTo>
                      <a:pt x="96" y="370"/>
                    </a:lnTo>
                    <a:lnTo>
                      <a:pt x="94" y="373"/>
                    </a:lnTo>
                    <a:lnTo>
                      <a:pt x="91" y="377"/>
                    </a:lnTo>
                    <a:lnTo>
                      <a:pt x="89" y="380"/>
                    </a:lnTo>
                    <a:lnTo>
                      <a:pt x="87" y="382"/>
                    </a:lnTo>
                    <a:lnTo>
                      <a:pt x="85" y="384"/>
                    </a:lnTo>
                    <a:lnTo>
                      <a:pt x="84" y="385"/>
                    </a:lnTo>
                    <a:lnTo>
                      <a:pt x="81" y="386"/>
                    </a:lnTo>
                    <a:lnTo>
                      <a:pt x="80" y="385"/>
                    </a:lnTo>
                    <a:lnTo>
                      <a:pt x="79" y="384"/>
                    </a:lnTo>
                    <a:lnTo>
                      <a:pt x="78" y="382"/>
                    </a:lnTo>
                    <a:lnTo>
                      <a:pt x="77" y="380"/>
                    </a:lnTo>
                    <a:lnTo>
                      <a:pt x="76" y="378"/>
                    </a:lnTo>
                    <a:lnTo>
                      <a:pt x="76" y="375"/>
                    </a:lnTo>
                    <a:lnTo>
                      <a:pt x="75" y="374"/>
                    </a:lnTo>
                    <a:lnTo>
                      <a:pt x="74" y="373"/>
                    </a:lnTo>
                    <a:lnTo>
                      <a:pt x="73" y="373"/>
                    </a:lnTo>
                    <a:lnTo>
                      <a:pt x="70" y="374"/>
                    </a:lnTo>
                    <a:lnTo>
                      <a:pt x="68" y="375"/>
                    </a:lnTo>
                    <a:lnTo>
                      <a:pt x="67" y="377"/>
                    </a:lnTo>
                    <a:lnTo>
                      <a:pt x="65" y="378"/>
                    </a:lnTo>
                    <a:lnTo>
                      <a:pt x="64" y="379"/>
                    </a:lnTo>
                    <a:lnTo>
                      <a:pt x="63" y="380"/>
                    </a:lnTo>
                    <a:lnTo>
                      <a:pt x="59" y="383"/>
                    </a:lnTo>
                    <a:lnTo>
                      <a:pt x="58" y="385"/>
                    </a:lnTo>
                    <a:lnTo>
                      <a:pt x="57" y="389"/>
                    </a:lnTo>
                    <a:lnTo>
                      <a:pt x="56" y="391"/>
                    </a:lnTo>
                    <a:lnTo>
                      <a:pt x="55" y="393"/>
                    </a:lnTo>
                    <a:lnTo>
                      <a:pt x="54" y="396"/>
                    </a:lnTo>
                    <a:lnTo>
                      <a:pt x="52" y="399"/>
                    </a:lnTo>
                    <a:lnTo>
                      <a:pt x="49" y="402"/>
                    </a:lnTo>
                    <a:lnTo>
                      <a:pt x="47" y="405"/>
                    </a:lnTo>
                    <a:lnTo>
                      <a:pt x="44" y="409"/>
                    </a:lnTo>
                    <a:lnTo>
                      <a:pt x="42" y="412"/>
                    </a:lnTo>
                    <a:lnTo>
                      <a:pt x="38" y="413"/>
                    </a:lnTo>
                    <a:lnTo>
                      <a:pt x="36" y="414"/>
                    </a:lnTo>
                    <a:lnTo>
                      <a:pt x="34" y="413"/>
                    </a:lnTo>
                    <a:lnTo>
                      <a:pt x="33" y="412"/>
                    </a:lnTo>
                    <a:lnTo>
                      <a:pt x="32" y="411"/>
                    </a:lnTo>
                    <a:lnTo>
                      <a:pt x="31" y="410"/>
                    </a:lnTo>
                    <a:lnTo>
                      <a:pt x="30" y="409"/>
                    </a:lnTo>
                    <a:lnTo>
                      <a:pt x="27" y="409"/>
                    </a:lnTo>
                    <a:lnTo>
                      <a:pt x="25" y="409"/>
                    </a:lnTo>
                    <a:lnTo>
                      <a:pt x="23" y="410"/>
                    </a:lnTo>
                    <a:lnTo>
                      <a:pt x="22" y="411"/>
                    </a:lnTo>
                    <a:lnTo>
                      <a:pt x="20" y="412"/>
                    </a:lnTo>
                    <a:lnTo>
                      <a:pt x="18" y="414"/>
                    </a:lnTo>
                    <a:lnTo>
                      <a:pt x="16" y="415"/>
                    </a:lnTo>
                    <a:lnTo>
                      <a:pt x="14" y="415"/>
                    </a:lnTo>
                    <a:lnTo>
                      <a:pt x="12" y="413"/>
                    </a:lnTo>
                    <a:lnTo>
                      <a:pt x="11" y="412"/>
                    </a:lnTo>
                    <a:lnTo>
                      <a:pt x="9" y="412"/>
                    </a:lnTo>
                    <a:lnTo>
                      <a:pt x="7" y="413"/>
                    </a:lnTo>
                    <a:lnTo>
                      <a:pt x="3" y="414"/>
                    </a:lnTo>
                    <a:lnTo>
                      <a:pt x="1" y="415"/>
                    </a:lnTo>
                    <a:lnTo>
                      <a:pt x="0" y="415"/>
                    </a:lnTo>
                    <a:lnTo>
                      <a:pt x="0" y="414"/>
                    </a:lnTo>
                    <a:lnTo>
                      <a:pt x="1" y="412"/>
                    </a:lnTo>
                    <a:lnTo>
                      <a:pt x="2" y="410"/>
                    </a:lnTo>
                    <a:lnTo>
                      <a:pt x="2" y="409"/>
                    </a:lnTo>
                    <a:lnTo>
                      <a:pt x="3" y="407"/>
                    </a:lnTo>
                    <a:lnTo>
                      <a:pt x="4" y="405"/>
                    </a:lnTo>
                    <a:lnTo>
                      <a:pt x="5" y="403"/>
                    </a:lnTo>
                    <a:lnTo>
                      <a:pt x="5" y="403"/>
                    </a:lnTo>
                    <a:lnTo>
                      <a:pt x="4" y="401"/>
                    </a:lnTo>
                    <a:lnTo>
                      <a:pt x="3" y="399"/>
                    </a:lnTo>
                    <a:lnTo>
                      <a:pt x="3" y="396"/>
                    </a:lnTo>
                    <a:lnTo>
                      <a:pt x="4" y="394"/>
                    </a:lnTo>
                    <a:lnTo>
                      <a:pt x="8" y="392"/>
                    </a:lnTo>
                    <a:lnTo>
                      <a:pt x="11" y="390"/>
                    </a:lnTo>
                    <a:lnTo>
                      <a:pt x="14" y="389"/>
                    </a:lnTo>
                    <a:lnTo>
                      <a:pt x="18" y="388"/>
                    </a:lnTo>
                    <a:lnTo>
                      <a:pt x="21" y="386"/>
                    </a:lnTo>
                    <a:lnTo>
                      <a:pt x="26" y="382"/>
                    </a:lnTo>
                    <a:lnTo>
                      <a:pt x="31" y="378"/>
                    </a:lnTo>
                    <a:lnTo>
                      <a:pt x="34" y="373"/>
                    </a:lnTo>
                    <a:lnTo>
                      <a:pt x="40" y="367"/>
                    </a:lnTo>
                    <a:lnTo>
                      <a:pt x="46" y="361"/>
                    </a:lnTo>
                    <a:lnTo>
                      <a:pt x="54" y="355"/>
                    </a:lnTo>
                    <a:lnTo>
                      <a:pt x="65" y="347"/>
                    </a:lnTo>
                    <a:lnTo>
                      <a:pt x="76" y="338"/>
                    </a:lnTo>
                    <a:lnTo>
                      <a:pt x="83" y="335"/>
                    </a:lnTo>
                    <a:lnTo>
                      <a:pt x="90" y="333"/>
                    </a:lnTo>
                    <a:lnTo>
                      <a:pt x="98" y="330"/>
                    </a:lnTo>
                    <a:lnTo>
                      <a:pt x="102" y="327"/>
                    </a:lnTo>
                    <a:lnTo>
                      <a:pt x="107" y="324"/>
                    </a:lnTo>
                    <a:lnTo>
                      <a:pt x="111" y="322"/>
                    </a:lnTo>
                    <a:lnTo>
                      <a:pt x="112" y="320"/>
                    </a:lnTo>
                    <a:lnTo>
                      <a:pt x="114" y="318"/>
                    </a:lnTo>
                    <a:lnTo>
                      <a:pt x="118" y="316"/>
                    </a:lnTo>
                    <a:lnTo>
                      <a:pt x="121" y="314"/>
                    </a:lnTo>
                    <a:lnTo>
                      <a:pt x="123" y="314"/>
                    </a:lnTo>
                    <a:close/>
                    <a:moveTo>
                      <a:pt x="1539" y="307"/>
                    </a:moveTo>
                    <a:lnTo>
                      <a:pt x="1540" y="307"/>
                    </a:lnTo>
                    <a:lnTo>
                      <a:pt x="1542" y="308"/>
                    </a:lnTo>
                    <a:lnTo>
                      <a:pt x="1544" y="309"/>
                    </a:lnTo>
                    <a:lnTo>
                      <a:pt x="1547" y="311"/>
                    </a:lnTo>
                    <a:lnTo>
                      <a:pt x="1548" y="312"/>
                    </a:lnTo>
                    <a:lnTo>
                      <a:pt x="1549" y="313"/>
                    </a:lnTo>
                    <a:lnTo>
                      <a:pt x="1549" y="314"/>
                    </a:lnTo>
                    <a:lnTo>
                      <a:pt x="1550" y="316"/>
                    </a:lnTo>
                    <a:lnTo>
                      <a:pt x="1551" y="318"/>
                    </a:lnTo>
                    <a:lnTo>
                      <a:pt x="1551" y="320"/>
                    </a:lnTo>
                    <a:lnTo>
                      <a:pt x="1552" y="323"/>
                    </a:lnTo>
                    <a:lnTo>
                      <a:pt x="1552" y="325"/>
                    </a:lnTo>
                    <a:lnTo>
                      <a:pt x="1551" y="326"/>
                    </a:lnTo>
                    <a:lnTo>
                      <a:pt x="1551" y="326"/>
                    </a:lnTo>
                    <a:lnTo>
                      <a:pt x="1550" y="326"/>
                    </a:lnTo>
                    <a:lnTo>
                      <a:pt x="1548" y="324"/>
                    </a:lnTo>
                    <a:lnTo>
                      <a:pt x="1542" y="320"/>
                    </a:lnTo>
                    <a:lnTo>
                      <a:pt x="1539" y="317"/>
                    </a:lnTo>
                    <a:lnTo>
                      <a:pt x="1538" y="313"/>
                    </a:lnTo>
                    <a:lnTo>
                      <a:pt x="1537" y="309"/>
                    </a:lnTo>
                    <a:lnTo>
                      <a:pt x="1538" y="307"/>
                    </a:lnTo>
                    <a:lnTo>
                      <a:pt x="1539" y="307"/>
                    </a:lnTo>
                    <a:close/>
                    <a:moveTo>
                      <a:pt x="139" y="287"/>
                    </a:moveTo>
                    <a:lnTo>
                      <a:pt x="141" y="287"/>
                    </a:lnTo>
                    <a:lnTo>
                      <a:pt x="142" y="289"/>
                    </a:lnTo>
                    <a:lnTo>
                      <a:pt x="143" y="290"/>
                    </a:lnTo>
                    <a:lnTo>
                      <a:pt x="144" y="291"/>
                    </a:lnTo>
                    <a:lnTo>
                      <a:pt x="145" y="292"/>
                    </a:lnTo>
                    <a:lnTo>
                      <a:pt x="145" y="293"/>
                    </a:lnTo>
                    <a:lnTo>
                      <a:pt x="144" y="295"/>
                    </a:lnTo>
                    <a:lnTo>
                      <a:pt x="143" y="297"/>
                    </a:lnTo>
                    <a:lnTo>
                      <a:pt x="142" y="300"/>
                    </a:lnTo>
                    <a:lnTo>
                      <a:pt x="139" y="301"/>
                    </a:lnTo>
                    <a:lnTo>
                      <a:pt x="136" y="301"/>
                    </a:lnTo>
                    <a:lnTo>
                      <a:pt x="135" y="298"/>
                    </a:lnTo>
                    <a:lnTo>
                      <a:pt x="133" y="297"/>
                    </a:lnTo>
                    <a:lnTo>
                      <a:pt x="133" y="294"/>
                    </a:lnTo>
                    <a:lnTo>
                      <a:pt x="133" y="292"/>
                    </a:lnTo>
                    <a:lnTo>
                      <a:pt x="134" y="290"/>
                    </a:lnTo>
                    <a:lnTo>
                      <a:pt x="136" y="287"/>
                    </a:lnTo>
                    <a:lnTo>
                      <a:pt x="139" y="287"/>
                    </a:lnTo>
                    <a:close/>
                    <a:moveTo>
                      <a:pt x="434" y="285"/>
                    </a:moveTo>
                    <a:lnTo>
                      <a:pt x="434" y="287"/>
                    </a:lnTo>
                    <a:lnTo>
                      <a:pt x="434" y="289"/>
                    </a:lnTo>
                    <a:lnTo>
                      <a:pt x="433" y="290"/>
                    </a:lnTo>
                    <a:lnTo>
                      <a:pt x="433" y="291"/>
                    </a:lnTo>
                    <a:lnTo>
                      <a:pt x="431" y="292"/>
                    </a:lnTo>
                    <a:lnTo>
                      <a:pt x="429" y="293"/>
                    </a:lnTo>
                    <a:lnTo>
                      <a:pt x="428" y="293"/>
                    </a:lnTo>
                    <a:lnTo>
                      <a:pt x="427" y="292"/>
                    </a:lnTo>
                    <a:lnTo>
                      <a:pt x="426" y="291"/>
                    </a:lnTo>
                    <a:lnTo>
                      <a:pt x="426" y="291"/>
                    </a:lnTo>
                    <a:lnTo>
                      <a:pt x="426" y="289"/>
                    </a:lnTo>
                    <a:lnTo>
                      <a:pt x="427" y="287"/>
                    </a:lnTo>
                    <a:lnTo>
                      <a:pt x="429" y="286"/>
                    </a:lnTo>
                    <a:lnTo>
                      <a:pt x="431" y="285"/>
                    </a:lnTo>
                    <a:lnTo>
                      <a:pt x="434" y="285"/>
                    </a:lnTo>
                    <a:close/>
                    <a:moveTo>
                      <a:pt x="266" y="280"/>
                    </a:moveTo>
                    <a:lnTo>
                      <a:pt x="269" y="280"/>
                    </a:lnTo>
                    <a:lnTo>
                      <a:pt x="271" y="281"/>
                    </a:lnTo>
                    <a:lnTo>
                      <a:pt x="273" y="282"/>
                    </a:lnTo>
                    <a:lnTo>
                      <a:pt x="274" y="283"/>
                    </a:lnTo>
                    <a:lnTo>
                      <a:pt x="275" y="284"/>
                    </a:lnTo>
                    <a:lnTo>
                      <a:pt x="282" y="296"/>
                    </a:lnTo>
                    <a:lnTo>
                      <a:pt x="283" y="297"/>
                    </a:lnTo>
                    <a:lnTo>
                      <a:pt x="284" y="298"/>
                    </a:lnTo>
                    <a:lnTo>
                      <a:pt x="284" y="300"/>
                    </a:lnTo>
                    <a:lnTo>
                      <a:pt x="284" y="302"/>
                    </a:lnTo>
                    <a:lnTo>
                      <a:pt x="284" y="304"/>
                    </a:lnTo>
                    <a:lnTo>
                      <a:pt x="280" y="308"/>
                    </a:lnTo>
                    <a:lnTo>
                      <a:pt x="275" y="309"/>
                    </a:lnTo>
                    <a:lnTo>
                      <a:pt x="270" y="309"/>
                    </a:lnTo>
                    <a:lnTo>
                      <a:pt x="265" y="307"/>
                    </a:lnTo>
                    <a:lnTo>
                      <a:pt x="262" y="305"/>
                    </a:lnTo>
                    <a:lnTo>
                      <a:pt x="261" y="304"/>
                    </a:lnTo>
                    <a:lnTo>
                      <a:pt x="261" y="301"/>
                    </a:lnTo>
                    <a:lnTo>
                      <a:pt x="261" y="298"/>
                    </a:lnTo>
                    <a:lnTo>
                      <a:pt x="261" y="296"/>
                    </a:lnTo>
                    <a:lnTo>
                      <a:pt x="262" y="294"/>
                    </a:lnTo>
                    <a:lnTo>
                      <a:pt x="262" y="292"/>
                    </a:lnTo>
                    <a:lnTo>
                      <a:pt x="262" y="286"/>
                    </a:lnTo>
                    <a:lnTo>
                      <a:pt x="263" y="283"/>
                    </a:lnTo>
                    <a:lnTo>
                      <a:pt x="264" y="282"/>
                    </a:lnTo>
                    <a:lnTo>
                      <a:pt x="265" y="281"/>
                    </a:lnTo>
                    <a:lnTo>
                      <a:pt x="266" y="280"/>
                    </a:lnTo>
                    <a:close/>
                    <a:moveTo>
                      <a:pt x="210" y="270"/>
                    </a:moveTo>
                    <a:lnTo>
                      <a:pt x="211" y="271"/>
                    </a:lnTo>
                    <a:lnTo>
                      <a:pt x="211" y="272"/>
                    </a:lnTo>
                    <a:lnTo>
                      <a:pt x="211" y="273"/>
                    </a:lnTo>
                    <a:lnTo>
                      <a:pt x="211" y="275"/>
                    </a:lnTo>
                    <a:lnTo>
                      <a:pt x="211" y="278"/>
                    </a:lnTo>
                    <a:lnTo>
                      <a:pt x="210" y="279"/>
                    </a:lnTo>
                    <a:lnTo>
                      <a:pt x="209" y="279"/>
                    </a:lnTo>
                    <a:lnTo>
                      <a:pt x="207" y="281"/>
                    </a:lnTo>
                    <a:lnTo>
                      <a:pt x="204" y="282"/>
                    </a:lnTo>
                    <a:lnTo>
                      <a:pt x="201" y="283"/>
                    </a:lnTo>
                    <a:lnTo>
                      <a:pt x="199" y="283"/>
                    </a:lnTo>
                    <a:lnTo>
                      <a:pt x="196" y="284"/>
                    </a:lnTo>
                    <a:lnTo>
                      <a:pt x="194" y="285"/>
                    </a:lnTo>
                    <a:lnTo>
                      <a:pt x="193" y="287"/>
                    </a:lnTo>
                    <a:lnTo>
                      <a:pt x="193" y="290"/>
                    </a:lnTo>
                    <a:lnTo>
                      <a:pt x="194" y="291"/>
                    </a:lnTo>
                    <a:lnTo>
                      <a:pt x="195" y="293"/>
                    </a:lnTo>
                    <a:lnTo>
                      <a:pt x="197" y="294"/>
                    </a:lnTo>
                    <a:lnTo>
                      <a:pt x="198" y="295"/>
                    </a:lnTo>
                    <a:lnTo>
                      <a:pt x="198" y="296"/>
                    </a:lnTo>
                    <a:lnTo>
                      <a:pt x="197" y="300"/>
                    </a:lnTo>
                    <a:lnTo>
                      <a:pt x="196" y="304"/>
                    </a:lnTo>
                    <a:lnTo>
                      <a:pt x="193" y="307"/>
                    </a:lnTo>
                    <a:lnTo>
                      <a:pt x="189" y="311"/>
                    </a:lnTo>
                    <a:lnTo>
                      <a:pt x="185" y="313"/>
                    </a:lnTo>
                    <a:lnTo>
                      <a:pt x="175" y="316"/>
                    </a:lnTo>
                    <a:lnTo>
                      <a:pt x="167" y="316"/>
                    </a:lnTo>
                    <a:lnTo>
                      <a:pt x="161" y="313"/>
                    </a:lnTo>
                    <a:lnTo>
                      <a:pt x="157" y="307"/>
                    </a:lnTo>
                    <a:lnTo>
                      <a:pt x="156" y="301"/>
                    </a:lnTo>
                    <a:lnTo>
                      <a:pt x="163" y="291"/>
                    </a:lnTo>
                    <a:lnTo>
                      <a:pt x="174" y="282"/>
                    </a:lnTo>
                    <a:lnTo>
                      <a:pt x="177" y="281"/>
                    </a:lnTo>
                    <a:lnTo>
                      <a:pt x="179" y="280"/>
                    </a:lnTo>
                    <a:lnTo>
                      <a:pt x="182" y="279"/>
                    </a:lnTo>
                    <a:lnTo>
                      <a:pt x="185" y="276"/>
                    </a:lnTo>
                    <a:lnTo>
                      <a:pt x="188" y="275"/>
                    </a:lnTo>
                    <a:lnTo>
                      <a:pt x="192" y="275"/>
                    </a:lnTo>
                    <a:lnTo>
                      <a:pt x="195" y="275"/>
                    </a:lnTo>
                    <a:lnTo>
                      <a:pt x="198" y="274"/>
                    </a:lnTo>
                    <a:lnTo>
                      <a:pt x="199" y="273"/>
                    </a:lnTo>
                    <a:lnTo>
                      <a:pt x="201" y="272"/>
                    </a:lnTo>
                    <a:lnTo>
                      <a:pt x="204" y="271"/>
                    </a:lnTo>
                    <a:lnTo>
                      <a:pt x="206" y="270"/>
                    </a:lnTo>
                    <a:lnTo>
                      <a:pt x="208" y="270"/>
                    </a:lnTo>
                    <a:lnTo>
                      <a:pt x="210" y="270"/>
                    </a:lnTo>
                    <a:close/>
                    <a:moveTo>
                      <a:pt x="517" y="268"/>
                    </a:moveTo>
                    <a:lnTo>
                      <a:pt x="520" y="270"/>
                    </a:lnTo>
                    <a:lnTo>
                      <a:pt x="521" y="271"/>
                    </a:lnTo>
                    <a:lnTo>
                      <a:pt x="522" y="273"/>
                    </a:lnTo>
                    <a:lnTo>
                      <a:pt x="521" y="275"/>
                    </a:lnTo>
                    <a:lnTo>
                      <a:pt x="520" y="278"/>
                    </a:lnTo>
                    <a:lnTo>
                      <a:pt x="517" y="280"/>
                    </a:lnTo>
                    <a:lnTo>
                      <a:pt x="514" y="282"/>
                    </a:lnTo>
                    <a:lnTo>
                      <a:pt x="511" y="284"/>
                    </a:lnTo>
                    <a:lnTo>
                      <a:pt x="507" y="285"/>
                    </a:lnTo>
                    <a:lnTo>
                      <a:pt x="504" y="285"/>
                    </a:lnTo>
                    <a:lnTo>
                      <a:pt x="502" y="284"/>
                    </a:lnTo>
                    <a:lnTo>
                      <a:pt x="501" y="282"/>
                    </a:lnTo>
                    <a:lnTo>
                      <a:pt x="501" y="280"/>
                    </a:lnTo>
                    <a:lnTo>
                      <a:pt x="502" y="278"/>
                    </a:lnTo>
                    <a:lnTo>
                      <a:pt x="504" y="275"/>
                    </a:lnTo>
                    <a:lnTo>
                      <a:pt x="506" y="274"/>
                    </a:lnTo>
                    <a:lnTo>
                      <a:pt x="507" y="272"/>
                    </a:lnTo>
                    <a:lnTo>
                      <a:pt x="510" y="272"/>
                    </a:lnTo>
                    <a:lnTo>
                      <a:pt x="512" y="271"/>
                    </a:lnTo>
                    <a:lnTo>
                      <a:pt x="514" y="270"/>
                    </a:lnTo>
                    <a:lnTo>
                      <a:pt x="515" y="268"/>
                    </a:lnTo>
                    <a:lnTo>
                      <a:pt x="517" y="268"/>
                    </a:lnTo>
                    <a:close/>
                    <a:moveTo>
                      <a:pt x="330" y="266"/>
                    </a:moveTo>
                    <a:lnTo>
                      <a:pt x="332" y="266"/>
                    </a:lnTo>
                    <a:lnTo>
                      <a:pt x="335" y="268"/>
                    </a:lnTo>
                    <a:lnTo>
                      <a:pt x="337" y="268"/>
                    </a:lnTo>
                    <a:lnTo>
                      <a:pt x="338" y="268"/>
                    </a:lnTo>
                    <a:lnTo>
                      <a:pt x="338" y="269"/>
                    </a:lnTo>
                    <a:lnTo>
                      <a:pt x="338" y="271"/>
                    </a:lnTo>
                    <a:lnTo>
                      <a:pt x="337" y="272"/>
                    </a:lnTo>
                    <a:lnTo>
                      <a:pt x="336" y="273"/>
                    </a:lnTo>
                    <a:lnTo>
                      <a:pt x="334" y="274"/>
                    </a:lnTo>
                    <a:lnTo>
                      <a:pt x="330" y="275"/>
                    </a:lnTo>
                    <a:lnTo>
                      <a:pt x="328" y="276"/>
                    </a:lnTo>
                    <a:lnTo>
                      <a:pt x="327" y="276"/>
                    </a:lnTo>
                    <a:lnTo>
                      <a:pt x="324" y="276"/>
                    </a:lnTo>
                    <a:lnTo>
                      <a:pt x="320" y="275"/>
                    </a:lnTo>
                    <a:lnTo>
                      <a:pt x="318" y="275"/>
                    </a:lnTo>
                    <a:lnTo>
                      <a:pt x="317" y="274"/>
                    </a:lnTo>
                    <a:lnTo>
                      <a:pt x="317" y="272"/>
                    </a:lnTo>
                    <a:lnTo>
                      <a:pt x="318" y="271"/>
                    </a:lnTo>
                    <a:lnTo>
                      <a:pt x="319" y="269"/>
                    </a:lnTo>
                    <a:lnTo>
                      <a:pt x="321" y="268"/>
                    </a:lnTo>
                    <a:lnTo>
                      <a:pt x="324" y="268"/>
                    </a:lnTo>
                    <a:lnTo>
                      <a:pt x="327" y="266"/>
                    </a:lnTo>
                    <a:lnTo>
                      <a:pt x="330" y="266"/>
                    </a:lnTo>
                    <a:close/>
                    <a:moveTo>
                      <a:pt x="460" y="258"/>
                    </a:moveTo>
                    <a:lnTo>
                      <a:pt x="463" y="259"/>
                    </a:lnTo>
                    <a:lnTo>
                      <a:pt x="465" y="260"/>
                    </a:lnTo>
                    <a:lnTo>
                      <a:pt x="466" y="262"/>
                    </a:lnTo>
                    <a:lnTo>
                      <a:pt x="466" y="264"/>
                    </a:lnTo>
                    <a:lnTo>
                      <a:pt x="465" y="266"/>
                    </a:lnTo>
                    <a:lnTo>
                      <a:pt x="463" y="269"/>
                    </a:lnTo>
                    <a:lnTo>
                      <a:pt x="461" y="271"/>
                    </a:lnTo>
                    <a:lnTo>
                      <a:pt x="458" y="273"/>
                    </a:lnTo>
                    <a:lnTo>
                      <a:pt x="456" y="274"/>
                    </a:lnTo>
                    <a:lnTo>
                      <a:pt x="448" y="275"/>
                    </a:lnTo>
                    <a:lnTo>
                      <a:pt x="441" y="274"/>
                    </a:lnTo>
                    <a:lnTo>
                      <a:pt x="436" y="274"/>
                    </a:lnTo>
                    <a:lnTo>
                      <a:pt x="431" y="275"/>
                    </a:lnTo>
                    <a:lnTo>
                      <a:pt x="428" y="275"/>
                    </a:lnTo>
                    <a:lnTo>
                      <a:pt x="424" y="275"/>
                    </a:lnTo>
                    <a:lnTo>
                      <a:pt x="420" y="274"/>
                    </a:lnTo>
                    <a:lnTo>
                      <a:pt x="418" y="272"/>
                    </a:lnTo>
                    <a:lnTo>
                      <a:pt x="417" y="270"/>
                    </a:lnTo>
                    <a:lnTo>
                      <a:pt x="416" y="269"/>
                    </a:lnTo>
                    <a:lnTo>
                      <a:pt x="417" y="266"/>
                    </a:lnTo>
                    <a:lnTo>
                      <a:pt x="418" y="264"/>
                    </a:lnTo>
                    <a:lnTo>
                      <a:pt x="420" y="262"/>
                    </a:lnTo>
                    <a:lnTo>
                      <a:pt x="423" y="262"/>
                    </a:lnTo>
                    <a:lnTo>
                      <a:pt x="426" y="261"/>
                    </a:lnTo>
                    <a:lnTo>
                      <a:pt x="428" y="261"/>
                    </a:lnTo>
                    <a:lnTo>
                      <a:pt x="431" y="260"/>
                    </a:lnTo>
                    <a:lnTo>
                      <a:pt x="434" y="260"/>
                    </a:lnTo>
                    <a:lnTo>
                      <a:pt x="435" y="260"/>
                    </a:lnTo>
                    <a:lnTo>
                      <a:pt x="436" y="260"/>
                    </a:lnTo>
                    <a:lnTo>
                      <a:pt x="436" y="260"/>
                    </a:lnTo>
                    <a:lnTo>
                      <a:pt x="434" y="260"/>
                    </a:lnTo>
                    <a:lnTo>
                      <a:pt x="447" y="259"/>
                    </a:lnTo>
                    <a:lnTo>
                      <a:pt x="460" y="258"/>
                    </a:lnTo>
                    <a:close/>
                    <a:moveTo>
                      <a:pt x="208" y="246"/>
                    </a:moveTo>
                    <a:lnTo>
                      <a:pt x="212" y="250"/>
                    </a:lnTo>
                    <a:lnTo>
                      <a:pt x="214" y="251"/>
                    </a:lnTo>
                    <a:lnTo>
                      <a:pt x="215" y="252"/>
                    </a:lnTo>
                    <a:lnTo>
                      <a:pt x="216" y="254"/>
                    </a:lnTo>
                    <a:lnTo>
                      <a:pt x="217" y="255"/>
                    </a:lnTo>
                    <a:lnTo>
                      <a:pt x="217" y="258"/>
                    </a:lnTo>
                    <a:lnTo>
                      <a:pt x="217" y="260"/>
                    </a:lnTo>
                    <a:lnTo>
                      <a:pt x="215" y="262"/>
                    </a:lnTo>
                    <a:lnTo>
                      <a:pt x="211" y="263"/>
                    </a:lnTo>
                    <a:lnTo>
                      <a:pt x="208" y="264"/>
                    </a:lnTo>
                    <a:lnTo>
                      <a:pt x="205" y="264"/>
                    </a:lnTo>
                    <a:lnTo>
                      <a:pt x="201" y="264"/>
                    </a:lnTo>
                    <a:lnTo>
                      <a:pt x="199" y="264"/>
                    </a:lnTo>
                    <a:lnTo>
                      <a:pt x="198" y="263"/>
                    </a:lnTo>
                    <a:lnTo>
                      <a:pt x="196" y="263"/>
                    </a:lnTo>
                    <a:lnTo>
                      <a:pt x="195" y="263"/>
                    </a:lnTo>
                    <a:lnTo>
                      <a:pt x="193" y="264"/>
                    </a:lnTo>
                    <a:lnTo>
                      <a:pt x="192" y="264"/>
                    </a:lnTo>
                    <a:lnTo>
                      <a:pt x="190" y="265"/>
                    </a:lnTo>
                    <a:lnTo>
                      <a:pt x="189" y="265"/>
                    </a:lnTo>
                    <a:lnTo>
                      <a:pt x="188" y="266"/>
                    </a:lnTo>
                    <a:lnTo>
                      <a:pt x="186" y="265"/>
                    </a:lnTo>
                    <a:lnTo>
                      <a:pt x="183" y="265"/>
                    </a:lnTo>
                    <a:lnTo>
                      <a:pt x="179" y="265"/>
                    </a:lnTo>
                    <a:lnTo>
                      <a:pt x="176" y="265"/>
                    </a:lnTo>
                    <a:lnTo>
                      <a:pt x="173" y="266"/>
                    </a:lnTo>
                    <a:lnTo>
                      <a:pt x="172" y="268"/>
                    </a:lnTo>
                    <a:lnTo>
                      <a:pt x="169" y="269"/>
                    </a:lnTo>
                    <a:lnTo>
                      <a:pt x="167" y="270"/>
                    </a:lnTo>
                    <a:lnTo>
                      <a:pt x="165" y="271"/>
                    </a:lnTo>
                    <a:lnTo>
                      <a:pt x="164" y="272"/>
                    </a:lnTo>
                    <a:lnTo>
                      <a:pt x="162" y="272"/>
                    </a:lnTo>
                    <a:lnTo>
                      <a:pt x="161" y="272"/>
                    </a:lnTo>
                    <a:lnTo>
                      <a:pt x="160" y="271"/>
                    </a:lnTo>
                    <a:lnTo>
                      <a:pt x="160" y="270"/>
                    </a:lnTo>
                    <a:lnTo>
                      <a:pt x="161" y="268"/>
                    </a:lnTo>
                    <a:lnTo>
                      <a:pt x="163" y="264"/>
                    </a:lnTo>
                    <a:lnTo>
                      <a:pt x="165" y="262"/>
                    </a:lnTo>
                    <a:lnTo>
                      <a:pt x="169" y="259"/>
                    </a:lnTo>
                    <a:lnTo>
                      <a:pt x="174" y="257"/>
                    </a:lnTo>
                    <a:lnTo>
                      <a:pt x="177" y="255"/>
                    </a:lnTo>
                    <a:lnTo>
                      <a:pt x="186" y="252"/>
                    </a:lnTo>
                    <a:lnTo>
                      <a:pt x="194" y="249"/>
                    </a:lnTo>
                    <a:lnTo>
                      <a:pt x="201" y="246"/>
                    </a:lnTo>
                    <a:lnTo>
                      <a:pt x="208" y="246"/>
                    </a:lnTo>
                    <a:close/>
                    <a:moveTo>
                      <a:pt x="404" y="204"/>
                    </a:moveTo>
                    <a:lnTo>
                      <a:pt x="409" y="204"/>
                    </a:lnTo>
                    <a:lnTo>
                      <a:pt x="413" y="205"/>
                    </a:lnTo>
                    <a:lnTo>
                      <a:pt x="416" y="207"/>
                    </a:lnTo>
                    <a:lnTo>
                      <a:pt x="417" y="208"/>
                    </a:lnTo>
                    <a:lnTo>
                      <a:pt x="418" y="209"/>
                    </a:lnTo>
                    <a:lnTo>
                      <a:pt x="419" y="211"/>
                    </a:lnTo>
                    <a:lnTo>
                      <a:pt x="422" y="213"/>
                    </a:lnTo>
                    <a:lnTo>
                      <a:pt x="423" y="214"/>
                    </a:lnTo>
                    <a:lnTo>
                      <a:pt x="425" y="215"/>
                    </a:lnTo>
                    <a:lnTo>
                      <a:pt x="427" y="216"/>
                    </a:lnTo>
                    <a:lnTo>
                      <a:pt x="430" y="215"/>
                    </a:lnTo>
                    <a:lnTo>
                      <a:pt x="433" y="215"/>
                    </a:lnTo>
                    <a:lnTo>
                      <a:pt x="435" y="215"/>
                    </a:lnTo>
                    <a:lnTo>
                      <a:pt x="437" y="216"/>
                    </a:lnTo>
                    <a:lnTo>
                      <a:pt x="439" y="218"/>
                    </a:lnTo>
                    <a:lnTo>
                      <a:pt x="440" y="219"/>
                    </a:lnTo>
                    <a:lnTo>
                      <a:pt x="440" y="220"/>
                    </a:lnTo>
                    <a:lnTo>
                      <a:pt x="441" y="222"/>
                    </a:lnTo>
                    <a:lnTo>
                      <a:pt x="441" y="225"/>
                    </a:lnTo>
                    <a:lnTo>
                      <a:pt x="441" y="226"/>
                    </a:lnTo>
                    <a:lnTo>
                      <a:pt x="441" y="228"/>
                    </a:lnTo>
                    <a:lnTo>
                      <a:pt x="444" y="229"/>
                    </a:lnTo>
                    <a:lnTo>
                      <a:pt x="445" y="229"/>
                    </a:lnTo>
                    <a:lnTo>
                      <a:pt x="446" y="230"/>
                    </a:lnTo>
                    <a:lnTo>
                      <a:pt x="448" y="230"/>
                    </a:lnTo>
                    <a:lnTo>
                      <a:pt x="449" y="232"/>
                    </a:lnTo>
                    <a:lnTo>
                      <a:pt x="449" y="233"/>
                    </a:lnTo>
                    <a:lnTo>
                      <a:pt x="449" y="235"/>
                    </a:lnTo>
                    <a:lnTo>
                      <a:pt x="448" y="236"/>
                    </a:lnTo>
                    <a:lnTo>
                      <a:pt x="446" y="237"/>
                    </a:lnTo>
                    <a:lnTo>
                      <a:pt x="444" y="238"/>
                    </a:lnTo>
                    <a:lnTo>
                      <a:pt x="441" y="240"/>
                    </a:lnTo>
                    <a:lnTo>
                      <a:pt x="441" y="240"/>
                    </a:lnTo>
                    <a:lnTo>
                      <a:pt x="443" y="241"/>
                    </a:lnTo>
                    <a:lnTo>
                      <a:pt x="443" y="242"/>
                    </a:lnTo>
                    <a:lnTo>
                      <a:pt x="444" y="244"/>
                    </a:lnTo>
                    <a:lnTo>
                      <a:pt x="441" y="247"/>
                    </a:lnTo>
                    <a:lnTo>
                      <a:pt x="439" y="248"/>
                    </a:lnTo>
                    <a:lnTo>
                      <a:pt x="436" y="249"/>
                    </a:lnTo>
                    <a:lnTo>
                      <a:pt x="433" y="250"/>
                    </a:lnTo>
                    <a:lnTo>
                      <a:pt x="429" y="251"/>
                    </a:lnTo>
                    <a:lnTo>
                      <a:pt x="423" y="252"/>
                    </a:lnTo>
                    <a:lnTo>
                      <a:pt x="417" y="255"/>
                    </a:lnTo>
                    <a:lnTo>
                      <a:pt x="411" y="258"/>
                    </a:lnTo>
                    <a:lnTo>
                      <a:pt x="407" y="258"/>
                    </a:lnTo>
                    <a:lnTo>
                      <a:pt x="404" y="257"/>
                    </a:lnTo>
                    <a:lnTo>
                      <a:pt x="403" y="255"/>
                    </a:lnTo>
                    <a:lnTo>
                      <a:pt x="401" y="254"/>
                    </a:lnTo>
                    <a:lnTo>
                      <a:pt x="400" y="253"/>
                    </a:lnTo>
                    <a:lnTo>
                      <a:pt x="398" y="252"/>
                    </a:lnTo>
                    <a:lnTo>
                      <a:pt x="396" y="251"/>
                    </a:lnTo>
                    <a:lnTo>
                      <a:pt x="394" y="250"/>
                    </a:lnTo>
                    <a:lnTo>
                      <a:pt x="393" y="248"/>
                    </a:lnTo>
                    <a:lnTo>
                      <a:pt x="391" y="247"/>
                    </a:lnTo>
                    <a:lnTo>
                      <a:pt x="391" y="246"/>
                    </a:lnTo>
                    <a:lnTo>
                      <a:pt x="392" y="244"/>
                    </a:lnTo>
                    <a:lnTo>
                      <a:pt x="395" y="243"/>
                    </a:lnTo>
                    <a:lnTo>
                      <a:pt x="397" y="243"/>
                    </a:lnTo>
                    <a:lnTo>
                      <a:pt x="401" y="243"/>
                    </a:lnTo>
                    <a:lnTo>
                      <a:pt x="402" y="243"/>
                    </a:lnTo>
                    <a:lnTo>
                      <a:pt x="404" y="242"/>
                    </a:lnTo>
                    <a:lnTo>
                      <a:pt x="407" y="242"/>
                    </a:lnTo>
                    <a:lnTo>
                      <a:pt x="408" y="241"/>
                    </a:lnTo>
                    <a:lnTo>
                      <a:pt x="409" y="240"/>
                    </a:lnTo>
                    <a:lnTo>
                      <a:pt x="409" y="238"/>
                    </a:lnTo>
                    <a:lnTo>
                      <a:pt x="408" y="237"/>
                    </a:lnTo>
                    <a:lnTo>
                      <a:pt x="406" y="236"/>
                    </a:lnTo>
                    <a:lnTo>
                      <a:pt x="404" y="236"/>
                    </a:lnTo>
                    <a:lnTo>
                      <a:pt x="402" y="236"/>
                    </a:lnTo>
                    <a:lnTo>
                      <a:pt x="400" y="235"/>
                    </a:lnTo>
                    <a:lnTo>
                      <a:pt x="397" y="235"/>
                    </a:lnTo>
                    <a:lnTo>
                      <a:pt x="397" y="233"/>
                    </a:lnTo>
                    <a:lnTo>
                      <a:pt x="396" y="231"/>
                    </a:lnTo>
                    <a:lnTo>
                      <a:pt x="396" y="230"/>
                    </a:lnTo>
                    <a:lnTo>
                      <a:pt x="396" y="228"/>
                    </a:lnTo>
                    <a:lnTo>
                      <a:pt x="397" y="227"/>
                    </a:lnTo>
                    <a:lnTo>
                      <a:pt x="396" y="226"/>
                    </a:lnTo>
                    <a:lnTo>
                      <a:pt x="395" y="226"/>
                    </a:lnTo>
                    <a:lnTo>
                      <a:pt x="394" y="225"/>
                    </a:lnTo>
                    <a:lnTo>
                      <a:pt x="392" y="225"/>
                    </a:lnTo>
                    <a:lnTo>
                      <a:pt x="391" y="222"/>
                    </a:lnTo>
                    <a:lnTo>
                      <a:pt x="391" y="221"/>
                    </a:lnTo>
                    <a:lnTo>
                      <a:pt x="392" y="219"/>
                    </a:lnTo>
                    <a:lnTo>
                      <a:pt x="392" y="218"/>
                    </a:lnTo>
                    <a:lnTo>
                      <a:pt x="393" y="217"/>
                    </a:lnTo>
                    <a:lnTo>
                      <a:pt x="394" y="215"/>
                    </a:lnTo>
                    <a:lnTo>
                      <a:pt x="395" y="214"/>
                    </a:lnTo>
                    <a:lnTo>
                      <a:pt x="394" y="211"/>
                    </a:lnTo>
                    <a:lnTo>
                      <a:pt x="394" y="210"/>
                    </a:lnTo>
                    <a:lnTo>
                      <a:pt x="394" y="209"/>
                    </a:lnTo>
                    <a:lnTo>
                      <a:pt x="395" y="207"/>
                    </a:lnTo>
                    <a:lnTo>
                      <a:pt x="396" y="206"/>
                    </a:lnTo>
                    <a:lnTo>
                      <a:pt x="400" y="205"/>
                    </a:lnTo>
                    <a:lnTo>
                      <a:pt x="404" y="204"/>
                    </a:lnTo>
                    <a:close/>
                    <a:moveTo>
                      <a:pt x="310" y="194"/>
                    </a:moveTo>
                    <a:lnTo>
                      <a:pt x="313" y="195"/>
                    </a:lnTo>
                    <a:lnTo>
                      <a:pt x="315" y="196"/>
                    </a:lnTo>
                    <a:lnTo>
                      <a:pt x="317" y="197"/>
                    </a:lnTo>
                    <a:lnTo>
                      <a:pt x="319" y="197"/>
                    </a:lnTo>
                    <a:lnTo>
                      <a:pt x="321" y="199"/>
                    </a:lnTo>
                    <a:lnTo>
                      <a:pt x="323" y="202"/>
                    </a:lnTo>
                    <a:lnTo>
                      <a:pt x="323" y="205"/>
                    </a:lnTo>
                    <a:lnTo>
                      <a:pt x="324" y="207"/>
                    </a:lnTo>
                    <a:lnTo>
                      <a:pt x="324" y="210"/>
                    </a:lnTo>
                    <a:lnTo>
                      <a:pt x="325" y="211"/>
                    </a:lnTo>
                    <a:lnTo>
                      <a:pt x="327" y="213"/>
                    </a:lnTo>
                    <a:lnTo>
                      <a:pt x="328" y="213"/>
                    </a:lnTo>
                    <a:lnTo>
                      <a:pt x="330" y="213"/>
                    </a:lnTo>
                    <a:lnTo>
                      <a:pt x="331" y="210"/>
                    </a:lnTo>
                    <a:lnTo>
                      <a:pt x="332" y="210"/>
                    </a:lnTo>
                    <a:lnTo>
                      <a:pt x="335" y="209"/>
                    </a:lnTo>
                    <a:lnTo>
                      <a:pt x="336" y="208"/>
                    </a:lnTo>
                    <a:lnTo>
                      <a:pt x="337" y="207"/>
                    </a:lnTo>
                    <a:lnTo>
                      <a:pt x="338" y="208"/>
                    </a:lnTo>
                    <a:lnTo>
                      <a:pt x="340" y="209"/>
                    </a:lnTo>
                    <a:lnTo>
                      <a:pt x="342" y="210"/>
                    </a:lnTo>
                    <a:lnTo>
                      <a:pt x="342" y="213"/>
                    </a:lnTo>
                    <a:lnTo>
                      <a:pt x="342" y="214"/>
                    </a:lnTo>
                    <a:lnTo>
                      <a:pt x="343" y="216"/>
                    </a:lnTo>
                    <a:lnTo>
                      <a:pt x="343" y="218"/>
                    </a:lnTo>
                    <a:lnTo>
                      <a:pt x="345" y="219"/>
                    </a:lnTo>
                    <a:lnTo>
                      <a:pt x="347" y="221"/>
                    </a:lnTo>
                    <a:lnTo>
                      <a:pt x="349" y="224"/>
                    </a:lnTo>
                    <a:lnTo>
                      <a:pt x="352" y="225"/>
                    </a:lnTo>
                    <a:lnTo>
                      <a:pt x="354" y="227"/>
                    </a:lnTo>
                    <a:lnTo>
                      <a:pt x="357" y="229"/>
                    </a:lnTo>
                    <a:lnTo>
                      <a:pt x="358" y="231"/>
                    </a:lnTo>
                    <a:lnTo>
                      <a:pt x="359" y="235"/>
                    </a:lnTo>
                    <a:lnTo>
                      <a:pt x="359" y="237"/>
                    </a:lnTo>
                    <a:lnTo>
                      <a:pt x="359" y="239"/>
                    </a:lnTo>
                    <a:lnTo>
                      <a:pt x="359" y="242"/>
                    </a:lnTo>
                    <a:lnTo>
                      <a:pt x="359" y="244"/>
                    </a:lnTo>
                    <a:lnTo>
                      <a:pt x="361" y="248"/>
                    </a:lnTo>
                    <a:lnTo>
                      <a:pt x="362" y="248"/>
                    </a:lnTo>
                    <a:lnTo>
                      <a:pt x="363" y="249"/>
                    </a:lnTo>
                    <a:lnTo>
                      <a:pt x="363" y="250"/>
                    </a:lnTo>
                    <a:lnTo>
                      <a:pt x="365" y="252"/>
                    </a:lnTo>
                    <a:lnTo>
                      <a:pt x="367" y="254"/>
                    </a:lnTo>
                    <a:lnTo>
                      <a:pt x="368" y="257"/>
                    </a:lnTo>
                    <a:lnTo>
                      <a:pt x="368" y="260"/>
                    </a:lnTo>
                    <a:lnTo>
                      <a:pt x="368" y="262"/>
                    </a:lnTo>
                    <a:lnTo>
                      <a:pt x="365" y="264"/>
                    </a:lnTo>
                    <a:lnTo>
                      <a:pt x="364" y="265"/>
                    </a:lnTo>
                    <a:lnTo>
                      <a:pt x="361" y="266"/>
                    </a:lnTo>
                    <a:lnTo>
                      <a:pt x="357" y="266"/>
                    </a:lnTo>
                    <a:lnTo>
                      <a:pt x="353" y="266"/>
                    </a:lnTo>
                    <a:lnTo>
                      <a:pt x="351" y="265"/>
                    </a:lnTo>
                    <a:lnTo>
                      <a:pt x="349" y="264"/>
                    </a:lnTo>
                    <a:lnTo>
                      <a:pt x="348" y="262"/>
                    </a:lnTo>
                    <a:lnTo>
                      <a:pt x="347" y="260"/>
                    </a:lnTo>
                    <a:lnTo>
                      <a:pt x="347" y="257"/>
                    </a:lnTo>
                    <a:lnTo>
                      <a:pt x="347" y="254"/>
                    </a:lnTo>
                    <a:lnTo>
                      <a:pt x="347" y="252"/>
                    </a:lnTo>
                    <a:lnTo>
                      <a:pt x="346" y="251"/>
                    </a:lnTo>
                    <a:lnTo>
                      <a:pt x="345" y="250"/>
                    </a:lnTo>
                    <a:lnTo>
                      <a:pt x="342" y="250"/>
                    </a:lnTo>
                    <a:lnTo>
                      <a:pt x="340" y="250"/>
                    </a:lnTo>
                    <a:lnTo>
                      <a:pt x="338" y="250"/>
                    </a:lnTo>
                    <a:lnTo>
                      <a:pt x="335" y="249"/>
                    </a:lnTo>
                    <a:lnTo>
                      <a:pt x="331" y="249"/>
                    </a:lnTo>
                    <a:lnTo>
                      <a:pt x="329" y="248"/>
                    </a:lnTo>
                    <a:lnTo>
                      <a:pt x="328" y="246"/>
                    </a:lnTo>
                    <a:lnTo>
                      <a:pt x="326" y="246"/>
                    </a:lnTo>
                    <a:lnTo>
                      <a:pt x="324" y="246"/>
                    </a:lnTo>
                    <a:lnTo>
                      <a:pt x="321" y="248"/>
                    </a:lnTo>
                    <a:lnTo>
                      <a:pt x="320" y="249"/>
                    </a:lnTo>
                    <a:lnTo>
                      <a:pt x="319" y="251"/>
                    </a:lnTo>
                    <a:lnTo>
                      <a:pt x="319" y="252"/>
                    </a:lnTo>
                    <a:lnTo>
                      <a:pt x="318" y="253"/>
                    </a:lnTo>
                    <a:lnTo>
                      <a:pt x="317" y="254"/>
                    </a:lnTo>
                    <a:lnTo>
                      <a:pt x="310" y="255"/>
                    </a:lnTo>
                    <a:lnTo>
                      <a:pt x="303" y="254"/>
                    </a:lnTo>
                    <a:lnTo>
                      <a:pt x="296" y="251"/>
                    </a:lnTo>
                    <a:lnTo>
                      <a:pt x="291" y="248"/>
                    </a:lnTo>
                    <a:lnTo>
                      <a:pt x="288" y="243"/>
                    </a:lnTo>
                    <a:lnTo>
                      <a:pt x="288" y="241"/>
                    </a:lnTo>
                    <a:lnTo>
                      <a:pt x="291" y="240"/>
                    </a:lnTo>
                    <a:lnTo>
                      <a:pt x="293" y="238"/>
                    </a:lnTo>
                    <a:lnTo>
                      <a:pt x="296" y="237"/>
                    </a:lnTo>
                    <a:lnTo>
                      <a:pt x="298" y="237"/>
                    </a:lnTo>
                    <a:lnTo>
                      <a:pt x="300" y="236"/>
                    </a:lnTo>
                    <a:lnTo>
                      <a:pt x="303" y="236"/>
                    </a:lnTo>
                    <a:lnTo>
                      <a:pt x="305" y="235"/>
                    </a:lnTo>
                    <a:lnTo>
                      <a:pt x="307" y="232"/>
                    </a:lnTo>
                    <a:lnTo>
                      <a:pt x="308" y="231"/>
                    </a:lnTo>
                    <a:lnTo>
                      <a:pt x="308" y="229"/>
                    </a:lnTo>
                    <a:lnTo>
                      <a:pt x="307" y="227"/>
                    </a:lnTo>
                    <a:lnTo>
                      <a:pt x="305" y="225"/>
                    </a:lnTo>
                    <a:lnTo>
                      <a:pt x="303" y="222"/>
                    </a:lnTo>
                    <a:lnTo>
                      <a:pt x="300" y="221"/>
                    </a:lnTo>
                    <a:lnTo>
                      <a:pt x="298" y="220"/>
                    </a:lnTo>
                    <a:lnTo>
                      <a:pt x="296" y="219"/>
                    </a:lnTo>
                    <a:lnTo>
                      <a:pt x="295" y="218"/>
                    </a:lnTo>
                    <a:lnTo>
                      <a:pt x="293" y="218"/>
                    </a:lnTo>
                    <a:lnTo>
                      <a:pt x="291" y="218"/>
                    </a:lnTo>
                    <a:lnTo>
                      <a:pt x="289" y="218"/>
                    </a:lnTo>
                    <a:lnTo>
                      <a:pt x="288" y="218"/>
                    </a:lnTo>
                    <a:lnTo>
                      <a:pt x="287" y="217"/>
                    </a:lnTo>
                    <a:lnTo>
                      <a:pt x="286" y="215"/>
                    </a:lnTo>
                    <a:lnTo>
                      <a:pt x="286" y="213"/>
                    </a:lnTo>
                    <a:lnTo>
                      <a:pt x="287" y="209"/>
                    </a:lnTo>
                    <a:lnTo>
                      <a:pt x="288" y="206"/>
                    </a:lnTo>
                    <a:lnTo>
                      <a:pt x="291" y="203"/>
                    </a:lnTo>
                    <a:lnTo>
                      <a:pt x="294" y="199"/>
                    </a:lnTo>
                    <a:lnTo>
                      <a:pt x="298" y="197"/>
                    </a:lnTo>
                    <a:lnTo>
                      <a:pt x="300" y="196"/>
                    </a:lnTo>
                    <a:lnTo>
                      <a:pt x="304" y="195"/>
                    </a:lnTo>
                    <a:lnTo>
                      <a:pt x="307" y="194"/>
                    </a:lnTo>
                    <a:lnTo>
                      <a:pt x="310" y="194"/>
                    </a:lnTo>
                    <a:close/>
                    <a:moveTo>
                      <a:pt x="401" y="148"/>
                    </a:moveTo>
                    <a:lnTo>
                      <a:pt x="405" y="149"/>
                    </a:lnTo>
                    <a:lnTo>
                      <a:pt x="408" y="151"/>
                    </a:lnTo>
                    <a:lnTo>
                      <a:pt x="411" y="153"/>
                    </a:lnTo>
                    <a:lnTo>
                      <a:pt x="412" y="155"/>
                    </a:lnTo>
                    <a:lnTo>
                      <a:pt x="412" y="158"/>
                    </a:lnTo>
                    <a:lnTo>
                      <a:pt x="411" y="160"/>
                    </a:lnTo>
                    <a:lnTo>
                      <a:pt x="408" y="162"/>
                    </a:lnTo>
                    <a:lnTo>
                      <a:pt x="405" y="163"/>
                    </a:lnTo>
                    <a:lnTo>
                      <a:pt x="401" y="163"/>
                    </a:lnTo>
                    <a:lnTo>
                      <a:pt x="398" y="163"/>
                    </a:lnTo>
                    <a:lnTo>
                      <a:pt x="395" y="162"/>
                    </a:lnTo>
                    <a:lnTo>
                      <a:pt x="394" y="162"/>
                    </a:lnTo>
                    <a:lnTo>
                      <a:pt x="392" y="160"/>
                    </a:lnTo>
                    <a:lnTo>
                      <a:pt x="391" y="159"/>
                    </a:lnTo>
                    <a:lnTo>
                      <a:pt x="389" y="156"/>
                    </a:lnTo>
                    <a:lnTo>
                      <a:pt x="381" y="156"/>
                    </a:lnTo>
                    <a:lnTo>
                      <a:pt x="379" y="156"/>
                    </a:lnTo>
                    <a:lnTo>
                      <a:pt x="378" y="155"/>
                    </a:lnTo>
                    <a:lnTo>
                      <a:pt x="378" y="154"/>
                    </a:lnTo>
                    <a:lnTo>
                      <a:pt x="379" y="153"/>
                    </a:lnTo>
                    <a:lnTo>
                      <a:pt x="380" y="152"/>
                    </a:lnTo>
                    <a:lnTo>
                      <a:pt x="383" y="151"/>
                    </a:lnTo>
                    <a:lnTo>
                      <a:pt x="385" y="150"/>
                    </a:lnTo>
                    <a:lnTo>
                      <a:pt x="389" y="150"/>
                    </a:lnTo>
                    <a:lnTo>
                      <a:pt x="391" y="149"/>
                    </a:lnTo>
                    <a:lnTo>
                      <a:pt x="394" y="149"/>
                    </a:lnTo>
                    <a:lnTo>
                      <a:pt x="396" y="149"/>
                    </a:lnTo>
                    <a:lnTo>
                      <a:pt x="401" y="148"/>
                    </a:lnTo>
                    <a:close/>
                    <a:moveTo>
                      <a:pt x="1203" y="0"/>
                    </a:moveTo>
                    <a:lnTo>
                      <a:pt x="1204" y="0"/>
                    </a:lnTo>
                    <a:lnTo>
                      <a:pt x="1207" y="1"/>
                    </a:lnTo>
                    <a:lnTo>
                      <a:pt x="1210" y="2"/>
                    </a:lnTo>
                    <a:lnTo>
                      <a:pt x="1212" y="4"/>
                    </a:lnTo>
                    <a:lnTo>
                      <a:pt x="1212" y="6"/>
                    </a:lnTo>
                    <a:lnTo>
                      <a:pt x="1213" y="6"/>
                    </a:lnTo>
                    <a:lnTo>
                      <a:pt x="1215" y="8"/>
                    </a:lnTo>
                    <a:lnTo>
                      <a:pt x="1216" y="9"/>
                    </a:lnTo>
                    <a:lnTo>
                      <a:pt x="1219" y="10"/>
                    </a:lnTo>
                    <a:lnTo>
                      <a:pt x="1220" y="10"/>
                    </a:lnTo>
                    <a:lnTo>
                      <a:pt x="1221" y="10"/>
                    </a:lnTo>
                    <a:lnTo>
                      <a:pt x="1221" y="9"/>
                    </a:lnTo>
                    <a:lnTo>
                      <a:pt x="1221" y="8"/>
                    </a:lnTo>
                    <a:lnTo>
                      <a:pt x="1220" y="6"/>
                    </a:lnTo>
                    <a:lnTo>
                      <a:pt x="1219" y="3"/>
                    </a:lnTo>
                    <a:lnTo>
                      <a:pt x="1218" y="2"/>
                    </a:lnTo>
                    <a:lnTo>
                      <a:pt x="1216" y="1"/>
                    </a:lnTo>
                    <a:lnTo>
                      <a:pt x="1216" y="0"/>
                    </a:lnTo>
                    <a:lnTo>
                      <a:pt x="1219" y="0"/>
                    </a:lnTo>
                    <a:lnTo>
                      <a:pt x="1221" y="1"/>
                    </a:lnTo>
                    <a:lnTo>
                      <a:pt x="1223" y="2"/>
                    </a:lnTo>
                    <a:lnTo>
                      <a:pt x="1225" y="2"/>
                    </a:lnTo>
                    <a:lnTo>
                      <a:pt x="1227" y="2"/>
                    </a:lnTo>
                    <a:lnTo>
                      <a:pt x="1230" y="2"/>
                    </a:lnTo>
                    <a:lnTo>
                      <a:pt x="1231" y="2"/>
                    </a:lnTo>
                    <a:lnTo>
                      <a:pt x="1233" y="1"/>
                    </a:lnTo>
                    <a:lnTo>
                      <a:pt x="1234" y="0"/>
                    </a:lnTo>
                    <a:lnTo>
                      <a:pt x="1236" y="0"/>
                    </a:lnTo>
                    <a:lnTo>
                      <a:pt x="1240" y="2"/>
                    </a:lnTo>
                    <a:lnTo>
                      <a:pt x="1243" y="3"/>
                    </a:lnTo>
                    <a:lnTo>
                      <a:pt x="1246" y="6"/>
                    </a:lnTo>
                    <a:lnTo>
                      <a:pt x="1251" y="7"/>
                    </a:lnTo>
                    <a:lnTo>
                      <a:pt x="1254" y="7"/>
                    </a:lnTo>
                    <a:lnTo>
                      <a:pt x="1255" y="6"/>
                    </a:lnTo>
                    <a:lnTo>
                      <a:pt x="1257" y="6"/>
                    </a:lnTo>
                    <a:lnTo>
                      <a:pt x="1259" y="6"/>
                    </a:lnTo>
                    <a:lnTo>
                      <a:pt x="1263" y="7"/>
                    </a:lnTo>
                    <a:lnTo>
                      <a:pt x="1266" y="8"/>
                    </a:lnTo>
                    <a:lnTo>
                      <a:pt x="1270" y="9"/>
                    </a:lnTo>
                    <a:lnTo>
                      <a:pt x="1275" y="10"/>
                    </a:lnTo>
                    <a:lnTo>
                      <a:pt x="1278" y="11"/>
                    </a:lnTo>
                    <a:lnTo>
                      <a:pt x="1291" y="14"/>
                    </a:lnTo>
                    <a:lnTo>
                      <a:pt x="1304" y="20"/>
                    </a:lnTo>
                    <a:lnTo>
                      <a:pt x="1307" y="22"/>
                    </a:lnTo>
                    <a:lnTo>
                      <a:pt x="1308" y="23"/>
                    </a:lnTo>
                    <a:lnTo>
                      <a:pt x="1309" y="25"/>
                    </a:lnTo>
                    <a:lnTo>
                      <a:pt x="1311" y="28"/>
                    </a:lnTo>
                    <a:lnTo>
                      <a:pt x="1313" y="29"/>
                    </a:lnTo>
                    <a:lnTo>
                      <a:pt x="1322" y="29"/>
                    </a:lnTo>
                    <a:lnTo>
                      <a:pt x="1329" y="32"/>
                    </a:lnTo>
                    <a:lnTo>
                      <a:pt x="1335" y="35"/>
                    </a:lnTo>
                    <a:lnTo>
                      <a:pt x="1342" y="38"/>
                    </a:lnTo>
                    <a:lnTo>
                      <a:pt x="1345" y="40"/>
                    </a:lnTo>
                    <a:lnTo>
                      <a:pt x="1349" y="43"/>
                    </a:lnTo>
                    <a:lnTo>
                      <a:pt x="1349" y="45"/>
                    </a:lnTo>
                    <a:lnTo>
                      <a:pt x="1349" y="47"/>
                    </a:lnTo>
                    <a:lnTo>
                      <a:pt x="1346" y="49"/>
                    </a:lnTo>
                    <a:lnTo>
                      <a:pt x="1340" y="49"/>
                    </a:lnTo>
                    <a:lnTo>
                      <a:pt x="1338" y="49"/>
                    </a:lnTo>
                    <a:lnTo>
                      <a:pt x="1336" y="50"/>
                    </a:lnTo>
                    <a:lnTo>
                      <a:pt x="1335" y="50"/>
                    </a:lnTo>
                    <a:lnTo>
                      <a:pt x="1333" y="50"/>
                    </a:lnTo>
                    <a:lnTo>
                      <a:pt x="1331" y="49"/>
                    </a:lnTo>
                    <a:lnTo>
                      <a:pt x="1298" y="42"/>
                    </a:lnTo>
                    <a:lnTo>
                      <a:pt x="1296" y="41"/>
                    </a:lnTo>
                    <a:lnTo>
                      <a:pt x="1295" y="41"/>
                    </a:lnTo>
                    <a:lnTo>
                      <a:pt x="1293" y="41"/>
                    </a:lnTo>
                    <a:lnTo>
                      <a:pt x="1292" y="42"/>
                    </a:lnTo>
                    <a:lnTo>
                      <a:pt x="1291" y="42"/>
                    </a:lnTo>
                    <a:lnTo>
                      <a:pt x="1288" y="43"/>
                    </a:lnTo>
                    <a:lnTo>
                      <a:pt x="1285" y="43"/>
                    </a:lnTo>
                    <a:lnTo>
                      <a:pt x="1282" y="42"/>
                    </a:lnTo>
                    <a:lnTo>
                      <a:pt x="1280" y="42"/>
                    </a:lnTo>
                    <a:lnTo>
                      <a:pt x="1278" y="42"/>
                    </a:lnTo>
                    <a:lnTo>
                      <a:pt x="1276" y="43"/>
                    </a:lnTo>
                    <a:lnTo>
                      <a:pt x="1274" y="43"/>
                    </a:lnTo>
                    <a:lnTo>
                      <a:pt x="1270" y="43"/>
                    </a:lnTo>
                    <a:lnTo>
                      <a:pt x="1267" y="42"/>
                    </a:lnTo>
                    <a:lnTo>
                      <a:pt x="1258" y="42"/>
                    </a:lnTo>
                    <a:lnTo>
                      <a:pt x="1256" y="42"/>
                    </a:lnTo>
                    <a:lnTo>
                      <a:pt x="1253" y="42"/>
                    </a:lnTo>
                    <a:lnTo>
                      <a:pt x="1251" y="42"/>
                    </a:lnTo>
                    <a:lnTo>
                      <a:pt x="1248" y="43"/>
                    </a:lnTo>
                    <a:lnTo>
                      <a:pt x="1247" y="43"/>
                    </a:lnTo>
                    <a:lnTo>
                      <a:pt x="1247" y="44"/>
                    </a:lnTo>
                    <a:lnTo>
                      <a:pt x="1251" y="45"/>
                    </a:lnTo>
                    <a:lnTo>
                      <a:pt x="1254" y="45"/>
                    </a:lnTo>
                    <a:lnTo>
                      <a:pt x="1256" y="44"/>
                    </a:lnTo>
                    <a:lnTo>
                      <a:pt x="1258" y="44"/>
                    </a:lnTo>
                    <a:lnTo>
                      <a:pt x="1265" y="44"/>
                    </a:lnTo>
                    <a:lnTo>
                      <a:pt x="1273" y="45"/>
                    </a:lnTo>
                    <a:lnTo>
                      <a:pt x="1280" y="46"/>
                    </a:lnTo>
                    <a:lnTo>
                      <a:pt x="1298" y="46"/>
                    </a:lnTo>
                    <a:lnTo>
                      <a:pt x="1304" y="45"/>
                    </a:lnTo>
                    <a:lnTo>
                      <a:pt x="1313" y="47"/>
                    </a:lnTo>
                    <a:lnTo>
                      <a:pt x="1322" y="51"/>
                    </a:lnTo>
                    <a:lnTo>
                      <a:pt x="1328" y="53"/>
                    </a:lnTo>
                    <a:lnTo>
                      <a:pt x="1335" y="55"/>
                    </a:lnTo>
                    <a:lnTo>
                      <a:pt x="1342" y="57"/>
                    </a:lnTo>
                    <a:lnTo>
                      <a:pt x="1344" y="56"/>
                    </a:lnTo>
                    <a:lnTo>
                      <a:pt x="1346" y="55"/>
                    </a:lnTo>
                    <a:lnTo>
                      <a:pt x="1349" y="55"/>
                    </a:lnTo>
                    <a:lnTo>
                      <a:pt x="1351" y="55"/>
                    </a:lnTo>
                    <a:lnTo>
                      <a:pt x="1355" y="56"/>
                    </a:lnTo>
                    <a:lnTo>
                      <a:pt x="1360" y="57"/>
                    </a:lnTo>
                    <a:lnTo>
                      <a:pt x="1362" y="57"/>
                    </a:lnTo>
                    <a:lnTo>
                      <a:pt x="1363" y="58"/>
                    </a:lnTo>
                    <a:lnTo>
                      <a:pt x="1365" y="61"/>
                    </a:lnTo>
                    <a:lnTo>
                      <a:pt x="1366" y="63"/>
                    </a:lnTo>
                    <a:lnTo>
                      <a:pt x="1367" y="64"/>
                    </a:lnTo>
                    <a:lnTo>
                      <a:pt x="1368" y="66"/>
                    </a:lnTo>
                    <a:lnTo>
                      <a:pt x="1368" y="68"/>
                    </a:lnTo>
                    <a:lnTo>
                      <a:pt x="1367" y="71"/>
                    </a:lnTo>
                    <a:lnTo>
                      <a:pt x="1367" y="73"/>
                    </a:lnTo>
                    <a:lnTo>
                      <a:pt x="1367" y="75"/>
                    </a:lnTo>
                    <a:lnTo>
                      <a:pt x="1368" y="76"/>
                    </a:lnTo>
                    <a:lnTo>
                      <a:pt x="1371" y="78"/>
                    </a:lnTo>
                    <a:lnTo>
                      <a:pt x="1373" y="78"/>
                    </a:lnTo>
                    <a:lnTo>
                      <a:pt x="1375" y="78"/>
                    </a:lnTo>
                    <a:lnTo>
                      <a:pt x="1377" y="78"/>
                    </a:lnTo>
                    <a:lnTo>
                      <a:pt x="1378" y="77"/>
                    </a:lnTo>
                    <a:lnTo>
                      <a:pt x="1379" y="76"/>
                    </a:lnTo>
                    <a:lnTo>
                      <a:pt x="1380" y="76"/>
                    </a:lnTo>
                    <a:lnTo>
                      <a:pt x="1382" y="76"/>
                    </a:lnTo>
                    <a:lnTo>
                      <a:pt x="1383" y="76"/>
                    </a:lnTo>
                    <a:lnTo>
                      <a:pt x="1385" y="77"/>
                    </a:lnTo>
                    <a:lnTo>
                      <a:pt x="1387" y="79"/>
                    </a:lnTo>
                    <a:lnTo>
                      <a:pt x="1389" y="82"/>
                    </a:lnTo>
                    <a:lnTo>
                      <a:pt x="1393" y="84"/>
                    </a:lnTo>
                    <a:lnTo>
                      <a:pt x="1395" y="85"/>
                    </a:lnTo>
                    <a:lnTo>
                      <a:pt x="1398" y="86"/>
                    </a:lnTo>
                    <a:lnTo>
                      <a:pt x="1401" y="88"/>
                    </a:lnTo>
                    <a:lnTo>
                      <a:pt x="1405" y="90"/>
                    </a:lnTo>
                    <a:lnTo>
                      <a:pt x="1408" y="93"/>
                    </a:lnTo>
                    <a:lnTo>
                      <a:pt x="1409" y="95"/>
                    </a:lnTo>
                    <a:lnTo>
                      <a:pt x="1411" y="97"/>
                    </a:lnTo>
                    <a:lnTo>
                      <a:pt x="1413" y="99"/>
                    </a:lnTo>
                    <a:lnTo>
                      <a:pt x="1416" y="101"/>
                    </a:lnTo>
                    <a:lnTo>
                      <a:pt x="1418" y="104"/>
                    </a:lnTo>
                    <a:lnTo>
                      <a:pt x="1418" y="106"/>
                    </a:lnTo>
                    <a:lnTo>
                      <a:pt x="1418" y="107"/>
                    </a:lnTo>
                    <a:lnTo>
                      <a:pt x="1417" y="108"/>
                    </a:lnTo>
                    <a:lnTo>
                      <a:pt x="1417" y="108"/>
                    </a:lnTo>
                    <a:lnTo>
                      <a:pt x="1416" y="110"/>
                    </a:lnTo>
                    <a:lnTo>
                      <a:pt x="1413" y="110"/>
                    </a:lnTo>
                    <a:lnTo>
                      <a:pt x="1412" y="112"/>
                    </a:lnTo>
                    <a:lnTo>
                      <a:pt x="1411" y="115"/>
                    </a:lnTo>
                    <a:lnTo>
                      <a:pt x="1410" y="116"/>
                    </a:lnTo>
                    <a:lnTo>
                      <a:pt x="1409" y="116"/>
                    </a:lnTo>
                    <a:lnTo>
                      <a:pt x="1409" y="117"/>
                    </a:lnTo>
                    <a:lnTo>
                      <a:pt x="1407" y="117"/>
                    </a:lnTo>
                    <a:lnTo>
                      <a:pt x="1400" y="117"/>
                    </a:lnTo>
                    <a:lnTo>
                      <a:pt x="1398" y="117"/>
                    </a:lnTo>
                    <a:lnTo>
                      <a:pt x="1396" y="118"/>
                    </a:lnTo>
                    <a:lnTo>
                      <a:pt x="1395" y="119"/>
                    </a:lnTo>
                    <a:lnTo>
                      <a:pt x="1393" y="119"/>
                    </a:lnTo>
                    <a:lnTo>
                      <a:pt x="1389" y="119"/>
                    </a:lnTo>
                    <a:lnTo>
                      <a:pt x="1382" y="118"/>
                    </a:lnTo>
                    <a:lnTo>
                      <a:pt x="1375" y="117"/>
                    </a:lnTo>
                    <a:lnTo>
                      <a:pt x="1366" y="115"/>
                    </a:lnTo>
                    <a:lnTo>
                      <a:pt x="1362" y="112"/>
                    </a:lnTo>
                    <a:lnTo>
                      <a:pt x="1358" y="112"/>
                    </a:lnTo>
                    <a:lnTo>
                      <a:pt x="1354" y="111"/>
                    </a:lnTo>
                    <a:lnTo>
                      <a:pt x="1351" y="110"/>
                    </a:lnTo>
                    <a:lnTo>
                      <a:pt x="1340" y="110"/>
                    </a:lnTo>
                    <a:lnTo>
                      <a:pt x="1333" y="108"/>
                    </a:lnTo>
                    <a:lnTo>
                      <a:pt x="1329" y="109"/>
                    </a:lnTo>
                    <a:lnTo>
                      <a:pt x="1324" y="110"/>
                    </a:lnTo>
                    <a:lnTo>
                      <a:pt x="1320" y="110"/>
                    </a:lnTo>
                    <a:lnTo>
                      <a:pt x="1309" y="110"/>
                    </a:lnTo>
                    <a:lnTo>
                      <a:pt x="1306" y="110"/>
                    </a:lnTo>
                    <a:lnTo>
                      <a:pt x="1303" y="110"/>
                    </a:lnTo>
                    <a:lnTo>
                      <a:pt x="1301" y="110"/>
                    </a:lnTo>
                    <a:lnTo>
                      <a:pt x="1300" y="111"/>
                    </a:lnTo>
                    <a:lnTo>
                      <a:pt x="1300" y="112"/>
                    </a:lnTo>
                    <a:lnTo>
                      <a:pt x="1300" y="112"/>
                    </a:lnTo>
                    <a:lnTo>
                      <a:pt x="1300" y="115"/>
                    </a:lnTo>
                    <a:lnTo>
                      <a:pt x="1300" y="117"/>
                    </a:lnTo>
                    <a:lnTo>
                      <a:pt x="1301" y="119"/>
                    </a:lnTo>
                    <a:lnTo>
                      <a:pt x="1302" y="121"/>
                    </a:lnTo>
                    <a:lnTo>
                      <a:pt x="1304" y="123"/>
                    </a:lnTo>
                    <a:lnTo>
                      <a:pt x="1307" y="124"/>
                    </a:lnTo>
                    <a:lnTo>
                      <a:pt x="1309" y="124"/>
                    </a:lnTo>
                    <a:lnTo>
                      <a:pt x="1310" y="123"/>
                    </a:lnTo>
                    <a:lnTo>
                      <a:pt x="1311" y="122"/>
                    </a:lnTo>
                    <a:lnTo>
                      <a:pt x="1312" y="121"/>
                    </a:lnTo>
                    <a:lnTo>
                      <a:pt x="1313" y="120"/>
                    </a:lnTo>
                    <a:lnTo>
                      <a:pt x="1313" y="119"/>
                    </a:lnTo>
                    <a:lnTo>
                      <a:pt x="1314" y="118"/>
                    </a:lnTo>
                    <a:lnTo>
                      <a:pt x="1318" y="118"/>
                    </a:lnTo>
                    <a:lnTo>
                      <a:pt x="1320" y="118"/>
                    </a:lnTo>
                    <a:lnTo>
                      <a:pt x="1323" y="118"/>
                    </a:lnTo>
                    <a:lnTo>
                      <a:pt x="1327" y="119"/>
                    </a:lnTo>
                    <a:lnTo>
                      <a:pt x="1330" y="120"/>
                    </a:lnTo>
                    <a:lnTo>
                      <a:pt x="1332" y="120"/>
                    </a:lnTo>
                    <a:lnTo>
                      <a:pt x="1335" y="120"/>
                    </a:lnTo>
                    <a:lnTo>
                      <a:pt x="1338" y="119"/>
                    </a:lnTo>
                    <a:lnTo>
                      <a:pt x="1343" y="117"/>
                    </a:lnTo>
                    <a:lnTo>
                      <a:pt x="1350" y="117"/>
                    </a:lnTo>
                    <a:lnTo>
                      <a:pt x="1360" y="119"/>
                    </a:lnTo>
                    <a:lnTo>
                      <a:pt x="1371" y="123"/>
                    </a:lnTo>
                    <a:lnTo>
                      <a:pt x="1383" y="128"/>
                    </a:lnTo>
                    <a:lnTo>
                      <a:pt x="1387" y="129"/>
                    </a:lnTo>
                    <a:lnTo>
                      <a:pt x="1390" y="131"/>
                    </a:lnTo>
                    <a:lnTo>
                      <a:pt x="1393" y="134"/>
                    </a:lnTo>
                    <a:lnTo>
                      <a:pt x="1394" y="138"/>
                    </a:lnTo>
                    <a:lnTo>
                      <a:pt x="1395" y="141"/>
                    </a:lnTo>
                    <a:lnTo>
                      <a:pt x="1394" y="142"/>
                    </a:lnTo>
                    <a:lnTo>
                      <a:pt x="1393" y="143"/>
                    </a:lnTo>
                    <a:lnTo>
                      <a:pt x="1391" y="143"/>
                    </a:lnTo>
                    <a:lnTo>
                      <a:pt x="1388" y="143"/>
                    </a:lnTo>
                    <a:lnTo>
                      <a:pt x="1386" y="144"/>
                    </a:lnTo>
                    <a:lnTo>
                      <a:pt x="1383" y="144"/>
                    </a:lnTo>
                    <a:lnTo>
                      <a:pt x="1382" y="145"/>
                    </a:lnTo>
                    <a:lnTo>
                      <a:pt x="1379" y="147"/>
                    </a:lnTo>
                    <a:lnTo>
                      <a:pt x="1377" y="149"/>
                    </a:lnTo>
                    <a:lnTo>
                      <a:pt x="1376" y="151"/>
                    </a:lnTo>
                    <a:lnTo>
                      <a:pt x="1376" y="153"/>
                    </a:lnTo>
                    <a:lnTo>
                      <a:pt x="1378" y="155"/>
                    </a:lnTo>
                    <a:lnTo>
                      <a:pt x="1382" y="155"/>
                    </a:lnTo>
                    <a:lnTo>
                      <a:pt x="1384" y="154"/>
                    </a:lnTo>
                    <a:lnTo>
                      <a:pt x="1386" y="153"/>
                    </a:lnTo>
                    <a:lnTo>
                      <a:pt x="1388" y="152"/>
                    </a:lnTo>
                    <a:lnTo>
                      <a:pt x="1389" y="152"/>
                    </a:lnTo>
                    <a:lnTo>
                      <a:pt x="1389" y="151"/>
                    </a:lnTo>
                    <a:lnTo>
                      <a:pt x="1393" y="151"/>
                    </a:lnTo>
                    <a:lnTo>
                      <a:pt x="1397" y="150"/>
                    </a:lnTo>
                    <a:lnTo>
                      <a:pt x="1400" y="150"/>
                    </a:lnTo>
                    <a:lnTo>
                      <a:pt x="1405" y="150"/>
                    </a:lnTo>
                    <a:lnTo>
                      <a:pt x="1407" y="149"/>
                    </a:lnTo>
                    <a:lnTo>
                      <a:pt x="1409" y="148"/>
                    </a:lnTo>
                    <a:lnTo>
                      <a:pt x="1410" y="147"/>
                    </a:lnTo>
                    <a:lnTo>
                      <a:pt x="1410" y="144"/>
                    </a:lnTo>
                    <a:lnTo>
                      <a:pt x="1410" y="142"/>
                    </a:lnTo>
                    <a:lnTo>
                      <a:pt x="1409" y="140"/>
                    </a:lnTo>
                    <a:lnTo>
                      <a:pt x="1409" y="138"/>
                    </a:lnTo>
                    <a:lnTo>
                      <a:pt x="1409" y="135"/>
                    </a:lnTo>
                    <a:lnTo>
                      <a:pt x="1410" y="134"/>
                    </a:lnTo>
                    <a:lnTo>
                      <a:pt x="1412" y="133"/>
                    </a:lnTo>
                    <a:lnTo>
                      <a:pt x="1415" y="132"/>
                    </a:lnTo>
                    <a:lnTo>
                      <a:pt x="1418" y="133"/>
                    </a:lnTo>
                    <a:lnTo>
                      <a:pt x="1421" y="134"/>
                    </a:lnTo>
                    <a:lnTo>
                      <a:pt x="1424" y="135"/>
                    </a:lnTo>
                    <a:lnTo>
                      <a:pt x="1427" y="139"/>
                    </a:lnTo>
                    <a:lnTo>
                      <a:pt x="1429" y="142"/>
                    </a:lnTo>
                    <a:lnTo>
                      <a:pt x="1430" y="144"/>
                    </a:lnTo>
                    <a:lnTo>
                      <a:pt x="1431" y="148"/>
                    </a:lnTo>
                    <a:lnTo>
                      <a:pt x="1431" y="149"/>
                    </a:lnTo>
                    <a:lnTo>
                      <a:pt x="1434" y="160"/>
                    </a:lnTo>
                    <a:lnTo>
                      <a:pt x="1440" y="171"/>
                    </a:lnTo>
                    <a:lnTo>
                      <a:pt x="1440" y="180"/>
                    </a:lnTo>
                    <a:lnTo>
                      <a:pt x="1439" y="182"/>
                    </a:lnTo>
                    <a:lnTo>
                      <a:pt x="1439" y="183"/>
                    </a:lnTo>
                    <a:lnTo>
                      <a:pt x="1440" y="185"/>
                    </a:lnTo>
                    <a:lnTo>
                      <a:pt x="1440" y="186"/>
                    </a:lnTo>
                    <a:lnTo>
                      <a:pt x="1440" y="191"/>
                    </a:lnTo>
                    <a:lnTo>
                      <a:pt x="1440" y="193"/>
                    </a:lnTo>
                    <a:lnTo>
                      <a:pt x="1438" y="195"/>
                    </a:lnTo>
                    <a:lnTo>
                      <a:pt x="1437" y="197"/>
                    </a:lnTo>
                    <a:lnTo>
                      <a:pt x="1436" y="199"/>
                    </a:lnTo>
                    <a:lnTo>
                      <a:pt x="1436" y="202"/>
                    </a:lnTo>
                    <a:lnTo>
                      <a:pt x="1436" y="204"/>
                    </a:lnTo>
                    <a:lnTo>
                      <a:pt x="1438" y="208"/>
                    </a:lnTo>
                    <a:lnTo>
                      <a:pt x="1440" y="207"/>
                    </a:lnTo>
                    <a:lnTo>
                      <a:pt x="1441" y="206"/>
                    </a:lnTo>
                    <a:lnTo>
                      <a:pt x="1443" y="205"/>
                    </a:lnTo>
                    <a:lnTo>
                      <a:pt x="1444" y="204"/>
                    </a:lnTo>
                    <a:lnTo>
                      <a:pt x="1444" y="203"/>
                    </a:lnTo>
                    <a:lnTo>
                      <a:pt x="1444" y="200"/>
                    </a:lnTo>
                    <a:lnTo>
                      <a:pt x="1445" y="199"/>
                    </a:lnTo>
                    <a:lnTo>
                      <a:pt x="1445" y="198"/>
                    </a:lnTo>
                    <a:lnTo>
                      <a:pt x="1447" y="197"/>
                    </a:lnTo>
                    <a:lnTo>
                      <a:pt x="1449" y="196"/>
                    </a:lnTo>
                    <a:lnTo>
                      <a:pt x="1450" y="195"/>
                    </a:lnTo>
                    <a:lnTo>
                      <a:pt x="1451" y="194"/>
                    </a:lnTo>
                    <a:lnTo>
                      <a:pt x="1451" y="193"/>
                    </a:lnTo>
                    <a:lnTo>
                      <a:pt x="1451" y="184"/>
                    </a:lnTo>
                    <a:lnTo>
                      <a:pt x="1451" y="182"/>
                    </a:lnTo>
                    <a:lnTo>
                      <a:pt x="1452" y="181"/>
                    </a:lnTo>
                    <a:lnTo>
                      <a:pt x="1452" y="180"/>
                    </a:lnTo>
                    <a:lnTo>
                      <a:pt x="1453" y="177"/>
                    </a:lnTo>
                    <a:lnTo>
                      <a:pt x="1453" y="175"/>
                    </a:lnTo>
                    <a:lnTo>
                      <a:pt x="1454" y="173"/>
                    </a:lnTo>
                    <a:lnTo>
                      <a:pt x="1455" y="172"/>
                    </a:lnTo>
                    <a:lnTo>
                      <a:pt x="1455" y="170"/>
                    </a:lnTo>
                    <a:lnTo>
                      <a:pt x="1455" y="167"/>
                    </a:lnTo>
                    <a:lnTo>
                      <a:pt x="1454" y="165"/>
                    </a:lnTo>
                    <a:lnTo>
                      <a:pt x="1451" y="162"/>
                    </a:lnTo>
                    <a:lnTo>
                      <a:pt x="1450" y="161"/>
                    </a:lnTo>
                    <a:lnTo>
                      <a:pt x="1450" y="160"/>
                    </a:lnTo>
                    <a:lnTo>
                      <a:pt x="1450" y="160"/>
                    </a:lnTo>
                    <a:lnTo>
                      <a:pt x="1452" y="160"/>
                    </a:lnTo>
                    <a:lnTo>
                      <a:pt x="1453" y="161"/>
                    </a:lnTo>
                    <a:lnTo>
                      <a:pt x="1454" y="161"/>
                    </a:lnTo>
                    <a:lnTo>
                      <a:pt x="1455" y="162"/>
                    </a:lnTo>
                    <a:lnTo>
                      <a:pt x="1462" y="169"/>
                    </a:lnTo>
                    <a:lnTo>
                      <a:pt x="1464" y="171"/>
                    </a:lnTo>
                    <a:lnTo>
                      <a:pt x="1466" y="172"/>
                    </a:lnTo>
                    <a:lnTo>
                      <a:pt x="1467" y="173"/>
                    </a:lnTo>
                    <a:lnTo>
                      <a:pt x="1469" y="173"/>
                    </a:lnTo>
                    <a:lnTo>
                      <a:pt x="1471" y="173"/>
                    </a:lnTo>
                    <a:lnTo>
                      <a:pt x="1472" y="174"/>
                    </a:lnTo>
                    <a:lnTo>
                      <a:pt x="1473" y="175"/>
                    </a:lnTo>
                    <a:lnTo>
                      <a:pt x="1474" y="176"/>
                    </a:lnTo>
                    <a:lnTo>
                      <a:pt x="1476" y="178"/>
                    </a:lnTo>
                    <a:lnTo>
                      <a:pt x="1477" y="180"/>
                    </a:lnTo>
                    <a:lnTo>
                      <a:pt x="1481" y="182"/>
                    </a:lnTo>
                    <a:lnTo>
                      <a:pt x="1483" y="183"/>
                    </a:lnTo>
                    <a:lnTo>
                      <a:pt x="1485" y="183"/>
                    </a:lnTo>
                    <a:lnTo>
                      <a:pt x="1486" y="183"/>
                    </a:lnTo>
                    <a:lnTo>
                      <a:pt x="1487" y="182"/>
                    </a:lnTo>
                    <a:lnTo>
                      <a:pt x="1487" y="180"/>
                    </a:lnTo>
                    <a:lnTo>
                      <a:pt x="1486" y="177"/>
                    </a:lnTo>
                    <a:lnTo>
                      <a:pt x="1484" y="175"/>
                    </a:lnTo>
                    <a:lnTo>
                      <a:pt x="1481" y="173"/>
                    </a:lnTo>
                    <a:lnTo>
                      <a:pt x="1477" y="171"/>
                    </a:lnTo>
                    <a:lnTo>
                      <a:pt x="1474" y="169"/>
                    </a:lnTo>
                    <a:lnTo>
                      <a:pt x="1472" y="166"/>
                    </a:lnTo>
                    <a:lnTo>
                      <a:pt x="1471" y="164"/>
                    </a:lnTo>
                    <a:lnTo>
                      <a:pt x="1469" y="162"/>
                    </a:lnTo>
                    <a:lnTo>
                      <a:pt x="1467" y="161"/>
                    </a:lnTo>
                    <a:lnTo>
                      <a:pt x="1465" y="160"/>
                    </a:lnTo>
                    <a:lnTo>
                      <a:pt x="1464" y="160"/>
                    </a:lnTo>
                    <a:lnTo>
                      <a:pt x="1463" y="159"/>
                    </a:lnTo>
                    <a:lnTo>
                      <a:pt x="1463" y="158"/>
                    </a:lnTo>
                    <a:lnTo>
                      <a:pt x="1464" y="158"/>
                    </a:lnTo>
                    <a:lnTo>
                      <a:pt x="1465" y="158"/>
                    </a:lnTo>
                    <a:lnTo>
                      <a:pt x="1466" y="158"/>
                    </a:lnTo>
                    <a:lnTo>
                      <a:pt x="1467" y="158"/>
                    </a:lnTo>
                    <a:lnTo>
                      <a:pt x="1470" y="159"/>
                    </a:lnTo>
                    <a:lnTo>
                      <a:pt x="1471" y="160"/>
                    </a:lnTo>
                    <a:lnTo>
                      <a:pt x="1472" y="161"/>
                    </a:lnTo>
                    <a:lnTo>
                      <a:pt x="1474" y="163"/>
                    </a:lnTo>
                    <a:lnTo>
                      <a:pt x="1476" y="165"/>
                    </a:lnTo>
                    <a:lnTo>
                      <a:pt x="1478" y="167"/>
                    </a:lnTo>
                    <a:lnTo>
                      <a:pt x="1481" y="170"/>
                    </a:lnTo>
                    <a:lnTo>
                      <a:pt x="1483" y="171"/>
                    </a:lnTo>
                    <a:lnTo>
                      <a:pt x="1485" y="173"/>
                    </a:lnTo>
                    <a:lnTo>
                      <a:pt x="1486" y="173"/>
                    </a:lnTo>
                    <a:lnTo>
                      <a:pt x="1486" y="173"/>
                    </a:lnTo>
                    <a:lnTo>
                      <a:pt x="1486" y="171"/>
                    </a:lnTo>
                    <a:lnTo>
                      <a:pt x="1485" y="169"/>
                    </a:lnTo>
                    <a:lnTo>
                      <a:pt x="1484" y="166"/>
                    </a:lnTo>
                    <a:lnTo>
                      <a:pt x="1484" y="165"/>
                    </a:lnTo>
                    <a:lnTo>
                      <a:pt x="1485" y="165"/>
                    </a:lnTo>
                    <a:lnTo>
                      <a:pt x="1487" y="164"/>
                    </a:lnTo>
                    <a:lnTo>
                      <a:pt x="1488" y="164"/>
                    </a:lnTo>
                    <a:lnTo>
                      <a:pt x="1489" y="163"/>
                    </a:lnTo>
                    <a:lnTo>
                      <a:pt x="1492" y="164"/>
                    </a:lnTo>
                    <a:lnTo>
                      <a:pt x="1493" y="164"/>
                    </a:lnTo>
                    <a:lnTo>
                      <a:pt x="1493" y="164"/>
                    </a:lnTo>
                    <a:lnTo>
                      <a:pt x="1494" y="164"/>
                    </a:lnTo>
                    <a:lnTo>
                      <a:pt x="1495" y="163"/>
                    </a:lnTo>
                    <a:lnTo>
                      <a:pt x="1496" y="163"/>
                    </a:lnTo>
                    <a:lnTo>
                      <a:pt x="1497" y="162"/>
                    </a:lnTo>
                    <a:lnTo>
                      <a:pt x="1499" y="162"/>
                    </a:lnTo>
                    <a:lnTo>
                      <a:pt x="1500" y="163"/>
                    </a:lnTo>
                    <a:lnTo>
                      <a:pt x="1503" y="163"/>
                    </a:lnTo>
                    <a:lnTo>
                      <a:pt x="1506" y="164"/>
                    </a:lnTo>
                    <a:lnTo>
                      <a:pt x="1509" y="166"/>
                    </a:lnTo>
                    <a:lnTo>
                      <a:pt x="1513" y="169"/>
                    </a:lnTo>
                    <a:lnTo>
                      <a:pt x="1515" y="171"/>
                    </a:lnTo>
                    <a:lnTo>
                      <a:pt x="1517" y="173"/>
                    </a:lnTo>
                    <a:lnTo>
                      <a:pt x="1521" y="177"/>
                    </a:lnTo>
                    <a:lnTo>
                      <a:pt x="1526" y="181"/>
                    </a:lnTo>
                    <a:lnTo>
                      <a:pt x="1530" y="184"/>
                    </a:lnTo>
                    <a:lnTo>
                      <a:pt x="1532" y="186"/>
                    </a:lnTo>
                    <a:lnTo>
                      <a:pt x="1536" y="188"/>
                    </a:lnTo>
                    <a:lnTo>
                      <a:pt x="1539" y="191"/>
                    </a:lnTo>
                    <a:lnTo>
                      <a:pt x="1542" y="193"/>
                    </a:lnTo>
                    <a:lnTo>
                      <a:pt x="1544" y="195"/>
                    </a:lnTo>
                    <a:lnTo>
                      <a:pt x="1546" y="197"/>
                    </a:lnTo>
                    <a:lnTo>
                      <a:pt x="1547" y="199"/>
                    </a:lnTo>
                    <a:lnTo>
                      <a:pt x="1546" y="202"/>
                    </a:lnTo>
                    <a:lnTo>
                      <a:pt x="1544" y="204"/>
                    </a:lnTo>
                    <a:lnTo>
                      <a:pt x="1543" y="206"/>
                    </a:lnTo>
                    <a:lnTo>
                      <a:pt x="1542" y="207"/>
                    </a:lnTo>
                    <a:lnTo>
                      <a:pt x="1540" y="209"/>
                    </a:lnTo>
                    <a:lnTo>
                      <a:pt x="1539" y="211"/>
                    </a:lnTo>
                    <a:lnTo>
                      <a:pt x="1539" y="215"/>
                    </a:lnTo>
                    <a:lnTo>
                      <a:pt x="1539" y="216"/>
                    </a:lnTo>
                    <a:lnTo>
                      <a:pt x="1538" y="216"/>
                    </a:lnTo>
                    <a:lnTo>
                      <a:pt x="1536" y="216"/>
                    </a:lnTo>
                    <a:lnTo>
                      <a:pt x="1535" y="215"/>
                    </a:lnTo>
                    <a:lnTo>
                      <a:pt x="1532" y="215"/>
                    </a:lnTo>
                    <a:lnTo>
                      <a:pt x="1531" y="215"/>
                    </a:lnTo>
                    <a:lnTo>
                      <a:pt x="1530" y="216"/>
                    </a:lnTo>
                    <a:lnTo>
                      <a:pt x="1530" y="217"/>
                    </a:lnTo>
                    <a:lnTo>
                      <a:pt x="1530" y="219"/>
                    </a:lnTo>
                    <a:lnTo>
                      <a:pt x="1531" y="220"/>
                    </a:lnTo>
                    <a:lnTo>
                      <a:pt x="1533" y="222"/>
                    </a:lnTo>
                    <a:lnTo>
                      <a:pt x="1535" y="224"/>
                    </a:lnTo>
                    <a:lnTo>
                      <a:pt x="1535" y="226"/>
                    </a:lnTo>
                    <a:lnTo>
                      <a:pt x="1535" y="228"/>
                    </a:lnTo>
                    <a:lnTo>
                      <a:pt x="1530" y="228"/>
                    </a:lnTo>
                    <a:lnTo>
                      <a:pt x="1529" y="228"/>
                    </a:lnTo>
                    <a:lnTo>
                      <a:pt x="1529" y="229"/>
                    </a:lnTo>
                    <a:lnTo>
                      <a:pt x="1529" y="230"/>
                    </a:lnTo>
                    <a:lnTo>
                      <a:pt x="1529" y="231"/>
                    </a:lnTo>
                    <a:lnTo>
                      <a:pt x="1528" y="232"/>
                    </a:lnTo>
                    <a:lnTo>
                      <a:pt x="1526" y="232"/>
                    </a:lnTo>
                    <a:lnTo>
                      <a:pt x="1525" y="232"/>
                    </a:lnTo>
                    <a:lnTo>
                      <a:pt x="1522" y="231"/>
                    </a:lnTo>
                    <a:lnTo>
                      <a:pt x="1520" y="230"/>
                    </a:lnTo>
                    <a:lnTo>
                      <a:pt x="1519" y="230"/>
                    </a:lnTo>
                    <a:lnTo>
                      <a:pt x="1517" y="229"/>
                    </a:lnTo>
                    <a:lnTo>
                      <a:pt x="1515" y="228"/>
                    </a:lnTo>
                    <a:lnTo>
                      <a:pt x="1513" y="227"/>
                    </a:lnTo>
                    <a:lnTo>
                      <a:pt x="1510" y="226"/>
                    </a:lnTo>
                    <a:lnTo>
                      <a:pt x="1507" y="224"/>
                    </a:lnTo>
                    <a:lnTo>
                      <a:pt x="1503" y="221"/>
                    </a:lnTo>
                    <a:lnTo>
                      <a:pt x="1499" y="219"/>
                    </a:lnTo>
                    <a:lnTo>
                      <a:pt x="1499" y="219"/>
                    </a:lnTo>
                    <a:lnTo>
                      <a:pt x="1499" y="220"/>
                    </a:lnTo>
                    <a:lnTo>
                      <a:pt x="1499" y="221"/>
                    </a:lnTo>
                    <a:lnTo>
                      <a:pt x="1500" y="224"/>
                    </a:lnTo>
                    <a:lnTo>
                      <a:pt x="1500" y="225"/>
                    </a:lnTo>
                    <a:lnTo>
                      <a:pt x="1500" y="227"/>
                    </a:lnTo>
                    <a:lnTo>
                      <a:pt x="1500" y="228"/>
                    </a:lnTo>
                    <a:lnTo>
                      <a:pt x="1499" y="228"/>
                    </a:lnTo>
                    <a:lnTo>
                      <a:pt x="1498" y="228"/>
                    </a:lnTo>
                    <a:lnTo>
                      <a:pt x="1497" y="227"/>
                    </a:lnTo>
                    <a:lnTo>
                      <a:pt x="1495" y="227"/>
                    </a:lnTo>
                    <a:lnTo>
                      <a:pt x="1494" y="226"/>
                    </a:lnTo>
                    <a:lnTo>
                      <a:pt x="1492" y="225"/>
                    </a:lnTo>
                    <a:lnTo>
                      <a:pt x="1491" y="225"/>
                    </a:lnTo>
                    <a:lnTo>
                      <a:pt x="1489" y="225"/>
                    </a:lnTo>
                    <a:lnTo>
                      <a:pt x="1489" y="226"/>
                    </a:lnTo>
                    <a:lnTo>
                      <a:pt x="1491" y="228"/>
                    </a:lnTo>
                    <a:lnTo>
                      <a:pt x="1493" y="230"/>
                    </a:lnTo>
                    <a:lnTo>
                      <a:pt x="1495" y="231"/>
                    </a:lnTo>
                    <a:lnTo>
                      <a:pt x="1496" y="232"/>
                    </a:lnTo>
                    <a:lnTo>
                      <a:pt x="1498" y="233"/>
                    </a:lnTo>
                    <a:lnTo>
                      <a:pt x="1499" y="235"/>
                    </a:lnTo>
                    <a:lnTo>
                      <a:pt x="1502" y="233"/>
                    </a:lnTo>
                    <a:lnTo>
                      <a:pt x="1503" y="233"/>
                    </a:lnTo>
                    <a:lnTo>
                      <a:pt x="1504" y="232"/>
                    </a:lnTo>
                    <a:lnTo>
                      <a:pt x="1505" y="231"/>
                    </a:lnTo>
                    <a:lnTo>
                      <a:pt x="1506" y="232"/>
                    </a:lnTo>
                    <a:lnTo>
                      <a:pt x="1514" y="236"/>
                    </a:lnTo>
                    <a:lnTo>
                      <a:pt x="1524" y="240"/>
                    </a:lnTo>
                    <a:lnTo>
                      <a:pt x="1530" y="248"/>
                    </a:lnTo>
                    <a:lnTo>
                      <a:pt x="1531" y="251"/>
                    </a:lnTo>
                    <a:lnTo>
                      <a:pt x="1530" y="254"/>
                    </a:lnTo>
                    <a:lnTo>
                      <a:pt x="1528" y="257"/>
                    </a:lnTo>
                    <a:lnTo>
                      <a:pt x="1526" y="259"/>
                    </a:lnTo>
                    <a:lnTo>
                      <a:pt x="1522" y="259"/>
                    </a:lnTo>
                    <a:lnTo>
                      <a:pt x="1517" y="257"/>
                    </a:lnTo>
                    <a:lnTo>
                      <a:pt x="1511" y="253"/>
                    </a:lnTo>
                    <a:lnTo>
                      <a:pt x="1506" y="250"/>
                    </a:lnTo>
                    <a:lnTo>
                      <a:pt x="1502" y="248"/>
                    </a:lnTo>
                    <a:lnTo>
                      <a:pt x="1498" y="247"/>
                    </a:lnTo>
                    <a:lnTo>
                      <a:pt x="1496" y="246"/>
                    </a:lnTo>
                    <a:lnTo>
                      <a:pt x="1494" y="246"/>
                    </a:lnTo>
                    <a:lnTo>
                      <a:pt x="1493" y="247"/>
                    </a:lnTo>
                    <a:lnTo>
                      <a:pt x="1492" y="249"/>
                    </a:lnTo>
                    <a:lnTo>
                      <a:pt x="1492" y="250"/>
                    </a:lnTo>
                    <a:lnTo>
                      <a:pt x="1493" y="252"/>
                    </a:lnTo>
                    <a:lnTo>
                      <a:pt x="1493" y="254"/>
                    </a:lnTo>
                    <a:lnTo>
                      <a:pt x="1494" y="258"/>
                    </a:lnTo>
                    <a:lnTo>
                      <a:pt x="1495" y="261"/>
                    </a:lnTo>
                    <a:lnTo>
                      <a:pt x="1496" y="265"/>
                    </a:lnTo>
                    <a:lnTo>
                      <a:pt x="1498" y="268"/>
                    </a:lnTo>
                    <a:lnTo>
                      <a:pt x="1502" y="270"/>
                    </a:lnTo>
                    <a:lnTo>
                      <a:pt x="1504" y="270"/>
                    </a:lnTo>
                    <a:lnTo>
                      <a:pt x="1505" y="270"/>
                    </a:lnTo>
                    <a:lnTo>
                      <a:pt x="1505" y="269"/>
                    </a:lnTo>
                    <a:lnTo>
                      <a:pt x="1505" y="268"/>
                    </a:lnTo>
                    <a:lnTo>
                      <a:pt x="1505" y="265"/>
                    </a:lnTo>
                    <a:lnTo>
                      <a:pt x="1505" y="263"/>
                    </a:lnTo>
                    <a:lnTo>
                      <a:pt x="1504" y="261"/>
                    </a:lnTo>
                    <a:lnTo>
                      <a:pt x="1504" y="260"/>
                    </a:lnTo>
                    <a:lnTo>
                      <a:pt x="1504" y="259"/>
                    </a:lnTo>
                    <a:lnTo>
                      <a:pt x="1504" y="258"/>
                    </a:lnTo>
                    <a:lnTo>
                      <a:pt x="1506" y="258"/>
                    </a:lnTo>
                    <a:lnTo>
                      <a:pt x="1507" y="259"/>
                    </a:lnTo>
                    <a:lnTo>
                      <a:pt x="1509" y="260"/>
                    </a:lnTo>
                    <a:lnTo>
                      <a:pt x="1510" y="261"/>
                    </a:lnTo>
                    <a:lnTo>
                      <a:pt x="1514" y="261"/>
                    </a:lnTo>
                    <a:lnTo>
                      <a:pt x="1517" y="261"/>
                    </a:lnTo>
                    <a:lnTo>
                      <a:pt x="1521" y="261"/>
                    </a:lnTo>
                    <a:lnTo>
                      <a:pt x="1525" y="263"/>
                    </a:lnTo>
                    <a:lnTo>
                      <a:pt x="1526" y="265"/>
                    </a:lnTo>
                    <a:lnTo>
                      <a:pt x="1527" y="268"/>
                    </a:lnTo>
                    <a:lnTo>
                      <a:pt x="1527" y="270"/>
                    </a:lnTo>
                    <a:lnTo>
                      <a:pt x="1527" y="272"/>
                    </a:lnTo>
                    <a:lnTo>
                      <a:pt x="1526" y="274"/>
                    </a:lnTo>
                    <a:lnTo>
                      <a:pt x="1526" y="276"/>
                    </a:lnTo>
                    <a:lnTo>
                      <a:pt x="1526" y="276"/>
                    </a:lnTo>
                    <a:lnTo>
                      <a:pt x="1526" y="278"/>
                    </a:lnTo>
                    <a:lnTo>
                      <a:pt x="1526" y="279"/>
                    </a:lnTo>
                    <a:lnTo>
                      <a:pt x="1525" y="280"/>
                    </a:lnTo>
                    <a:lnTo>
                      <a:pt x="1525" y="281"/>
                    </a:lnTo>
                    <a:lnTo>
                      <a:pt x="1524" y="281"/>
                    </a:lnTo>
                    <a:lnTo>
                      <a:pt x="1520" y="280"/>
                    </a:lnTo>
                    <a:lnTo>
                      <a:pt x="1518" y="280"/>
                    </a:lnTo>
                    <a:lnTo>
                      <a:pt x="1516" y="279"/>
                    </a:lnTo>
                    <a:lnTo>
                      <a:pt x="1515" y="279"/>
                    </a:lnTo>
                    <a:lnTo>
                      <a:pt x="1513" y="278"/>
                    </a:lnTo>
                    <a:lnTo>
                      <a:pt x="1511" y="279"/>
                    </a:lnTo>
                    <a:lnTo>
                      <a:pt x="1511" y="280"/>
                    </a:lnTo>
                    <a:lnTo>
                      <a:pt x="1511" y="282"/>
                    </a:lnTo>
                    <a:lnTo>
                      <a:pt x="1511" y="284"/>
                    </a:lnTo>
                    <a:lnTo>
                      <a:pt x="1513" y="287"/>
                    </a:lnTo>
                    <a:lnTo>
                      <a:pt x="1513" y="290"/>
                    </a:lnTo>
                    <a:lnTo>
                      <a:pt x="1514" y="292"/>
                    </a:lnTo>
                    <a:lnTo>
                      <a:pt x="1515" y="294"/>
                    </a:lnTo>
                    <a:lnTo>
                      <a:pt x="1517" y="295"/>
                    </a:lnTo>
                    <a:lnTo>
                      <a:pt x="1519" y="297"/>
                    </a:lnTo>
                    <a:lnTo>
                      <a:pt x="1521" y="297"/>
                    </a:lnTo>
                    <a:lnTo>
                      <a:pt x="1521" y="300"/>
                    </a:lnTo>
                    <a:lnTo>
                      <a:pt x="1522" y="300"/>
                    </a:lnTo>
                    <a:lnTo>
                      <a:pt x="1524" y="301"/>
                    </a:lnTo>
                    <a:lnTo>
                      <a:pt x="1526" y="302"/>
                    </a:lnTo>
                    <a:lnTo>
                      <a:pt x="1527" y="304"/>
                    </a:lnTo>
                    <a:lnTo>
                      <a:pt x="1527" y="306"/>
                    </a:lnTo>
                    <a:lnTo>
                      <a:pt x="1526" y="307"/>
                    </a:lnTo>
                    <a:lnTo>
                      <a:pt x="1525" y="307"/>
                    </a:lnTo>
                    <a:lnTo>
                      <a:pt x="1524" y="308"/>
                    </a:lnTo>
                    <a:lnTo>
                      <a:pt x="1521" y="308"/>
                    </a:lnTo>
                    <a:lnTo>
                      <a:pt x="1520" y="309"/>
                    </a:lnTo>
                    <a:lnTo>
                      <a:pt x="1519" y="309"/>
                    </a:lnTo>
                    <a:lnTo>
                      <a:pt x="1519" y="311"/>
                    </a:lnTo>
                    <a:lnTo>
                      <a:pt x="1519" y="313"/>
                    </a:lnTo>
                    <a:lnTo>
                      <a:pt x="1520" y="315"/>
                    </a:lnTo>
                    <a:lnTo>
                      <a:pt x="1521" y="318"/>
                    </a:lnTo>
                    <a:lnTo>
                      <a:pt x="1521" y="319"/>
                    </a:lnTo>
                    <a:lnTo>
                      <a:pt x="1522" y="320"/>
                    </a:lnTo>
                    <a:lnTo>
                      <a:pt x="1522" y="322"/>
                    </a:lnTo>
                    <a:lnTo>
                      <a:pt x="1521" y="322"/>
                    </a:lnTo>
                    <a:lnTo>
                      <a:pt x="1519" y="322"/>
                    </a:lnTo>
                    <a:lnTo>
                      <a:pt x="1517" y="322"/>
                    </a:lnTo>
                    <a:lnTo>
                      <a:pt x="1515" y="323"/>
                    </a:lnTo>
                    <a:lnTo>
                      <a:pt x="1514" y="323"/>
                    </a:lnTo>
                    <a:lnTo>
                      <a:pt x="1513" y="325"/>
                    </a:lnTo>
                    <a:lnTo>
                      <a:pt x="1513" y="326"/>
                    </a:lnTo>
                    <a:lnTo>
                      <a:pt x="1513" y="328"/>
                    </a:lnTo>
                    <a:lnTo>
                      <a:pt x="1515" y="339"/>
                    </a:lnTo>
                    <a:lnTo>
                      <a:pt x="1519" y="350"/>
                    </a:lnTo>
                    <a:lnTo>
                      <a:pt x="1520" y="352"/>
                    </a:lnTo>
                    <a:lnTo>
                      <a:pt x="1520" y="355"/>
                    </a:lnTo>
                    <a:lnTo>
                      <a:pt x="1520" y="357"/>
                    </a:lnTo>
                    <a:lnTo>
                      <a:pt x="1519" y="359"/>
                    </a:lnTo>
                    <a:lnTo>
                      <a:pt x="1519" y="361"/>
                    </a:lnTo>
                    <a:lnTo>
                      <a:pt x="1519" y="363"/>
                    </a:lnTo>
                    <a:lnTo>
                      <a:pt x="1519" y="366"/>
                    </a:lnTo>
                    <a:lnTo>
                      <a:pt x="1520" y="368"/>
                    </a:lnTo>
                    <a:lnTo>
                      <a:pt x="1521" y="370"/>
                    </a:lnTo>
                    <a:lnTo>
                      <a:pt x="1522" y="372"/>
                    </a:lnTo>
                    <a:lnTo>
                      <a:pt x="1525" y="373"/>
                    </a:lnTo>
                    <a:lnTo>
                      <a:pt x="1526" y="372"/>
                    </a:lnTo>
                    <a:lnTo>
                      <a:pt x="1526" y="372"/>
                    </a:lnTo>
                    <a:lnTo>
                      <a:pt x="1527" y="370"/>
                    </a:lnTo>
                    <a:lnTo>
                      <a:pt x="1527" y="369"/>
                    </a:lnTo>
                    <a:lnTo>
                      <a:pt x="1528" y="368"/>
                    </a:lnTo>
                    <a:lnTo>
                      <a:pt x="1528" y="367"/>
                    </a:lnTo>
                    <a:lnTo>
                      <a:pt x="1529" y="366"/>
                    </a:lnTo>
                    <a:lnTo>
                      <a:pt x="1530" y="366"/>
                    </a:lnTo>
                    <a:lnTo>
                      <a:pt x="1532" y="368"/>
                    </a:lnTo>
                    <a:lnTo>
                      <a:pt x="1535" y="370"/>
                    </a:lnTo>
                    <a:lnTo>
                      <a:pt x="1537" y="372"/>
                    </a:lnTo>
                    <a:lnTo>
                      <a:pt x="1539" y="374"/>
                    </a:lnTo>
                    <a:lnTo>
                      <a:pt x="1541" y="377"/>
                    </a:lnTo>
                    <a:lnTo>
                      <a:pt x="1548" y="383"/>
                    </a:lnTo>
                    <a:lnTo>
                      <a:pt x="1549" y="385"/>
                    </a:lnTo>
                    <a:lnTo>
                      <a:pt x="1549" y="386"/>
                    </a:lnTo>
                    <a:lnTo>
                      <a:pt x="1549" y="388"/>
                    </a:lnTo>
                    <a:lnTo>
                      <a:pt x="1548" y="388"/>
                    </a:lnTo>
                    <a:lnTo>
                      <a:pt x="1547" y="388"/>
                    </a:lnTo>
                    <a:lnTo>
                      <a:pt x="1544" y="388"/>
                    </a:lnTo>
                    <a:lnTo>
                      <a:pt x="1542" y="388"/>
                    </a:lnTo>
                    <a:lnTo>
                      <a:pt x="1541" y="388"/>
                    </a:lnTo>
                    <a:lnTo>
                      <a:pt x="1539" y="389"/>
                    </a:lnTo>
                    <a:lnTo>
                      <a:pt x="1538" y="389"/>
                    </a:lnTo>
                    <a:lnTo>
                      <a:pt x="1537" y="390"/>
                    </a:lnTo>
                    <a:lnTo>
                      <a:pt x="1537" y="391"/>
                    </a:lnTo>
                    <a:lnTo>
                      <a:pt x="1539" y="393"/>
                    </a:lnTo>
                    <a:lnTo>
                      <a:pt x="1541" y="395"/>
                    </a:lnTo>
                    <a:lnTo>
                      <a:pt x="1543" y="396"/>
                    </a:lnTo>
                    <a:lnTo>
                      <a:pt x="1546" y="399"/>
                    </a:lnTo>
                    <a:lnTo>
                      <a:pt x="1548" y="399"/>
                    </a:lnTo>
                    <a:lnTo>
                      <a:pt x="1550" y="400"/>
                    </a:lnTo>
                    <a:lnTo>
                      <a:pt x="1552" y="401"/>
                    </a:lnTo>
                    <a:lnTo>
                      <a:pt x="1553" y="402"/>
                    </a:lnTo>
                    <a:lnTo>
                      <a:pt x="1554" y="404"/>
                    </a:lnTo>
                    <a:lnTo>
                      <a:pt x="1555" y="405"/>
                    </a:lnTo>
                    <a:lnTo>
                      <a:pt x="1557" y="405"/>
                    </a:lnTo>
                    <a:lnTo>
                      <a:pt x="1558" y="406"/>
                    </a:lnTo>
                    <a:lnTo>
                      <a:pt x="1560" y="406"/>
                    </a:lnTo>
                    <a:lnTo>
                      <a:pt x="1561" y="406"/>
                    </a:lnTo>
                    <a:lnTo>
                      <a:pt x="1562" y="406"/>
                    </a:lnTo>
                    <a:lnTo>
                      <a:pt x="1563" y="407"/>
                    </a:lnTo>
                    <a:lnTo>
                      <a:pt x="1565" y="410"/>
                    </a:lnTo>
                    <a:lnTo>
                      <a:pt x="1568" y="412"/>
                    </a:lnTo>
                    <a:lnTo>
                      <a:pt x="1570" y="414"/>
                    </a:lnTo>
                    <a:lnTo>
                      <a:pt x="1572" y="417"/>
                    </a:lnTo>
                    <a:lnTo>
                      <a:pt x="1574" y="421"/>
                    </a:lnTo>
                    <a:lnTo>
                      <a:pt x="1574" y="422"/>
                    </a:lnTo>
                    <a:lnTo>
                      <a:pt x="1574" y="425"/>
                    </a:lnTo>
                    <a:lnTo>
                      <a:pt x="1575" y="427"/>
                    </a:lnTo>
                    <a:lnTo>
                      <a:pt x="1575" y="429"/>
                    </a:lnTo>
                    <a:lnTo>
                      <a:pt x="1574" y="432"/>
                    </a:lnTo>
                    <a:lnTo>
                      <a:pt x="1573" y="432"/>
                    </a:lnTo>
                    <a:lnTo>
                      <a:pt x="1572" y="432"/>
                    </a:lnTo>
                    <a:lnTo>
                      <a:pt x="1571" y="432"/>
                    </a:lnTo>
                    <a:lnTo>
                      <a:pt x="1569" y="431"/>
                    </a:lnTo>
                    <a:lnTo>
                      <a:pt x="1568" y="429"/>
                    </a:lnTo>
                    <a:lnTo>
                      <a:pt x="1564" y="428"/>
                    </a:lnTo>
                    <a:lnTo>
                      <a:pt x="1561" y="427"/>
                    </a:lnTo>
                    <a:lnTo>
                      <a:pt x="1559" y="425"/>
                    </a:lnTo>
                    <a:lnTo>
                      <a:pt x="1557" y="423"/>
                    </a:lnTo>
                    <a:lnTo>
                      <a:pt x="1553" y="420"/>
                    </a:lnTo>
                    <a:lnTo>
                      <a:pt x="1550" y="418"/>
                    </a:lnTo>
                    <a:lnTo>
                      <a:pt x="1548" y="418"/>
                    </a:lnTo>
                    <a:lnTo>
                      <a:pt x="1546" y="418"/>
                    </a:lnTo>
                    <a:lnTo>
                      <a:pt x="1544" y="420"/>
                    </a:lnTo>
                    <a:lnTo>
                      <a:pt x="1546" y="422"/>
                    </a:lnTo>
                    <a:lnTo>
                      <a:pt x="1546" y="424"/>
                    </a:lnTo>
                    <a:lnTo>
                      <a:pt x="1546" y="425"/>
                    </a:lnTo>
                    <a:lnTo>
                      <a:pt x="1546" y="427"/>
                    </a:lnTo>
                    <a:lnTo>
                      <a:pt x="1543" y="428"/>
                    </a:lnTo>
                    <a:lnTo>
                      <a:pt x="1542" y="427"/>
                    </a:lnTo>
                    <a:lnTo>
                      <a:pt x="1540" y="426"/>
                    </a:lnTo>
                    <a:lnTo>
                      <a:pt x="1537" y="425"/>
                    </a:lnTo>
                    <a:lnTo>
                      <a:pt x="1535" y="423"/>
                    </a:lnTo>
                    <a:lnTo>
                      <a:pt x="1532" y="423"/>
                    </a:lnTo>
                    <a:lnTo>
                      <a:pt x="1531" y="423"/>
                    </a:lnTo>
                    <a:lnTo>
                      <a:pt x="1531" y="424"/>
                    </a:lnTo>
                    <a:lnTo>
                      <a:pt x="1531" y="425"/>
                    </a:lnTo>
                    <a:lnTo>
                      <a:pt x="1532" y="427"/>
                    </a:lnTo>
                    <a:lnTo>
                      <a:pt x="1535" y="429"/>
                    </a:lnTo>
                    <a:lnTo>
                      <a:pt x="1535" y="432"/>
                    </a:lnTo>
                    <a:lnTo>
                      <a:pt x="1536" y="433"/>
                    </a:lnTo>
                    <a:lnTo>
                      <a:pt x="1537" y="434"/>
                    </a:lnTo>
                    <a:lnTo>
                      <a:pt x="1539" y="435"/>
                    </a:lnTo>
                    <a:lnTo>
                      <a:pt x="1541" y="436"/>
                    </a:lnTo>
                    <a:lnTo>
                      <a:pt x="1542" y="436"/>
                    </a:lnTo>
                    <a:lnTo>
                      <a:pt x="1543" y="437"/>
                    </a:lnTo>
                    <a:lnTo>
                      <a:pt x="1544" y="438"/>
                    </a:lnTo>
                    <a:lnTo>
                      <a:pt x="1544" y="439"/>
                    </a:lnTo>
                    <a:lnTo>
                      <a:pt x="1544" y="442"/>
                    </a:lnTo>
                    <a:lnTo>
                      <a:pt x="1546" y="443"/>
                    </a:lnTo>
                    <a:lnTo>
                      <a:pt x="1548" y="445"/>
                    </a:lnTo>
                    <a:lnTo>
                      <a:pt x="1551" y="446"/>
                    </a:lnTo>
                    <a:lnTo>
                      <a:pt x="1553" y="447"/>
                    </a:lnTo>
                    <a:lnTo>
                      <a:pt x="1555" y="447"/>
                    </a:lnTo>
                    <a:lnTo>
                      <a:pt x="1558" y="448"/>
                    </a:lnTo>
                    <a:lnTo>
                      <a:pt x="1560" y="450"/>
                    </a:lnTo>
                    <a:lnTo>
                      <a:pt x="1563" y="454"/>
                    </a:lnTo>
                    <a:lnTo>
                      <a:pt x="1564" y="456"/>
                    </a:lnTo>
                    <a:lnTo>
                      <a:pt x="1565" y="457"/>
                    </a:lnTo>
                    <a:lnTo>
                      <a:pt x="1567" y="459"/>
                    </a:lnTo>
                    <a:lnTo>
                      <a:pt x="1568" y="460"/>
                    </a:lnTo>
                    <a:lnTo>
                      <a:pt x="1568" y="461"/>
                    </a:lnTo>
                    <a:lnTo>
                      <a:pt x="1568" y="462"/>
                    </a:lnTo>
                    <a:lnTo>
                      <a:pt x="1567" y="464"/>
                    </a:lnTo>
                    <a:lnTo>
                      <a:pt x="1565" y="464"/>
                    </a:lnTo>
                    <a:lnTo>
                      <a:pt x="1564" y="465"/>
                    </a:lnTo>
                    <a:lnTo>
                      <a:pt x="1563" y="466"/>
                    </a:lnTo>
                    <a:lnTo>
                      <a:pt x="1563" y="466"/>
                    </a:lnTo>
                    <a:lnTo>
                      <a:pt x="1563" y="468"/>
                    </a:lnTo>
                    <a:lnTo>
                      <a:pt x="1565" y="470"/>
                    </a:lnTo>
                    <a:lnTo>
                      <a:pt x="1568" y="471"/>
                    </a:lnTo>
                    <a:lnTo>
                      <a:pt x="1571" y="473"/>
                    </a:lnTo>
                    <a:lnTo>
                      <a:pt x="1573" y="476"/>
                    </a:lnTo>
                    <a:lnTo>
                      <a:pt x="1576" y="477"/>
                    </a:lnTo>
                    <a:lnTo>
                      <a:pt x="1578" y="482"/>
                    </a:lnTo>
                    <a:lnTo>
                      <a:pt x="1579" y="487"/>
                    </a:lnTo>
                    <a:lnTo>
                      <a:pt x="1580" y="491"/>
                    </a:lnTo>
                    <a:lnTo>
                      <a:pt x="1581" y="494"/>
                    </a:lnTo>
                    <a:lnTo>
                      <a:pt x="1581" y="497"/>
                    </a:lnTo>
                    <a:lnTo>
                      <a:pt x="1581" y="499"/>
                    </a:lnTo>
                    <a:lnTo>
                      <a:pt x="1582" y="500"/>
                    </a:lnTo>
                    <a:lnTo>
                      <a:pt x="1582" y="502"/>
                    </a:lnTo>
                    <a:lnTo>
                      <a:pt x="1582" y="504"/>
                    </a:lnTo>
                    <a:lnTo>
                      <a:pt x="1582" y="505"/>
                    </a:lnTo>
                    <a:lnTo>
                      <a:pt x="1581" y="505"/>
                    </a:lnTo>
                    <a:lnTo>
                      <a:pt x="1580" y="505"/>
                    </a:lnTo>
                    <a:lnTo>
                      <a:pt x="1579" y="503"/>
                    </a:lnTo>
                    <a:lnTo>
                      <a:pt x="1574" y="501"/>
                    </a:lnTo>
                    <a:lnTo>
                      <a:pt x="1570" y="497"/>
                    </a:lnTo>
                    <a:lnTo>
                      <a:pt x="1568" y="492"/>
                    </a:lnTo>
                    <a:lnTo>
                      <a:pt x="1567" y="492"/>
                    </a:lnTo>
                    <a:lnTo>
                      <a:pt x="1564" y="492"/>
                    </a:lnTo>
                    <a:lnTo>
                      <a:pt x="1563" y="491"/>
                    </a:lnTo>
                    <a:lnTo>
                      <a:pt x="1562" y="491"/>
                    </a:lnTo>
                    <a:lnTo>
                      <a:pt x="1561" y="491"/>
                    </a:lnTo>
                    <a:lnTo>
                      <a:pt x="1560" y="491"/>
                    </a:lnTo>
                    <a:lnTo>
                      <a:pt x="1561" y="492"/>
                    </a:lnTo>
                    <a:lnTo>
                      <a:pt x="1564" y="495"/>
                    </a:lnTo>
                    <a:lnTo>
                      <a:pt x="1568" y="498"/>
                    </a:lnTo>
                    <a:lnTo>
                      <a:pt x="1571" y="500"/>
                    </a:lnTo>
                    <a:lnTo>
                      <a:pt x="1573" y="502"/>
                    </a:lnTo>
                    <a:lnTo>
                      <a:pt x="1576" y="505"/>
                    </a:lnTo>
                    <a:lnTo>
                      <a:pt x="1578" y="508"/>
                    </a:lnTo>
                    <a:lnTo>
                      <a:pt x="1578" y="509"/>
                    </a:lnTo>
                    <a:lnTo>
                      <a:pt x="1578" y="509"/>
                    </a:lnTo>
                    <a:lnTo>
                      <a:pt x="1576" y="510"/>
                    </a:lnTo>
                    <a:lnTo>
                      <a:pt x="1575" y="510"/>
                    </a:lnTo>
                    <a:lnTo>
                      <a:pt x="1574" y="509"/>
                    </a:lnTo>
                    <a:lnTo>
                      <a:pt x="1572" y="509"/>
                    </a:lnTo>
                    <a:lnTo>
                      <a:pt x="1571" y="509"/>
                    </a:lnTo>
                    <a:lnTo>
                      <a:pt x="1571" y="510"/>
                    </a:lnTo>
                    <a:lnTo>
                      <a:pt x="1570" y="511"/>
                    </a:lnTo>
                    <a:lnTo>
                      <a:pt x="1571" y="512"/>
                    </a:lnTo>
                    <a:lnTo>
                      <a:pt x="1572" y="514"/>
                    </a:lnTo>
                    <a:lnTo>
                      <a:pt x="1573" y="518"/>
                    </a:lnTo>
                    <a:lnTo>
                      <a:pt x="1574" y="520"/>
                    </a:lnTo>
                    <a:lnTo>
                      <a:pt x="1575" y="522"/>
                    </a:lnTo>
                    <a:lnTo>
                      <a:pt x="1576" y="525"/>
                    </a:lnTo>
                    <a:lnTo>
                      <a:pt x="1579" y="527"/>
                    </a:lnTo>
                    <a:lnTo>
                      <a:pt x="1581" y="529"/>
                    </a:lnTo>
                    <a:lnTo>
                      <a:pt x="1583" y="530"/>
                    </a:lnTo>
                    <a:lnTo>
                      <a:pt x="1584" y="530"/>
                    </a:lnTo>
                    <a:lnTo>
                      <a:pt x="1587" y="530"/>
                    </a:lnTo>
                    <a:lnTo>
                      <a:pt x="1589" y="531"/>
                    </a:lnTo>
                    <a:lnTo>
                      <a:pt x="1591" y="533"/>
                    </a:lnTo>
                    <a:lnTo>
                      <a:pt x="1593" y="536"/>
                    </a:lnTo>
                    <a:lnTo>
                      <a:pt x="1595" y="540"/>
                    </a:lnTo>
                    <a:lnTo>
                      <a:pt x="1596" y="542"/>
                    </a:lnTo>
                    <a:lnTo>
                      <a:pt x="1596" y="545"/>
                    </a:lnTo>
                    <a:lnTo>
                      <a:pt x="1596" y="547"/>
                    </a:lnTo>
                    <a:lnTo>
                      <a:pt x="1595" y="548"/>
                    </a:lnTo>
                    <a:lnTo>
                      <a:pt x="1594" y="548"/>
                    </a:lnTo>
                    <a:lnTo>
                      <a:pt x="1592" y="547"/>
                    </a:lnTo>
                    <a:lnTo>
                      <a:pt x="1590" y="546"/>
                    </a:lnTo>
                    <a:lnTo>
                      <a:pt x="1587" y="545"/>
                    </a:lnTo>
                    <a:lnTo>
                      <a:pt x="1583" y="543"/>
                    </a:lnTo>
                    <a:lnTo>
                      <a:pt x="1580" y="541"/>
                    </a:lnTo>
                    <a:lnTo>
                      <a:pt x="1576" y="538"/>
                    </a:lnTo>
                    <a:lnTo>
                      <a:pt x="1573" y="538"/>
                    </a:lnTo>
                    <a:lnTo>
                      <a:pt x="1571" y="538"/>
                    </a:lnTo>
                    <a:lnTo>
                      <a:pt x="1569" y="540"/>
                    </a:lnTo>
                    <a:lnTo>
                      <a:pt x="1568" y="541"/>
                    </a:lnTo>
                    <a:lnTo>
                      <a:pt x="1568" y="543"/>
                    </a:lnTo>
                    <a:lnTo>
                      <a:pt x="1568" y="545"/>
                    </a:lnTo>
                    <a:lnTo>
                      <a:pt x="1568" y="547"/>
                    </a:lnTo>
                    <a:lnTo>
                      <a:pt x="1569" y="549"/>
                    </a:lnTo>
                    <a:lnTo>
                      <a:pt x="1570" y="552"/>
                    </a:lnTo>
                    <a:lnTo>
                      <a:pt x="1571" y="554"/>
                    </a:lnTo>
                    <a:lnTo>
                      <a:pt x="1574" y="556"/>
                    </a:lnTo>
                    <a:lnTo>
                      <a:pt x="1576" y="557"/>
                    </a:lnTo>
                    <a:lnTo>
                      <a:pt x="1580" y="559"/>
                    </a:lnTo>
                    <a:lnTo>
                      <a:pt x="1583" y="560"/>
                    </a:lnTo>
                    <a:lnTo>
                      <a:pt x="1584" y="563"/>
                    </a:lnTo>
                    <a:lnTo>
                      <a:pt x="1587" y="565"/>
                    </a:lnTo>
                    <a:lnTo>
                      <a:pt x="1590" y="567"/>
                    </a:lnTo>
                    <a:lnTo>
                      <a:pt x="1592" y="569"/>
                    </a:lnTo>
                    <a:lnTo>
                      <a:pt x="1592" y="573"/>
                    </a:lnTo>
                    <a:lnTo>
                      <a:pt x="1592" y="575"/>
                    </a:lnTo>
                    <a:lnTo>
                      <a:pt x="1592" y="577"/>
                    </a:lnTo>
                    <a:lnTo>
                      <a:pt x="1591" y="579"/>
                    </a:lnTo>
                    <a:lnTo>
                      <a:pt x="1590" y="580"/>
                    </a:lnTo>
                    <a:lnTo>
                      <a:pt x="1587" y="582"/>
                    </a:lnTo>
                    <a:lnTo>
                      <a:pt x="1587" y="585"/>
                    </a:lnTo>
                    <a:lnTo>
                      <a:pt x="1586" y="587"/>
                    </a:lnTo>
                    <a:lnTo>
                      <a:pt x="1585" y="589"/>
                    </a:lnTo>
                    <a:lnTo>
                      <a:pt x="1579" y="589"/>
                    </a:lnTo>
                    <a:lnTo>
                      <a:pt x="1571" y="586"/>
                    </a:lnTo>
                    <a:lnTo>
                      <a:pt x="1563" y="580"/>
                    </a:lnTo>
                    <a:lnTo>
                      <a:pt x="1558" y="576"/>
                    </a:lnTo>
                    <a:lnTo>
                      <a:pt x="1552" y="571"/>
                    </a:lnTo>
                    <a:lnTo>
                      <a:pt x="1548" y="567"/>
                    </a:lnTo>
                    <a:lnTo>
                      <a:pt x="1546" y="566"/>
                    </a:lnTo>
                    <a:lnTo>
                      <a:pt x="1546" y="566"/>
                    </a:lnTo>
                    <a:lnTo>
                      <a:pt x="1544" y="567"/>
                    </a:lnTo>
                    <a:lnTo>
                      <a:pt x="1544" y="568"/>
                    </a:lnTo>
                    <a:lnTo>
                      <a:pt x="1546" y="569"/>
                    </a:lnTo>
                    <a:lnTo>
                      <a:pt x="1546" y="570"/>
                    </a:lnTo>
                    <a:lnTo>
                      <a:pt x="1546" y="571"/>
                    </a:lnTo>
                    <a:lnTo>
                      <a:pt x="1544" y="573"/>
                    </a:lnTo>
                    <a:lnTo>
                      <a:pt x="1542" y="573"/>
                    </a:lnTo>
                    <a:lnTo>
                      <a:pt x="1540" y="574"/>
                    </a:lnTo>
                    <a:lnTo>
                      <a:pt x="1539" y="575"/>
                    </a:lnTo>
                    <a:lnTo>
                      <a:pt x="1537" y="576"/>
                    </a:lnTo>
                    <a:lnTo>
                      <a:pt x="1537" y="578"/>
                    </a:lnTo>
                    <a:lnTo>
                      <a:pt x="1537" y="580"/>
                    </a:lnTo>
                    <a:lnTo>
                      <a:pt x="1538" y="581"/>
                    </a:lnTo>
                    <a:lnTo>
                      <a:pt x="1540" y="584"/>
                    </a:lnTo>
                    <a:lnTo>
                      <a:pt x="1542" y="585"/>
                    </a:lnTo>
                    <a:lnTo>
                      <a:pt x="1546" y="587"/>
                    </a:lnTo>
                    <a:lnTo>
                      <a:pt x="1548" y="588"/>
                    </a:lnTo>
                    <a:lnTo>
                      <a:pt x="1549" y="590"/>
                    </a:lnTo>
                    <a:lnTo>
                      <a:pt x="1549" y="591"/>
                    </a:lnTo>
                    <a:lnTo>
                      <a:pt x="1548" y="593"/>
                    </a:lnTo>
                    <a:lnTo>
                      <a:pt x="1547" y="595"/>
                    </a:lnTo>
                    <a:lnTo>
                      <a:pt x="1546" y="595"/>
                    </a:lnTo>
                    <a:lnTo>
                      <a:pt x="1544" y="596"/>
                    </a:lnTo>
                    <a:lnTo>
                      <a:pt x="1542" y="596"/>
                    </a:lnTo>
                    <a:lnTo>
                      <a:pt x="1541" y="596"/>
                    </a:lnTo>
                    <a:lnTo>
                      <a:pt x="1540" y="597"/>
                    </a:lnTo>
                    <a:lnTo>
                      <a:pt x="1540" y="599"/>
                    </a:lnTo>
                    <a:lnTo>
                      <a:pt x="1540" y="600"/>
                    </a:lnTo>
                    <a:lnTo>
                      <a:pt x="1541" y="601"/>
                    </a:lnTo>
                    <a:lnTo>
                      <a:pt x="1543" y="602"/>
                    </a:lnTo>
                    <a:lnTo>
                      <a:pt x="1546" y="603"/>
                    </a:lnTo>
                    <a:lnTo>
                      <a:pt x="1549" y="603"/>
                    </a:lnTo>
                    <a:lnTo>
                      <a:pt x="1551" y="604"/>
                    </a:lnTo>
                    <a:lnTo>
                      <a:pt x="1552" y="607"/>
                    </a:lnTo>
                    <a:lnTo>
                      <a:pt x="1554" y="609"/>
                    </a:lnTo>
                    <a:lnTo>
                      <a:pt x="1554" y="613"/>
                    </a:lnTo>
                    <a:lnTo>
                      <a:pt x="1557" y="617"/>
                    </a:lnTo>
                    <a:lnTo>
                      <a:pt x="1559" y="620"/>
                    </a:lnTo>
                    <a:lnTo>
                      <a:pt x="1562" y="622"/>
                    </a:lnTo>
                    <a:lnTo>
                      <a:pt x="1564" y="625"/>
                    </a:lnTo>
                    <a:lnTo>
                      <a:pt x="1568" y="628"/>
                    </a:lnTo>
                    <a:lnTo>
                      <a:pt x="1570" y="631"/>
                    </a:lnTo>
                    <a:lnTo>
                      <a:pt x="1583" y="643"/>
                    </a:lnTo>
                    <a:lnTo>
                      <a:pt x="1591" y="651"/>
                    </a:lnTo>
                    <a:lnTo>
                      <a:pt x="1596" y="660"/>
                    </a:lnTo>
                    <a:lnTo>
                      <a:pt x="1601" y="669"/>
                    </a:lnTo>
                    <a:lnTo>
                      <a:pt x="1601" y="673"/>
                    </a:lnTo>
                    <a:lnTo>
                      <a:pt x="1603" y="676"/>
                    </a:lnTo>
                    <a:lnTo>
                      <a:pt x="1604" y="679"/>
                    </a:lnTo>
                    <a:lnTo>
                      <a:pt x="1605" y="683"/>
                    </a:lnTo>
                    <a:lnTo>
                      <a:pt x="1606" y="687"/>
                    </a:lnTo>
                    <a:lnTo>
                      <a:pt x="1606" y="691"/>
                    </a:lnTo>
                    <a:lnTo>
                      <a:pt x="1607" y="695"/>
                    </a:lnTo>
                    <a:lnTo>
                      <a:pt x="1607" y="698"/>
                    </a:lnTo>
                    <a:lnTo>
                      <a:pt x="1612" y="718"/>
                    </a:lnTo>
                    <a:lnTo>
                      <a:pt x="1611" y="718"/>
                    </a:lnTo>
                    <a:lnTo>
                      <a:pt x="1611" y="718"/>
                    </a:lnTo>
                    <a:lnTo>
                      <a:pt x="1609" y="717"/>
                    </a:lnTo>
                    <a:lnTo>
                      <a:pt x="1608" y="715"/>
                    </a:lnTo>
                    <a:lnTo>
                      <a:pt x="1607" y="713"/>
                    </a:lnTo>
                    <a:lnTo>
                      <a:pt x="1607" y="713"/>
                    </a:lnTo>
                    <a:lnTo>
                      <a:pt x="1605" y="711"/>
                    </a:lnTo>
                    <a:lnTo>
                      <a:pt x="1604" y="709"/>
                    </a:lnTo>
                    <a:lnTo>
                      <a:pt x="1603" y="707"/>
                    </a:lnTo>
                    <a:lnTo>
                      <a:pt x="1601" y="705"/>
                    </a:lnTo>
                    <a:lnTo>
                      <a:pt x="1600" y="704"/>
                    </a:lnTo>
                    <a:lnTo>
                      <a:pt x="1598" y="704"/>
                    </a:lnTo>
                    <a:lnTo>
                      <a:pt x="1598" y="705"/>
                    </a:lnTo>
                    <a:lnTo>
                      <a:pt x="1597" y="706"/>
                    </a:lnTo>
                    <a:lnTo>
                      <a:pt x="1596" y="707"/>
                    </a:lnTo>
                    <a:lnTo>
                      <a:pt x="1596" y="709"/>
                    </a:lnTo>
                    <a:lnTo>
                      <a:pt x="1594" y="711"/>
                    </a:lnTo>
                    <a:lnTo>
                      <a:pt x="1590" y="709"/>
                    </a:lnTo>
                    <a:lnTo>
                      <a:pt x="1585" y="704"/>
                    </a:lnTo>
                    <a:lnTo>
                      <a:pt x="1580" y="698"/>
                    </a:lnTo>
                    <a:lnTo>
                      <a:pt x="1576" y="691"/>
                    </a:lnTo>
                    <a:lnTo>
                      <a:pt x="1574" y="687"/>
                    </a:lnTo>
                    <a:lnTo>
                      <a:pt x="1572" y="680"/>
                    </a:lnTo>
                    <a:lnTo>
                      <a:pt x="1570" y="674"/>
                    </a:lnTo>
                    <a:lnTo>
                      <a:pt x="1567" y="666"/>
                    </a:lnTo>
                    <a:lnTo>
                      <a:pt x="1561" y="661"/>
                    </a:lnTo>
                    <a:lnTo>
                      <a:pt x="1558" y="660"/>
                    </a:lnTo>
                    <a:lnTo>
                      <a:pt x="1554" y="658"/>
                    </a:lnTo>
                    <a:lnTo>
                      <a:pt x="1551" y="657"/>
                    </a:lnTo>
                    <a:lnTo>
                      <a:pt x="1548" y="654"/>
                    </a:lnTo>
                    <a:lnTo>
                      <a:pt x="1546" y="653"/>
                    </a:lnTo>
                    <a:lnTo>
                      <a:pt x="1543" y="650"/>
                    </a:lnTo>
                    <a:lnTo>
                      <a:pt x="1540" y="646"/>
                    </a:lnTo>
                    <a:lnTo>
                      <a:pt x="1537" y="643"/>
                    </a:lnTo>
                    <a:lnTo>
                      <a:pt x="1532" y="640"/>
                    </a:lnTo>
                    <a:lnTo>
                      <a:pt x="1528" y="638"/>
                    </a:lnTo>
                    <a:lnTo>
                      <a:pt x="1524" y="635"/>
                    </a:lnTo>
                    <a:lnTo>
                      <a:pt x="1521" y="633"/>
                    </a:lnTo>
                    <a:lnTo>
                      <a:pt x="1520" y="633"/>
                    </a:lnTo>
                    <a:lnTo>
                      <a:pt x="1519" y="632"/>
                    </a:lnTo>
                    <a:lnTo>
                      <a:pt x="1519" y="631"/>
                    </a:lnTo>
                    <a:lnTo>
                      <a:pt x="1517" y="629"/>
                    </a:lnTo>
                    <a:lnTo>
                      <a:pt x="1515" y="626"/>
                    </a:lnTo>
                    <a:lnTo>
                      <a:pt x="1513" y="626"/>
                    </a:lnTo>
                    <a:lnTo>
                      <a:pt x="1514" y="630"/>
                    </a:lnTo>
                    <a:lnTo>
                      <a:pt x="1516" y="633"/>
                    </a:lnTo>
                    <a:lnTo>
                      <a:pt x="1519" y="636"/>
                    </a:lnTo>
                    <a:lnTo>
                      <a:pt x="1524" y="640"/>
                    </a:lnTo>
                    <a:lnTo>
                      <a:pt x="1528" y="641"/>
                    </a:lnTo>
                    <a:lnTo>
                      <a:pt x="1531" y="645"/>
                    </a:lnTo>
                    <a:lnTo>
                      <a:pt x="1535" y="649"/>
                    </a:lnTo>
                    <a:lnTo>
                      <a:pt x="1539" y="653"/>
                    </a:lnTo>
                    <a:lnTo>
                      <a:pt x="1543" y="656"/>
                    </a:lnTo>
                    <a:lnTo>
                      <a:pt x="1546" y="657"/>
                    </a:lnTo>
                    <a:lnTo>
                      <a:pt x="1549" y="658"/>
                    </a:lnTo>
                    <a:lnTo>
                      <a:pt x="1552" y="661"/>
                    </a:lnTo>
                    <a:lnTo>
                      <a:pt x="1555" y="662"/>
                    </a:lnTo>
                    <a:lnTo>
                      <a:pt x="1559" y="665"/>
                    </a:lnTo>
                    <a:lnTo>
                      <a:pt x="1560" y="668"/>
                    </a:lnTo>
                    <a:lnTo>
                      <a:pt x="1560" y="669"/>
                    </a:lnTo>
                    <a:lnTo>
                      <a:pt x="1559" y="671"/>
                    </a:lnTo>
                    <a:lnTo>
                      <a:pt x="1558" y="672"/>
                    </a:lnTo>
                    <a:lnTo>
                      <a:pt x="1557" y="673"/>
                    </a:lnTo>
                    <a:lnTo>
                      <a:pt x="1555" y="673"/>
                    </a:lnTo>
                    <a:lnTo>
                      <a:pt x="1554" y="674"/>
                    </a:lnTo>
                    <a:lnTo>
                      <a:pt x="1553" y="675"/>
                    </a:lnTo>
                    <a:lnTo>
                      <a:pt x="1552" y="676"/>
                    </a:lnTo>
                    <a:lnTo>
                      <a:pt x="1550" y="676"/>
                    </a:lnTo>
                    <a:lnTo>
                      <a:pt x="1548" y="676"/>
                    </a:lnTo>
                    <a:lnTo>
                      <a:pt x="1547" y="676"/>
                    </a:lnTo>
                    <a:lnTo>
                      <a:pt x="1546" y="675"/>
                    </a:lnTo>
                    <a:lnTo>
                      <a:pt x="1544" y="674"/>
                    </a:lnTo>
                    <a:lnTo>
                      <a:pt x="1542" y="674"/>
                    </a:lnTo>
                    <a:lnTo>
                      <a:pt x="1541" y="674"/>
                    </a:lnTo>
                    <a:lnTo>
                      <a:pt x="1541" y="674"/>
                    </a:lnTo>
                    <a:lnTo>
                      <a:pt x="1543" y="677"/>
                    </a:lnTo>
                    <a:lnTo>
                      <a:pt x="1546" y="679"/>
                    </a:lnTo>
                    <a:lnTo>
                      <a:pt x="1549" y="682"/>
                    </a:lnTo>
                    <a:lnTo>
                      <a:pt x="1552" y="684"/>
                    </a:lnTo>
                    <a:lnTo>
                      <a:pt x="1554" y="685"/>
                    </a:lnTo>
                    <a:lnTo>
                      <a:pt x="1557" y="687"/>
                    </a:lnTo>
                    <a:lnTo>
                      <a:pt x="1558" y="688"/>
                    </a:lnTo>
                    <a:lnTo>
                      <a:pt x="1558" y="689"/>
                    </a:lnTo>
                    <a:lnTo>
                      <a:pt x="1557" y="689"/>
                    </a:lnTo>
                    <a:lnTo>
                      <a:pt x="1555" y="689"/>
                    </a:lnTo>
                    <a:lnTo>
                      <a:pt x="1554" y="689"/>
                    </a:lnTo>
                    <a:lnTo>
                      <a:pt x="1552" y="689"/>
                    </a:lnTo>
                    <a:lnTo>
                      <a:pt x="1551" y="689"/>
                    </a:lnTo>
                    <a:lnTo>
                      <a:pt x="1550" y="689"/>
                    </a:lnTo>
                    <a:lnTo>
                      <a:pt x="1549" y="690"/>
                    </a:lnTo>
                    <a:lnTo>
                      <a:pt x="1550" y="693"/>
                    </a:lnTo>
                    <a:lnTo>
                      <a:pt x="1551" y="694"/>
                    </a:lnTo>
                    <a:lnTo>
                      <a:pt x="1552" y="695"/>
                    </a:lnTo>
                    <a:lnTo>
                      <a:pt x="1553" y="696"/>
                    </a:lnTo>
                    <a:lnTo>
                      <a:pt x="1554" y="696"/>
                    </a:lnTo>
                    <a:lnTo>
                      <a:pt x="1555" y="698"/>
                    </a:lnTo>
                    <a:lnTo>
                      <a:pt x="1557" y="700"/>
                    </a:lnTo>
                    <a:lnTo>
                      <a:pt x="1559" y="702"/>
                    </a:lnTo>
                    <a:lnTo>
                      <a:pt x="1561" y="705"/>
                    </a:lnTo>
                    <a:lnTo>
                      <a:pt x="1563" y="706"/>
                    </a:lnTo>
                    <a:lnTo>
                      <a:pt x="1565" y="706"/>
                    </a:lnTo>
                    <a:lnTo>
                      <a:pt x="1568" y="705"/>
                    </a:lnTo>
                    <a:lnTo>
                      <a:pt x="1570" y="705"/>
                    </a:lnTo>
                    <a:lnTo>
                      <a:pt x="1572" y="705"/>
                    </a:lnTo>
                    <a:lnTo>
                      <a:pt x="1574" y="705"/>
                    </a:lnTo>
                    <a:lnTo>
                      <a:pt x="1579" y="708"/>
                    </a:lnTo>
                    <a:lnTo>
                      <a:pt x="1583" y="711"/>
                    </a:lnTo>
                    <a:lnTo>
                      <a:pt x="1587" y="713"/>
                    </a:lnTo>
                    <a:lnTo>
                      <a:pt x="1590" y="715"/>
                    </a:lnTo>
                    <a:lnTo>
                      <a:pt x="1592" y="716"/>
                    </a:lnTo>
                    <a:lnTo>
                      <a:pt x="1596" y="718"/>
                    </a:lnTo>
                    <a:lnTo>
                      <a:pt x="1598" y="720"/>
                    </a:lnTo>
                    <a:lnTo>
                      <a:pt x="1601" y="722"/>
                    </a:lnTo>
                    <a:lnTo>
                      <a:pt x="1603" y="723"/>
                    </a:lnTo>
                    <a:lnTo>
                      <a:pt x="1605" y="726"/>
                    </a:lnTo>
                    <a:lnTo>
                      <a:pt x="1606" y="728"/>
                    </a:lnTo>
                    <a:lnTo>
                      <a:pt x="1607" y="731"/>
                    </a:lnTo>
                    <a:lnTo>
                      <a:pt x="1606" y="733"/>
                    </a:lnTo>
                    <a:lnTo>
                      <a:pt x="1605" y="735"/>
                    </a:lnTo>
                    <a:lnTo>
                      <a:pt x="1603" y="737"/>
                    </a:lnTo>
                    <a:lnTo>
                      <a:pt x="1601" y="739"/>
                    </a:lnTo>
                    <a:lnTo>
                      <a:pt x="1598" y="740"/>
                    </a:lnTo>
                    <a:lnTo>
                      <a:pt x="1596" y="741"/>
                    </a:lnTo>
                    <a:lnTo>
                      <a:pt x="1594" y="742"/>
                    </a:lnTo>
                    <a:lnTo>
                      <a:pt x="1593" y="744"/>
                    </a:lnTo>
                    <a:lnTo>
                      <a:pt x="1593" y="748"/>
                    </a:lnTo>
                    <a:lnTo>
                      <a:pt x="1592" y="751"/>
                    </a:lnTo>
                    <a:lnTo>
                      <a:pt x="1590" y="752"/>
                    </a:lnTo>
                    <a:lnTo>
                      <a:pt x="1589" y="753"/>
                    </a:lnTo>
                    <a:lnTo>
                      <a:pt x="1586" y="754"/>
                    </a:lnTo>
                    <a:lnTo>
                      <a:pt x="1584" y="754"/>
                    </a:lnTo>
                    <a:lnTo>
                      <a:pt x="1582" y="754"/>
                    </a:lnTo>
                    <a:lnTo>
                      <a:pt x="1581" y="755"/>
                    </a:lnTo>
                    <a:lnTo>
                      <a:pt x="1578" y="760"/>
                    </a:lnTo>
                    <a:lnTo>
                      <a:pt x="1574" y="766"/>
                    </a:lnTo>
                    <a:lnTo>
                      <a:pt x="1571" y="772"/>
                    </a:lnTo>
                    <a:lnTo>
                      <a:pt x="1567" y="776"/>
                    </a:lnTo>
                    <a:lnTo>
                      <a:pt x="1561" y="777"/>
                    </a:lnTo>
                    <a:lnTo>
                      <a:pt x="1553" y="776"/>
                    </a:lnTo>
                    <a:lnTo>
                      <a:pt x="1546" y="777"/>
                    </a:lnTo>
                    <a:lnTo>
                      <a:pt x="1539" y="780"/>
                    </a:lnTo>
                    <a:lnTo>
                      <a:pt x="1537" y="780"/>
                    </a:lnTo>
                    <a:lnTo>
                      <a:pt x="1535" y="780"/>
                    </a:lnTo>
                    <a:lnTo>
                      <a:pt x="1532" y="780"/>
                    </a:lnTo>
                    <a:lnTo>
                      <a:pt x="1530" y="782"/>
                    </a:lnTo>
                    <a:lnTo>
                      <a:pt x="1528" y="782"/>
                    </a:lnTo>
                    <a:lnTo>
                      <a:pt x="1526" y="784"/>
                    </a:lnTo>
                    <a:lnTo>
                      <a:pt x="1524" y="786"/>
                    </a:lnTo>
                    <a:lnTo>
                      <a:pt x="1520" y="787"/>
                    </a:lnTo>
                    <a:lnTo>
                      <a:pt x="1517" y="787"/>
                    </a:lnTo>
                    <a:lnTo>
                      <a:pt x="1514" y="786"/>
                    </a:lnTo>
                    <a:lnTo>
                      <a:pt x="1511" y="785"/>
                    </a:lnTo>
                    <a:lnTo>
                      <a:pt x="1508" y="782"/>
                    </a:lnTo>
                    <a:lnTo>
                      <a:pt x="1505" y="778"/>
                    </a:lnTo>
                    <a:lnTo>
                      <a:pt x="1503" y="775"/>
                    </a:lnTo>
                    <a:lnTo>
                      <a:pt x="1500" y="773"/>
                    </a:lnTo>
                    <a:lnTo>
                      <a:pt x="1497" y="771"/>
                    </a:lnTo>
                    <a:lnTo>
                      <a:pt x="1496" y="774"/>
                    </a:lnTo>
                    <a:lnTo>
                      <a:pt x="1496" y="776"/>
                    </a:lnTo>
                    <a:lnTo>
                      <a:pt x="1497" y="778"/>
                    </a:lnTo>
                    <a:lnTo>
                      <a:pt x="1498" y="781"/>
                    </a:lnTo>
                    <a:lnTo>
                      <a:pt x="1499" y="784"/>
                    </a:lnTo>
                    <a:lnTo>
                      <a:pt x="1502" y="786"/>
                    </a:lnTo>
                    <a:lnTo>
                      <a:pt x="1503" y="788"/>
                    </a:lnTo>
                    <a:lnTo>
                      <a:pt x="1503" y="789"/>
                    </a:lnTo>
                    <a:lnTo>
                      <a:pt x="1502" y="792"/>
                    </a:lnTo>
                    <a:lnTo>
                      <a:pt x="1499" y="793"/>
                    </a:lnTo>
                    <a:lnTo>
                      <a:pt x="1497" y="795"/>
                    </a:lnTo>
                    <a:lnTo>
                      <a:pt x="1494" y="796"/>
                    </a:lnTo>
                    <a:lnTo>
                      <a:pt x="1491" y="798"/>
                    </a:lnTo>
                    <a:lnTo>
                      <a:pt x="1486" y="799"/>
                    </a:lnTo>
                    <a:lnTo>
                      <a:pt x="1483" y="800"/>
                    </a:lnTo>
                    <a:lnTo>
                      <a:pt x="1482" y="802"/>
                    </a:lnTo>
                    <a:lnTo>
                      <a:pt x="1482" y="804"/>
                    </a:lnTo>
                    <a:lnTo>
                      <a:pt x="1482" y="806"/>
                    </a:lnTo>
                    <a:lnTo>
                      <a:pt x="1482" y="809"/>
                    </a:lnTo>
                    <a:lnTo>
                      <a:pt x="1482" y="818"/>
                    </a:lnTo>
                    <a:lnTo>
                      <a:pt x="1481" y="827"/>
                    </a:lnTo>
                    <a:lnTo>
                      <a:pt x="1480" y="833"/>
                    </a:lnTo>
                    <a:lnTo>
                      <a:pt x="1480" y="837"/>
                    </a:lnTo>
                    <a:lnTo>
                      <a:pt x="1478" y="839"/>
                    </a:lnTo>
                    <a:lnTo>
                      <a:pt x="1477" y="840"/>
                    </a:lnTo>
                    <a:lnTo>
                      <a:pt x="1476" y="841"/>
                    </a:lnTo>
                    <a:lnTo>
                      <a:pt x="1474" y="841"/>
                    </a:lnTo>
                    <a:lnTo>
                      <a:pt x="1473" y="842"/>
                    </a:lnTo>
                    <a:lnTo>
                      <a:pt x="1471" y="843"/>
                    </a:lnTo>
                    <a:lnTo>
                      <a:pt x="1469" y="846"/>
                    </a:lnTo>
                    <a:lnTo>
                      <a:pt x="1467" y="848"/>
                    </a:lnTo>
                    <a:lnTo>
                      <a:pt x="1466" y="850"/>
                    </a:lnTo>
                    <a:lnTo>
                      <a:pt x="1466" y="853"/>
                    </a:lnTo>
                    <a:lnTo>
                      <a:pt x="1464" y="855"/>
                    </a:lnTo>
                    <a:lnTo>
                      <a:pt x="1462" y="858"/>
                    </a:lnTo>
                    <a:lnTo>
                      <a:pt x="1458" y="860"/>
                    </a:lnTo>
                    <a:lnTo>
                      <a:pt x="1456" y="861"/>
                    </a:lnTo>
                    <a:lnTo>
                      <a:pt x="1455" y="860"/>
                    </a:lnTo>
                    <a:lnTo>
                      <a:pt x="1453" y="859"/>
                    </a:lnTo>
                    <a:lnTo>
                      <a:pt x="1452" y="858"/>
                    </a:lnTo>
                    <a:lnTo>
                      <a:pt x="1450" y="858"/>
                    </a:lnTo>
                    <a:lnTo>
                      <a:pt x="1449" y="858"/>
                    </a:lnTo>
                    <a:lnTo>
                      <a:pt x="1448" y="859"/>
                    </a:lnTo>
                    <a:lnTo>
                      <a:pt x="1447" y="861"/>
                    </a:lnTo>
                    <a:lnTo>
                      <a:pt x="1445" y="862"/>
                    </a:lnTo>
                    <a:lnTo>
                      <a:pt x="1445" y="863"/>
                    </a:lnTo>
                    <a:lnTo>
                      <a:pt x="1444" y="864"/>
                    </a:lnTo>
                    <a:lnTo>
                      <a:pt x="1444" y="864"/>
                    </a:lnTo>
                    <a:lnTo>
                      <a:pt x="1442" y="864"/>
                    </a:lnTo>
                    <a:lnTo>
                      <a:pt x="1440" y="864"/>
                    </a:lnTo>
                    <a:lnTo>
                      <a:pt x="1437" y="862"/>
                    </a:lnTo>
                    <a:lnTo>
                      <a:pt x="1434" y="861"/>
                    </a:lnTo>
                    <a:lnTo>
                      <a:pt x="1433" y="859"/>
                    </a:lnTo>
                    <a:lnTo>
                      <a:pt x="1433" y="855"/>
                    </a:lnTo>
                    <a:lnTo>
                      <a:pt x="1434" y="854"/>
                    </a:lnTo>
                    <a:lnTo>
                      <a:pt x="1434" y="852"/>
                    </a:lnTo>
                    <a:lnTo>
                      <a:pt x="1436" y="850"/>
                    </a:lnTo>
                    <a:lnTo>
                      <a:pt x="1436" y="847"/>
                    </a:lnTo>
                    <a:lnTo>
                      <a:pt x="1436" y="846"/>
                    </a:lnTo>
                    <a:lnTo>
                      <a:pt x="1434" y="844"/>
                    </a:lnTo>
                    <a:lnTo>
                      <a:pt x="1432" y="844"/>
                    </a:lnTo>
                    <a:lnTo>
                      <a:pt x="1431" y="844"/>
                    </a:lnTo>
                    <a:lnTo>
                      <a:pt x="1430" y="846"/>
                    </a:lnTo>
                    <a:lnTo>
                      <a:pt x="1429" y="847"/>
                    </a:lnTo>
                    <a:lnTo>
                      <a:pt x="1429" y="850"/>
                    </a:lnTo>
                    <a:lnTo>
                      <a:pt x="1429" y="853"/>
                    </a:lnTo>
                    <a:lnTo>
                      <a:pt x="1429" y="855"/>
                    </a:lnTo>
                    <a:lnTo>
                      <a:pt x="1428" y="858"/>
                    </a:lnTo>
                    <a:lnTo>
                      <a:pt x="1428" y="860"/>
                    </a:lnTo>
                    <a:lnTo>
                      <a:pt x="1426" y="861"/>
                    </a:lnTo>
                    <a:lnTo>
                      <a:pt x="1422" y="862"/>
                    </a:lnTo>
                    <a:lnTo>
                      <a:pt x="1421" y="863"/>
                    </a:lnTo>
                    <a:lnTo>
                      <a:pt x="1419" y="864"/>
                    </a:lnTo>
                    <a:lnTo>
                      <a:pt x="1418" y="865"/>
                    </a:lnTo>
                    <a:lnTo>
                      <a:pt x="1416" y="866"/>
                    </a:lnTo>
                    <a:lnTo>
                      <a:pt x="1413" y="866"/>
                    </a:lnTo>
                    <a:lnTo>
                      <a:pt x="1411" y="866"/>
                    </a:lnTo>
                    <a:lnTo>
                      <a:pt x="1409" y="868"/>
                    </a:lnTo>
                    <a:lnTo>
                      <a:pt x="1407" y="869"/>
                    </a:lnTo>
                    <a:lnTo>
                      <a:pt x="1405" y="871"/>
                    </a:lnTo>
                    <a:lnTo>
                      <a:pt x="1405" y="872"/>
                    </a:lnTo>
                    <a:lnTo>
                      <a:pt x="1404" y="874"/>
                    </a:lnTo>
                    <a:lnTo>
                      <a:pt x="1404" y="876"/>
                    </a:lnTo>
                    <a:lnTo>
                      <a:pt x="1404" y="879"/>
                    </a:lnTo>
                    <a:lnTo>
                      <a:pt x="1402" y="880"/>
                    </a:lnTo>
                    <a:lnTo>
                      <a:pt x="1402" y="881"/>
                    </a:lnTo>
                    <a:lnTo>
                      <a:pt x="1401" y="881"/>
                    </a:lnTo>
                    <a:lnTo>
                      <a:pt x="1400" y="882"/>
                    </a:lnTo>
                    <a:lnTo>
                      <a:pt x="1399" y="883"/>
                    </a:lnTo>
                    <a:lnTo>
                      <a:pt x="1398" y="883"/>
                    </a:lnTo>
                    <a:lnTo>
                      <a:pt x="1398" y="884"/>
                    </a:lnTo>
                    <a:lnTo>
                      <a:pt x="1400" y="884"/>
                    </a:lnTo>
                    <a:lnTo>
                      <a:pt x="1401" y="886"/>
                    </a:lnTo>
                    <a:lnTo>
                      <a:pt x="1404" y="887"/>
                    </a:lnTo>
                    <a:lnTo>
                      <a:pt x="1405" y="890"/>
                    </a:lnTo>
                    <a:lnTo>
                      <a:pt x="1405" y="891"/>
                    </a:lnTo>
                    <a:lnTo>
                      <a:pt x="1404" y="892"/>
                    </a:lnTo>
                    <a:lnTo>
                      <a:pt x="1401" y="892"/>
                    </a:lnTo>
                    <a:lnTo>
                      <a:pt x="1399" y="892"/>
                    </a:lnTo>
                    <a:lnTo>
                      <a:pt x="1398" y="891"/>
                    </a:lnTo>
                    <a:lnTo>
                      <a:pt x="1396" y="891"/>
                    </a:lnTo>
                    <a:lnTo>
                      <a:pt x="1395" y="891"/>
                    </a:lnTo>
                    <a:lnTo>
                      <a:pt x="1393" y="892"/>
                    </a:lnTo>
                    <a:lnTo>
                      <a:pt x="1390" y="893"/>
                    </a:lnTo>
                    <a:lnTo>
                      <a:pt x="1389" y="894"/>
                    </a:lnTo>
                    <a:lnTo>
                      <a:pt x="1388" y="896"/>
                    </a:lnTo>
                    <a:lnTo>
                      <a:pt x="1388" y="898"/>
                    </a:lnTo>
                    <a:lnTo>
                      <a:pt x="1389" y="901"/>
                    </a:lnTo>
                    <a:lnTo>
                      <a:pt x="1391" y="904"/>
                    </a:lnTo>
                    <a:lnTo>
                      <a:pt x="1394" y="905"/>
                    </a:lnTo>
                    <a:lnTo>
                      <a:pt x="1396" y="906"/>
                    </a:lnTo>
                    <a:lnTo>
                      <a:pt x="1397" y="907"/>
                    </a:lnTo>
                    <a:lnTo>
                      <a:pt x="1399" y="908"/>
                    </a:lnTo>
                    <a:lnTo>
                      <a:pt x="1400" y="911"/>
                    </a:lnTo>
                    <a:lnTo>
                      <a:pt x="1401" y="912"/>
                    </a:lnTo>
                    <a:lnTo>
                      <a:pt x="1400" y="913"/>
                    </a:lnTo>
                    <a:lnTo>
                      <a:pt x="1399" y="914"/>
                    </a:lnTo>
                    <a:lnTo>
                      <a:pt x="1396" y="915"/>
                    </a:lnTo>
                    <a:lnTo>
                      <a:pt x="1395" y="916"/>
                    </a:lnTo>
                    <a:lnTo>
                      <a:pt x="1394" y="918"/>
                    </a:lnTo>
                    <a:lnTo>
                      <a:pt x="1394" y="920"/>
                    </a:lnTo>
                    <a:lnTo>
                      <a:pt x="1395" y="923"/>
                    </a:lnTo>
                    <a:lnTo>
                      <a:pt x="1395" y="926"/>
                    </a:lnTo>
                    <a:lnTo>
                      <a:pt x="1396" y="928"/>
                    </a:lnTo>
                    <a:lnTo>
                      <a:pt x="1399" y="930"/>
                    </a:lnTo>
                    <a:lnTo>
                      <a:pt x="1400" y="933"/>
                    </a:lnTo>
                    <a:lnTo>
                      <a:pt x="1401" y="936"/>
                    </a:lnTo>
                    <a:lnTo>
                      <a:pt x="1401" y="939"/>
                    </a:lnTo>
                    <a:lnTo>
                      <a:pt x="1401" y="942"/>
                    </a:lnTo>
                    <a:lnTo>
                      <a:pt x="1400" y="946"/>
                    </a:lnTo>
                    <a:lnTo>
                      <a:pt x="1399" y="950"/>
                    </a:lnTo>
                    <a:lnTo>
                      <a:pt x="1397" y="953"/>
                    </a:lnTo>
                    <a:lnTo>
                      <a:pt x="1395" y="957"/>
                    </a:lnTo>
                    <a:lnTo>
                      <a:pt x="1391" y="959"/>
                    </a:lnTo>
                    <a:lnTo>
                      <a:pt x="1390" y="960"/>
                    </a:lnTo>
                    <a:lnTo>
                      <a:pt x="1390" y="963"/>
                    </a:lnTo>
                    <a:lnTo>
                      <a:pt x="1390" y="967"/>
                    </a:lnTo>
                    <a:lnTo>
                      <a:pt x="1389" y="970"/>
                    </a:lnTo>
                    <a:lnTo>
                      <a:pt x="1389" y="973"/>
                    </a:lnTo>
                    <a:lnTo>
                      <a:pt x="1390" y="975"/>
                    </a:lnTo>
                    <a:lnTo>
                      <a:pt x="1389" y="978"/>
                    </a:lnTo>
                    <a:lnTo>
                      <a:pt x="1388" y="979"/>
                    </a:lnTo>
                    <a:lnTo>
                      <a:pt x="1387" y="979"/>
                    </a:lnTo>
                    <a:lnTo>
                      <a:pt x="1385" y="979"/>
                    </a:lnTo>
                    <a:lnTo>
                      <a:pt x="1383" y="979"/>
                    </a:lnTo>
                    <a:lnTo>
                      <a:pt x="1380" y="980"/>
                    </a:lnTo>
                    <a:lnTo>
                      <a:pt x="1379" y="980"/>
                    </a:lnTo>
                    <a:lnTo>
                      <a:pt x="1377" y="981"/>
                    </a:lnTo>
                    <a:lnTo>
                      <a:pt x="1376" y="982"/>
                    </a:lnTo>
                    <a:lnTo>
                      <a:pt x="1376" y="985"/>
                    </a:lnTo>
                    <a:lnTo>
                      <a:pt x="1377" y="989"/>
                    </a:lnTo>
                    <a:lnTo>
                      <a:pt x="1378" y="991"/>
                    </a:lnTo>
                    <a:lnTo>
                      <a:pt x="1379" y="994"/>
                    </a:lnTo>
                    <a:lnTo>
                      <a:pt x="1380" y="996"/>
                    </a:lnTo>
                    <a:lnTo>
                      <a:pt x="1380" y="1000"/>
                    </a:lnTo>
                    <a:lnTo>
                      <a:pt x="1383" y="1010"/>
                    </a:lnTo>
                    <a:lnTo>
                      <a:pt x="1385" y="1020"/>
                    </a:lnTo>
                    <a:lnTo>
                      <a:pt x="1386" y="1023"/>
                    </a:lnTo>
                    <a:lnTo>
                      <a:pt x="1386" y="1025"/>
                    </a:lnTo>
                    <a:lnTo>
                      <a:pt x="1385" y="1027"/>
                    </a:lnTo>
                    <a:lnTo>
                      <a:pt x="1384" y="1029"/>
                    </a:lnTo>
                    <a:lnTo>
                      <a:pt x="1383" y="1032"/>
                    </a:lnTo>
                    <a:lnTo>
                      <a:pt x="1380" y="1035"/>
                    </a:lnTo>
                    <a:lnTo>
                      <a:pt x="1379" y="1038"/>
                    </a:lnTo>
                    <a:lnTo>
                      <a:pt x="1377" y="1042"/>
                    </a:lnTo>
                    <a:lnTo>
                      <a:pt x="1377" y="1045"/>
                    </a:lnTo>
                    <a:lnTo>
                      <a:pt x="1376" y="1048"/>
                    </a:lnTo>
                    <a:lnTo>
                      <a:pt x="1376" y="1053"/>
                    </a:lnTo>
                    <a:lnTo>
                      <a:pt x="1377" y="1057"/>
                    </a:lnTo>
                    <a:lnTo>
                      <a:pt x="1377" y="1062"/>
                    </a:lnTo>
                    <a:lnTo>
                      <a:pt x="1377" y="1070"/>
                    </a:lnTo>
                    <a:lnTo>
                      <a:pt x="1377" y="1077"/>
                    </a:lnTo>
                    <a:lnTo>
                      <a:pt x="1376" y="1081"/>
                    </a:lnTo>
                    <a:lnTo>
                      <a:pt x="1374" y="1083"/>
                    </a:lnTo>
                    <a:lnTo>
                      <a:pt x="1369" y="1081"/>
                    </a:lnTo>
                    <a:lnTo>
                      <a:pt x="1367" y="1079"/>
                    </a:lnTo>
                    <a:lnTo>
                      <a:pt x="1365" y="1077"/>
                    </a:lnTo>
                    <a:lnTo>
                      <a:pt x="1362" y="1077"/>
                    </a:lnTo>
                    <a:lnTo>
                      <a:pt x="1360" y="1077"/>
                    </a:lnTo>
                    <a:lnTo>
                      <a:pt x="1357" y="1079"/>
                    </a:lnTo>
                    <a:lnTo>
                      <a:pt x="1356" y="1080"/>
                    </a:lnTo>
                    <a:lnTo>
                      <a:pt x="1355" y="1082"/>
                    </a:lnTo>
                    <a:lnTo>
                      <a:pt x="1354" y="1083"/>
                    </a:lnTo>
                    <a:lnTo>
                      <a:pt x="1353" y="1084"/>
                    </a:lnTo>
                    <a:lnTo>
                      <a:pt x="1352" y="1086"/>
                    </a:lnTo>
                    <a:lnTo>
                      <a:pt x="1350" y="1086"/>
                    </a:lnTo>
                    <a:lnTo>
                      <a:pt x="1349" y="1083"/>
                    </a:lnTo>
                    <a:lnTo>
                      <a:pt x="1345" y="1081"/>
                    </a:lnTo>
                    <a:lnTo>
                      <a:pt x="1344" y="1079"/>
                    </a:lnTo>
                    <a:lnTo>
                      <a:pt x="1344" y="1077"/>
                    </a:lnTo>
                    <a:lnTo>
                      <a:pt x="1344" y="1073"/>
                    </a:lnTo>
                    <a:lnTo>
                      <a:pt x="1344" y="1071"/>
                    </a:lnTo>
                    <a:lnTo>
                      <a:pt x="1344" y="1068"/>
                    </a:lnTo>
                    <a:lnTo>
                      <a:pt x="1343" y="1066"/>
                    </a:lnTo>
                    <a:lnTo>
                      <a:pt x="1341" y="1065"/>
                    </a:lnTo>
                    <a:lnTo>
                      <a:pt x="1339" y="1064"/>
                    </a:lnTo>
                    <a:lnTo>
                      <a:pt x="1336" y="1062"/>
                    </a:lnTo>
                    <a:lnTo>
                      <a:pt x="1334" y="1062"/>
                    </a:lnTo>
                    <a:lnTo>
                      <a:pt x="1333" y="1061"/>
                    </a:lnTo>
                    <a:lnTo>
                      <a:pt x="1331" y="1060"/>
                    </a:lnTo>
                    <a:lnTo>
                      <a:pt x="1329" y="1058"/>
                    </a:lnTo>
                    <a:lnTo>
                      <a:pt x="1328" y="1057"/>
                    </a:lnTo>
                    <a:lnTo>
                      <a:pt x="1328" y="1054"/>
                    </a:lnTo>
                    <a:lnTo>
                      <a:pt x="1327" y="1050"/>
                    </a:lnTo>
                    <a:lnTo>
                      <a:pt x="1324" y="1048"/>
                    </a:lnTo>
                    <a:lnTo>
                      <a:pt x="1322" y="1047"/>
                    </a:lnTo>
                    <a:lnTo>
                      <a:pt x="1319" y="1046"/>
                    </a:lnTo>
                    <a:lnTo>
                      <a:pt x="1316" y="1046"/>
                    </a:lnTo>
                    <a:lnTo>
                      <a:pt x="1313" y="1046"/>
                    </a:lnTo>
                    <a:lnTo>
                      <a:pt x="1310" y="1046"/>
                    </a:lnTo>
                    <a:lnTo>
                      <a:pt x="1308" y="1046"/>
                    </a:lnTo>
                    <a:lnTo>
                      <a:pt x="1307" y="1047"/>
                    </a:lnTo>
                    <a:lnTo>
                      <a:pt x="1306" y="1048"/>
                    </a:lnTo>
                    <a:lnTo>
                      <a:pt x="1306" y="1049"/>
                    </a:lnTo>
                    <a:lnTo>
                      <a:pt x="1304" y="1051"/>
                    </a:lnTo>
                    <a:lnTo>
                      <a:pt x="1303" y="1053"/>
                    </a:lnTo>
                    <a:lnTo>
                      <a:pt x="1302" y="1055"/>
                    </a:lnTo>
                    <a:lnTo>
                      <a:pt x="1301" y="1056"/>
                    </a:lnTo>
                    <a:lnTo>
                      <a:pt x="1301" y="1055"/>
                    </a:lnTo>
                    <a:lnTo>
                      <a:pt x="1300" y="1054"/>
                    </a:lnTo>
                    <a:lnTo>
                      <a:pt x="1300" y="1051"/>
                    </a:lnTo>
                    <a:lnTo>
                      <a:pt x="1300" y="1048"/>
                    </a:lnTo>
                    <a:lnTo>
                      <a:pt x="1300" y="1046"/>
                    </a:lnTo>
                    <a:lnTo>
                      <a:pt x="1300" y="1045"/>
                    </a:lnTo>
                    <a:lnTo>
                      <a:pt x="1300" y="1044"/>
                    </a:lnTo>
                    <a:lnTo>
                      <a:pt x="1299" y="1040"/>
                    </a:lnTo>
                    <a:lnTo>
                      <a:pt x="1298" y="1038"/>
                    </a:lnTo>
                    <a:lnTo>
                      <a:pt x="1296" y="1037"/>
                    </a:lnTo>
                    <a:lnTo>
                      <a:pt x="1293" y="1035"/>
                    </a:lnTo>
                    <a:lnTo>
                      <a:pt x="1291" y="1034"/>
                    </a:lnTo>
                    <a:lnTo>
                      <a:pt x="1289" y="1033"/>
                    </a:lnTo>
                    <a:lnTo>
                      <a:pt x="1285" y="1031"/>
                    </a:lnTo>
                    <a:lnTo>
                      <a:pt x="1280" y="1026"/>
                    </a:lnTo>
                    <a:lnTo>
                      <a:pt x="1278" y="1022"/>
                    </a:lnTo>
                    <a:lnTo>
                      <a:pt x="1274" y="1012"/>
                    </a:lnTo>
                    <a:lnTo>
                      <a:pt x="1268" y="1003"/>
                    </a:lnTo>
                    <a:lnTo>
                      <a:pt x="1263" y="993"/>
                    </a:lnTo>
                    <a:lnTo>
                      <a:pt x="1259" y="982"/>
                    </a:lnTo>
                    <a:lnTo>
                      <a:pt x="1256" y="971"/>
                    </a:lnTo>
                    <a:lnTo>
                      <a:pt x="1252" y="961"/>
                    </a:lnTo>
                    <a:lnTo>
                      <a:pt x="1246" y="950"/>
                    </a:lnTo>
                    <a:lnTo>
                      <a:pt x="1240" y="939"/>
                    </a:lnTo>
                    <a:lnTo>
                      <a:pt x="1235" y="929"/>
                    </a:lnTo>
                    <a:lnTo>
                      <a:pt x="1234" y="917"/>
                    </a:lnTo>
                    <a:lnTo>
                      <a:pt x="1235" y="913"/>
                    </a:lnTo>
                    <a:lnTo>
                      <a:pt x="1237" y="907"/>
                    </a:lnTo>
                    <a:lnTo>
                      <a:pt x="1241" y="901"/>
                    </a:lnTo>
                    <a:lnTo>
                      <a:pt x="1242" y="895"/>
                    </a:lnTo>
                    <a:lnTo>
                      <a:pt x="1242" y="891"/>
                    </a:lnTo>
                    <a:lnTo>
                      <a:pt x="1238" y="889"/>
                    </a:lnTo>
                    <a:lnTo>
                      <a:pt x="1235" y="889"/>
                    </a:lnTo>
                    <a:lnTo>
                      <a:pt x="1233" y="891"/>
                    </a:lnTo>
                    <a:lnTo>
                      <a:pt x="1232" y="892"/>
                    </a:lnTo>
                    <a:lnTo>
                      <a:pt x="1230" y="895"/>
                    </a:lnTo>
                    <a:lnTo>
                      <a:pt x="1229" y="897"/>
                    </a:lnTo>
                    <a:lnTo>
                      <a:pt x="1227" y="900"/>
                    </a:lnTo>
                    <a:lnTo>
                      <a:pt x="1226" y="901"/>
                    </a:lnTo>
                    <a:lnTo>
                      <a:pt x="1225" y="903"/>
                    </a:lnTo>
                    <a:lnTo>
                      <a:pt x="1224" y="904"/>
                    </a:lnTo>
                    <a:lnTo>
                      <a:pt x="1223" y="905"/>
                    </a:lnTo>
                    <a:lnTo>
                      <a:pt x="1221" y="905"/>
                    </a:lnTo>
                    <a:lnTo>
                      <a:pt x="1219" y="904"/>
                    </a:lnTo>
                    <a:lnTo>
                      <a:pt x="1218" y="894"/>
                    </a:lnTo>
                    <a:lnTo>
                      <a:pt x="1219" y="884"/>
                    </a:lnTo>
                    <a:lnTo>
                      <a:pt x="1215" y="871"/>
                    </a:lnTo>
                    <a:lnTo>
                      <a:pt x="1212" y="860"/>
                    </a:lnTo>
                    <a:lnTo>
                      <a:pt x="1210" y="852"/>
                    </a:lnTo>
                    <a:lnTo>
                      <a:pt x="1208" y="847"/>
                    </a:lnTo>
                    <a:lnTo>
                      <a:pt x="1203" y="840"/>
                    </a:lnTo>
                    <a:lnTo>
                      <a:pt x="1190" y="820"/>
                    </a:lnTo>
                    <a:lnTo>
                      <a:pt x="1188" y="817"/>
                    </a:lnTo>
                    <a:lnTo>
                      <a:pt x="1188" y="814"/>
                    </a:lnTo>
                    <a:lnTo>
                      <a:pt x="1188" y="810"/>
                    </a:lnTo>
                    <a:lnTo>
                      <a:pt x="1189" y="807"/>
                    </a:lnTo>
                    <a:lnTo>
                      <a:pt x="1190" y="803"/>
                    </a:lnTo>
                    <a:lnTo>
                      <a:pt x="1191" y="800"/>
                    </a:lnTo>
                    <a:lnTo>
                      <a:pt x="1192" y="798"/>
                    </a:lnTo>
                    <a:lnTo>
                      <a:pt x="1193" y="797"/>
                    </a:lnTo>
                    <a:lnTo>
                      <a:pt x="1194" y="795"/>
                    </a:lnTo>
                    <a:lnTo>
                      <a:pt x="1194" y="793"/>
                    </a:lnTo>
                    <a:lnTo>
                      <a:pt x="1190" y="792"/>
                    </a:lnTo>
                    <a:lnTo>
                      <a:pt x="1186" y="789"/>
                    </a:lnTo>
                    <a:lnTo>
                      <a:pt x="1181" y="787"/>
                    </a:lnTo>
                    <a:lnTo>
                      <a:pt x="1179" y="784"/>
                    </a:lnTo>
                    <a:lnTo>
                      <a:pt x="1178" y="782"/>
                    </a:lnTo>
                    <a:lnTo>
                      <a:pt x="1177" y="781"/>
                    </a:lnTo>
                    <a:lnTo>
                      <a:pt x="1177" y="780"/>
                    </a:lnTo>
                    <a:lnTo>
                      <a:pt x="1177" y="778"/>
                    </a:lnTo>
                    <a:lnTo>
                      <a:pt x="1178" y="778"/>
                    </a:lnTo>
                    <a:lnTo>
                      <a:pt x="1179" y="780"/>
                    </a:lnTo>
                    <a:lnTo>
                      <a:pt x="1181" y="778"/>
                    </a:lnTo>
                    <a:lnTo>
                      <a:pt x="1183" y="778"/>
                    </a:lnTo>
                    <a:lnTo>
                      <a:pt x="1184" y="776"/>
                    </a:lnTo>
                    <a:lnTo>
                      <a:pt x="1184" y="775"/>
                    </a:lnTo>
                    <a:lnTo>
                      <a:pt x="1183" y="773"/>
                    </a:lnTo>
                    <a:lnTo>
                      <a:pt x="1181" y="770"/>
                    </a:lnTo>
                    <a:lnTo>
                      <a:pt x="1181" y="767"/>
                    </a:lnTo>
                    <a:lnTo>
                      <a:pt x="1180" y="765"/>
                    </a:lnTo>
                    <a:lnTo>
                      <a:pt x="1180" y="762"/>
                    </a:lnTo>
                    <a:lnTo>
                      <a:pt x="1179" y="760"/>
                    </a:lnTo>
                    <a:lnTo>
                      <a:pt x="1177" y="758"/>
                    </a:lnTo>
                    <a:lnTo>
                      <a:pt x="1176" y="756"/>
                    </a:lnTo>
                    <a:lnTo>
                      <a:pt x="1173" y="754"/>
                    </a:lnTo>
                    <a:lnTo>
                      <a:pt x="1173" y="752"/>
                    </a:lnTo>
                    <a:lnTo>
                      <a:pt x="1173" y="750"/>
                    </a:lnTo>
                    <a:lnTo>
                      <a:pt x="1175" y="749"/>
                    </a:lnTo>
                    <a:lnTo>
                      <a:pt x="1178" y="745"/>
                    </a:lnTo>
                    <a:lnTo>
                      <a:pt x="1181" y="744"/>
                    </a:lnTo>
                    <a:lnTo>
                      <a:pt x="1183" y="743"/>
                    </a:lnTo>
                    <a:lnTo>
                      <a:pt x="1186" y="742"/>
                    </a:lnTo>
                    <a:lnTo>
                      <a:pt x="1188" y="740"/>
                    </a:lnTo>
                    <a:lnTo>
                      <a:pt x="1190" y="739"/>
                    </a:lnTo>
                    <a:lnTo>
                      <a:pt x="1193" y="739"/>
                    </a:lnTo>
                    <a:lnTo>
                      <a:pt x="1196" y="739"/>
                    </a:lnTo>
                    <a:lnTo>
                      <a:pt x="1199" y="740"/>
                    </a:lnTo>
                    <a:lnTo>
                      <a:pt x="1202" y="742"/>
                    </a:lnTo>
                    <a:lnTo>
                      <a:pt x="1205" y="742"/>
                    </a:lnTo>
                    <a:lnTo>
                      <a:pt x="1209" y="742"/>
                    </a:lnTo>
                    <a:lnTo>
                      <a:pt x="1213" y="742"/>
                    </a:lnTo>
                    <a:lnTo>
                      <a:pt x="1216" y="742"/>
                    </a:lnTo>
                    <a:lnTo>
                      <a:pt x="1219" y="743"/>
                    </a:lnTo>
                    <a:lnTo>
                      <a:pt x="1221" y="746"/>
                    </a:lnTo>
                    <a:lnTo>
                      <a:pt x="1223" y="749"/>
                    </a:lnTo>
                    <a:lnTo>
                      <a:pt x="1225" y="750"/>
                    </a:lnTo>
                    <a:lnTo>
                      <a:pt x="1227" y="751"/>
                    </a:lnTo>
                    <a:lnTo>
                      <a:pt x="1230" y="751"/>
                    </a:lnTo>
                    <a:lnTo>
                      <a:pt x="1230" y="750"/>
                    </a:lnTo>
                    <a:lnTo>
                      <a:pt x="1230" y="749"/>
                    </a:lnTo>
                    <a:lnTo>
                      <a:pt x="1229" y="746"/>
                    </a:lnTo>
                    <a:lnTo>
                      <a:pt x="1227" y="744"/>
                    </a:lnTo>
                    <a:lnTo>
                      <a:pt x="1225" y="742"/>
                    </a:lnTo>
                    <a:lnTo>
                      <a:pt x="1223" y="741"/>
                    </a:lnTo>
                    <a:lnTo>
                      <a:pt x="1221" y="740"/>
                    </a:lnTo>
                    <a:lnTo>
                      <a:pt x="1220" y="739"/>
                    </a:lnTo>
                    <a:lnTo>
                      <a:pt x="1219" y="737"/>
                    </a:lnTo>
                    <a:lnTo>
                      <a:pt x="1218" y="734"/>
                    </a:lnTo>
                    <a:lnTo>
                      <a:pt x="1218" y="732"/>
                    </a:lnTo>
                    <a:lnTo>
                      <a:pt x="1216" y="730"/>
                    </a:lnTo>
                    <a:lnTo>
                      <a:pt x="1214" y="729"/>
                    </a:lnTo>
                    <a:lnTo>
                      <a:pt x="1209" y="729"/>
                    </a:lnTo>
                    <a:lnTo>
                      <a:pt x="1202" y="731"/>
                    </a:lnTo>
                    <a:lnTo>
                      <a:pt x="1197" y="732"/>
                    </a:lnTo>
                    <a:lnTo>
                      <a:pt x="1192" y="731"/>
                    </a:lnTo>
                    <a:lnTo>
                      <a:pt x="1191" y="728"/>
                    </a:lnTo>
                    <a:lnTo>
                      <a:pt x="1191" y="726"/>
                    </a:lnTo>
                    <a:lnTo>
                      <a:pt x="1192" y="724"/>
                    </a:lnTo>
                    <a:lnTo>
                      <a:pt x="1193" y="722"/>
                    </a:lnTo>
                    <a:lnTo>
                      <a:pt x="1197" y="721"/>
                    </a:lnTo>
                    <a:lnTo>
                      <a:pt x="1199" y="721"/>
                    </a:lnTo>
                    <a:lnTo>
                      <a:pt x="1201" y="720"/>
                    </a:lnTo>
                    <a:lnTo>
                      <a:pt x="1203" y="720"/>
                    </a:lnTo>
                    <a:lnTo>
                      <a:pt x="1205" y="720"/>
                    </a:lnTo>
                    <a:lnTo>
                      <a:pt x="1209" y="720"/>
                    </a:lnTo>
                    <a:lnTo>
                      <a:pt x="1210" y="719"/>
                    </a:lnTo>
                    <a:lnTo>
                      <a:pt x="1211" y="717"/>
                    </a:lnTo>
                    <a:lnTo>
                      <a:pt x="1211" y="716"/>
                    </a:lnTo>
                    <a:lnTo>
                      <a:pt x="1211" y="713"/>
                    </a:lnTo>
                    <a:lnTo>
                      <a:pt x="1210" y="711"/>
                    </a:lnTo>
                    <a:lnTo>
                      <a:pt x="1210" y="709"/>
                    </a:lnTo>
                    <a:lnTo>
                      <a:pt x="1209" y="707"/>
                    </a:lnTo>
                    <a:lnTo>
                      <a:pt x="1210" y="705"/>
                    </a:lnTo>
                    <a:lnTo>
                      <a:pt x="1210" y="704"/>
                    </a:lnTo>
                    <a:lnTo>
                      <a:pt x="1212" y="702"/>
                    </a:lnTo>
                    <a:lnTo>
                      <a:pt x="1214" y="701"/>
                    </a:lnTo>
                    <a:lnTo>
                      <a:pt x="1215" y="698"/>
                    </a:lnTo>
                    <a:lnTo>
                      <a:pt x="1216" y="696"/>
                    </a:lnTo>
                    <a:lnTo>
                      <a:pt x="1216" y="693"/>
                    </a:lnTo>
                    <a:lnTo>
                      <a:pt x="1216" y="689"/>
                    </a:lnTo>
                    <a:lnTo>
                      <a:pt x="1216" y="687"/>
                    </a:lnTo>
                    <a:lnTo>
                      <a:pt x="1219" y="684"/>
                    </a:lnTo>
                    <a:lnTo>
                      <a:pt x="1220" y="679"/>
                    </a:lnTo>
                    <a:lnTo>
                      <a:pt x="1220" y="675"/>
                    </a:lnTo>
                    <a:lnTo>
                      <a:pt x="1219" y="669"/>
                    </a:lnTo>
                    <a:lnTo>
                      <a:pt x="1218" y="663"/>
                    </a:lnTo>
                    <a:lnTo>
                      <a:pt x="1213" y="657"/>
                    </a:lnTo>
                    <a:lnTo>
                      <a:pt x="1207" y="654"/>
                    </a:lnTo>
                    <a:lnTo>
                      <a:pt x="1199" y="654"/>
                    </a:lnTo>
                    <a:lnTo>
                      <a:pt x="1198" y="654"/>
                    </a:lnTo>
                    <a:lnTo>
                      <a:pt x="1196" y="654"/>
                    </a:lnTo>
                    <a:lnTo>
                      <a:pt x="1193" y="654"/>
                    </a:lnTo>
                    <a:lnTo>
                      <a:pt x="1191" y="654"/>
                    </a:lnTo>
                    <a:lnTo>
                      <a:pt x="1189" y="654"/>
                    </a:lnTo>
                    <a:lnTo>
                      <a:pt x="1187" y="655"/>
                    </a:lnTo>
                    <a:lnTo>
                      <a:pt x="1186" y="655"/>
                    </a:lnTo>
                    <a:lnTo>
                      <a:pt x="1184" y="656"/>
                    </a:lnTo>
                    <a:lnTo>
                      <a:pt x="1183" y="657"/>
                    </a:lnTo>
                    <a:lnTo>
                      <a:pt x="1184" y="658"/>
                    </a:lnTo>
                    <a:lnTo>
                      <a:pt x="1186" y="661"/>
                    </a:lnTo>
                    <a:lnTo>
                      <a:pt x="1188" y="663"/>
                    </a:lnTo>
                    <a:lnTo>
                      <a:pt x="1192" y="667"/>
                    </a:lnTo>
                    <a:lnTo>
                      <a:pt x="1196" y="673"/>
                    </a:lnTo>
                    <a:lnTo>
                      <a:pt x="1197" y="677"/>
                    </a:lnTo>
                    <a:lnTo>
                      <a:pt x="1196" y="680"/>
                    </a:lnTo>
                    <a:lnTo>
                      <a:pt x="1190" y="683"/>
                    </a:lnTo>
                    <a:lnTo>
                      <a:pt x="1175" y="683"/>
                    </a:lnTo>
                    <a:lnTo>
                      <a:pt x="1172" y="684"/>
                    </a:lnTo>
                    <a:lnTo>
                      <a:pt x="1169" y="685"/>
                    </a:lnTo>
                    <a:lnTo>
                      <a:pt x="1168" y="685"/>
                    </a:lnTo>
                    <a:lnTo>
                      <a:pt x="1166" y="685"/>
                    </a:lnTo>
                    <a:lnTo>
                      <a:pt x="1164" y="684"/>
                    </a:lnTo>
                    <a:lnTo>
                      <a:pt x="1161" y="680"/>
                    </a:lnTo>
                    <a:lnTo>
                      <a:pt x="1160" y="679"/>
                    </a:lnTo>
                    <a:lnTo>
                      <a:pt x="1160" y="677"/>
                    </a:lnTo>
                    <a:lnTo>
                      <a:pt x="1160" y="675"/>
                    </a:lnTo>
                    <a:lnTo>
                      <a:pt x="1160" y="674"/>
                    </a:lnTo>
                    <a:lnTo>
                      <a:pt x="1159" y="672"/>
                    </a:lnTo>
                    <a:lnTo>
                      <a:pt x="1158" y="671"/>
                    </a:lnTo>
                    <a:lnTo>
                      <a:pt x="1155" y="669"/>
                    </a:lnTo>
                    <a:lnTo>
                      <a:pt x="1153" y="669"/>
                    </a:lnTo>
                    <a:lnTo>
                      <a:pt x="1150" y="667"/>
                    </a:lnTo>
                    <a:lnTo>
                      <a:pt x="1148" y="665"/>
                    </a:lnTo>
                    <a:lnTo>
                      <a:pt x="1147" y="662"/>
                    </a:lnTo>
                    <a:lnTo>
                      <a:pt x="1146" y="660"/>
                    </a:lnTo>
                    <a:lnTo>
                      <a:pt x="1146" y="656"/>
                    </a:lnTo>
                    <a:lnTo>
                      <a:pt x="1146" y="653"/>
                    </a:lnTo>
                    <a:lnTo>
                      <a:pt x="1147" y="649"/>
                    </a:lnTo>
                    <a:lnTo>
                      <a:pt x="1147" y="645"/>
                    </a:lnTo>
                    <a:lnTo>
                      <a:pt x="1148" y="641"/>
                    </a:lnTo>
                    <a:lnTo>
                      <a:pt x="1150" y="640"/>
                    </a:lnTo>
                    <a:lnTo>
                      <a:pt x="1151" y="639"/>
                    </a:lnTo>
                    <a:lnTo>
                      <a:pt x="1154" y="636"/>
                    </a:lnTo>
                    <a:lnTo>
                      <a:pt x="1155" y="635"/>
                    </a:lnTo>
                    <a:lnTo>
                      <a:pt x="1155" y="633"/>
                    </a:lnTo>
                    <a:lnTo>
                      <a:pt x="1155" y="629"/>
                    </a:lnTo>
                    <a:lnTo>
                      <a:pt x="1153" y="623"/>
                    </a:lnTo>
                    <a:lnTo>
                      <a:pt x="1150" y="618"/>
                    </a:lnTo>
                    <a:lnTo>
                      <a:pt x="1149" y="612"/>
                    </a:lnTo>
                    <a:lnTo>
                      <a:pt x="1150" y="609"/>
                    </a:lnTo>
                    <a:lnTo>
                      <a:pt x="1155" y="609"/>
                    </a:lnTo>
                    <a:lnTo>
                      <a:pt x="1158" y="609"/>
                    </a:lnTo>
                    <a:lnTo>
                      <a:pt x="1161" y="611"/>
                    </a:lnTo>
                    <a:lnTo>
                      <a:pt x="1165" y="613"/>
                    </a:lnTo>
                    <a:lnTo>
                      <a:pt x="1168" y="615"/>
                    </a:lnTo>
                    <a:lnTo>
                      <a:pt x="1172" y="618"/>
                    </a:lnTo>
                    <a:lnTo>
                      <a:pt x="1176" y="619"/>
                    </a:lnTo>
                    <a:lnTo>
                      <a:pt x="1179" y="620"/>
                    </a:lnTo>
                    <a:lnTo>
                      <a:pt x="1182" y="621"/>
                    </a:lnTo>
                    <a:lnTo>
                      <a:pt x="1186" y="622"/>
                    </a:lnTo>
                    <a:lnTo>
                      <a:pt x="1188" y="622"/>
                    </a:lnTo>
                    <a:lnTo>
                      <a:pt x="1191" y="623"/>
                    </a:lnTo>
                    <a:lnTo>
                      <a:pt x="1193" y="624"/>
                    </a:lnTo>
                    <a:lnTo>
                      <a:pt x="1197" y="625"/>
                    </a:lnTo>
                    <a:lnTo>
                      <a:pt x="1199" y="626"/>
                    </a:lnTo>
                    <a:lnTo>
                      <a:pt x="1201" y="628"/>
                    </a:lnTo>
                    <a:lnTo>
                      <a:pt x="1202" y="628"/>
                    </a:lnTo>
                    <a:lnTo>
                      <a:pt x="1203" y="626"/>
                    </a:lnTo>
                    <a:lnTo>
                      <a:pt x="1204" y="625"/>
                    </a:lnTo>
                    <a:lnTo>
                      <a:pt x="1204" y="623"/>
                    </a:lnTo>
                    <a:lnTo>
                      <a:pt x="1203" y="620"/>
                    </a:lnTo>
                    <a:lnTo>
                      <a:pt x="1202" y="614"/>
                    </a:lnTo>
                    <a:lnTo>
                      <a:pt x="1200" y="611"/>
                    </a:lnTo>
                    <a:lnTo>
                      <a:pt x="1198" y="609"/>
                    </a:lnTo>
                    <a:lnTo>
                      <a:pt x="1194" y="607"/>
                    </a:lnTo>
                    <a:lnTo>
                      <a:pt x="1190" y="604"/>
                    </a:lnTo>
                    <a:lnTo>
                      <a:pt x="1188" y="602"/>
                    </a:lnTo>
                    <a:lnTo>
                      <a:pt x="1186" y="600"/>
                    </a:lnTo>
                    <a:lnTo>
                      <a:pt x="1183" y="598"/>
                    </a:lnTo>
                    <a:lnTo>
                      <a:pt x="1183" y="595"/>
                    </a:lnTo>
                    <a:lnTo>
                      <a:pt x="1183" y="592"/>
                    </a:lnTo>
                    <a:lnTo>
                      <a:pt x="1182" y="590"/>
                    </a:lnTo>
                    <a:lnTo>
                      <a:pt x="1180" y="588"/>
                    </a:lnTo>
                    <a:lnTo>
                      <a:pt x="1177" y="587"/>
                    </a:lnTo>
                    <a:lnTo>
                      <a:pt x="1176" y="587"/>
                    </a:lnTo>
                    <a:lnTo>
                      <a:pt x="1173" y="587"/>
                    </a:lnTo>
                    <a:lnTo>
                      <a:pt x="1171" y="587"/>
                    </a:lnTo>
                    <a:lnTo>
                      <a:pt x="1170" y="587"/>
                    </a:lnTo>
                    <a:lnTo>
                      <a:pt x="1168" y="587"/>
                    </a:lnTo>
                    <a:lnTo>
                      <a:pt x="1167" y="586"/>
                    </a:lnTo>
                    <a:lnTo>
                      <a:pt x="1166" y="585"/>
                    </a:lnTo>
                    <a:lnTo>
                      <a:pt x="1166" y="582"/>
                    </a:lnTo>
                    <a:lnTo>
                      <a:pt x="1166" y="580"/>
                    </a:lnTo>
                    <a:lnTo>
                      <a:pt x="1167" y="578"/>
                    </a:lnTo>
                    <a:lnTo>
                      <a:pt x="1167" y="576"/>
                    </a:lnTo>
                    <a:lnTo>
                      <a:pt x="1167" y="574"/>
                    </a:lnTo>
                    <a:lnTo>
                      <a:pt x="1166" y="573"/>
                    </a:lnTo>
                    <a:lnTo>
                      <a:pt x="1164" y="571"/>
                    </a:lnTo>
                    <a:lnTo>
                      <a:pt x="1161" y="570"/>
                    </a:lnTo>
                    <a:lnTo>
                      <a:pt x="1158" y="569"/>
                    </a:lnTo>
                    <a:lnTo>
                      <a:pt x="1155" y="569"/>
                    </a:lnTo>
                    <a:lnTo>
                      <a:pt x="1153" y="570"/>
                    </a:lnTo>
                    <a:lnTo>
                      <a:pt x="1150" y="571"/>
                    </a:lnTo>
                    <a:lnTo>
                      <a:pt x="1149" y="571"/>
                    </a:lnTo>
                    <a:lnTo>
                      <a:pt x="1148" y="573"/>
                    </a:lnTo>
                    <a:lnTo>
                      <a:pt x="1148" y="574"/>
                    </a:lnTo>
                    <a:lnTo>
                      <a:pt x="1148" y="576"/>
                    </a:lnTo>
                    <a:lnTo>
                      <a:pt x="1148" y="578"/>
                    </a:lnTo>
                    <a:lnTo>
                      <a:pt x="1148" y="580"/>
                    </a:lnTo>
                    <a:lnTo>
                      <a:pt x="1148" y="584"/>
                    </a:lnTo>
                    <a:lnTo>
                      <a:pt x="1147" y="586"/>
                    </a:lnTo>
                    <a:lnTo>
                      <a:pt x="1145" y="587"/>
                    </a:lnTo>
                    <a:lnTo>
                      <a:pt x="1142" y="587"/>
                    </a:lnTo>
                    <a:lnTo>
                      <a:pt x="1138" y="586"/>
                    </a:lnTo>
                    <a:lnTo>
                      <a:pt x="1135" y="584"/>
                    </a:lnTo>
                    <a:lnTo>
                      <a:pt x="1131" y="580"/>
                    </a:lnTo>
                    <a:lnTo>
                      <a:pt x="1128" y="578"/>
                    </a:lnTo>
                    <a:lnTo>
                      <a:pt x="1127" y="576"/>
                    </a:lnTo>
                    <a:lnTo>
                      <a:pt x="1127" y="574"/>
                    </a:lnTo>
                    <a:lnTo>
                      <a:pt x="1127" y="571"/>
                    </a:lnTo>
                    <a:lnTo>
                      <a:pt x="1127" y="569"/>
                    </a:lnTo>
                    <a:lnTo>
                      <a:pt x="1126" y="567"/>
                    </a:lnTo>
                    <a:lnTo>
                      <a:pt x="1126" y="564"/>
                    </a:lnTo>
                    <a:lnTo>
                      <a:pt x="1125" y="560"/>
                    </a:lnTo>
                    <a:lnTo>
                      <a:pt x="1124" y="558"/>
                    </a:lnTo>
                    <a:lnTo>
                      <a:pt x="1123" y="556"/>
                    </a:lnTo>
                    <a:lnTo>
                      <a:pt x="1122" y="554"/>
                    </a:lnTo>
                    <a:lnTo>
                      <a:pt x="1122" y="551"/>
                    </a:lnTo>
                    <a:lnTo>
                      <a:pt x="1122" y="548"/>
                    </a:lnTo>
                    <a:lnTo>
                      <a:pt x="1122" y="547"/>
                    </a:lnTo>
                    <a:lnTo>
                      <a:pt x="1123" y="545"/>
                    </a:lnTo>
                    <a:lnTo>
                      <a:pt x="1124" y="544"/>
                    </a:lnTo>
                    <a:lnTo>
                      <a:pt x="1126" y="543"/>
                    </a:lnTo>
                    <a:lnTo>
                      <a:pt x="1127" y="542"/>
                    </a:lnTo>
                    <a:lnTo>
                      <a:pt x="1127" y="541"/>
                    </a:lnTo>
                    <a:lnTo>
                      <a:pt x="1127" y="538"/>
                    </a:lnTo>
                    <a:lnTo>
                      <a:pt x="1126" y="536"/>
                    </a:lnTo>
                    <a:lnTo>
                      <a:pt x="1125" y="535"/>
                    </a:lnTo>
                    <a:lnTo>
                      <a:pt x="1123" y="533"/>
                    </a:lnTo>
                    <a:lnTo>
                      <a:pt x="1122" y="531"/>
                    </a:lnTo>
                    <a:lnTo>
                      <a:pt x="1120" y="529"/>
                    </a:lnTo>
                    <a:lnTo>
                      <a:pt x="1118" y="526"/>
                    </a:lnTo>
                    <a:lnTo>
                      <a:pt x="1117" y="525"/>
                    </a:lnTo>
                    <a:lnTo>
                      <a:pt x="1120" y="523"/>
                    </a:lnTo>
                    <a:lnTo>
                      <a:pt x="1122" y="522"/>
                    </a:lnTo>
                    <a:lnTo>
                      <a:pt x="1123" y="521"/>
                    </a:lnTo>
                    <a:lnTo>
                      <a:pt x="1125" y="520"/>
                    </a:lnTo>
                    <a:lnTo>
                      <a:pt x="1126" y="519"/>
                    </a:lnTo>
                    <a:lnTo>
                      <a:pt x="1128" y="516"/>
                    </a:lnTo>
                    <a:lnTo>
                      <a:pt x="1129" y="513"/>
                    </a:lnTo>
                    <a:lnTo>
                      <a:pt x="1128" y="512"/>
                    </a:lnTo>
                    <a:lnTo>
                      <a:pt x="1127" y="510"/>
                    </a:lnTo>
                    <a:lnTo>
                      <a:pt x="1125" y="509"/>
                    </a:lnTo>
                    <a:lnTo>
                      <a:pt x="1122" y="508"/>
                    </a:lnTo>
                    <a:lnTo>
                      <a:pt x="1118" y="506"/>
                    </a:lnTo>
                    <a:lnTo>
                      <a:pt x="1116" y="505"/>
                    </a:lnTo>
                    <a:lnTo>
                      <a:pt x="1115" y="504"/>
                    </a:lnTo>
                    <a:lnTo>
                      <a:pt x="1115" y="502"/>
                    </a:lnTo>
                    <a:lnTo>
                      <a:pt x="1115" y="500"/>
                    </a:lnTo>
                    <a:lnTo>
                      <a:pt x="1115" y="498"/>
                    </a:lnTo>
                    <a:lnTo>
                      <a:pt x="1116" y="495"/>
                    </a:lnTo>
                    <a:lnTo>
                      <a:pt x="1116" y="494"/>
                    </a:lnTo>
                    <a:lnTo>
                      <a:pt x="1115" y="492"/>
                    </a:lnTo>
                    <a:lnTo>
                      <a:pt x="1114" y="489"/>
                    </a:lnTo>
                    <a:lnTo>
                      <a:pt x="1112" y="486"/>
                    </a:lnTo>
                    <a:lnTo>
                      <a:pt x="1109" y="483"/>
                    </a:lnTo>
                    <a:lnTo>
                      <a:pt x="1105" y="481"/>
                    </a:lnTo>
                    <a:lnTo>
                      <a:pt x="1103" y="479"/>
                    </a:lnTo>
                    <a:lnTo>
                      <a:pt x="1099" y="478"/>
                    </a:lnTo>
                    <a:lnTo>
                      <a:pt x="1098" y="477"/>
                    </a:lnTo>
                    <a:lnTo>
                      <a:pt x="1098" y="476"/>
                    </a:lnTo>
                    <a:lnTo>
                      <a:pt x="1098" y="475"/>
                    </a:lnTo>
                    <a:lnTo>
                      <a:pt x="1098" y="472"/>
                    </a:lnTo>
                    <a:lnTo>
                      <a:pt x="1099" y="470"/>
                    </a:lnTo>
                    <a:lnTo>
                      <a:pt x="1099" y="466"/>
                    </a:lnTo>
                    <a:lnTo>
                      <a:pt x="1099" y="461"/>
                    </a:lnTo>
                    <a:lnTo>
                      <a:pt x="1098" y="457"/>
                    </a:lnTo>
                    <a:lnTo>
                      <a:pt x="1096" y="454"/>
                    </a:lnTo>
                    <a:lnTo>
                      <a:pt x="1094" y="448"/>
                    </a:lnTo>
                    <a:lnTo>
                      <a:pt x="1093" y="445"/>
                    </a:lnTo>
                    <a:lnTo>
                      <a:pt x="1092" y="442"/>
                    </a:lnTo>
                    <a:lnTo>
                      <a:pt x="1090" y="438"/>
                    </a:lnTo>
                    <a:lnTo>
                      <a:pt x="1089" y="435"/>
                    </a:lnTo>
                    <a:lnTo>
                      <a:pt x="1088" y="433"/>
                    </a:lnTo>
                    <a:lnTo>
                      <a:pt x="1084" y="431"/>
                    </a:lnTo>
                    <a:lnTo>
                      <a:pt x="1081" y="429"/>
                    </a:lnTo>
                    <a:lnTo>
                      <a:pt x="1079" y="427"/>
                    </a:lnTo>
                    <a:lnTo>
                      <a:pt x="1078" y="425"/>
                    </a:lnTo>
                    <a:lnTo>
                      <a:pt x="1076" y="423"/>
                    </a:lnTo>
                    <a:lnTo>
                      <a:pt x="1073" y="420"/>
                    </a:lnTo>
                    <a:lnTo>
                      <a:pt x="1072" y="418"/>
                    </a:lnTo>
                    <a:lnTo>
                      <a:pt x="1070" y="415"/>
                    </a:lnTo>
                    <a:lnTo>
                      <a:pt x="1066" y="412"/>
                    </a:lnTo>
                    <a:lnTo>
                      <a:pt x="1062" y="409"/>
                    </a:lnTo>
                    <a:lnTo>
                      <a:pt x="1059" y="405"/>
                    </a:lnTo>
                    <a:lnTo>
                      <a:pt x="1057" y="401"/>
                    </a:lnTo>
                    <a:lnTo>
                      <a:pt x="1055" y="396"/>
                    </a:lnTo>
                    <a:lnTo>
                      <a:pt x="1055" y="392"/>
                    </a:lnTo>
                    <a:lnTo>
                      <a:pt x="1049" y="382"/>
                    </a:lnTo>
                    <a:lnTo>
                      <a:pt x="1041" y="372"/>
                    </a:lnTo>
                    <a:lnTo>
                      <a:pt x="1033" y="366"/>
                    </a:lnTo>
                    <a:lnTo>
                      <a:pt x="1020" y="359"/>
                    </a:lnTo>
                    <a:lnTo>
                      <a:pt x="1008" y="355"/>
                    </a:lnTo>
                    <a:lnTo>
                      <a:pt x="1005" y="352"/>
                    </a:lnTo>
                    <a:lnTo>
                      <a:pt x="1002" y="351"/>
                    </a:lnTo>
                    <a:lnTo>
                      <a:pt x="997" y="350"/>
                    </a:lnTo>
                    <a:lnTo>
                      <a:pt x="994" y="349"/>
                    </a:lnTo>
                    <a:lnTo>
                      <a:pt x="991" y="348"/>
                    </a:lnTo>
                    <a:lnTo>
                      <a:pt x="987" y="346"/>
                    </a:lnTo>
                    <a:lnTo>
                      <a:pt x="983" y="344"/>
                    </a:lnTo>
                    <a:lnTo>
                      <a:pt x="979" y="341"/>
                    </a:lnTo>
                    <a:lnTo>
                      <a:pt x="975" y="339"/>
                    </a:lnTo>
                    <a:lnTo>
                      <a:pt x="973" y="339"/>
                    </a:lnTo>
                    <a:lnTo>
                      <a:pt x="970" y="338"/>
                    </a:lnTo>
                    <a:lnTo>
                      <a:pt x="967" y="337"/>
                    </a:lnTo>
                    <a:lnTo>
                      <a:pt x="964" y="336"/>
                    </a:lnTo>
                    <a:lnTo>
                      <a:pt x="962" y="336"/>
                    </a:lnTo>
                    <a:lnTo>
                      <a:pt x="960" y="335"/>
                    </a:lnTo>
                    <a:lnTo>
                      <a:pt x="959" y="337"/>
                    </a:lnTo>
                    <a:lnTo>
                      <a:pt x="960" y="338"/>
                    </a:lnTo>
                    <a:lnTo>
                      <a:pt x="961" y="340"/>
                    </a:lnTo>
                    <a:lnTo>
                      <a:pt x="963" y="342"/>
                    </a:lnTo>
                    <a:lnTo>
                      <a:pt x="964" y="344"/>
                    </a:lnTo>
                    <a:lnTo>
                      <a:pt x="964" y="345"/>
                    </a:lnTo>
                    <a:lnTo>
                      <a:pt x="962" y="346"/>
                    </a:lnTo>
                    <a:lnTo>
                      <a:pt x="961" y="346"/>
                    </a:lnTo>
                    <a:lnTo>
                      <a:pt x="959" y="346"/>
                    </a:lnTo>
                    <a:lnTo>
                      <a:pt x="957" y="345"/>
                    </a:lnTo>
                    <a:lnTo>
                      <a:pt x="954" y="345"/>
                    </a:lnTo>
                    <a:lnTo>
                      <a:pt x="952" y="344"/>
                    </a:lnTo>
                    <a:lnTo>
                      <a:pt x="951" y="344"/>
                    </a:lnTo>
                    <a:lnTo>
                      <a:pt x="943" y="341"/>
                    </a:lnTo>
                    <a:lnTo>
                      <a:pt x="937" y="340"/>
                    </a:lnTo>
                    <a:lnTo>
                      <a:pt x="933" y="341"/>
                    </a:lnTo>
                    <a:lnTo>
                      <a:pt x="931" y="346"/>
                    </a:lnTo>
                    <a:lnTo>
                      <a:pt x="928" y="346"/>
                    </a:lnTo>
                    <a:lnTo>
                      <a:pt x="925" y="344"/>
                    </a:lnTo>
                    <a:lnTo>
                      <a:pt x="921" y="341"/>
                    </a:lnTo>
                    <a:lnTo>
                      <a:pt x="918" y="339"/>
                    </a:lnTo>
                    <a:lnTo>
                      <a:pt x="916" y="339"/>
                    </a:lnTo>
                    <a:lnTo>
                      <a:pt x="915" y="340"/>
                    </a:lnTo>
                    <a:lnTo>
                      <a:pt x="914" y="341"/>
                    </a:lnTo>
                    <a:lnTo>
                      <a:pt x="914" y="344"/>
                    </a:lnTo>
                    <a:lnTo>
                      <a:pt x="914" y="346"/>
                    </a:lnTo>
                    <a:lnTo>
                      <a:pt x="914" y="348"/>
                    </a:lnTo>
                    <a:lnTo>
                      <a:pt x="914" y="349"/>
                    </a:lnTo>
                    <a:lnTo>
                      <a:pt x="914" y="350"/>
                    </a:lnTo>
                    <a:lnTo>
                      <a:pt x="910" y="350"/>
                    </a:lnTo>
                    <a:lnTo>
                      <a:pt x="907" y="349"/>
                    </a:lnTo>
                    <a:lnTo>
                      <a:pt x="904" y="348"/>
                    </a:lnTo>
                    <a:lnTo>
                      <a:pt x="900" y="347"/>
                    </a:lnTo>
                    <a:lnTo>
                      <a:pt x="896" y="346"/>
                    </a:lnTo>
                    <a:lnTo>
                      <a:pt x="893" y="345"/>
                    </a:lnTo>
                    <a:lnTo>
                      <a:pt x="888" y="344"/>
                    </a:lnTo>
                    <a:lnTo>
                      <a:pt x="885" y="342"/>
                    </a:lnTo>
                    <a:lnTo>
                      <a:pt x="881" y="341"/>
                    </a:lnTo>
                    <a:lnTo>
                      <a:pt x="877" y="340"/>
                    </a:lnTo>
                    <a:lnTo>
                      <a:pt x="875" y="338"/>
                    </a:lnTo>
                    <a:lnTo>
                      <a:pt x="874" y="336"/>
                    </a:lnTo>
                    <a:lnTo>
                      <a:pt x="872" y="335"/>
                    </a:lnTo>
                    <a:lnTo>
                      <a:pt x="870" y="333"/>
                    </a:lnTo>
                    <a:lnTo>
                      <a:pt x="866" y="331"/>
                    </a:lnTo>
                    <a:lnTo>
                      <a:pt x="862" y="330"/>
                    </a:lnTo>
                    <a:lnTo>
                      <a:pt x="859" y="329"/>
                    </a:lnTo>
                    <a:lnTo>
                      <a:pt x="854" y="328"/>
                    </a:lnTo>
                    <a:lnTo>
                      <a:pt x="852" y="328"/>
                    </a:lnTo>
                    <a:lnTo>
                      <a:pt x="851" y="327"/>
                    </a:lnTo>
                    <a:lnTo>
                      <a:pt x="851" y="326"/>
                    </a:lnTo>
                    <a:lnTo>
                      <a:pt x="852" y="325"/>
                    </a:lnTo>
                    <a:lnTo>
                      <a:pt x="854" y="324"/>
                    </a:lnTo>
                    <a:lnTo>
                      <a:pt x="856" y="323"/>
                    </a:lnTo>
                    <a:lnTo>
                      <a:pt x="860" y="322"/>
                    </a:lnTo>
                    <a:lnTo>
                      <a:pt x="862" y="320"/>
                    </a:lnTo>
                    <a:lnTo>
                      <a:pt x="863" y="319"/>
                    </a:lnTo>
                    <a:lnTo>
                      <a:pt x="866" y="319"/>
                    </a:lnTo>
                    <a:lnTo>
                      <a:pt x="869" y="319"/>
                    </a:lnTo>
                    <a:lnTo>
                      <a:pt x="872" y="319"/>
                    </a:lnTo>
                    <a:lnTo>
                      <a:pt x="875" y="319"/>
                    </a:lnTo>
                    <a:lnTo>
                      <a:pt x="877" y="318"/>
                    </a:lnTo>
                    <a:lnTo>
                      <a:pt x="880" y="318"/>
                    </a:lnTo>
                    <a:lnTo>
                      <a:pt x="882" y="317"/>
                    </a:lnTo>
                    <a:lnTo>
                      <a:pt x="882" y="315"/>
                    </a:lnTo>
                    <a:lnTo>
                      <a:pt x="881" y="313"/>
                    </a:lnTo>
                    <a:lnTo>
                      <a:pt x="880" y="312"/>
                    </a:lnTo>
                    <a:lnTo>
                      <a:pt x="876" y="311"/>
                    </a:lnTo>
                    <a:lnTo>
                      <a:pt x="873" y="309"/>
                    </a:lnTo>
                    <a:lnTo>
                      <a:pt x="870" y="309"/>
                    </a:lnTo>
                    <a:lnTo>
                      <a:pt x="867" y="311"/>
                    </a:lnTo>
                    <a:lnTo>
                      <a:pt x="865" y="311"/>
                    </a:lnTo>
                    <a:lnTo>
                      <a:pt x="862" y="311"/>
                    </a:lnTo>
                    <a:lnTo>
                      <a:pt x="859" y="309"/>
                    </a:lnTo>
                    <a:lnTo>
                      <a:pt x="855" y="307"/>
                    </a:lnTo>
                    <a:lnTo>
                      <a:pt x="853" y="306"/>
                    </a:lnTo>
                    <a:lnTo>
                      <a:pt x="850" y="304"/>
                    </a:lnTo>
                    <a:lnTo>
                      <a:pt x="843" y="302"/>
                    </a:lnTo>
                    <a:lnTo>
                      <a:pt x="836" y="301"/>
                    </a:lnTo>
                    <a:lnTo>
                      <a:pt x="829" y="297"/>
                    </a:lnTo>
                    <a:lnTo>
                      <a:pt x="827" y="296"/>
                    </a:lnTo>
                    <a:lnTo>
                      <a:pt x="826" y="293"/>
                    </a:lnTo>
                    <a:lnTo>
                      <a:pt x="826" y="291"/>
                    </a:lnTo>
                    <a:lnTo>
                      <a:pt x="827" y="289"/>
                    </a:lnTo>
                    <a:lnTo>
                      <a:pt x="829" y="286"/>
                    </a:lnTo>
                    <a:lnTo>
                      <a:pt x="831" y="284"/>
                    </a:lnTo>
                    <a:lnTo>
                      <a:pt x="836" y="283"/>
                    </a:lnTo>
                    <a:lnTo>
                      <a:pt x="839" y="282"/>
                    </a:lnTo>
                    <a:lnTo>
                      <a:pt x="842" y="282"/>
                    </a:lnTo>
                    <a:lnTo>
                      <a:pt x="845" y="281"/>
                    </a:lnTo>
                    <a:lnTo>
                      <a:pt x="848" y="281"/>
                    </a:lnTo>
                    <a:lnTo>
                      <a:pt x="850" y="280"/>
                    </a:lnTo>
                    <a:lnTo>
                      <a:pt x="852" y="280"/>
                    </a:lnTo>
                    <a:lnTo>
                      <a:pt x="853" y="281"/>
                    </a:lnTo>
                    <a:lnTo>
                      <a:pt x="855" y="282"/>
                    </a:lnTo>
                    <a:lnTo>
                      <a:pt x="858" y="283"/>
                    </a:lnTo>
                    <a:lnTo>
                      <a:pt x="859" y="285"/>
                    </a:lnTo>
                    <a:lnTo>
                      <a:pt x="863" y="285"/>
                    </a:lnTo>
                    <a:lnTo>
                      <a:pt x="865" y="284"/>
                    </a:lnTo>
                    <a:lnTo>
                      <a:pt x="867" y="283"/>
                    </a:lnTo>
                    <a:lnTo>
                      <a:pt x="870" y="282"/>
                    </a:lnTo>
                    <a:lnTo>
                      <a:pt x="872" y="280"/>
                    </a:lnTo>
                    <a:lnTo>
                      <a:pt x="874" y="279"/>
                    </a:lnTo>
                    <a:lnTo>
                      <a:pt x="876" y="279"/>
                    </a:lnTo>
                    <a:lnTo>
                      <a:pt x="881" y="278"/>
                    </a:lnTo>
                    <a:lnTo>
                      <a:pt x="885" y="279"/>
                    </a:lnTo>
                    <a:lnTo>
                      <a:pt x="892" y="281"/>
                    </a:lnTo>
                    <a:lnTo>
                      <a:pt x="896" y="282"/>
                    </a:lnTo>
                    <a:lnTo>
                      <a:pt x="900" y="281"/>
                    </a:lnTo>
                    <a:lnTo>
                      <a:pt x="900" y="279"/>
                    </a:lnTo>
                    <a:lnTo>
                      <a:pt x="902" y="276"/>
                    </a:lnTo>
                    <a:lnTo>
                      <a:pt x="903" y="276"/>
                    </a:lnTo>
                    <a:lnTo>
                      <a:pt x="904" y="275"/>
                    </a:lnTo>
                    <a:lnTo>
                      <a:pt x="906" y="275"/>
                    </a:lnTo>
                    <a:lnTo>
                      <a:pt x="908" y="275"/>
                    </a:lnTo>
                    <a:lnTo>
                      <a:pt x="909" y="275"/>
                    </a:lnTo>
                    <a:lnTo>
                      <a:pt x="911" y="275"/>
                    </a:lnTo>
                    <a:lnTo>
                      <a:pt x="913" y="274"/>
                    </a:lnTo>
                    <a:lnTo>
                      <a:pt x="914" y="273"/>
                    </a:lnTo>
                    <a:lnTo>
                      <a:pt x="913" y="272"/>
                    </a:lnTo>
                    <a:lnTo>
                      <a:pt x="911" y="270"/>
                    </a:lnTo>
                    <a:lnTo>
                      <a:pt x="908" y="265"/>
                    </a:lnTo>
                    <a:lnTo>
                      <a:pt x="903" y="262"/>
                    </a:lnTo>
                    <a:lnTo>
                      <a:pt x="897" y="260"/>
                    </a:lnTo>
                    <a:lnTo>
                      <a:pt x="892" y="261"/>
                    </a:lnTo>
                    <a:lnTo>
                      <a:pt x="892" y="262"/>
                    </a:lnTo>
                    <a:lnTo>
                      <a:pt x="891" y="263"/>
                    </a:lnTo>
                    <a:lnTo>
                      <a:pt x="889" y="265"/>
                    </a:lnTo>
                    <a:lnTo>
                      <a:pt x="888" y="266"/>
                    </a:lnTo>
                    <a:lnTo>
                      <a:pt x="887" y="268"/>
                    </a:lnTo>
                    <a:lnTo>
                      <a:pt x="886" y="268"/>
                    </a:lnTo>
                    <a:lnTo>
                      <a:pt x="883" y="268"/>
                    </a:lnTo>
                    <a:lnTo>
                      <a:pt x="882" y="265"/>
                    </a:lnTo>
                    <a:lnTo>
                      <a:pt x="878" y="264"/>
                    </a:lnTo>
                    <a:lnTo>
                      <a:pt x="875" y="264"/>
                    </a:lnTo>
                    <a:lnTo>
                      <a:pt x="872" y="265"/>
                    </a:lnTo>
                    <a:lnTo>
                      <a:pt x="870" y="265"/>
                    </a:lnTo>
                    <a:lnTo>
                      <a:pt x="869" y="268"/>
                    </a:lnTo>
                    <a:lnTo>
                      <a:pt x="867" y="270"/>
                    </a:lnTo>
                    <a:lnTo>
                      <a:pt x="866" y="271"/>
                    </a:lnTo>
                    <a:lnTo>
                      <a:pt x="863" y="271"/>
                    </a:lnTo>
                    <a:lnTo>
                      <a:pt x="860" y="272"/>
                    </a:lnTo>
                    <a:lnTo>
                      <a:pt x="856" y="272"/>
                    </a:lnTo>
                    <a:lnTo>
                      <a:pt x="854" y="271"/>
                    </a:lnTo>
                    <a:lnTo>
                      <a:pt x="852" y="270"/>
                    </a:lnTo>
                    <a:lnTo>
                      <a:pt x="849" y="269"/>
                    </a:lnTo>
                    <a:lnTo>
                      <a:pt x="847" y="269"/>
                    </a:lnTo>
                    <a:lnTo>
                      <a:pt x="844" y="266"/>
                    </a:lnTo>
                    <a:lnTo>
                      <a:pt x="844" y="265"/>
                    </a:lnTo>
                    <a:lnTo>
                      <a:pt x="844" y="263"/>
                    </a:lnTo>
                    <a:lnTo>
                      <a:pt x="845" y="261"/>
                    </a:lnTo>
                    <a:lnTo>
                      <a:pt x="845" y="259"/>
                    </a:lnTo>
                    <a:lnTo>
                      <a:pt x="841" y="253"/>
                    </a:lnTo>
                    <a:lnTo>
                      <a:pt x="833" y="252"/>
                    </a:lnTo>
                    <a:lnTo>
                      <a:pt x="825" y="251"/>
                    </a:lnTo>
                    <a:lnTo>
                      <a:pt x="818" y="250"/>
                    </a:lnTo>
                    <a:lnTo>
                      <a:pt x="812" y="247"/>
                    </a:lnTo>
                    <a:lnTo>
                      <a:pt x="808" y="244"/>
                    </a:lnTo>
                    <a:lnTo>
                      <a:pt x="805" y="241"/>
                    </a:lnTo>
                    <a:lnTo>
                      <a:pt x="802" y="238"/>
                    </a:lnTo>
                    <a:lnTo>
                      <a:pt x="800" y="235"/>
                    </a:lnTo>
                    <a:lnTo>
                      <a:pt x="798" y="231"/>
                    </a:lnTo>
                    <a:lnTo>
                      <a:pt x="797" y="229"/>
                    </a:lnTo>
                    <a:lnTo>
                      <a:pt x="796" y="227"/>
                    </a:lnTo>
                    <a:lnTo>
                      <a:pt x="796" y="224"/>
                    </a:lnTo>
                    <a:lnTo>
                      <a:pt x="796" y="221"/>
                    </a:lnTo>
                    <a:lnTo>
                      <a:pt x="796" y="219"/>
                    </a:lnTo>
                    <a:lnTo>
                      <a:pt x="796" y="217"/>
                    </a:lnTo>
                    <a:lnTo>
                      <a:pt x="797" y="216"/>
                    </a:lnTo>
                    <a:lnTo>
                      <a:pt x="798" y="215"/>
                    </a:lnTo>
                    <a:lnTo>
                      <a:pt x="807" y="210"/>
                    </a:lnTo>
                    <a:lnTo>
                      <a:pt x="817" y="207"/>
                    </a:lnTo>
                    <a:lnTo>
                      <a:pt x="827" y="204"/>
                    </a:lnTo>
                    <a:lnTo>
                      <a:pt x="830" y="204"/>
                    </a:lnTo>
                    <a:lnTo>
                      <a:pt x="834" y="203"/>
                    </a:lnTo>
                    <a:lnTo>
                      <a:pt x="838" y="202"/>
                    </a:lnTo>
                    <a:lnTo>
                      <a:pt x="842" y="199"/>
                    </a:lnTo>
                    <a:lnTo>
                      <a:pt x="844" y="198"/>
                    </a:lnTo>
                    <a:lnTo>
                      <a:pt x="847" y="197"/>
                    </a:lnTo>
                    <a:lnTo>
                      <a:pt x="850" y="195"/>
                    </a:lnTo>
                    <a:lnTo>
                      <a:pt x="852" y="194"/>
                    </a:lnTo>
                    <a:lnTo>
                      <a:pt x="853" y="193"/>
                    </a:lnTo>
                    <a:lnTo>
                      <a:pt x="854" y="191"/>
                    </a:lnTo>
                    <a:lnTo>
                      <a:pt x="855" y="189"/>
                    </a:lnTo>
                    <a:lnTo>
                      <a:pt x="856" y="188"/>
                    </a:lnTo>
                    <a:lnTo>
                      <a:pt x="859" y="188"/>
                    </a:lnTo>
                    <a:lnTo>
                      <a:pt x="862" y="188"/>
                    </a:lnTo>
                    <a:lnTo>
                      <a:pt x="865" y="189"/>
                    </a:lnTo>
                    <a:lnTo>
                      <a:pt x="867" y="189"/>
                    </a:lnTo>
                    <a:lnTo>
                      <a:pt x="871" y="189"/>
                    </a:lnTo>
                    <a:lnTo>
                      <a:pt x="872" y="188"/>
                    </a:lnTo>
                    <a:lnTo>
                      <a:pt x="874" y="188"/>
                    </a:lnTo>
                    <a:lnTo>
                      <a:pt x="876" y="187"/>
                    </a:lnTo>
                    <a:lnTo>
                      <a:pt x="878" y="186"/>
                    </a:lnTo>
                    <a:lnTo>
                      <a:pt x="881" y="186"/>
                    </a:lnTo>
                    <a:lnTo>
                      <a:pt x="881" y="186"/>
                    </a:lnTo>
                    <a:lnTo>
                      <a:pt x="882" y="187"/>
                    </a:lnTo>
                    <a:lnTo>
                      <a:pt x="883" y="188"/>
                    </a:lnTo>
                    <a:lnTo>
                      <a:pt x="889" y="188"/>
                    </a:lnTo>
                    <a:lnTo>
                      <a:pt x="893" y="188"/>
                    </a:lnTo>
                    <a:lnTo>
                      <a:pt x="896" y="187"/>
                    </a:lnTo>
                    <a:lnTo>
                      <a:pt x="897" y="185"/>
                    </a:lnTo>
                    <a:lnTo>
                      <a:pt x="899" y="183"/>
                    </a:lnTo>
                    <a:lnTo>
                      <a:pt x="902" y="181"/>
                    </a:lnTo>
                    <a:lnTo>
                      <a:pt x="904" y="178"/>
                    </a:lnTo>
                    <a:lnTo>
                      <a:pt x="907" y="177"/>
                    </a:lnTo>
                    <a:lnTo>
                      <a:pt x="910" y="176"/>
                    </a:lnTo>
                    <a:lnTo>
                      <a:pt x="913" y="174"/>
                    </a:lnTo>
                    <a:lnTo>
                      <a:pt x="915" y="172"/>
                    </a:lnTo>
                    <a:lnTo>
                      <a:pt x="915" y="170"/>
                    </a:lnTo>
                    <a:lnTo>
                      <a:pt x="914" y="166"/>
                    </a:lnTo>
                    <a:lnTo>
                      <a:pt x="911" y="164"/>
                    </a:lnTo>
                    <a:lnTo>
                      <a:pt x="910" y="163"/>
                    </a:lnTo>
                    <a:lnTo>
                      <a:pt x="909" y="162"/>
                    </a:lnTo>
                    <a:lnTo>
                      <a:pt x="907" y="160"/>
                    </a:lnTo>
                    <a:lnTo>
                      <a:pt x="905" y="159"/>
                    </a:lnTo>
                    <a:lnTo>
                      <a:pt x="904" y="158"/>
                    </a:lnTo>
                    <a:lnTo>
                      <a:pt x="903" y="156"/>
                    </a:lnTo>
                    <a:lnTo>
                      <a:pt x="904" y="155"/>
                    </a:lnTo>
                    <a:lnTo>
                      <a:pt x="905" y="154"/>
                    </a:lnTo>
                    <a:lnTo>
                      <a:pt x="907" y="153"/>
                    </a:lnTo>
                    <a:lnTo>
                      <a:pt x="909" y="153"/>
                    </a:lnTo>
                    <a:lnTo>
                      <a:pt x="911" y="153"/>
                    </a:lnTo>
                    <a:lnTo>
                      <a:pt x="913" y="153"/>
                    </a:lnTo>
                    <a:lnTo>
                      <a:pt x="914" y="153"/>
                    </a:lnTo>
                    <a:lnTo>
                      <a:pt x="915" y="152"/>
                    </a:lnTo>
                    <a:lnTo>
                      <a:pt x="914" y="151"/>
                    </a:lnTo>
                    <a:lnTo>
                      <a:pt x="911" y="149"/>
                    </a:lnTo>
                    <a:lnTo>
                      <a:pt x="910" y="149"/>
                    </a:lnTo>
                    <a:lnTo>
                      <a:pt x="909" y="148"/>
                    </a:lnTo>
                    <a:lnTo>
                      <a:pt x="908" y="148"/>
                    </a:lnTo>
                    <a:lnTo>
                      <a:pt x="907" y="147"/>
                    </a:lnTo>
                    <a:lnTo>
                      <a:pt x="908" y="147"/>
                    </a:lnTo>
                    <a:lnTo>
                      <a:pt x="909" y="147"/>
                    </a:lnTo>
                    <a:lnTo>
                      <a:pt x="910" y="145"/>
                    </a:lnTo>
                    <a:lnTo>
                      <a:pt x="910" y="145"/>
                    </a:lnTo>
                    <a:lnTo>
                      <a:pt x="909" y="144"/>
                    </a:lnTo>
                    <a:lnTo>
                      <a:pt x="907" y="143"/>
                    </a:lnTo>
                    <a:lnTo>
                      <a:pt x="905" y="143"/>
                    </a:lnTo>
                    <a:lnTo>
                      <a:pt x="902" y="142"/>
                    </a:lnTo>
                    <a:lnTo>
                      <a:pt x="898" y="142"/>
                    </a:lnTo>
                    <a:lnTo>
                      <a:pt x="898" y="143"/>
                    </a:lnTo>
                    <a:lnTo>
                      <a:pt x="897" y="143"/>
                    </a:lnTo>
                    <a:lnTo>
                      <a:pt x="897" y="144"/>
                    </a:lnTo>
                    <a:lnTo>
                      <a:pt x="897" y="144"/>
                    </a:lnTo>
                    <a:lnTo>
                      <a:pt x="896" y="144"/>
                    </a:lnTo>
                    <a:lnTo>
                      <a:pt x="892" y="144"/>
                    </a:lnTo>
                    <a:lnTo>
                      <a:pt x="887" y="142"/>
                    </a:lnTo>
                    <a:lnTo>
                      <a:pt x="883" y="140"/>
                    </a:lnTo>
                    <a:lnTo>
                      <a:pt x="881" y="140"/>
                    </a:lnTo>
                    <a:lnTo>
                      <a:pt x="877" y="139"/>
                    </a:lnTo>
                    <a:lnTo>
                      <a:pt x="874" y="139"/>
                    </a:lnTo>
                    <a:lnTo>
                      <a:pt x="872" y="139"/>
                    </a:lnTo>
                    <a:lnTo>
                      <a:pt x="870" y="138"/>
                    </a:lnTo>
                    <a:lnTo>
                      <a:pt x="869" y="135"/>
                    </a:lnTo>
                    <a:lnTo>
                      <a:pt x="869" y="133"/>
                    </a:lnTo>
                    <a:lnTo>
                      <a:pt x="867" y="131"/>
                    </a:lnTo>
                    <a:lnTo>
                      <a:pt x="867" y="129"/>
                    </a:lnTo>
                    <a:lnTo>
                      <a:pt x="867" y="128"/>
                    </a:lnTo>
                    <a:lnTo>
                      <a:pt x="869" y="126"/>
                    </a:lnTo>
                    <a:lnTo>
                      <a:pt x="869" y="124"/>
                    </a:lnTo>
                    <a:lnTo>
                      <a:pt x="870" y="122"/>
                    </a:lnTo>
                    <a:lnTo>
                      <a:pt x="872" y="121"/>
                    </a:lnTo>
                    <a:lnTo>
                      <a:pt x="873" y="119"/>
                    </a:lnTo>
                    <a:lnTo>
                      <a:pt x="874" y="118"/>
                    </a:lnTo>
                    <a:lnTo>
                      <a:pt x="876" y="117"/>
                    </a:lnTo>
                    <a:lnTo>
                      <a:pt x="878" y="116"/>
                    </a:lnTo>
                    <a:lnTo>
                      <a:pt x="878" y="115"/>
                    </a:lnTo>
                    <a:lnTo>
                      <a:pt x="878" y="113"/>
                    </a:lnTo>
                    <a:lnTo>
                      <a:pt x="878" y="112"/>
                    </a:lnTo>
                    <a:lnTo>
                      <a:pt x="878" y="111"/>
                    </a:lnTo>
                    <a:lnTo>
                      <a:pt x="878" y="109"/>
                    </a:lnTo>
                    <a:lnTo>
                      <a:pt x="878" y="108"/>
                    </a:lnTo>
                    <a:lnTo>
                      <a:pt x="878" y="107"/>
                    </a:lnTo>
                    <a:lnTo>
                      <a:pt x="878" y="108"/>
                    </a:lnTo>
                    <a:lnTo>
                      <a:pt x="882" y="108"/>
                    </a:lnTo>
                    <a:lnTo>
                      <a:pt x="884" y="109"/>
                    </a:lnTo>
                    <a:lnTo>
                      <a:pt x="886" y="109"/>
                    </a:lnTo>
                    <a:lnTo>
                      <a:pt x="887" y="110"/>
                    </a:lnTo>
                    <a:lnTo>
                      <a:pt x="891" y="109"/>
                    </a:lnTo>
                    <a:lnTo>
                      <a:pt x="893" y="107"/>
                    </a:lnTo>
                    <a:lnTo>
                      <a:pt x="894" y="105"/>
                    </a:lnTo>
                    <a:lnTo>
                      <a:pt x="895" y="102"/>
                    </a:lnTo>
                    <a:lnTo>
                      <a:pt x="896" y="100"/>
                    </a:lnTo>
                    <a:lnTo>
                      <a:pt x="897" y="99"/>
                    </a:lnTo>
                    <a:lnTo>
                      <a:pt x="898" y="97"/>
                    </a:lnTo>
                    <a:lnTo>
                      <a:pt x="900" y="94"/>
                    </a:lnTo>
                    <a:lnTo>
                      <a:pt x="903" y="93"/>
                    </a:lnTo>
                    <a:lnTo>
                      <a:pt x="905" y="91"/>
                    </a:lnTo>
                    <a:lnTo>
                      <a:pt x="907" y="90"/>
                    </a:lnTo>
                    <a:lnTo>
                      <a:pt x="909" y="88"/>
                    </a:lnTo>
                    <a:lnTo>
                      <a:pt x="911" y="86"/>
                    </a:lnTo>
                    <a:lnTo>
                      <a:pt x="914" y="86"/>
                    </a:lnTo>
                    <a:lnTo>
                      <a:pt x="921" y="86"/>
                    </a:lnTo>
                    <a:lnTo>
                      <a:pt x="928" y="88"/>
                    </a:lnTo>
                    <a:lnTo>
                      <a:pt x="933" y="91"/>
                    </a:lnTo>
                    <a:lnTo>
                      <a:pt x="940" y="93"/>
                    </a:lnTo>
                    <a:lnTo>
                      <a:pt x="943" y="93"/>
                    </a:lnTo>
                    <a:lnTo>
                      <a:pt x="945" y="93"/>
                    </a:lnTo>
                    <a:lnTo>
                      <a:pt x="946" y="91"/>
                    </a:lnTo>
                    <a:lnTo>
                      <a:pt x="947" y="90"/>
                    </a:lnTo>
                    <a:lnTo>
                      <a:pt x="947" y="88"/>
                    </a:lnTo>
                    <a:lnTo>
                      <a:pt x="947" y="86"/>
                    </a:lnTo>
                    <a:lnTo>
                      <a:pt x="947" y="85"/>
                    </a:lnTo>
                    <a:lnTo>
                      <a:pt x="947" y="83"/>
                    </a:lnTo>
                    <a:lnTo>
                      <a:pt x="947" y="80"/>
                    </a:lnTo>
                    <a:lnTo>
                      <a:pt x="947" y="79"/>
                    </a:lnTo>
                    <a:lnTo>
                      <a:pt x="948" y="76"/>
                    </a:lnTo>
                    <a:lnTo>
                      <a:pt x="949" y="74"/>
                    </a:lnTo>
                    <a:lnTo>
                      <a:pt x="949" y="72"/>
                    </a:lnTo>
                    <a:lnTo>
                      <a:pt x="948" y="68"/>
                    </a:lnTo>
                    <a:lnTo>
                      <a:pt x="945" y="66"/>
                    </a:lnTo>
                    <a:lnTo>
                      <a:pt x="942" y="64"/>
                    </a:lnTo>
                    <a:lnTo>
                      <a:pt x="940" y="62"/>
                    </a:lnTo>
                    <a:lnTo>
                      <a:pt x="938" y="60"/>
                    </a:lnTo>
                    <a:lnTo>
                      <a:pt x="936" y="57"/>
                    </a:lnTo>
                    <a:lnTo>
                      <a:pt x="935" y="55"/>
                    </a:lnTo>
                    <a:lnTo>
                      <a:pt x="935" y="53"/>
                    </a:lnTo>
                    <a:lnTo>
                      <a:pt x="936" y="51"/>
                    </a:lnTo>
                    <a:lnTo>
                      <a:pt x="939" y="50"/>
                    </a:lnTo>
                    <a:lnTo>
                      <a:pt x="943" y="47"/>
                    </a:lnTo>
                    <a:lnTo>
                      <a:pt x="949" y="47"/>
                    </a:lnTo>
                    <a:lnTo>
                      <a:pt x="953" y="49"/>
                    </a:lnTo>
                    <a:lnTo>
                      <a:pt x="959" y="53"/>
                    </a:lnTo>
                    <a:lnTo>
                      <a:pt x="964" y="58"/>
                    </a:lnTo>
                    <a:lnTo>
                      <a:pt x="973" y="62"/>
                    </a:lnTo>
                    <a:lnTo>
                      <a:pt x="976" y="64"/>
                    </a:lnTo>
                    <a:lnTo>
                      <a:pt x="980" y="66"/>
                    </a:lnTo>
                    <a:lnTo>
                      <a:pt x="984" y="68"/>
                    </a:lnTo>
                    <a:lnTo>
                      <a:pt x="987" y="71"/>
                    </a:lnTo>
                    <a:lnTo>
                      <a:pt x="990" y="73"/>
                    </a:lnTo>
                    <a:lnTo>
                      <a:pt x="992" y="75"/>
                    </a:lnTo>
                    <a:lnTo>
                      <a:pt x="995" y="77"/>
                    </a:lnTo>
                    <a:lnTo>
                      <a:pt x="997" y="78"/>
                    </a:lnTo>
                    <a:lnTo>
                      <a:pt x="1000" y="79"/>
                    </a:lnTo>
                    <a:lnTo>
                      <a:pt x="1001" y="79"/>
                    </a:lnTo>
                    <a:lnTo>
                      <a:pt x="1002" y="79"/>
                    </a:lnTo>
                    <a:lnTo>
                      <a:pt x="1002" y="78"/>
                    </a:lnTo>
                    <a:lnTo>
                      <a:pt x="1002" y="77"/>
                    </a:lnTo>
                    <a:lnTo>
                      <a:pt x="1000" y="74"/>
                    </a:lnTo>
                    <a:lnTo>
                      <a:pt x="997" y="72"/>
                    </a:lnTo>
                    <a:lnTo>
                      <a:pt x="994" y="69"/>
                    </a:lnTo>
                    <a:lnTo>
                      <a:pt x="991" y="68"/>
                    </a:lnTo>
                    <a:lnTo>
                      <a:pt x="978" y="61"/>
                    </a:lnTo>
                    <a:lnTo>
                      <a:pt x="967" y="53"/>
                    </a:lnTo>
                    <a:lnTo>
                      <a:pt x="965" y="52"/>
                    </a:lnTo>
                    <a:lnTo>
                      <a:pt x="963" y="50"/>
                    </a:lnTo>
                    <a:lnTo>
                      <a:pt x="962" y="49"/>
                    </a:lnTo>
                    <a:lnTo>
                      <a:pt x="960" y="47"/>
                    </a:lnTo>
                    <a:lnTo>
                      <a:pt x="960" y="45"/>
                    </a:lnTo>
                    <a:lnTo>
                      <a:pt x="960" y="44"/>
                    </a:lnTo>
                    <a:lnTo>
                      <a:pt x="973" y="44"/>
                    </a:lnTo>
                    <a:lnTo>
                      <a:pt x="976" y="44"/>
                    </a:lnTo>
                    <a:lnTo>
                      <a:pt x="981" y="44"/>
                    </a:lnTo>
                    <a:lnTo>
                      <a:pt x="985" y="43"/>
                    </a:lnTo>
                    <a:lnTo>
                      <a:pt x="989" y="42"/>
                    </a:lnTo>
                    <a:lnTo>
                      <a:pt x="990" y="42"/>
                    </a:lnTo>
                    <a:lnTo>
                      <a:pt x="992" y="41"/>
                    </a:lnTo>
                    <a:lnTo>
                      <a:pt x="994" y="40"/>
                    </a:lnTo>
                    <a:lnTo>
                      <a:pt x="997" y="40"/>
                    </a:lnTo>
                    <a:lnTo>
                      <a:pt x="1002" y="40"/>
                    </a:lnTo>
                    <a:lnTo>
                      <a:pt x="1004" y="40"/>
                    </a:lnTo>
                    <a:lnTo>
                      <a:pt x="1006" y="39"/>
                    </a:lnTo>
                    <a:lnTo>
                      <a:pt x="1008" y="38"/>
                    </a:lnTo>
                    <a:lnTo>
                      <a:pt x="1009" y="38"/>
                    </a:lnTo>
                    <a:lnTo>
                      <a:pt x="1012" y="36"/>
                    </a:lnTo>
                    <a:lnTo>
                      <a:pt x="1014" y="35"/>
                    </a:lnTo>
                    <a:lnTo>
                      <a:pt x="1017" y="35"/>
                    </a:lnTo>
                    <a:lnTo>
                      <a:pt x="1020" y="35"/>
                    </a:lnTo>
                    <a:lnTo>
                      <a:pt x="1024" y="36"/>
                    </a:lnTo>
                    <a:lnTo>
                      <a:pt x="1026" y="38"/>
                    </a:lnTo>
                    <a:lnTo>
                      <a:pt x="1027" y="39"/>
                    </a:lnTo>
                    <a:lnTo>
                      <a:pt x="1028" y="41"/>
                    </a:lnTo>
                    <a:lnTo>
                      <a:pt x="1030" y="42"/>
                    </a:lnTo>
                    <a:lnTo>
                      <a:pt x="1033" y="44"/>
                    </a:lnTo>
                    <a:lnTo>
                      <a:pt x="1034" y="45"/>
                    </a:lnTo>
                    <a:lnTo>
                      <a:pt x="1036" y="46"/>
                    </a:lnTo>
                    <a:lnTo>
                      <a:pt x="1037" y="46"/>
                    </a:lnTo>
                    <a:lnTo>
                      <a:pt x="1038" y="47"/>
                    </a:lnTo>
                    <a:lnTo>
                      <a:pt x="1039" y="49"/>
                    </a:lnTo>
                    <a:lnTo>
                      <a:pt x="1039" y="55"/>
                    </a:lnTo>
                    <a:lnTo>
                      <a:pt x="1039" y="60"/>
                    </a:lnTo>
                    <a:lnTo>
                      <a:pt x="1040" y="64"/>
                    </a:lnTo>
                    <a:lnTo>
                      <a:pt x="1040" y="68"/>
                    </a:lnTo>
                    <a:lnTo>
                      <a:pt x="1041" y="73"/>
                    </a:lnTo>
                    <a:lnTo>
                      <a:pt x="1041" y="73"/>
                    </a:lnTo>
                    <a:lnTo>
                      <a:pt x="1041" y="75"/>
                    </a:lnTo>
                    <a:lnTo>
                      <a:pt x="1041" y="77"/>
                    </a:lnTo>
                    <a:lnTo>
                      <a:pt x="1042" y="78"/>
                    </a:lnTo>
                    <a:lnTo>
                      <a:pt x="1044" y="79"/>
                    </a:lnTo>
                    <a:lnTo>
                      <a:pt x="1045" y="78"/>
                    </a:lnTo>
                    <a:lnTo>
                      <a:pt x="1046" y="77"/>
                    </a:lnTo>
                    <a:lnTo>
                      <a:pt x="1047" y="76"/>
                    </a:lnTo>
                    <a:lnTo>
                      <a:pt x="1047" y="75"/>
                    </a:lnTo>
                    <a:lnTo>
                      <a:pt x="1048" y="75"/>
                    </a:lnTo>
                    <a:lnTo>
                      <a:pt x="1048" y="73"/>
                    </a:lnTo>
                    <a:lnTo>
                      <a:pt x="1048" y="69"/>
                    </a:lnTo>
                    <a:lnTo>
                      <a:pt x="1047" y="66"/>
                    </a:lnTo>
                    <a:lnTo>
                      <a:pt x="1046" y="63"/>
                    </a:lnTo>
                    <a:lnTo>
                      <a:pt x="1045" y="60"/>
                    </a:lnTo>
                    <a:lnTo>
                      <a:pt x="1046" y="57"/>
                    </a:lnTo>
                    <a:lnTo>
                      <a:pt x="1047" y="56"/>
                    </a:lnTo>
                    <a:lnTo>
                      <a:pt x="1047" y="55"/>
                    </a:lnTo>
                    <a:lnTo>
                      <a:pt x="1048" y="55"/>
                    </a:lnTo>
                    <a:lnTo>
                      <a:pt x="1048" y="54"/>
                    </a:lnTo>
                    <a:lnTo>
                      <a:pt x="1047" y="53"/>
                    </a:lnTo>
                    <a:lnTo>
                      <a:pt x="1046" y="51"/>
                    </a:lnTo>
                    <a:lnTo>
                      <a:pt x="1044" y="49"/>
                    </a:lnTo>
                    <a:lnTo>
                      <a:pt x="1041" y="46"/>
                    </a:lnTo>
                    <a:lnTo>
                      <a:pt x="1041" y="44"/>
                    </a:lnTo>
                    <a:lnTo>
                      <a:pt x="1040" y="42"/>
                    </a:lnTo>
                    <a:lnTo>
                      <a:pt x="1041" y="42"/>
                    </a:lnTo>
                    <a:lnTo>
                      <a:pt x="1041" y="42"/>
                    </a:lnTo>
                    <a:lnTo>
                      <a:pt x="1044" y="42"/>
                    </a:lnTo>
                    <a:lnTo>
                      <a:pt x="1045" y="43"/>
                    </a:lnTo>
                    <a:lnTo>
                      <a:pt x="1046" y="44"/>
                    </a:lnTo>
                    <a:lnTo>
                      <a:pt x="1048" y="45"/>
                    </a:lnTo>
                    <a:lnTo>
                      <a:pt x="1049" y="47"/>
                    </a:lnTo>
                    <a:lnTo>
                      <a:pt x="1050" y="49"/>
                    </a:lnTo>
                    <a:lnTo>
                      <a:pt x="1052" y="51"/>
                    </a:lnTo>
                    <a:lnTo>
                      <a:pt x="1055" y="53"/>
                    </a:lnTo>
                    <a:lnTo>
                      <a:pt x="1059" y="55"/>
                    </a:lnTo>
                    <a:lnTo>
                      <a:pt x="1061" y="56"/>
                    </a:lnTo>
                    <a:lnTo>
                      <a:pt x="1062" y="58"/>
                    </a:lnTo>
                    <a:lnTo>
                      <a:pt x="1063" y="60"/>
                    </a:lnTo>
                    <a:lnTo>
                      <a:pt x="1063" y="60"/>
                    </a:lnTo>
                    <a:lnTo>
                      <a:pt x="1063" y="63"/>
                    </a:lnTo>
                    <a:lnTo>
                      <a:pt x="1065" y="66"/>
                    </a:lnTo>
                    <a:lnTo>
                      <a:pt x="1067" y="68"/>
                    </a:lnTo>
                    <a:lnTo>
                      <a:pt x="1070" y="71"/>
                    </a:lnTo>
                    <a:lnTo>
                      <a:pt x="1071" y="72"/>
                    </a:lnTo>
                    <a:lnTo>
                      <a:pt x="1074" y="74"/>
                    </a:lnTo>
                    <a:lnTo>
                      <a:pt x="1077" y="74"/>
                    </a:lnTo>
                    <a:lnTo>
                      <a:pt x="1079" y="75"/>
                    </a:lnTo>
                    <a:lnTo>
                      <a:pt x="1080" y="75"/>
                    </a:lnTo>
                    <a:lnTo>
                      <a:pt x="1080" y="74"/>
                    </a:lnTo>
                    <a:lnTo>
                      <a:pt x="1080" y="74"/>
                    </a:lnTo>
                    <a:lnTo>
                      <a:pt x="1079" y="73"/>
                    </a:lnTo>
                    <a:lnTo>
                      <a:pt x="1079" y="72"/>
                    </a:lnTo>
                    <a:lnTo>
                      <a:pt x="1079" y="71"/>
                    </a:lnTo>
                    <a:lnTo>
                      <a:pt x="1077" y="69"/>
                    </a:lnTo>
                    <a:lnTo>
                      <a:pt x="1076" y="68"/>
                    </a:lnTo>
                    <a:lnTo>
                      <a:pt x="1076" y="67"/>
                    </a:lnTo>
                    <a:lnTo>
                      <a:pt x="1077" y="67"/>
                    </a:lnTo>
                    <a:lnTo>
                      <a:pt x="1078" y="67"/>
                    </a:lnTo>
                    <a:lnTo>
                      <a:pt x="1080" y="67"/>
                    </a:lnTo>
                    <a:lnTo>
                      <a:pt x="1082" y="67"/>
                    </a:lnTo>
                    <a:lnTo>
                      <a:pt x="1084" y="67"/>
                    </a:lnTo>
                    <a:lnTo>
                      <a:pt x="1088" y="68"/>
                    </a:lnTo>
                    <a:lnTo>
                      <a:pt x="1090" y="69"/>
                    </a:lnTo>
                    <a:lnTo>
                      <a:pt x="1092" y="69"/>
                    </a:lnTo>
                    <a:lnTo>
                      <a:pt x="1093" y="69"/>
                    </a:lnTo>
                    <a:lnTo>
                      <a:pt x="1094" y="69"/>
                    </a:lnTo>
                    <a:lnTo>
                      <a:pt x="1094" y="68"/>
                    </a:lnTo>
                    <a:lnTo>
                      <a:pt x="1093" y="66"/>
                    </a:lnTo>
                    <a:lnTo>
                      <a:pt x="1092" y="65"/>
                    </a:lnTo>
                    <a:lnTo>
                      <a:pt x="1090" y="64"/>
                    </a:lnTo>
                    <a:lnTo>
                      <a:pt x="1089" y="63"/>
                    </a:lnTo>
                    <a:lnTo>
                      <a:pt x="1087" y="63"/>
                    </a:lnTo>
                    <a:lnTo>
                      <a:pt x="1085" y="62"/>
                    </a:lnTo>
                    <a:lnTo>
                      <a:pt x="1080" y="58"/>
                    </a:lnTo>
                    <a:lnTo>
                      <a:pt x="1077" y="55"/>
                    </a:lnTo>
                    <a:lnTo>
                      <a:pt x="1073" y="51"/>
                    </a:lnTo>
                    <a:lnTo>
                      <a:pt x="1070" y="47"/>
                    </a:lnTo>
                    <a:lnTo>
                      <a:pt x="1068" y="44"/>
                    </a:lnTo>
                    <a:lnTo>
                      <a:pt x="1067" y="43"/>
                    </a:lnTo>
                    <a:lnTo>
                      <a:pt x="1065" y="41"/>
                    </a:lnTo>
                    <a:lnTo>
                      <a:pt x="1063" y="40"/>
                    </a:lnTo>
                    <a:lnTo>
                      <a:pt x="1062" y="38"/>
                    </a:lnTo>
                    <a:lnTo>
                      <a:pt x="1061" y="36"/>
                    </a:lnTo>
                    <a:lnTo>
                      <a:pt x="1060" y="35"/>
                    </a:lnTo>
                    <a:lnTo>
                      <a:pt x="1061" y="34"/>
                    </a:lnTo>
                    <a:lnTo>
                      <a:pt x="1062" y="33"/>
                    </a:lnTo>
                    <a:lnTo>
                      <a:pt x="1066" y="33"/>
                    </a:lnTo>
                    <a:lnTo>
                      <a:pt x="1071" y="34"/>
                    </a:lnTo>
                    <a:lnTo>
                      <a:pt x="1079" y="35"/>
                    </a:lnTo>
                    <a:lnTo>
                      <a:pt x="1085" y="38"/>
                    </a:lnTo>
                    <a:lnTo>
                      <a:pt x="1088" y="40"/>
                    </a:lnTo>
                    <a:lnTo>
                      <a:pt x="1091" y="42"/>
                    </a:lnTo>
                    <a:lnTo>
                      <a:pt x="1093" y="44"/>
                    </a:lnTo>
                    <a:lnTo>
                      <a:pt x="1096" y="46"/>
                    </a:lnTo>
                    <a:lnTo>
                      <a:pt x="1109" y="53"/>
                    </a:lnTo>
                    <a:lnTo>
                      <a:pt x="1122" y="61"/>
                    </a:lnTo>
                    <a:lnTo>
                      <a:pt x="1135" y="68"/>
                    </a:lnTo>
                    <a:lnTo>
                      <a:pt x="1137" y="71"/>
                    </a:lnTo>
                    <a:lnTo>
                      <a:pt x="1139" y="73"/>
                    </a:lnTo>
                    <a:lnTo>
                      <a:pt x="1140" y="75"/>
                    </a:lnTo>
                    <a:lnTo>
                      <a:pt x="1142" y="77"/>
                    </a:lnTo>
                    <a:lnTo>
                      <a:pt x="1144" y="79"/>
                    </a:lnTo>
                    <a:lnTo>
                      <a:pt x="1147" y="82"/>
                    </a:lnTo>
                    <a:lnTo>
                      <a:pt x="1150" y="84"/>
                    </a:lnTo>
                    <a:lnTo>
                      <a:pt x="1155" y="86"/>
                    </a:lnTo>
                    <a:lnTo>
                      <a:pt x="1157" y="86"/>
                    </a:lnTo>
                    <a:lnTo>
                      <a:pt x="1158" y="87"/>
                    </a:lnTo>
                    <a:lnTo>
                      <a:pt x="1158" y="86"/>
                    </a:lnTo>
                    <a:lnTo>
                      <a:pt x="1158" y="86"/>
                    </a:lnTo>
                    <a:lnTo>
                      <a:pt x="1157" y="85"/>
                    </a:lnTo>
                    <a:lnTo>
                      <a:pt x="1157" y="84"/>
                    </a:lnTo>
                    <a:lnTo>
                      <a:pt x="1155" y="82"/>
                    </a:lnTo>
                    <a:lnTo>
                      <a:pt x="1153" y="79"/>
                    </a:lnTo>
                    <a:lnTo>
                      <a:pt x="1150" y="79"/>
                    </a:lnTo>
                    <a:lnTo>
                      <a:pt x="1149" y="76"/>
                    </a:lnTo>
                    <a:lnTo>
                      <a:pt x="1148" y="74"/>
                    </a:lnTo>
                    <a:lnTo>
                      <a:pt x="1147" y="72"/>
                    </a:lnTo>
                    <a:lnTo>
                      <a:pt x="1147" y="69"/>
                    </a:lnTo>
                    <a:lnTo>
                      <a:pt x="1146" y="68"/>
                    </a:lnTo>
                    <a:lnTo>
                      <a:pt x="1146" y="66"/>
                    </a:lnTo>
                    <a:lnTo>
                      <a:pt x="1146" y="64"/>
                    </a:lnTo>
                    <a:lnTo>
                      <a:pt x="1146" y="63"/>
                    </a:lnTo>
                    <a:lnTo>
                      <a:pt x="1145" y="62"/>
                    </a:lnTo>
                    <a:lnTo>
                      <a:pt x="1144" y="60"/>
                    </a:lnTo>
                    <a:lnTo>
                      <a:pt x="1144" y="58"/>
                    </a:lnTo>
                    <a:lnTo>
                      <a:pt x="1144" y="57"/>
                    </a:lnTo>
                    <a:lnTo>
                      <a:pt x="1144" y="57"/>
                    </a:lnTo>
                    <a:lnTo>
                      <a:pt x="1145" y="57"/>
                    </a:lnTo>
                    <a:lnTo>
                      <a:pt x="1146" y="57"/>
                    </a:lnTo>
                    <a:lnTo>
                      <a:pt x="1149" y="58"/>
                    </a:lnTo>
                    <a:lnTo>
                      <a:pt x="1151" y="58"/>
                    </a:lnTo>
                    <a:lnTo>
                      <a:pt x="1153" y="58"/>
                    </a:lnTo>
                    <a:lnTo>
                      <a:pt x="1153" y="57"/>
                    </a:lnTo>
                    <a:lnTo>
                      <a:pt x="1153" y="54"/>
                    </a:lnTo>
                    <a:lnTo>
                      <a:pt x="1150" y="52"/>
                    </a:lnTo>
                    <a:lnTo>
                      <a:pt x="1148" y="49"/>
                    </a:lnTo>
                    <a:lnTo>
                      <a:pt x="1145" y="46"/>
                    </a:lnTo>
                    <a:lnTo>
                      <a:pt x="1140" y="44"/>
                    </a:lnTo>
                    <a:lnTo>
                      <a:pt x="1137" y="42"/>
                    </a:lnTo>
                    <a:lnTo>
                      <a:pt x="1136" y="40"/>
                    </a:lnTo>
                    <a:lnTo>
                      <a:pt x="1134" y="38"/>
                    </a:lnTo>
                    <a:lnTo>
                      <a:pt x="1132" y="34"/>
                    </a:lnTo>
                    <a:lnTo>
                      <a:pt x="1129" y="32"/>
                    </a:lnTo>
                    <a:lnTo>
                      <a:pt x="1127" y="30"/>
                    </a:lnTo>
                    <a:lnTo>
                      <a:pt x="1126" y="29"/>
                    </a:lnTo>
                    <a:lnTo>
                      <a:pt x="1134" y="30"/>
                    </a:lnTo>
                    <a:lnTo>
                      <a:pt x="1142" y="32"/>
                    </a:lnTo>
                    <a:lnTo>
                      <a:pt x="1148" y="33"/>
                    </a:lnTo>
                    <a:lnTo>
                      <a:pt x="1156" y="33"/>
                    </a:lnTo>
                    <a:lnTo>
                      <a:pt x="1162" y="36"/>
                    </a:lnTo>
                    <a:lnTo>
                      <a:pt x="1168" y="40"/>
                    </a:lnTo>
                    <a:lnTo>
                      <a:pt x="1173" y="42"/>
                    </a:lnTo>
                    <a:lnTo>
                      <a:pt x="1178" y="43"/>
                    </a:lnTo>
                    <a:lnTo>
                      <a:pt x="1182" y="45"/>
                    </a:lnTo>
                    <a:lnTo>
                      <a:pt x="1186" y="49"/>
                    </a:lnTo>
                    <a:lnTo>
                      <a:pt x="1189" y="51"/>
                    </a:lnTo>
                    <a:lnTo>
                      <a:pt x="1191" y="53"/>
                    </a:lnTo>
                    <a:lnTo>
                      <a:pt x="1193" y="55"/>
                    </a:lnTo>
                    <a:lnTo>
                      <a:pt x="1197" y="56"/>
                    </a:lnTo>
                    <a:lnTo>
                      <a:pt x="1199" y="57"/>
                    </a:lnTo>
                    <a:lnTo>
                      <a:pt x="1199" y="54"/>
                    </a:lnTo>
                    <a:lnTo>
                      <a:pt x="1199" y="52"/>
                    </a:lnTo>
                    <a:lnTo>
                      <a:pt x="1198" y="50"/>
                    </a:lnTo>
                    <a:lnTo>
                      <a:pt x="1197" y="47"/>
                    </a:lnTo>
                    <a:lnTo>
                      <a:pt x="1194" y="45"/>
                    </a:lnTo>
                    <a:lnTo>
                      <a:pt x="1190" y="42"/>
                    </a:lnTo>
                    <a:lnTo>
                      <a:pt x="1183" y="40"/>
                    </a:lnTo>
                    <a:lnTo>
                      <a:pt x="1178" y="38"/>
                    </a:lnTo>
                    <a:lnTo>
                      <a:pt x="1172" y="35"/>
                    </a:lnTo>
                    <a:lnTo>
                      <a:pt x="1167" y="33"/>
                    </a:lnTo>
                    <a:lnTo>
                      <a:pt x="1161" y="31"/>
                    </a:lnTo>
                    <a:lnTo>
                      <a:pt x="1155" y="29"/>
                    </a:lnTo>
                    <a:lnTo>
                      <a:pt x="1144" y="28"/>
                    </a:lnTo>
                    <a:lnTo>
                      <a:pt x="1133" y="27"/>
                    </a:lnTo>
                    <a:lnTo>
                      <a:pt x="1131" y="25"/>
                    </a:lnTo>
                    <a:lnTo>
                      <a:pt x="1127" y="23"/>
                    </a:lnTo>
                    <a:lnTo>
                      <a:pt x="1125" y="22"/>
                    </a:lnTo>
                    <a:lnTo>
                      <a:pt x="1122" y="22"/>
                    </a:lnTo>
                    <a:lnTo>
                      <a:pt x="1121" y="22"/>
                    </a:lnTo>
                    <a:lnTo>
                      <a:pt x="1118" y="22"/>
                    </a:lnTo>
                    <a:lnTo>
                      <a:pt x="1116" y="23"/>
                    </a:lnTo>
                    <a:lnTo>
                      <a:pt x="1114" y="22"/>
                    </a:lnTo>
                    <a:lnTo>
                      <a:pt x="1113" y="22"/>
                    </a:lnTo>
                    <a:lnTo>
                      <a:pt x="1111" y="20"/>
                    </a:lnTo>
                    <a:lnTo>
                      <a:pt x="1111" y="19"/>
                    </a:lnTo>
                    <a:lnTo>
                      <a:pt x="1111" y="18"/>
                    </a:lnTo>
                    <a:lnTo>
                      <a:pt x="1112" y="18"/>
                    </a:lnTo>
                    <a:lnTo>
                      <a:pt x="1113" y="17"/>
                    </a:lnTo>
                    <a:lnTo>
                      <a:pt x="1113" y="15"/>
                    </a:lnTo>
                    <a:lnTo>
                      <a:pt x="1113" y="14"/>
                    </a:lnTo>
                    <a:lnTo>
                      <a:pt x="1111" y="13"/>
                    </a:lnTo>
                    <a:lnTo>
                      <a:pt x="1110" y="12"/>
                    </a:lnTo>
                    <a:lnTo>
                      <a:pt x="1107" y="10"/>
                    </a:lnTo>
                    <a:lnTo>
                      <a:pt x="1106" y="9"/>
                    </a:lnTo>
                    <a:lnTo>
                      <a:pt x="1106" y="8"/>
                    </a:lnTo>
                    <a:lnTo>
                      <a:pt x="1107" y="8"/>
                    </a:lnTo>
                    <a:lnTo>
                      <a:pt x="1109" y="8"/>
                    </a:lnTo>
                    <a:lnTo>
                      <a:pt x="1111" y="8"/>
                    </a:lnTo>
                    <a:lnTo>
                      <a:pt x="1113" y="9"/>
                    </a:lnTo>
                    <a:lnTo>
                      <a:pt x="1115" y="10"/>
                    </a:lnTo>
                    <a:lnTo>
                      <a:pt x="1117" y="11"/>
                    </a:lnTo>
                    <a:lnTo>
                      <a:pt x="1118" y="13"/>
                    </a:lnTo>
                    <a:lnTo>
                      <a:pt x="1121" y="15"/>
                    </a:lnTo>
                    <a:lnTo>
                      <a:pt x="1122" y="15"/>
                    </a:lnTo>
                    <a:lnTo>
                      <a:pt x="1124" y="15"/>
                    </a:lnTo>
                    <a:lnTo>
                      <a:pt x="1125" y="14"/>
                    </a:lnTo>
                    <a:lnTo>
                      <a:pt x="1126" y="13"/>
                    </a:lnTo>
                    <a:lnTo>
                      <a:pt x="1125" y="12"/>
                    </a:lnTo>
                    <a:lnTo>
                      <a:pt x="1124" y="11"/>
                    </a:lnTo>
                    <a:lnTo>
                      <a:pt x="1123" y="10"/>
                    </a:lnTo>
                    <a:lnTo>
                      <a:pt x="1122" y="9"/>
                    </a:lnTo>
                    <a:lnTo>
                      <a:pt x="1121" y="8"/>
                    </a:lnTo>
                    <a:lnTo>
                      <a:pt x="1121" y="7"/>
                    </a:lnTo>
                    <a:lnTo>
                      <a:pt x="1121" y="7"/>
                    </a:lnTo>
                    <a:lnTo>
                      <a:pt x="1123" y="7"/>
                    </a:lnTo>
                    <a:lnTo>
                      <a:pt x="1124" y="7"/>
                    </a:lnTo>
                    <a:lnTo>
                      <a:pt x="1127" y="8"/>
                    </a:lnTo>
                    <a:lnTo>
                      <a:pt x="1129" y="9"/>
                    </a:lnTo>
                    <a:lnTo>
                      <a:pt x="1133" y="9"/>
                    </a:lnTo>
                    <a:lnTo>
                      <a:pt x="1135" y="10"/>
                    </a:lnTo>
                    <a:lnTo>
                      <a:pt x="1137" y="11"/>
                    </a:lnTo>
                    <a:lnTo>
                      <a:pt x="1138" y="11"/>
                    </a:lnTo>
                    <a:lnTo>
                      <a:pt x="1139" y="11"/>
                    </a:lnTo>
                    <a:lnTo>
                      <a:pt x="1142" y="11"/>
                    </a:lnTo>
                    <a:lnTo>
                      <a:pt x="1143" y="12"/>
                    </a:lnTo>
                    <a:lnTo>
                      <a:pt x="1145" y="12"/>
                    </a:lnTo>
                    <a:lnTo>
                      <a:pt x="1146" y="12"/>
                    </a:lnTo>
                    <a:lnTo>
                      <a:pt x="1146" y="11"/>
                    </a:lnTo>
                    <a:lnTo>
                      <a:pt x="1145" y="11"/>
                    </a:lnTo>
                    <a:lnTo>
                      <a:pt x="1144" y="10"/>
                    </a:lnTo>
                    <a:lnTo>
                      <a:pt x="1144" y="10"/>
                    </a:lnTo>
                    <a:lnTo>
                      <a:pt x="1142" y="9"/>
                    </a:lnTo>
                    <a:lnTo>
                      <a:pt x="1142" y="8"/>
                    </a:lnTo>
                    <a:lnTo>
                      <a:pt x="1140" y="7"/>
                    </a:lnTo>
                    <a:lnTo>
                      <a:pt x="1140" y="7"/>
                    </a:lnTo>
                    <a:lnTo>
                      <a:pt x="1139" y="7"/>
                    </a:lnTo>
                    <a:lnTo>
                      <a:pt x="1139" y="7"/>
                    </a:lnTo>
                    <a:lnTo>
                      <a:pt x="1140" y="7"/>
                    </a:lnTo>
                    <a:lnTo>
                      <a:pt x="1142" y="7"/>
                    </a:lnTo>
                    <a:lnTo>
                      <a:pt x="1144" y="7"/>
                    </a:lnTo>
                    <a:lnTo>
                      <a:pt x="1145" y="8"/>
                    </a:lnTo>
                    <a:lnTo>
                      <a:pt x="1147" y="9"/>
                    </a:lnTo>
                    <a:lnTo>
                      <a:pt x="1148" y="9"/>
                    </a:lnTo>
                    <a:lnTo>
                      <a:pt x="1148" y="9"/>
                    </a:lnTo>
                    <a:lnTo>
                      <a:pt x="1149" y="9"/>
                    </a:lnTo>
                    <a:lnTo>
                      <a:pt x="1149" y="8"/>
                    </a:lnTo>
                    <a:lnTo>
                      <a:pt x="1148" y="7"/>
                    </a:lnTo>
                    <a:lnTo>
                      <a:pt x="1147" y="6"/>
                    </a:lnTo>
                    <a:lnTo>
                      <a:pt x="1146" y="4"/>
                    </a:lnTo>
                    <a:lnTo>
                      <a:pt x="1147" y="3"/>
                    </a:lnTo>
                    <a:lnTo>
                      <a:pt x="1148" y="3"/>
                    </a:lnTo>
                    <a:lnTo>
                      <a:pt x="1150" y="2"/>
                    </a:lnTo>
                    <a:lnTo>
                      <a:pt x="1153" y="2"/>
                    </a:lnTo>
                    <a:lnTo>
                      <a:pt x="1157" y="4"/>
                    </a:lnTo>
                    <a:lnTo>
                      <a:pt x="1159" y="7"/>
                    </a:lnTo>
                    <a:lnTo>
                      <a:pt x="1161" y="9"/>
                    </a:lnTo>
                    <a:lnTo>
                      <a:pt x="1162" y="10"/>
                    </a:lnTo>
                    <a:lnTo>
                      <a:pt x="1164" y="12"/>
                    </a:lnTo>
                    <a:lnTo>
                      <a:pt x="1165" y="13"/>
                    </a:lnTo>
                    <a:lnTo>
                      <a:pt x="1166" y="15"/>
                    </a:lnTo>
                    <a:lnTo>
                      <a:pt x="1168" y="18"/>
                    </a:lnTo>
                    <a:lnTo>
                      <a:pt x="1181" y="24"/>
                    </a:lnTo>
                    <a:lnTo>
                      <a:pt x="1186" y="27"/>
                    </a:lnTo>
                    <a:lnTo>
                      <a:pt x="1189" y="28"/>
                    </a:lnTo>
                    <a:lnTo>
                      <a:pt x="1193" y="30"/>
                    </a:lnTo>
                    <a:lnTo>
                      <a:pt x="1197" y="31"/>
                    </a:lnTo>
                    <a:lnTo>
                      <a:pt x="1199" y="33"/>
                    </a:lnTo>
                    <a:lnTo>
                      <a:pt x="1202" y="35"/>
                    </a:lnTo>
                    <a:lnTo>
                      <a:pt x="1203" y="36"/>
                    </a:lnTo>
                    <a:lnTo>
                      <a:pt x="1205" y="39"/>
                    </a:lnTo>
                    <a:lnTo>
                      <a:pt x="1208" y="40"/>
                    </a:lnTo>
                    <a:lnTo>
                      <a:pt x="1209" y="41"/>
                    </a:lnTo>
                    <a:lnTo>
                      <a:pt x="1210" y="40"/>
                    </a:lnTo>
                    <a:lnTo>
                      <a:pt x="1210" y="40"/>
                    </a:lnTo>
                    <a:lnTo>
                      <a:pt x="1209" y="39"/>
                    </a:lnTo>
                    <a:lnTo>
                      <a:pt x="1208" y="38"/>
                    </a:lnTo>
                    <a:lnTo>
                      <a:pt x="1207" y="36"/>
                    </a:lnTo>
                    <a:lnTo>
                      <a:pt x="1205" y="35"/>
                    </a:lnTo>
                    <a:lnTo>
                      <a:pt x="1205" y="35"/>
                    </a:lnTo>
                    <a:lnTo>
                      <a:pt x="1204" y="34"/>
                    </a:lnTo>
                    <a:lnTo>
                      <a:pt x="1202" y="33"/>
                    </a:lnTo>
                    <a:lnTo>
                      <a:pt x="1201" y="32"/>
                    </a:lnTo>
                    <a:lnTo>
                      <a:pt x="1201" y="30"/>
                    </a:lnTo>
                    <a:lnTo>
                      <a:pt x="1201" y="29"/>
                    </a:lnTo>
                    <a:lnTo>
                      <a:pt x="1202" y="29"/>
                    </a:lnTo>
                    <a:lnTo>
                      <a:pt x="1204" y="29"/>
                    </a:lnTo>
                    <a:lnTo>
                      <a:pt x="1207" y="30"/>
                    </a:lnTo>
                    <a:lnTo>
                      <a:pt x="1208" y="30"/>
                    </a:lnTo>
                    <a:lnTo>
                      <a:pt x="1210" y="30"/>
                    </a:lnTo>
                    <a:lnTo>
                      <a:pt x="1211" y="30"/>
                    </a:lnTo>
                    <a:lnTo>
                      <a:pt x="1211" y="30"/>
                    </a:lnTo>
                    <a:lnTo>
                      <a:pt x="1211" y="30"/>
                    </a:lnTo>
                    <a:lnTo>
                      <a:pt x="1210" y="29"/>
                    </a:lnTo>
                    <a:lnTo>
                      <a:pt x="1208" y="27"/>
                    </a:lnTo>
                    <a:lnTo>
                      <a:pt x="1207" y="25"/>
                    </a:lnTo>
                    <a:lnTo>
                      <a:pt x="1207" y="24"/>
                    </a:lnTo>
                    <a:lnTo>
                      <a:pt x="1208" y="23"/>
                    </a:lnTo>
                    <a:lnTo>
                      <a:pt x="1209" y="23"/>
                    </a:lnTo>
                    <a:lnTo>
                      <a:pt x="1210" y="23"/>
                    </a:lnTo>
                    <a:lnTo>
                      <a:pt x="1212" y="23"/>
                    </a:lnTo>
                    <a:lnTo>
                      <a:pt x="1213" y="23"/>
                    </a:lnTo>
                    <a:lnTo>
                      <a:pt x="1215" y="23"/>
                    </a:lnTo>
                    <a:lnTo>
                      <a:pt x="1215" y="22"/>
                    </a:lnTo>
                    <a:lnTo>
                      <a:pt x="1215" y="22"/>
                    </a:lnTo>
                    <a:lnTo>
                      <a:pt x="1214" y="20"/>
                    </a:lnTo>
                    <a:lnTo>
                      <a:pt x="1211" y="18"/>
                    </a:lnTo>
                    <a:lnTo>
                      <a:pt x="1208" y="15"/>
                    </a:lnTo>
                    <a:lnTo>
                      <a:pt x="1204" y="14"/>
                    </a:lnTo>
                    <a:lnTo>
                      <a:pt x="1201" y="13"/>
                    </a:lnTo>
                    <a:lnTo>
                      <a:pt x="1199" y="12"/>
                    </a:lnTo>
                    <a:lnTo>
                      <a:pt x="1197" y="10"/>
                    </a:lnTo>
                    <a:lnTo>
                      <a:pt x="1196" y="9"/>
                    </a:lnTo>
                    <a:lnTo>
                      <a:pt x="1194" y="7"/>
                    </a:lnTo>
                    <a:lnTo>
                      <a:pt x="1193" y="4"/>
                    </a:lnTo>
                    <a:lnTo>
                      <a:pt x="1193" y="3"/>
                    </a:lnTo>
                    <a:lnTo>
                      <a:pt x="1194" y="2"/>
                    </a:lnTo>
                    <a:lnTo>
                      <a:pt x="1196" y="2"/>
                    </a:lnTo>
                    <a:lnTo>
                      <a:pt x="1197" y="1"/>
                    </a:lnTo>
                    <a:lnTo>
                      <a:pt x="1199" y="1"/>
                    </a:lnTo>
                    <a:lnTo>
                      <a:pt x="1200" y="1"/>
                    </a:lnTo>
                    <a:lnTo>
                      <a:pt x="1201" y="0"/>
                    </a:lnTo>
                    <a:lnTo>
                      <a:pt x="1203"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41" name="Freeform 38"/>
              <p:cNvSpPr>
                <a:spLocks noEditPoints="1"/>
              </p:cNvSpPr>
              <p:nvPr/>
            </p:nvSpPr>
            <p:spPr bwMode="auto">
              <a:xfrm>
                <a:off x="5541" y="601"/>
                <a:ext cx="488" cy="489"/>
              </a:xfrm>
              <a:custGeom>
                <a:avLst/>
                <a:gdLst>
                  <a:gd name="T0" fmla="*/ 1638 w 3420"/>
                  <a:gd name="T1" fmla="*/ 448 h 3420"/>
                  <a:gd name="T2" fmla="*/ 1678 w 3420"/>
                  <a:gd name="T3" fmla="*/ 437 h 3420"/>
                  <a:gd name="T4" fmla="*/ 1715 w 3420"/>
                  <a:gd name="T5" fmla="*/ 464 h 3420"/>
                  <a:gd name="T6" fmla="*/ 1723 w 3420"/>
                  <a:gd name="T7" fmla="*/ 497 h 3420"/>
                  <a:gd name="T8" fmla="*/ 1660 w 3420"/>
                  <a:gd name="T9" fmla="*/ 514 h 3420"/>
                  <a:gd name="T10" fmla="*/ 1638 w 3420"/>
                  <a:gd name="T11" fmla="*/ 567 h 3420"/>
                  <a:gd name="T12" fmla="*/ 1616 w 3420"/>
                  <a:gd name="T13" fmla="*/ 596 h 3420"/>
                  <a:gd name="T14" fmla="*/ 1549 w 3420"/>
                  <a:gd name="T15" fmla="*/ 625 h 3420"/>
                  <a:gd name="T16" fmla="*/ 1551 w 3420"/>
                  <a:gd name="T17" fmla="*/ 642 h 3420"/>
                  <a:gd name="T18" fmla="*/ 1559 w 3420"/>
                  <a:gd name="T19" fmla="*/ 687 h 3420"/>
                  <a:gd name="T20" fmla="*/ 1461 w 3420"/>
                  <a:gd name="T21" fmla="*/ 732 h 3420"/>
                  <a:gd name="T22" fmla="*/ 1479 w 3420"/>
                  <a:gd name="T23" fmla="*/ 785 h 3420"/>
                  <a:gd name="T24" fmla="*/ 1426 w 3420"/>
                  <a:gd name="T25" fmla="*/ 774 h 3420"/>
                  <a:gd name="T26" fmla="*/ 1332 w 3420"/>
                  <a:gd name="T27" fmla="*/ 778 h 3420"/>
                  <a:gd name="T28" fmla="*/ 1333 w 3420"/>
                  <a:gd name="T29" fmla="*/ 818 h 3420"/>
                  <a:gd name="T30" fmla="*/ 1487 w 3420"/>
                  <a:gd name="T31" fmla="*/ 813 h 3420"/>
                  <a:gd name="T32" fmla="*/ 1433 w 3420"/>
                  <a:gd name="T33" fmla="*/ 855 h 3420"/>
                  <a:gd name="T34" fmla="*/ 1301 w 3420"/>
                  <a:gd name="T35" fmla="*/ 868 h 3420"/>
                  <a:gd name="T36" fmla="*/ 1231 w 3420"/>
                  <a:gd name="T37" fmla="*/ 787 h 3420"/>
                  <a:gd name="T38" fmla="*/ 1251 w 3420"/>
                  <a:gd name="T39" fmla="*/ 752 h 3420"/>
                  <a:gd name="T40" fmla="*/ 1326 w 3420"/>
                  <a:gd name="T41" fmla="*/ 761 h 3420"/>
                  <a:gd name="T42" fmla="*/ 1384 w 3420"/>
                  <a:gd name="T43" fmla="*/ 707 h 3420"/>
                  <a:gd name="T44" fmla="*/ 1407 w 3420"/>
                  <a:gd name="T45" fmla="*/ 684 h 3420"/>
                  <a:gd name="T46" fmla="*/ 1373 w 3420"/>
                  <a:gd name="T47" fmla="*/ 658 h 3420"/>
                  <a:gd name="T48" fmla="*/ 1407 w 3420"/>
                  <a:gd name="T49" fmla="*/ 647 h 3420"/>
                  <a:gd name="T50" fmla="*/ 1358 w 3420"/>
                  <a:gd name="T51" fmla="*/ 659 h 3420"/>
                  <a:gd name="T52" fmla="*/ 1318 w 3420"/>
                  <a:gd name="T53" fmla="*/ 678 h 3420"/>
                  <a:gd name="T54" fmla="*/ 1267 w 3420"/>
                  <a:gd name="T55" fmla="*/ 663 h 3420"/>
                  <a:gd name="T56" fmla="*/ 1246 w 3420"/>
                  <a:gd name="T57" fmla="*/ 625 h 3420"/>
                  <a:gd name="T58" fmla="*/ 1242 w 3420"/>
                  <a:gd name="T59" fmla="*/ 594 h 3420"/>
                  <a:gd name="T60" fmla="*/ 1266 w 3420"/>
                  <a:gd name="T61" fmla="*/ 565 h 3420"/>
                  <a:gd name="T62" fmla="*/ 1268 w 3420"/>
                  <a:gd name="T63" fmla="*/ 534 h 3420"/>
                  <a:gd name="T64" fmla="*/ 1328 w 3420"/>
                  <a:gd name="T65" fmla="*/ 565 h 3420"/>
                  <a:gd name="T66" fmla="*/ 1359 w 3420"/>
                  <a:gd name="T67" fmla="*/ 568 h 3420"/>
                  <a:gd name="T68" fmla="*/ 1406 w 3420"/>
                  <a:gd name="T69" fmla="*/ 615 h 3420"/>
                  <a:gd name="T70" fmla="*/ 1435 w 3420"/>
                  <a:gd name="T71" fmla="*/ 587 h 3420"/>
                  <a:gd name="T72" fmla="*/ 1442 w 3420"/>
                  <a:gd name="T73" fmla="*/ 583 h 3420"/>
                  <a:gd name="T74" fmla="*/ 1531 w 3420"/>
                  <a:gd name="T75" fmla="*/ 543 h 3420"/>
                  <a:gd name="T76" fmla="*/ 1484 w 3420"/>
                  <a:gd name="T77" fmla="*/ 541 h 3420"/>
                  <a:gd name="T78" fmla="*/ 1389 w 3420"/>
                  <a:gd name="T79" fmla="*/ 562 h 3420"/>
                  <a:gd name="T80" fmla="*/ 1363 w 3420"/>
                  <a:gd name="T81" fmla="*/ 554 h 3420"/>
                  <a:gd name="T82" fmla="*/ 1343 w 3420"/>
                  <a:gd name="T83" fmla="*/ 541 h 3420"/>
                  <a:gd name="T84" fmla="*/ 1341 w 3420"/>
                  <a:gd name="T85" fmla="*/ 517 h 3420"/>
                  <a:gd name="T86" fmla="*/ 1320 w 3420"/>
                  <a:gd name="T87" fmla="*/ 497 h 3420"/>
                  <a:gd name="T88" fmla="*/ 1394 w 3420"/>
                  <a:gd name="T89" fmla="*/ 484 h 3420"/>
                  <a:gd name="T90" fmla="*/ 1395 w 3420"/>
                  <a:gd name="T91" fmla="*/ 457 h 3420"/>
                  <a:gd name="T92" fmla="*/ 1440 w 3420"/>
                  <a:gd name="T93" fmla="*/ 466 h 3420"/>
                  <a:gd name="T94" fmla="*/ 1449 w 3420"/>
                  <a:gd name="T95" fmla="*/ 438 h 3420"/>
                  <a:gd name="T96" fmla="*/ 1495 w 3420"/>
                  <a:gd name="T97" fmla="*/ 431 h 3420"/>
                  <a:gd name="T98" fmla="*/ 1516 w 3420"/>
                  <a:gd name="T99" fmla="*/ 437 h 3420"/>
                  <a:gd name="T100" fmla="*/ 1560 w 3420"/>
                  <a:gd name="T101" fmla="*/ 427 h 3420"/>
                  <a:gd name="T102" fmla="*/ 1286 w 3420"/>
                  <a:gd name="T103" fmla="*/ 178 h 3420"/>
                  <a:gd name="T104" fmla="*/ 564 w 3420"/>
                  <a:gd name="T105" fmla="*/ 607 h 3420"/>
                  <a:gd name="T106" fmla="*/ 664 w 3420"/>
                  <a:gd name="T107" fmla="*/ 2908 h 3420"/>
                  <a:gd name="T108" fmla="*/ 1535 w 3420"/>
                  <a:gd name="T109" fmla="*/ 3291 h 3420"/>
                  <a:gd name="T110" fmla="*/ 2564 w 3420"/>
                  <a:gd name="T111" fmla="*/ 3052 h 3420"/>
                  <a:gd name="T112" fmla="*/ 3166 w 3420"/>
                  <a:gd name="T113" fmla="*/ 1070 h 3420"/>
                  <a:gd name="T114" fmla="*/ 2141 w 3420"/>
                  <a:gd name="T115" fmla="*/ 179 h 3420"/>
                  <a:gd name="T116" fmla="*/ 2328 w 3420"/>
                  <a:gd name="T117" fmla="*/ 115 h 3420"/>
                  <a:gd name="T118" fmla="*/ 2989 w 3420"/>
                  <a:gd name="T119" fmla="*/ 2845 h 3420"/>
                  <a:gd name="T120" fmla="*/ 200 w 3420"/>
                  <a:gd name="T121" fmla="*/ 2514 h 3420"/>
                  <a:gd name="T122" fmla="*/ 1496 w 3420"/>
                  <a:gd name="T123" fmla="*/ 14 h 3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20" h="3420">
                    <a:moveTo>
                      <a:pt x="1591" y="420"/>
                    </a:moveTo>
                    <a:lnTo>
                      <a:pt x="1595" y="421"/>
                    </a:lnTo>
                    <a:lnTo>
                      <a:pt x="1601" y="422"/>
                    </a:lnTo>
                    <a:lnTo>
                      <a:pt x="1605" y="424"/>
                    </a:lnTo>
                    <a:lnTo>
                      <a:pt x="1607" y="426"/>
                    </a:lnTo>
                    <a:lnTo>
                      <a:pt x="1610" y="426"/>
                    </a:lnTo>
                    <a:lnTo>
                      <a:pt x="1614" y="427"/>
                    </a:lnTo>
                    <a:lnTo>
                      <a:pt x="1617" y="427"/>
                    </a:lnTo>
                    <a:lnTo>
                      <a:pt x="1622" y="427"/>
                    </a:lnTo>
                    <a:lnTo>
                      <a:pt x="1625" y="429"/>
                    </a:lnTo>
                    <a:lnTo>
                      <a:pt x="1628" y="429"/>
                    </a:lnTo>
                    <a:lnTo>
                      <a:pt x="1630" y="430"/>
                    </a:lnTo>
                    <a:lnTo>
                      <a:pt x="1633" y="430"/>
                    </a:lnTo>
                    <a:lnTo>
                      <a:pt x="1636" y="431"/>
                    </a:lnTo>
                    <a:lnTo>
                      <a:pt x="1642" y="431"/>
                    </a:lnTo>
                    <a:lnTo>
                      <a:pt x="1648" y="433"/>
                    </a:lnTo>
                    <a:lnTo>
                      <a:pt x="1653" y="435"/>
                    </a:lnTo>
                    <a:lnTo>
                      <a:pt x="1656" y="435"/>
                    </a:lnTo>
                    <a:lnTo>
                      <a:pt x="1657" y="436"/>
                    </a:lnTo>
                    <a:lnTo>
                      <a:pt x="1657" y="438"/>
                    </a:lnTo>
                    <a:lnTo>
                      <a:pt x="1655" y="440"/>
                    </a:lnTo>
                    <a:lnTo>
                      <a:pt x="1653" y="441"/>
                    </a:lnTo>
                    <a:lnTo>
                      <a:pt x="1651" y="442"/>
                    </a:lnTo>
                    <a:lnTo>
                      <a:pt x="1649" y="443"/>
                    </a:lnTo>
                    <a:lnTo>
                      <a:pt x="1647" y="444"/>
                    </a:lnTo>
                    <a:lnTo>
                      <a:pt x="1646" y="445"/>
                    </a:lnTo>
                    <a:lnTo>
                      <a:pt x="1645" y="445"/>
                    </a:lnTo>
                    <a:lnTo>
                      <a:pt x="1644" y="446"/>
                    </a:lnTo>
                    <a:lnTo>
                      <a:pt x="1642" y="447"/>
                    </a:lnTo>
                    <a:lnTo>
                      <a:pt x="1640" y="448"/>
                    </a:lnTo>
                    <a:lnTo>
                      <a:pt x="1639" y="448"/>
                    </a:lnTo>
                    <a:lnTo>
                      <a:pt x="1638" y="448"/>
                    </a:lnTo>
                    <a:lnTo>
                      <a:pt x="1637" y="448"/>
                    </a:lnTo>
                    <a:lnTo>
                      <a:pt x="1637" y="449"/>
                    </a:lnTo>
                    <a:lnTo>
                      <a:pt x="1638" y="451"/>
                    </a:lnTo>
                    <a:lnTo>
                      <a:pt x="1640" y="451"/>
                    </a:lnTo>
                    <a:lnTo>
                      <a:pt x="1641" y="451"/>
                    </a:lnTo>
                    <a:lnTo>
                      <a:pt x="1644" y="451"/>
                    </a:lnTo>
                    <a:lnTo>
                      <a:pt x="1645" y="451"/>
                    </a:lnTo>
                    <a:lnTo>
                      <a:pt x="1647" y="451"/>
                    </a:lnTo>
                    <a:lnTo>
                      <a:pt x="1648" y="451"/>
                    </a:lnTo>
                    <a:lnTo>
                      <a:pt x="1648" y="451"/>
                    </a:lnTo>
                    <a:lnTo>
                      <a:pt x="1648" y="451"/>
                    </a:lnTo>
                    <a:lnTo>
                      <a:pt x="1649" y="451"/>
                    </a:lnTo>
                    <a:lnTo>
                      <a:pt x="1650" y="448"/>
                    </a:lnTo>
                    <a:lnTo>
                      <a:pt x="1653" y="447"/>
                    </a:lnTo>
                    <a:lnTo>
                      <a:pt x="1656" y="447"/>
                    </a:lnTo>
                    <a:lnTo>
                      <a:pt x="1658" y="446"/>
                    </a:lnTo>
                    <a:lnTo>
                      <a:pt x="1660" y="445"/>
                    </a:lnTo>
                    <a:lnTo>
                      <a:pt x="1662" y="444"/>
                    </a:lnTo>
                    <a:lnTo>
                      <a:pt x="1663" y="442"/>
                    </a:lnTo>
                    <a:lnTo>
                      <a:pt x="1666" y="441"/>
                    </a:lnTo>
                    <a:lnTo>
                      <a:pt x="1669" y="441"/>
                    </a:lnTo>
                    <a:lnTo>
                      <a:pt x="1672" y="442"/>
                    </a:lnTo>
                    <a:lnTo>
                      <a:pt x="1675" y="444"/>
                    </a:lnTo>
                    <a:lnTo>
                      <a:pt x="1678" y="445"/>
                    </a:lnTo>
                    <a:lnTo>
                      <a:pt x="1679" y="445"/>
                    </a:lnTo>
                    <a:lnTo>
                      <a:pt x="1679" y="445"/>
                    </a:lnTo>
                    <a:lnTo>
                      <a:pt x="1679" y="444"/>
                    </a:lnTo>
                    <a:lnTo>
                      <a:pt x="1679" y="443"/>
                    </a:lnTo>
                    <a:lnTo>
                      <a:pt x="1678" y="442"/>
                    </a:lnTo>
                    <a:lnTo>
                      <a:pt x="1678" y="441"/>
                    </a:lnTo>
                    <a:lnTo>
                      <a:pt x="1678" y="440"/>
                    </a:lnTo>
                    <a:lnTo>
                      <a:pt x="1678" y="437"/>
                    </a:lnTo>
                    <a:lnTo>
                      <a:pt x="1678" y="437"/>
                    </a:lnTo>
                    <a:lnTo>
                      <a:pt x="1680" y="436"/>
                    </a:lnTo>
                    <a:lnTo>
                      <a:pt x="1681" y="437"/>
                    </a:lnTo>
                    <a:lnTo>
                      <a:pt x="1683" y="437"/>
                    </a:lnTo>
                    <a:lnTo>
                      <a:pt x="1685" y="438"/>
                    </a:lnTo>
                    <a:lnTo>
                      <a:pt x="1688" y="440"/>
                    </a:lnTo>
                    <a:lnTo>
                      <a:pt x="1689" y="442"/>
                    </a:lnTo>
                    <a:lnTo>
                      <a:pt x="1689" y="442"/>
                    </a:lnTo>
                    <a:lnTo>
                      <a:pt x="1690" y="443"/>
                    </a:lnTo>
                    <a:lnTo>
                      <a:pt x="1690" y="444"/>
                    </a:lnTo>
                    <a:lnTo>
                      <a:pt x="1692" y="444"/>
                    </a:lnTo>
                    <a:lnTo>
                      <a:pt x="1693" y="444"/>
                    </a:lnTo>
                    <a:lnTo>
                      <a:pt x="1695" y="442"/>
                    </a:lnTo>
                    <a:lnTo>
                      <a:pt x="1697" y="442"/>
                    </a:lnTo>
                    <a:lnTo>
                      <a:pt x="1702" y="442"/>
                    </a:lnTo>
                    <a:lnTo>
                      <a:pt x="1704" y="442"/>
                    </a:lnTo>
                    <a:lnTo>
                      <a:pt x="1705" y="443"/>
                    </a:lnTo>
                    <a:lnTo>
                      <a:pt x="1704" y="444"/>
                    </a:lnTo>
                    <a:lnTo>
                      <a:pt x="1703" y="445"/>
                    </a:lnTo>
                    <a:lnTo>
                      <a:pt x="1703" y="446"/>
                    </a:lnTo>
                    <a:lnTo>
                      <a:pt x="1702" y="447"/>
                    </a:lnTo>
                    <a:lnTo>
                      <a:pt x="1702" y="448"/>
                    </a:lnTo>
                    <a:lnTo>
                      <a:pt x="1704" y="451"/>
                    </a:lnTo>
                    <a:lnTo>
                      <a:pt x="1706" y="452"/>
                    </a:lnTo>
                    <a:lnTo>
                      <a:pt x="1708" y="453"/>
                    </a:lnTo>
                    <a:lnTo>
                      <a:pt x="1711" y="455"/>
                    </a:lnTo>
                    <a:lnTo>
                      <a:pt x="1712" y="456"/>
                    </a:lnTo>
                    <a:lnTo>
                      <a:pt x="1713" y="459"/>
                    </a:lnTo>
                    <a:lnTo>
                      <a:pt x="1713" y="460"/>
                    </a:lnTo>
                    <a:lnTo>
                      <a:pt x="1713" y="462"/>
                    </a:lnTo>
                    <a:lnTo>
                      <a:pt x="1713" y="462"/>
                    </a:lnTo>
                    <a:lnTo>
                      <a:pt x="1715" y="464"/>
                    </a:lnTo>
                    <a:lnTo>
                      <a:pt x="1718" y="465"/>
                    </a:lnTo>
                    <a:lnTo>
                      <a:pt x="1723" y="466"/>
                    </a:lnTo>
                    <a:lnTo>
                      <a:pt x="1726" y="466"/>
                    </a:lnTo>
                    <a:lnTo>
                      <a:pt x="1728" y="466"/>
                    </a:lnTo>
                    <a:lnTo>
                      <a:pt x="1730" y="466"/>
                    </a:lnTo>
                    <a:lnTo>
                      <a:pt x="1733" y="467"/>
                    </a:lnTo>
                    <a:lnTo>
                      <a:pt x="1734" y="468"/>
                    </a:lnTo>
                    <a:lnTo>
                      <a:pt x="1736" y="470"/>
                    </a:lnTo>
                    <a:lnTo>
                      <a:pt x="1739" y="471"/>
                    </a:lnTo>
                    <a:lnTo>
                      <a:pt x="1741" y="473"/>
                    </a:lnTo>
                    <a:lnTo>
                      <a:pt x="1744" y="474"/>
                    </a:lnTo>
                    <a:lnTo>
                      <a:pt x="1745" y="477"/>
                    </a:lnTo>
                    <a:lnTo>
                      <a:pt x="1746" y="477"/>
                    </a:lnTo>
                    <a:lnTo>
                      <a:pt x="1746" y="478"/>
                    </a:lnTo>
                    <a:lnTo>
                      <a:pt x="1747" y="479"/>
                    </a:lnTo>
                    <a:lnTo>
                      <a:pt x="1748" y="480"/>
                    </a:lnTo>
                    <a:lnTo>
                      <a:pt x="1749" y="481"/>
                    </a:lnTo>
                    <a:lnTo>
                      <a:pt x="1749" y="483"/>
                    </a:lnTo>
                    <a:lnTo>
                      <a:pt x="1747" y="484"/>
                    </a:lnTo>
                    <a:lnTo>
                      <a:pt x="1745" y="485"/>
                    </a:lnTo>
                    <a:lnTo>
                      <a:pt x="1744" y="485"/>
                    </a:lnTo>
                    <a:lnTo>
                      <a:pt x="1743" y="486"/>
                    </a:lnTo>
                    <a:lnTo>
                      <a:pt x="1740" y="487"/>
                    </a:lnTo>
                    <a:lnTo>
                      <a:pt x="1738" y="488"/>
                    </a:lnTo>
                    <a:lnTo>
                      <a:pt x="1736" y="490"/>
                    </a:lnTo>
                    <a:lnTo>
                      <a:pt x="1735" y="491"/>
                    </a:lnTo>
                    <a:lnTo>
                      <a:pt x="1733" y="492"/>
                    </a:lnTo>
                    <a:lnTo>
                      <a:pt x="1732" y="492"/>
                    </a:lnTo>
                    <a:lnTo>
                      <a:pt x="1729" y="492"/>
                    </a:lnTo>
                    <a:lnTo>
                      <a:pt x="1728" y="494"/>
                    </a:lnTo>
                    <a:lnTo>
                      <a:pt x="1726" y="495"/>
                    </a:lnTo>
                    <a:lnTo>
                      <a:pt x="1723" y="497"/>
                    </a:lnTo>
                    <a:lnTo>
                      <a:pt x="1718" y="499"/>
                    </a:lnTo>
                    <a:lnTo>
                      <a:pt x="1715" y="501"/>
                    </a:lnTo>
                    <a:lnTo>
                      <a:pt x="1713" y="501"/>
                    </a:lnTo>
                    <a:lnTo>
                      <a:pt x="1711" y="502"/>
                    </a:lnTo>
                    <a:lnTo>
                      <a:pt x="1710" y="502"/>
                    </a:lnTo>
                    <a:lnTo>
                      <a:pt x="1708" y="505"/>
                    </a:lnTo>
                    <a:lnTo>
                      <a:pt x="1706" y="506"/>
                    </a:lnTo>
                    <a:lnTo>
                      <a:pt x="1703" y="506"/>
                    </a:lnTo>
                    <a:lnTo>
                      <a:pt x="1700" y="505"/>
                    </a:lnTo>
                    <a:lnTo>
                      <a:pt x="1697" y="505"/>
                    </a:lnTo>
                    <a:lnTo>
                      <a:pt x="1694" y="505"/>
                    </a:lnTo>
                    <a:lnTo>
                      <a:pt x="1693" y="506"/>
                    </a:lnTo>
                    <a:lnTo>
                      <a:pt x="1693" y="510"/>
                    </a:lnTo>
                    <a:lnTo>
                      <a:pt x="1691" y="510"/>
                    </a:lnTo>
                    <a:lnTo>
                      <a:pt x="1689" y="511"/>
                    </a:lnTo>
                    <a:lnTo>
                      <a:pt x="1685" y="510"/>
                    </a:lnTo>
                    <a:lnTo>
                      <a:pt x="1682" y="510"/>
                    </a:lnTo>
                    <a:lnTo>
                      <a:pt x="1680" y="510"/>
                    </a:lnTo>
                    <a:lnTo>
                      <a:pt x="1660" y="510"/>
                    </a:lnTo>
                    <a:lnTo>
                      <a:pt x="1659" y="510"/>
                    </a:lnTo>
                    <a:lnTo>
                      <a:pt x="1658" y="510"/>
                    </a:lnTo>
                    <a:lnTo>
                      <a:pt x="1655" y="510"/>
                    </a:lnTo>
                    <a:lnTo>
                      <a:pt x="1652" y="510"/>
                    </a:lnTo>
                    <a:lnTo>
                      <a:pt x="1649" y="510"/>
                    </a:lnTo>
                    <a:lnTo>
                      <a:pt x="1648" y="511"/>
                    </a:lnTo>
                    <a:lnTo>
                      <a:pt x="1647" y="512"/>
                    </a:lnTo>
                    <a:lnTo>
                      <a:pt x="1649" y="512"/>
                    </a:lnTo>
                    <a:lnTo>
                      <a:pt x="1651" y="513"/>
                    </a:lnTo>
                    <a:lnTo>
                      <a:pt x="1653" y="513"/>
                    </a:lnTo>
                    <a:lnTo>
                      <a:pt x="1656" y="514"/>
                    </a:lnTo>
                    <a:lnTo>
                      <a:pt x="1658" y="514"/>
                    </a:lnTo>
                    <a:lnTo>
                      <a:pt x="1660" y="514"/>
                    </a:lnTo>
                    <a:lnTo>
                      <a:pt x="1662" y="514"/>
                    </a:lnTo>
                    <a:lnTo>
                      <a:pt x="1663" y="516"/>
                    </a:lnTo>
                    <a:lnTo>
                      <a:pt x="1664" y="517"/>
                    </a:lnTo>
                    <a:lnTo>
                      <a:pt x="1664" y="518"/>
                    </a:lnTo>
                    <a:lnTo>
                      <a:pt x="1663" y="519"/>
                    </a:lnTo>
                    <a:lnTo>
                      <a:pt x="1662" y="520"/>
                    </a:lnTo>
                    <a:lnTo>
                      <a:pt x="1662" y="521"/>
                    </a:lnTo>
                    <a:lnTo>
                      <a:pt x="1662" y="525"/>
                    </a:lnTo>
                    <a:lnTo>
                      <a:pt x="1675" y="523"/>
                    </a:lnTo>
                    <a:lnTo>
                      <a:pt x="1686" y="521"/>
                    </a:lnTo>
                    <a:lnTo>
                      <a:pt x="1689" y="519"/>
                    </a:lnTo>
                    <a:lnTo>
                      <a:pt x="1692" y="518"/>
                    </a:lnTo>
                    <a:lnTo>
                      <a:pt x="1694" y="516"/>
                    </a:lnTo>
                    <a:lnTo>
                      <a:pt x="1697" y="514"/>
                    </a:lnTo>
                    <a:lnTo>
                      <a:pt x="1702" y="514"/>
                    </a:lnTo>
                    <a:lnTo>
                      <a:pt x="1705" y="516"/>
                    </a:lnTo>
                    <a:lnTo>
                      <a:pt x="1707" y="517"/>
                    </a:lnTo>
                    <a:lnTo>
                      <a:pt x="1708" y="517"/>
                    </a:lnTo>
                    <a:lnTo>
                      <a:pt x="1708" y="519"/>
                    </a:lnTo>
                    <a:lnTo>
                      <a:pt x="1708" y="521"/>
                    </a:lnTo>
                    <a:lnTo>
                      <a:pt x="1704" y="524"/>
                    </a:lnTo>
                    <a:lnTo>
                      <a:pt x="1699" y="528"/>
                    </a:lnTo>
                    <a:lnTo>
                      <a:pt x="1693" y="530"/>
                    </a:lnTo>
                    <a:lnTo>
                      <a:pt x="1681" y="539"/>
                    </a:lnTo>
                    <a:lnTo>
                      <a:pt x="1671" y="547"/>
                    </a:lnTo>
                    <a:lnTo>
                      <a:pt x="1662" y="551"/>
                    </a:lnTo>
                    <a:lnTo>
                      <a:pt x="1653" y="554"/>
                    </a:lnTo>
                    <a:lnTo>
                      <a:pt x="1647" y="558"/>
                    </a:lnTo>
                    <a:lnTo>
                      <a:pt x="1644" y="561"/>
                    </a:lnTo>
                    <a:lnTo>
                      <a:pt x="1641" y="563"/>
                    </a:lnTo>
                    <a:lnTo>
                      <a:pt x="1640" y="565"/>
                    </a:lnTo>
                    <a:lnTo>
                      <a:pt x="1638" y="567"/>
                    </a:lnTo>
                    <a:lnTo>
                      <a:pt x="1638" y="568"/>
                    </a:lnTo>
                    <a:lnTo>
                      <a:pt x="1638" y="569"/>
                    </a:lnTo>
                    <a:lnTo>
                      <a:pt x="1639" y="572"/>
                    </a:lnTo>
                    <a:lnTo>
                      <a:pt x="1638" y="573"/>
                    </a:lnTo>
                    <a:lnTo>
                      <a:pt x="1638" y="573"/>
                    </a:lnTo>
                    <a:lnTo>
                      <a:pt x="1636" y="574"/>
                    </a:lnTo>
                    <a:lnTo>
                      <a:pt x="1634" y="573"/>
                    </a:lnTo>
                    <a:lnTo>
                      <a:pt x="1631" y="572"/>
                    </a:lnTo>
                    <a:lnTo>
                      <a:pt x="1629" y="569"/>
                    </a:lnTo>
                    <a:lnTo>
                      <a:pt x="1627" y="569"/>
                    </a:lnTo>
                    <a:lnTo>
                      <a:pt x="1625" y="571"/>
                    </a:lnTo>
                    <a:lnTo>
                      <a:pt x="1624" y="572"/>
                    </a:lnTo>
                    <a:lnTo>
                      <a:pt x="1623" y="574"/>
                    </a:lnTo>
                    <a:lnTo>
                      <a:pt x="1624" y="575"/>
                    </a:lnTo>
                    <a:lnTo>
                      <a:pt x="1626" y="577"/>
                    </a:lnTo>
                    <a:lnTo>
                      <a:pt x="1628" y="578"/>
                    </a:lnTo>
                    <a:lnTo>
                      <a:pt x="1631" y="580"/>
                    </a:lnTo>
                    <a:lnTo>
                      <a:pt x="1633" y="582"/>
                    </a:lnTo>
                    <a:lnTo>
                      <a:pt x="1633" y="583"/>
                    </a:lnTo>
                    <a:lnTo>
                      <a:pt x="1633" y="584"/>
                    </a:lnTo>
                    <a:lnTo>
                      <a:pt x="1631" y="585"/>
                    </a:lnTo>
                    <a:lnTo>
                      <a:pt x="1629" y="585"/>
                    </a:lnTo>
                    <a:lnTo>
                      <a:pt x="1628" y="586"/>
                    </a:lnTo>
                    <a:lnTo>
                      <a:pt x="1627" y="587"/>
                    </a:lnTo>
                    <a:lnTo>
                      <a:pt x="1626" y="588"/>
                    </a:lnTo>
                    <a:lnTo>
                      <a:pt x="1626" y="590"/>
                    </a:lnTo>
                    <a:lnTo>
                      <a:pt x="1626" y="591"/>
                    </a:lnTo>
                    <a:lnTo>
                      <a:pt x="1625" y="594"/>
                    </a:lnTo>
                    <a:lnTo>
                      <a:pt x="1623" y="594"/>
                    </a:lnTo>
                    <a:lnTo>
                      <a:pt x="1619" y="595"/>
                    </a:lnTo>
                    <a:lnTo>
                      <a:pt x="1618" y="596"/>
                    </a:lnTo>
                    <a:lnTo>
                      <a:pt x="1616" y="596"/>
                    </a:lnTo>
                    <a:lnTo>
                      <a:pt x="1614" y="597"/>
                    </a:lnTo>
                    <a:lnTo>
                      <a:pt x="1613" y="598"/>
                    </a:lnTo>
                    <a:lnTo>
                      <a:pt x="1612" y="599"/>
                    </a:lnTo>
                    <a:lnTo>
                      <a:pt x="1612" y="600"/>
                    </a:lnTo>
                    <a:lnTo>
                      <a:pt x="1612" y="603"/>
                    </a:lnTo>
                    <a:lnTo>
                      <a:pt x="1612" y="603"/>
                    </a:lnTo>
                    <a:lnTo>
                      <a:pt x="1610" y="604"/>
                    </a:lnTo>
                    <a:lnTo>
                      <a:pt x="1610" y="605"/>
                    </a:lnTo>
                    <a:lnTo>
                      <a:pt x="1610" y="606"/>
                    </a:lnTo>
                    <a:lnTo>
                      <a:pt x="1609" y="608"/>
                    </a:lnTo>
                    <a:lnTo>
                      <a:pt x="1609" y="609"/>
                    </a:lnTo>
                    <a:lnTo>
                      <a:pt x="1607" y="609"/>
                    </a:lnTo>
                    <a:lnTo>
                      <a:pt x="1604" y="609"/>
                    </a:lnTo>
                    <a:lnTo>
                      <a:pt x="1601" y="608"/>
                    </a:lnTo>
                    <a:lnTo>
                      <a:pt x="1597" y="608"/>
                    </a:lnTo>
                    <a:lnTo>
                      <a:pt x="1594" y="609"/>
                    </a:lnTo>
                    <a:lnTo>
                      <a:pt x="1592" y="610"/>
                    </a:lnTo>
                    <a:lnTo>
                      <a:pt x="1590" y="611"/>
                    </a:lnTo>
                    <a:lnTo>
                      <a:pt x="1585" y="611"/>
                    </a:lnTo>
                    <a:lnTo>
                      <a:pt x="1580" y="612"/>
                    </a:lnTo>
                    <a:lnTo>
                      <a:pt x="1575" y="617"/>
                    </a:lnTo>
                    <a:lnTo>
                      <a:pt x="1571" y="619"/>
                    </a:lnTo>
                    <a:lnTo>
                      <a:pt x="1564" y="620"/>
                    </a:lnTo>
                    <a:lnTo>
                      <a:pt x="1560" y="619"/>
                    </a:lnTo>
                    <a:lnTo>
                      <a:pt x="1558" y="619"/>
                    </a:lnTo>
                    <a:lnTo>
                      <a:pt x="1557" y="619"/>
                    </a:lnTo>
                    <a:lnTo>
                      <a:pt x="1555" y="620"/>
                    </a:lnTo>
                    <a:lnTo>
                      <a:pt x="1554" y="620"/>
                    </a:lnTo>
                    <a:lnTo>
                      <a:pt x="1553" y="621"/>
                    </a:lnTo>
                    <a:lnTo>
                      <a:pt x="1552" y="622"/>
                    </a:lnTo>
                    <a:lnTo>
                      <a:pt x="1551" y="623"/>
                    </a:lnTo>
                    <a:lnTo>
                      <a:pt x="1549" y="625"/>
                    </a:lnTo>
                    <a:lnTo>
                      <a:pt x="1547" y="625"/>
                    </a:lnTo>
                    <a:lnTo>
                      <a:pt x="1542" y="625"/>
                    </a:lnTo>
                    <a:lnTo>
                      <a:pt x="1539" y="623"/>
                    </a:lnTo>
                    <a:lnTo>
                      <a:pt x="1537" y="623"/>
                    </a:lnTo>
                    <a:lnTo>
                      <a:pt x="1533" y="625"/>
                    </a:lnTo>
                    <a:lnTo>
                      <a:pt x="1531" y="627"/>
                    </a:lnTo>
                    <a:lnTo>
                      <a:pt x="1530" y="627"/>
                    </a:lnTo>
                    <a:lnTo>
                      <a:pt x="1530" y="628"/>
                    </a:lnTo>
                    <a:lnTo>
                      <a:pt x="1531" y="629"/>
                    </a:lnTo>
                    <a:lnTo>
                      <a:pt x="1533" y="630"/>
                    </a:lnTo>
                    <a:lnTo>
                      <a:pt x="1536" y="631"/>
                    </a:lnTo>
                    <a:lnTo>
                      <a:pt x="1543" y="630"/>
                    </a:lnTo>
                    <a:lnTo>
                      <a:pt x="1552" y="629"/>
                    </a:lnTo>
                    <a:lnTo>
                      <a:pt x="1562" y="629"/>
                    </a:lnTo>
                    <a:lnTo>
                      <a:pt x="1565" y="629"/>
                    </a:lnTo>
                    <a:lnTo>
                      <a:pt x="1568" y="630"/>
                    </a:lnTo>
                    <a:lnTo>
                      <a:pt x="1570" y="632"/>
                    </a:lnTo>
                    <a:lnTo>
                      <a:pt x="1570" y="634"/>
                    </a:lnTo>
                    <a:lnTo>
                      <a:pt x="1570" y="637"/>
                    </a:lnTo>
                    <a:lnTo>
                      <a:pt x="1568" y="638"/>
                    </a:lnTo>
                    <a:lnTo>
                      <a:pt x="1565" y="639"/>
                    </a:lnTo>
                    <a:lnTo>
                      <a:pt x="1562" y="640"/>
                    </a:lnTo>
                    <a:lnTo>
                      <a:pt x="1558" y="639"/>
                    </a:lnTo>
                    <a:lnTo>
                      <a:pt x="1553" y="638"/>
                    </a:lnTo>
                    <a:lnTo>
                      <a:pt x="1549" y="636"/>
                    </a:lnTo>
                    <a:lnTo>
                      <a:pt x="1547" y="636"/>
                    </a:lnTo>
                    <a:lnTo>
                      <a:pt x="1546" y="637"/>
                    </a:lnTo>
                    <a:lnTo>
                      <a:pt x="1546" y="638"/>
                    </a:lnTo>
                    <a:lnTo>
                      <a:pt x="1546" y="639"/>
                    </a:lnTo>
                    <a:lnTo>
                      <a:pt x="1547" y="640"/>
                    </a:lnTo>
                    <a:lnTo>
                      <a:pt x="1549" y="641"/>
                    </a:lnTo>
                    <a:lnTo>
                      <a:pt x="1551" y="642"/>
                    </a:lnTo>
                    <a:lnTo>
                      <a:pt x="1553" y="642"/>
                    </a:lnTo>
                    <a:lnTo>
                      <a:pt x="1554" y="643"/>
                    </a:lnTo>
                    <a:lnTo>
                      <a:pt x="1555" y="644"/>
                    </a:lnTo>
                    <a:lnTo>
                      <a:pt x="1558" y="645"/>
                    </a:lnTo>
                    <a:lnTo>
                      <a:pt x="1560" y="647"/>
                    </a:lnTo>
                    <a:lnTo>
                      <a:pt x="1563" y="649"/>
                    </a:lnTo>
                    <a:lnTo>
                      <a:pt x="1565" y="651"/>
                    </a:lnTo>
                    <a:lnTo>
                      <a:pt x="1566" y="653"/>
                    </a:lnTo>
                    <a:lnTo>
                      <a:pt x="1565" y="655"/>
                    </a:lnTo>
                    <a:lnTo>
                      <a:pt x="1565" y="658"/>
                    </a:lnTo>
                    <a:lnTo>
                      <a:pt x="1565" y="660"/>
                    </a:lnTo>
                    <a:lnTo>
                      <a:pt x="1565" y="662"/>
                    </a:lnTo>
                    <a:lnTo>
                      <a:pt x="1564" y="665"/>
                    </a:lnTo>
                    <a:lnTo>
                      <a:pt x="1562" y="666"/>
                    </a:lnTo>
                    <a:lnTo>
                      <a:pt x="1560" y="667"/>
                    </a:lnTo>
                    <a:lnTo>
                      <a:pt x="1558" y="669"/>
                    </a:lnTo>
                    <a:lnTo>
                      <a:pt x="1558" y="670"/>
                    </a:lnTo>
                    <a:lnTo>
                      <a:pt x="1558" y="670"/>
                    </a:lnTo>
                    <a:lnTo>
                      <a:pt x="1560" y="671"/>
                    </a:lnTo>
                    <a:lnTo>
                      <a:pt x="1562" y="672"/>
                    </a:lnTo>
                    <a:lnTo>
                      <a:pt x="1564" y="673"/>
                    </a:lnTo>
                    <a:lnTo>
                      <a:pt x="1566" y="673"/>
                    </a:lnTo>
                    <a:lnTo>
                      <a:pt x="1568" y="675"/>
                    </a:lnTo>
                    <a:lnTo>
                      <a:pt x="1568" y="676"/>
                    </a:lnTo>
                    <a:lnTo>
                      <a:pt x="1566" y="677"/>
                    </a:lnTo>
                    <a:lnTo>
                      <a:pt x="1564" y="678"/>
                    </a:lnTo>
                    <a:lnTo>
                      <a:pt x="1562" y="680"/>
                    </a:lnTo>
                    <a:lnTo>
                      <a:pt x="1560" y="682"/>
                    </a:lnTo>
                    <a:lnTo>
                      <a:pt x="1560" y="683"/>
                    </a:lnTo>
                    <a:lnTo>
                      <a:pt x="1560" y="684"/>
                    </a:lnTo>
                    <a:lnTo>
                      <a:pt x="1560" y="686"/>
                    </a:lnTo>
                    <a:lnTo>
                      <a:pt x="1559" y="687"/>
                    </a:lnTo>
                    <a:lnTo>
                      <a:pt x="1558" y="688"/>
                    </a:lnTo>
                    <a:lnTo>
                      <a:pt x="1552" y="691"/>
                    </a:lnTo>
                    <a:lnTo>
                      <a:pt x="1547" y="693"/>
                    </a:lnTo>
                    <a:lnTo>
                      <a:pt x="1540" y="695"/>
                    </a:lnTo>
                    <a:lnTo>
                      <a:pt x="1536" y="695"/>
                    </a:lnTo>
                    <a:lnTo>
                      <a:pt x="1532" y="694"/>
                    </a:lnTo>
                    <a:lnTo>
                      <a:pt x="1528" y="692"/>
                    </a:lnTo>
                    <a:lnTo>
                      <a:pt x="1525" y="691"/>
                    </a:lnTo>
                    <a:lnTo>
                      <a:pt x="1520" y="691"/>
                    </a:lnTo>
                    <a:lnTo>
                      <a:pt x="1516" y="692"/>
                    </a:lnTo>
                    <a:lnTo>
                      <a:pt x="1511" y="693"/>
                    </a:lnTo>
                    <a:lnTo>
                      <a:pt x="1510" y="695"/>
                    </a:lnTo>
                    <a:lnTo>
                      <a:pt x="1510" y="697"/>
                    </a:lnTo>
                    <a:lnTo>
                      <a:pt x="1511" y="699"/>
                    </a:lnTo>
                    <a:lnTo>
                      <a:pt x="1514" y="702"/>
                    </a:lnTo>
                    <a:lnTo>
                      <a:pt x="1516" y="704"/>
                    </a:lnTo>
                    <a:lnTo>
                      <a:pt x="1519" y="709"/>
                    </a:lnTo>
                    <a:lnTo>
                      <a:pt x="1519" y="715"/>
                    </a:lnTo>
                    <a:lnTo>
                      <a:pt x="1516" y="721"/>
                    </a:lnTo>
                    <a:lnTo>
                      <a:pt x="1511" y="726"/>
                    </a:lnTo>
                    <a:lnTo>
                      <a:pt x="1505" y="728"/>
                    </a:lnTo>
                    <a:lnTo>
                      <a:pt x="1496" y="728"/>
                    </a:lnTo>
                    <a:lnTo>
                      <a:pt x="1487" y="728"/>
                    </a:lnTo>
                    <a:lnTo>
                      <a:pt x="1479" y="728"/>
                    </a:lnTo>
                    <a:lnTo>
                      <a:pt x="1473" y="727"/>
                    </a:lnTo>
                    <a:lnTo>
                      <a:pt x="1465" y="726"/>
                    </a:lnTo>
                    <a:lnTo>
                      <a:pt x="1463" y="726"/>
                    </a:lnTo>
                    <a:lnTo>
                      <a:pt x="1461" y="727"/>
                    </a:lnTo>
                    <a:lnTo>
                      <a:pt x="1460" y="729"/>
                    </a:lnTo>
                    <a:lnTo>
                      <a:pt x="1459" y="730"/>
                    </a:lnTo>
                    <a:lnTo>
                      <a:pt x="1460" y="732"/>
                    </a:lnTo>
                    <a:lnTo>
                      <a:pt x="1461" y="732"/>
                    </a:lnTo>
                    <a:lnTo>
                      <a:pt x="1462" y="732"/>
                    </a:lnTo>
                    <a:lnTo>
                      <a:pt x="1464" y="732"/>
                    </a:lnTo>
                    <a:lnTo>
                      <a:pt x="1466" y="731"/>
                    </a:lnTo>
                    <a:lnTo>
                      <a:pt x="1467" y="730"/>
                    </a:lnTo>
                    <a:lnTo>
                      <a:pt x="1479" y="729"/>
                    </a:lnTo>
                    <a:lnTo>
                      <a:pt x="1492" y="731"/>
                    </a:lnTo>
                    <a:lnTo>
                      <a:pt x="1500" y="735"/>
                    </a:lnTo>
                    <a:lnTo>
                      <a:pt x="1504" y="739"/>
                    </a:lnTo>
                    <a:lnTo>
                      <a:pt x="1504" y="748"/>
                    </a:lnTo>
                    <a:lnTo>
                      <a:pt x="1507" y="752"/>
                    </a:lnTo>
                    <a:lnTo>
                      <a:pt x="1508" y="752"/>
                    </a:lnTo>
                    <a:lnTo>
                      <a:pt x="1509" y="752"/>
                    </a:lnTo>
                    <a:lnTo>
                      <a:pt x="1510" y="750"/>
                    </a:lnTo>
                    <a:lnTo>
                      <a:pt x="1511" y="749"/>
                    </a:lnTo>
                    <a:lnTo>
                      <a:pt x="1511" y="747"/>
                    </a:lnTo>
                    <a:lnTo>
                      <a:pt x="1511" y="745"/>
                    </a:lnTo>
                    <a:lnTo>
                      <a:pt x="1511" y="743"/>
                    </a:lnTo>
                    <a:lnTo>
                      <a:pt x="1514" y="742"/>
                    </a:lnTo>
                    <a:lnTo>
                      <a:pt x="1516" y="741"/>
                    </a:lnTo>
                    <a:lnTo>
                      <a:pt x="1519" y="741"/>
                    </a:lnTo>
                    <a:lnTo>
                      <a:pt x="1522" y="741"/>
                    </a:lnTo>
                    <a:lnTo>
                      <a:pt x="1528" y="746"/>
                    </a:lnTo>
                    <a:lnTo>
                      <a:pt x="1530" y="751"/>
                    </a:lnTo>
                    <a:lnTo>
                      <a:pt x="1530" y="757"/>
                    </a:lnTo>
                    <a:lnTo>
                      <a:pt x="1527" y="761"/>
                    </a:lnTo>
                    <a:lnTo>
                      <a:pt x="1520" y="764"/>
                    </a:lnTo>
                    <a:lnTo>
                      <a:pt x="1511" y="767"/>
                    </a:lnTo>
                    <a:lnTo>
                      <a:pt x="1503" y="770"/>
                    </a:lnTo>
                    <a:lnTo>
                      <a:pt x="1496" y="774"/>
                    </a:lnTo>
                    <a:lnTo>
                      <a:pt x="1493" y="778"/>
                    </a:lnTo>
                    <a:lnTo>
                      <a:pt x="1486" y="782"/>
                    </a:lnTo>
                    <a:lnTo>
                      <a:pt x="1479" y="785"/>
                    </a:lnTo>
                    <a:lnTo>
                      <a:pt x="1474" y="785"/>
                    </a:lnTo>
                    <a:lnTo>
                      <a:pt x="1473" y="784"/>
                    </a:lnTo>
                    <a:lnTo>
                      <a:pt x="1472" y="783"/>
                    </a:lnTo>
                    <a:lnTo>
                      <a:pt x="1473" y="781"/>
                    </a:lnTo>
                    <a:lnTo>
                      <a:pt x="1473" y="780"/>
                    </a:lnTo>
                    <a:lnTo>
                      <a:pt x="1474" y="778"/>
                    </a:lnTo>
                    <a:lnTo>
                      <a:pt x="1475" y="776"/>
                    </a:lnTo>
                    <a:lnTo>
                      <a:pt x="1475" y="774"/>
                    </a:lnTo>
                    <a:lnTo>
                      <a:pt x="1474" y="773"/>
                    </a:lnTo>
                    <a:lnTo>
                      <a:pt x="1472" y="772"/>
                    </a:lnTo>
                    <a:lnTo>
                      <a:pt x="1467" y="772"/>
                    </a:lnTo>
                    <a:lnTo>
                      <a:pt x="1463" y="771"/>
                    </a:lnTo>
                    <a:lnTo>
                      <a:pt x="1460" y="770"/>
                    </a:lnTo>
                    <a:lnTo>
                      <a:pt x="1456" y="768"/>
                    </a:lnTo>
                    <a:lnTo>
                      <a:pt x="1455" y="767"/>
                    </a:lnTo>
                    <a:lnTo>
                      <a:pt x="1454" y="765"/>
                    </a:lnTo>
                    <a:lnTo>
                      <a:pt x="1452" y="765"/>
                    </a:lnTo>
                    <a:lnTo>
                      <a:pt x="1450" y="765"/>
                    </a:lnTo>
                    <a:lnTo>
                      <a:pt x="1448" y="768"/>
                    </a:lnTo>
                    <a:lnTo>
                      <a:pt x="1446" y="769"/>
                    </a:lnTo>
                    <a:lnTo>
                      <a:pt x="1444" y="769"/>
                    </a:lnTo>
                    <a:lnTo>
                      <a:pt x="1442" y="769"/>
                    </a:lnTo>
                    <a:lnTo>
                      <a:pt x="1440" y="768"/>
                    </a:lnTo>
                    <a:lnTo>
                      <a:pt x="1437" y="767"/>
                    </a:lnTo>
                    <a:lnTo>
                      <a:pt x="1434" y="767"/>
                    </a:lnTo>
                    <a:lnTo>
                      <a:pt x="1433" y="767"/>
                    </a:lnTo>
                    <a:lnTo>
                      <a:pt x="1431" y="768"/>
                    </a:lnTo>
                    <a:lnTo>
                      <a:pt x="1430" y="770"/>
                    </a:lnTo>
                    <a:lnTo>
                      <a:pt x="1430" y="772"/>
                    </a:lnTo>
                    <a:lnTo>
                      <a:pt x="1429" y="773"/>
                    </a:lnTo>
                    <a:lnTo>
                      <a:pt x="1427" y="774"/>
                    </a:lnTo>
                    <a:lnTo>
                      <a:pt x="1426" y="774"/>
                    </a:lnTo>
                    <a:lnTo>
                      <a:pt x="1423" y="773"/>
                    </a:lnTo>
                    <a:lnTo>
                      <a:pt x="1421" y="771"/>
                    </a:lnTo>
                    <a:lnTo>
                      <a:pt x="1420" y="770"/>
                    </a:lnTo>
                    <a:lnTo>
                      <a:pt x="1419" y="768"/>
                    </a:lnTo>
                    <a:lnTo>
                      <a:pt x="1419" y="765"/>
                    </a:lnTo>
                    <a:lnTo>
                      <a:pt x="1418" y="764"/>
                    </a:lnTo>
                    <a:lnTo>
                      <a:pt x="1417" y="763"/>
                    </a:lnTo>
                    <a:lnTo>
                      <a:pt x="1415" y="763"/>
                    </a:lnTo>
                    <a:lnTo>
                      <a:pt x="1413" y="764"/>
                    </a:lnTo>
                    <a:lnTo>
                      <a:pt x="1412" y="765"/>
                    </a:lnTo>
                    <a:lnTo>
                      <a:pt x="1410" y="765"/>
                    </a:lnTo>
                    <a:lnTo>
                      <a:pt x="1409" y="769"/>
                    </a:lnTo>
                    <a:lnTo>
                      <a:pt x="1408" y="771"/>
                    </a:lnTo>
                    <a:lnTo>
                      <a:pt x="1408" y="773"/>
                    </a:lnTo>
                    <a:lnTo>
                      <a:pt x="1406" y="776"/>
                    </a:lnTo>
                    <a:lnTo>
                      <a:pt x="1404" y="780"/>
                    </a:lnTo>
                    <a:lnTo>
                      <a:pt x="1398" y="781"/>
                    </a:lnTo>
                    <a:lnTo>
                      <a:pt x="1393" y="780"/>
                    </a:lnTo>
                    <a:lnTo>
                      <a:pt x="1387" y="779"/>
                    </a:lnTo>
                    <a:lnTo>
                      <a:pt x="1374" y="772"/>
                    </a:lnTo>
                    <a:lnTo>
                      <a:pt x="1369" y="772"/>
                    </a:lnTo>
                    <a:lnTo>
                      <a:pt x="1367" y="773"/>
                    </a:lnTo>
                    <a:lnTo>
                      <a:pt x="1365" y="775"/>
                    </a:lnTo>
                    <a:lnTo>
                      <a:pt x="1362" y="776"/>
                    </a:lnTo>
                    <a:lnTo>
                      <a:pt x="1358" y="776"/>
                    </a:lnTo>
                    <a:lnTo>
                      <a:pt x="1353" y="776"/>
                    </a:lnTo>
                    <a:lnTo>
                      <a:pt x="1348" y="774"/>
                    </a:lnTo>
                    <a:lnTo>
                      <a:pt x="1345" y="773"/>
                    </a:lnTo>
                    <a:lnTo>
                      <a:pt x="1342" y="772"/>
                    </a:lnTo>
                    <a:lnTo>
                      <a:pt x="1336" y="774"/>
                    </a:lnTo>
                    <a:lnTo>
                      <a:pt x="1334" y="775"/>
                    </a:lnTo>
                    <a:lnTo>
                      <a:pt x="1332" y="778"/>
                    </a:lnTo>
                    <a:lnTo>
                      <a:pt x="1331" y="781"/>
                    </a:lnTo>
                    <a:lnTo>
                      <a:pt x="1329" y="783"/>
                    </a:lnTo>
                    <a:lnTo>
                      <a:pt x="1328" y="786"/>
                    </a:lnTo>
                    <a:lnTo>
                      <a:pt x="1325" y="789"/>
                    </a:lnTo>
                    <a:lnTo>
                      <a:pt x="1323" y="790"/>
                    </a:lnTo>
                    <a:lnTo>
                      <a:pt x="1319" y="790"/>
                    </a:lnTo>
                    <a:lnTo>
                      <a:pt x="1314" y="789"/>
                    </a:lnTo>
                    <a:lnTo>
                      <a:pt x="1309" y="789"/>
                    </a:lnTo>
                    <a:lnTo>
                      <a:pt x="1303" y="792"/>
                    </a:lnTo>
                    <a:lnTo>
                      <a:pt x="1301" y="794"/>
                    </a:lnTo>
                    <a:lnTo>
                      <a:pt x="1300" y="796"/>
                    </a:lnTo>
                    <a:lnTo>
                      <a:pt x="1300" y="798"/>
                    </a:lnTo>
                    <a:lnTo>
                      <a:pt x="1301" y="800"/>
                    </a:lnTo>
                    <a:lnTo>
                      <a:pt x="1303" y="801"/>
                    </a:lnTo>
                    <a:lnTo>
                      <a:pt x="1307" y="802"/>
                    </a:lnTo>
                    <a:lnTo>
                      <a:pt x="1310" y="803"/>
                    </a:lnTo>
                    <a:lnTo>
                      <a:pt x="1312" y="804"/>
                    </a:lnTo>
                    <a:lnTo>
                      <a:pt x="1314" y="805"/>
                    </a:lnTo>
                    <a:lnTo>
                      <a:pt x="1318" y="806"/>
                    </a:lnTo>
                    <a:lnTo>
                      <a:pt x="1320" y="807"/>
                    </a:lnTo>
                    <a:lnTo>
                      <a:pt x="1323" y="808"/>
                    </a:lnTo>
                    <a:lnTo>
                      <a:pt x="1325" y="809"/>
                    </a:lnTo>
                    <a:lnTo>
                      <a:pt x="1326" y="811"/>
                    </a:lnTo>
                    <a:lnTo>
                      <a:pt x="1326" y="813"/>
                    </a:lnTo>
                    <a:lnTo>
                      <a:pt x="1325" y="814"/>
                    </a:lnTo>
                    <a:lnTo>
                      <a:pt x="1323" y="816"/>
                    </a:lnTo>
                    <a:lnTo>
                      <a:pt x="1323" y="817"/>
                    </a:lnTo>
                    <a:lnTo>
                      <a:pt x="1323" y="818"/>
                    </a:lnTo>
                    <a:lnTo>
                      <a:pt x="1324" y="818"/>
                    </a:lnTo>
                    <a:lnTo>
                      <a:pt x="1326" y="818"/>
                    </a:lnTo>
                    <a:lnTo>
                      <a:pt x="1330" y="818"/>
                    </a:lnTo>
                    <a:lnTo>
                      <a:pt x="1333" y="818"/>
                    </a:lnTo>
                    <a:lnTo>
                      <a:pt x="1335" y="819"/>
                    </a:lnTo>
                    <a:lnTo>
                      <a:pt x="1337" y="820"/>
                    </a:lnTo>
                    <a:lnTo>
                      <a:pt x="1341" y="820"/>
                    </a:lnTo>
                    <a:lnTo>
                      <a:pt x="1344" y="819"/>
                    </a:lnTo>
                    <a:lnTo>
                      <a:pt x="1347" y="818"/>
                    </a:lnTo>
                    <a:lnTo>
                      <a:pt x="1351" y="817"/>
                    </a:lnTo>
                    <a:lnTo>
                      <a:pt x="1354" y="816"/>
                    </a:lnTo>
                    <a:lnTo>
                      <a:pt x="1356" y="816"/>
                    </a:lnTo>
                    <a:lnTo>
                      <a:pt x="1359" y="816"/>
                    </a:lnTo>
                    <a:lnTo>
                      <a:pt x="1363" y="817"/>
                    </a:lnTo>
                    <a:lnTo>
                      <a:pt x="1365" y="818"/>
                    </a:lnTo>
                    <a:lnTo>
                      <a:pt x="1367" y="818"/>
                    </a:lnTo>
                    <a:lnTo>
                      <a:pt x="1368" y="820"/>
                    </a:lnTo>
                    <a:lnTo>
                      <a:pt x="1370" y="822"/>
                    </a:lnTo>
                    <a:lnTo>
                      <a:pt x="1372" y="823"/>
                    </a:lnTo>
                    <a:lnTo>
                      <a:pt x="1373" y="824"/>
                    </a:lnTo>
                    <a:lnTo>
                      <a:pt x="1375" y="824"/>
                    </a:lnTo>
                    <a:lnTo>
                      <a:pt x="1378" y="823"/>
                    </a:lnTo>
                    <a:lnTo>
                      <a:pt x="1383" y="823"/>
                    </a:lnTo>
                    <a:lnTo>
                      <a:pt x="1386" y="822"/>
                    </a:lnTo>
                    <a:lnTo>
                      <a:pt x="1390" y="820"/>
                    </a:lnTo>
                    <a:lnTo>
                      <a:pt x="1394" y="818"/>
                    </a:lnTo>
                    <a:lnTo>
                      <a:pt x="1402" y="813"/>
                    </a:lnTo>
                    <a:lnTo>
                      <a:pt x="1412" y="806"/>
                    </a:lnTo>
                    <a:lnTo>
                      <a:pt x="1423" y="801"/>
                    </a:lnTo>
                    <a:lnTo>
                      <a:pt x="1434" y="801"/>
                    </a:lnTo>
                    <a:lnTo>
                      <a:pt x="1445" y="803"/>
                    </a:lnTo>
                    <a:lnTo>
                      <a:pt x="1456" y="805"/>
                    </a:lnTo>
                    <a:lnTo>
                      <a:pt x="1467" y="805"/>
                    </a:lnTo>
                    <a:lnTo>
                      <a:pt x="1478" y="806"/>
                    </a:lnTo>
                    <a:lnTo>
                      <a:pt x="1485" y="809"/>
                    </a:lnTo>
                    <a:lnTo>
                      <a:pt x="1487" y="813"/>
                    </a:lnTo>
                    <a:lnTo>
                      <a:pt x="1489" y="816"/>
                    </a:lnTo>
                    <a:lnTo>
                      <a:pt x="1492" y="819"/>
                    </a:lnTo>
                    <a:lnTo>
                      <a:pt x="1492" y="823"/>
                    </a:lnTo>
                    <a:lnTo>
                      <a:pt x="1492" y="825"/>
                    </a:lnTo>
                    <a:lnTo>
                      <a:pt x="1489" y="828"/>
                    </a:lnTo>
                    <a:lnTo>
                      <a:pt x="1487" y="830"/>
                    </a:lnTo>
                    <a:lnTo>
                      <a:pt x="1486" y="833"/>
                    </a:lnTo>
                    <a:lnTo>
                      <a:pt x="1485" y="834"/>
                    </a:lnTo>
                    <a:lnTo>
                      <a:pt x="1485" y="836"/>
                    </a:lnTo>
                    <a:lnTo>
                      <a:pt x="1487" y="836"/>
                    </a:lnTo>
                    <a:lnTo>
                      <a:pt x="1488" y="837"/>
                    </a:lnTo>
                    <a:lnTo>
                      <a:pt x="1490" y="837"/>
                    </a:lnTo>
                    <a:lnTo>
                      <a:pt x="1493" y="837"/>
                    </a:lnTo>
                    <a:lnTo>
                      <a:pt x="1494" y="838"/>
                    </a:lnTo>
                    <a:lnTo>
                      <a:pt x="1495" y="840"/>
                    </a:lnTo>
                    <a:lnTo>
                      <a:pt x="1497" y="841"/>
                    </a:lnTo>
                    <a:lnTo>
                      <a:pt x="1498" y="844"/>
                    </a:lnTo>
                    <a:lnTo>
                      <a:pt x="1499" y="846"/>
                    </a:lnTo>
                    <a:lnTo>
                      <a:pt x="1500" y="847"/>
                    </a:lnTo>
                    <a:lnTo>
                      <a:pt x="1496" y="852"/>
                    </a:lnTo>
                    <a:lnTo>
                      <a:pt x="1489" y="856"/>
                    </a:lnTo>
                    <a:lnTo>
                      <a:pt x="1482" y="859"/>
                    </a:lnTo>
                    <a:lnTo>
                      <a:pt x="1474" y="860"/>
                    </a:lnTo>
                    <a:lnTo>
                      <a:pt x="1465" y="862"/>
                    </a:lnTo>
                    <a:lnTo>
                      <a:pt x="1455" y="865"/>
                    </a:lnTo>
                    <a:lnTo>
                      <a:pt x="1446" y="865"/>
                    </a:lnTo>
                    <a:lnTo>
                      <a:pt x="1439" y="860"/>
                    </a:lnTo>
                    <a:lnTo>
                      <a:pt x="1438" y="859"/>
                    </a:lnTo>
                    <a:lnTo>
                      <a:pt x="1437" y="857"/>
                    </a:lnTo>
                    <a:lnTo>
                      <a:pt x="1435" y="856"/>
                    </a:lnTo>
                    <a:lnTo>
                      <a:pt x="1434" y="855"/>
                    </a:lnTo>
                    <a:lnTo>
                      <a:pt x="1433" y="855"/>
                    </a:lnTo>
                    <a:lnTo>
                      <a:pt x="1433" y="855"/>
                    </a:lnTo>
                    <a:lnTo>
                      <a:pt x="1432" y="857"/>
                    </a:lnTo>
                    <a:lnTo>
                      <a:pt x="1432" y="860"/>
                    </a:lnTo>
                    <a:lnTo>
                      <a:pt x="1430" y="863"/>
                    </a:lnTo>
                    <a:lnTo>
                      <a:pt x="1426" y="866"/>
                    </a:lnTo>
                    <a:lnTo>
                      <a:pt x="1419" y="867"/>
                    </a:lnTo>
                    <a:lnTo>
                      <a:pt x="1412" y="867"/>
                    </a:lnTo>
                    <a:lnTo>
                      <a:pt x="1398" y="868"/>
                    </a:lnTo>
                    <a:lnTo>
                      <a:pt x="1383" y="869"/>
                    </a:lnTo>
                    <a:lnTo>
                      <a:pt x="1361" y="870"/>
                    </a:lnTo>
                    <a:lnTo>
                      <a:pt x="1341" y="869"/>
                    </a:lnTo>
                    <a:lnTo>
                      <a:pt x="1337" y="868"/>
                    </a:lnTo>
                    <a:lnTo>
                      <a:pt x="1335" y="868"/>
                    </a:lnTo>
                    <a:lnTo>
                      <a:pt x="1335" y="867"/>
                    </a:lnTo>
                    <a:lnTo>
                      <a:pt x="1335" y="866"/>
                    </a:lnTo>
                    <a:lnTo>
                      <a:pt x="1335" y="865"/>
                    </a:lnTo>
                    <a:lnTo>
                      <a:pt x="1335" y="863"/>
                    </a:lnTo>
                    <a:lnTo>
                      <a:pt x="1335" y="862"/>
                    </a:lnTo>
                    <a:lnTo>
                      <a:pt x="1334" y="860"/>
                    </a:lnTo>
                    <a:lnTo>
                      <a:pt x="1332" y="858"/>
                    </a:lnTo>
                    <a:lnTo>
                      <a:pt x="1329" y="858"/>
                    </a:lnTo>
                    <a:lnTo>
                      <a:pt x="1326" y="858"/>
                    </a:lnTo>
                    <a:lnTo>
                      <a:pt x="1323" y="858"/>
                    </a:lnTo>
                    <a:lnTo>
                      <a:pt x="1321" y="858"/>
                    </a:lnTo>
                    <a:lnTo>
                      <a:pt x="1317" y="860"/>
                    </a:lnTo>
                    <a:lnTo>
                      <a:pt x="1313" y="861"/>
                    </a:lnTo>
                    <a:lnTo>
                      <a:pt x="1311" y="863"/>
                    </a:lnTo>
                    <a:lnTo>
                      <a:pt x="1308" y="867"/>
                    </a:lnTo>
                    <a:lnTo>
                      <a:pt x="1306" y="869"/>
                    </a:lnTo>
                    <a:lnTo>
                      <a:pt x="1304" y="869"/>
                    </a:lnTo>
                    <a:lnTo>
                      <a:pt x="1302" y="869"/>
                    </a:lnTo>
                    <a:lnTo>
                      <a:pt x="1301" y="868"/>
                    </a:lnTo>
                    <a:lnTo>
                      <a:pt x="1299" y="867"/>
                    </a:lnTo>
                    <a:lnTo>
                      <a:pt x="1297" y="867"/>
                    </a:lnTo>
                    <a:lnTo>
                      <a:pt x="1295" y="867"/>
                    </a:lnTo>
                    <a:lnTo>
                      <a:pt x="1292" y="867"/>
                    </a:lnTo>
                    <a:lnTo>
                      <a:pt x="1290" y="867"/>
                    </a:lnTo>
                    <a:lnTo>
                      <a:pt x="1289" y="867"/>
                    </a:lnTo>
                    <a:lnTo>
                      <a:pt x="1287" y="867"/>
                    </a:lnTo>
                    <a:lnTo>
                      <a:pt x="1286" y="865"/>
                    </a:lnTo>
                    <a:lnTo>
                      <a:pt x="1284" y="861"/>
                    </a:lnTo>
                    <a:lnTo>
                      <a:pt x="1281" y="858"/>
                    </a:lnTo>
                    <a:lnTo>
                      <a:pt x="1279" y="854"/>
                    </a:lnTo>
                    <a:lnTo>
                      <a:pt x="1277" y="842"/>
                    </a:lnTo>
                    <a:lnTo>
                      <a:pt x="1277" y="829"/>
                    </a:lnTo>
                    <a:lnTo>
                      <a:pt x="1279" y="822"/>
                    </a:lnTo>
                    <a:lnTo>
                      <a:pt x="1281" y="815"/>
                    </a:lnTo>
                    <a:lnTo>
                      <a:pt x="1281" y="808"/>
                    </a:lnTo>
                    <a:lnTo>
                      <a:pt x="1277" y="803"/>
                    </a:lnTo>
                    <a:lnTo>
                      <a:pt x="1274" y="800"/>
                    </a:lnTo>
                    <a:lnTo>
                      <a:pt x="1271" y="797"/>
                    </a:lnTo>
                    <a:lnTo>
                      <a:pt x="1270" y="794"/>
                    </a:lnTo>
                    <a:lnTo>
                      <a:pt x="1269" y="791"/>
                    </a:lnTo>
                    <a:lnTo>
                      <a:pt x="1268" y="787"/>
                    </a:lnTo>
                    <a:lnTo>
                      <a:pt x="1264" y="785"/>
                    </a:lnTo>
                    <a:lnTo>
                      <a:pt x="1258" y="786"/>
                    </a:lnTo>
                    <a:lnTo>
                      <a:pt x="1252" y="790"/>
                    </a:lnTo>
                    <a:lnTo>
                      <a:pt x="1246" y="792"/>
                    </a:lnTo>
                    <a:lnTo>
                      <a:pt x="1243" y="793"/>
                    </a:lnTo>
                    <a:lnTo>
                      <a:pt x="1239" y="793"/>
                    </a:lnTo>
                    <a:lnTo>
                      <a:pt x="1237" y="792"/>
                    </a:lnTo>
                    <a:lnTo>
                      <a:pt x="1235" y="791"/>
                    </a:lnTo>
                    <a:lnTo>
                      <a:pt x="1233" y="790"/>
                    </a:lnTo>
                    <a:lnTo>
                      <a:pt x="1231" y="787"/>
                    </a:lnTo>
                    <a:lnTo>
                      <a:pt x="1228" y="786"/>
                    </a:lnTo>
                    <a:lnTo>
                      <a:pt x="1227" y="785"/>
                    </a:lnTo>
                    <a:lnTo>
                      <a:pt x="1225" y="784"/>
                    </a:lnTo>
                    <a:lnTo>
                      <a:pt x="1223" y="783"/>
                    </a:lnTo>
                    <a:lnTo>
                      <a:pt x="1220" y="782"/>
                    </a:lnTo>
                    <a:lnTo>
                      <a:pt x="1217" y="780"/>
                    </a:lnTo>
                    <a:lnTo>
                      <a:pt x="1216" y="778"/>
                    </a:lnTo>
                    <a:lnTo>
                      <a:pt x="1215" y="774"/>
                    </a:lnTo>
                    <a:lnTo>
                      <a:pt x="1214" y="772"/>
                    </a:lnTo>
                    <a:lnTo>
                      <a:pt x="1214" y="770"/>
                    </a:lnTo>
                    <a:lnTo>
                      <a:pt x="1213" y="769"/>
                    </a:lnTo>
                    <a:lnTo>
                      <a:pt x="1212" y="768"/>
                    </a:lnTo>
                    <a:lnTo>
                      <a:pt x="1211" y="767"/>
                    </a:lnTo>
                    <a:lnTo>
                      <a:pt x="1209" y="765"/>
                    </a:lnTo>
                    <a:lnTo>
                      <a:pt x="1208" y="763"/>
                    </a:lnTo>
                    <a:lnTo>
                      <a:pt x="1206" y="760"/>
                    </a:lnTo>
                    <a:lnTo>
                      <a:pt x="1208" y="758"/>
                    </a:lnTo>
                    <a:lnTo>
                      <a:pt x="1210" y="756"/>
                    </a:lnTo>
                    <a:lnTo>
                      <a:pt x="1213" y="753"/>
                    </a:lnTo>
                    <a:lnTo>
                      <a:pt x="1217" y="752"/>
                    </a:lnTo>
                    <a:lnTo>
                      <a:pt x="1223" y="752"/>
                    </a:lnTo>
                    <a:lnTo>
                      <a:pt x="1225" y="752"/>
                    </a:lnTo>
                    <a:lnTo>
                      <a:pt x="1228" y="752"/>
                    </a:lnTo>
                    <a:lnTo>
                      <a:pt x="1231" y="753"/>
                    </a:lnTo>
                    <a:lnTo>
                      <a:pt x="1233" y="753"/>
                    </a:lnTo>
                    <a:lnTo>
                      <a:pt x="1236" y="753"/>
                    </a:lnTo>
                    <a:lnTo>
                      <a:pt x="1239" y="752"/>
                    </a:lnTo>
                    <a:lnTo>
                      <a:pt x="1243" y="752"/>
                    </a:lnTo>
                    <a:lnTo>
                      <a:pt x="1245" y="751"/>
                    </a:lnTo>
                    <a:lnTo>
                      <a:pt x="1247" y="751"/>
                    </a:lnTo>
                    <a:lnTo>
                      <a:pt x="1249" y="751"/>
                    </a:lnTo>
                    <a:lnTo>
                      <a:pt x="1251" y="752"/>
                    </a:lnTo>
                    <a:lnTo>
                      <a:pt x="1255" y="754"/>
                    </a:lnTo>
                    <a:lnTo>
                      <a:pt x="1258" y="757"/>
                    </a:lnTo>
                    <a:lnTo>
                      <a:pt x="1259" y="759"/>
                    </a:lnTo>
                    <a:lnTo>
                      <a:pt x="1259" y="762"/>
                    </a:lnTo>
                    <a:lnTo>
                      <a:pt x="1259" y="764"/>
                    </a:lnTo>
                    <a:lnTo>
                      <a:pt x="1259" y="768"/>
                    </a:lnTo>
                    <a:lnTo>
                      <a:pt x="1259" y="769"/>
                    </a:lnTo>
                    <a:lnTo>
                      <a:pt x="1260" y="770"/>
                    </a:lnTo>
                    <a:lnTo>
                      <a:pt x="1262" y="770"/>
                    </a:lnTo>
                    <a:lnTo>
                      <a:pt x="1264" y="770"/>
                    </a:lnTo>
                    <a:lnTo>
                      <a:pt x="1265" y="770"/>
                    </a:lnTo>
                    <a:lnTo>
                      <a:pt x="1267" y="770"/>
                    </a:lnTo>
                    <a:lnTo>
                      <a:pt x="1268" y="770"/>
                    </a:lnTo>
                    <a:lnTo>
                      <a:pt x="1274" y="769"/>
                    </a:lnTo>
                    <a:lnTo>
                      <a:pt x="1278" y="768"/>
                    </a:lnTo>
                    <a:lnTo>
                      <a:pt x="1282" y="767"/>
                    </a:lnTo>
                    <a:lnTo>
                      <a:pt x="1286" y="765"/>
                    </a:lnTo>
                    <a:lnTo>
                      <a:pt x="1290" y="764"/>
                    </a:lnTo>
                    <a:lnTo>
                      <a:pt x="1293" y="762"/>
                    </a:lnTo>
                    <a:lnTo>
                      <a:pt x="1297" y="761"/>
                    </a:lnTo>
                    <a:lnTo>
                      <a:pt x="1300" y="760"/>
                    </a:lnTo>
                    <a:lnTo>
                      <a:pt x="1303" y="761"/>
                    </a:lnTo>
                    <a:lnTo>
                      <a:pt x="1307" y="761"/>
                    </a:lnTo>
                    <a:lnTo>
                      <a:pt x="1309" y="762"/>
                    </a:lnTo>
                    <a:lnTo>
                      <a:pt x="1311" y="764"/>
                    </a:lnTo>
                    <a:lnTo>
                      <a:pt x="1312" y="765"/>
                    </a:lnTo>
                    <a:lnTo>
                      <a:pt x="1315" y="767"/>
                    </a:lnTo>
                    <a:lnTo>
                      <a:pt x="1319" y="767"/>
                    </a:lnTo>
                    <a:lnTo>
                      <a:pt x="1321" y="765"/>
                    </a:lnTo>
                    <a:lnTo>
                      <a:pt x="1323" y="764"/>
                    </a:lnTo>
                    <a:lnTo>
                      <a:pt x="1325" y="763"/>
                    </a:lnTo>
                    <a:lnTo>
                      <a:pt x="1326" y="761"/>
                    </a:lnTo>
                    <a:lnTo>
                      <a:pt x="1326" y="759"/>
                    </a:lnTo>
                    <a:lnTo>
                      <a:pt x="1326" y="757"/>
                    </a:lnTo>
                    <a:lnTo>
                      <a:pt x="1328" y="754"/>
                    </a:lnTo>
                    <a:lnTo>
                      <a:pt x="1330" y="752"/>
                    </a:lnTo>
                    <a:lnTo>
                      <a:pt x="1332" y="751"/>
                    </a:lnTo>
                    <a:lnTo>
                      <a:pt x="1334" y="750"/>
                    </a:lnTo>
                    <a:lnTo>
                      <a:pt x="1336" y="749"/>
                    </a:lnTo>
                    <a:lnTo>
                      <a:pt x="1339" y="748"/>
                    </a:lnTo>
                    <a:lnTo>
                      <a:pt x="1341" y="746"/>
                    </a:lnTo>
                    <a:lnTo>
                      <a:pt x="1342" y="743"/>
                    </a:lnTo>
                    <a:lnTo>
                      <a:pt x="1343" y="742"/>
                    </a:lnTo>
                    <a:lnTo>
                      <a:pt x="1344" y="740"/>
                    </a:lnTo>
                    <a:lnTo>
                      <a:pt x="1347" y="739"/>
                    </a:lnTo>
                    <a:lnTo>
                      <a:pt x="1351" y="737"/>
                    </a:lnTo>
                    <a:lnTo>
                      <a:pt x="1354" y="736"/>
                    </a:lnTo>
                    <a:lnTo>
                      <a:pt x="1355" y="734"/>
                    </a:lnTo>
                    <a:lnTo>
                      <a:pt x="1356" y="731"/>
                    </a:lnTo>
                    <a:lnTo>
                      <a:pt x="1357" y="729"/>
                    </a:lnTo>
                    <a:lnTo>
                      <a:pt x="1356" y="726"/>
                    </a:lnTo>
                    <a:lnTo>
                      <a:pt x="1354" y="724"/>
                    </a:lnTo>
                    <a:lnTo>
                      <a:pt x="1352" y="721"/>
                    </a:lnTo>
                    <a:lnTo>
                      <a:pt x="1350" y="720"/>
                    </a:lnTo>
                    <a:lnTo>
                      <a:pt x="1348" y="718"/>
                    </a:lnTo>
                    <a:lnTo>
                      <a:pt x="1346" y="717"/>
                    </a:lnTo>
                    <a:lnTo>
                      <a:pt x="1346" y="715"/>
                    </a:lnTo>
                    <a:lnTo>
                      <a:pt x="1346" y="713"/>
                    </a:lnTo>
                    <a:lnTo>
                      <a:pt x="1347" y="710"/>
                    </a:lnTo>
                    <a:lnTo>
                      <a:pt x="1350" y="708"/>
                    </a:lnTo>
                    <a:lnTo>
                      <a:pt x="1358" y="704"/>
                    </a:lnTo>
                    <a:lnTo>
                      <a:pt x="1369" y="702"/>
                    </a:lnTo>
                    <a:lnTo>
                      <a:pt x="1380" y="704"/>
                    </a:lnTo>
                    <a:lnTo>
                      <a:pt x="1384" y="707"/>
                    </a:lnTo>
                    <a:lnTo>
                      <a:pt x="1386" y="709"/>
                    </a:lnTo>
                    <a:lnTo>
                      <a:pt x="1388" y="713"/>
                    </a:lnTo>
                    <a:lnTo>
                      <a:pt x="1390" y="716"/>
                    </a:lnTo>
                    <a:lnTo>
                      <a:pt x="1394" y="719"/>
                    </a:lnTo>
                    <a:lnTo>
                      <a:pt x="1398" y="726"/>
                    </a:lnTo>
                    <a:lnTo>
                      <a:pt x="1407" y="729"/>
                    </a:lnTo>
                    <a:lnTo>
                      <a:pt x="1417" y="728"/>
                    </a:lnTo>
                    <a:lnTo>
                      <a:pt x="1418" y="727"/>
                    </a:lnTo>
                    <a:lnTo>
                      <a:pt x="1420" y="726"/>
                    </a:lnTo>
                    <a:lnTo>
                      <a:pt x="1422" y="725"/>
                    </a:lnTo>
                    <a:lnTo>
                      <a:pt x="1423" y="724"/>
                    </a:lnTo>
                    <a:lnTo>
                      <a:pt x="1426" y="721"/>
                    </a:lnTo>
                    <a:lnTo>
                      <a:pt x="1427" y="720"/>
                    </a:lnTo>
                    <a:lnTo>
                      <a:pt x="1427" y="719"/>
                    </a:lnTo>
                    <a:lnTo>
                      <a:pt x="1426" y="718"/>
                    </a:lnTo>
                    <a:lnTo>
                      <a:pt x="1423" y="717"/>
                    </a:lnTo>
                    <a:lnTo>
                      <a:pt x="1419" y="717"/>
                    </a:lnTo>
                    <a:lnTo>
                      <a:pt x="1416" y="717"/>
                    </a:lnTo>
                    <a:lnTo>
                      <a:pt x="1412" y="716"/>
                    </a:lnTo>
                    <a:lnTo>
                      <a:pt x="1410" y="715"/>
                    </a:lnTo>
                    <a:lnTo>
                      <a:pt x="1408" y="713"/>
                    </a:lnTo>
                    <a:lnTo>
                      <a:pt x="1406" y="710"/>
                    </a:lnTo>
                    <a:lnTo>
                      <a:pt x="1404" y="709"/>
                    </a:lnTo>
                    <a:lnTo>
                      <a:pt x="1402" y="707"/>
                    </a:lnTo>
                    <a:lnTo>
                      <a:pt x="1399" y="706"/>
                    </a:lnTo>
                    <a:lnTo>
                      <a:pt x="1398" y="702"/>
                    </a:lnTo>
                    <a:lnTo>
                      <a:pt x="1400" y="697"/>
                    </a:lnTo>
                    <a:lnTo>
                      <a:pt x="1406" y="693"/>
                    </a:lnTo>
                    <a:lnTo>
                      <a:pt x="1408" y="688"/>
                    </a:lnTo>
                    <a:lnTo>
                      <a:pt x="1409" y="686"/>
                    </a:lnTo>
                    <a:lnTo>
                      <a:pt x="1408" y="685"/>
                    </a:lnTo>
                    <a:lnTo>
                      <a:pt x="1407" y="684"/>
                    </a:lnTo>
                    <a:lnTo>
                      <a:pt x="1405" y="684"/>
                    </a:lnTo>
                    <a:lnTo>
                      <a:pt x="1402" y="684"/>
                    </a:lnTo>
                    <a:lnTo>
                      <a:pt x="1399" y="684"/>
                    </a:lnTo>
                    <a:lnTo>
                      <a:pt x="1396" y="684"/>
                    </a:lnTo>
                    <a:lnTo>
                      <a:pt x="1394" y="685"/>
                    </a:lnTo>
                    <a:lnTo>
                      <a:pt x="1391" y="685"/>
                    </a:lnTo>
                    <a:lnTo>
                      <a:pt x="1390" y="684"/>
                    </a:lnTo>
                    <a:lnTo>
                      <a:pt x="1388" y="684"/>
                    </a:lnTo>
                    <a:lnTo>
                      <a:pt x="1387" y="684"/>
                    </a:lnTo>
                    <a:lnTo>
                      <a:pt x="1385" y="683"/>
                    </a:lnTo>
                    <a:lnTo>
                      <a:pt x="1383" y="684"/>
                    </a:lnTo>
                    <a:lnTo>
                      <a:pt x="1382" y="685"/>
                    </a:lnTo>
                    <a:lnTo>
                      <a:pt x="1379" y="686"/>
                    </a:lnTo>
                    <a:lnTo>
                      <a:pt x="1378" y="686"/>
                    </a:lnTo>
                    <a:lnTo>
                      <a:pt x="1374" y="686"/>
                    </a:lnTo>
                    <a:lnTo>
                      <a:pt x="1369" y="684"/>
                    </a:lnTo>
                    <a:lnTo>
                      <a:pt x="1367" y="683"/>
                    </a:lnTo>
                    <a:lnTo>
                      <a:pt x="1365" y="680"/>
                    </a:lnTo>
                    <a:lnTo>
                      <a:pt x="1364" y="677"/>
                    </a:lnTo>
                    <a:lnTo>
                      <a:pt x="1364" y="675"/>
                    </a:lnTo>
                    <a:lnTo>
                      <a:pt x="1364" y="673"/>
                    </a:lnTo>
                    <a:lnTo>
                      <a:pt x="1365" y="671"/>
                    </a:lnTo>
                    <a:lnTo>
                      <a:pt x="1365" y="669"/>
                    </a:lnTo>
                    <a:lnTo>
                      <a:pt x="1365" y="666"/>
                    </a:lnTo>
                    <a:lnTo>
                      <a:pt x="1365" y="665"/>
                    </a:lnTo>
                    <a:lnTo>
                      <a:pt x="1364" y="663"/>
                    </a:lnTo>
                    <a:lnTo>
                      <a:pt x="1364" y="661"/>
                    </a:lnTo>
                    <a:lnTo>
                      <a:pt x="1365" y="660"/>
                    </a:lnTo>
                    <a:lnTo>
                      <a:pt x="1365" y="659"/>
                    </a:lnTo>
                    <a:lnTo>
                      <a:pt x="1367" y="658"/>
                    </a:lnTo>
                    <a:lnTo>
                      <a:pt x="1369" y="658"/>
                    </a:lnTo>
                    <a:lnTo>
                      <a:pt x="1373" y="658"/>
                    </a:lnTo>
                    <a:lnTo>
                      <a:pt x="1375" y="658"/>
                    </a:lnTo>
                    <a:lnTo>
                      <a:pt x="1378" y="658"/>
                    </a:lnTo>
                    <a:lnTo>
                      <a:pt x="1379" y="655"/>
                    </a:lnTo>
                    <a:lnTo>
                      <a:pt x="1379" y="653"/>
                    </a:lnTo>
                    <a:lnTo>
                      <a:pt x="1379" y="652"/>
                    </a:lnTo>
                    <a:lnTo>
                      <a:pt x="1378" y="650"/>
                    </a:lnTo>
                    <a:lnTo>
                      <a:pt x="1378" y="649"/>
                    </a:lnTo>
                    <a:lnTo>
                      <a:pt x="1380" y="647"/>
                    </a:lnTo>
                    <a:lnTo>
                      <a:pt x="1382" y="645"/>
                    </a:lnTo>
                    <a:lnTo>
                      <a:pt x="1384" y="644"/>
                    </a:lnTo>
                    <a:lnTo>
                      <a:pt x="1387" y="644"/>
                    </a:lnTo>
                    <a:lnTo>
                      <a:pt x="1389" y="645"/>
                    </a:lnTo>
                    <a:lnTo>
                      <a:pt x="1391" y="647"/>
                    </a:lnTo>
                    <a:lnTo>
                      <a:pt x="1394" y="649"/>
                    </a:lnTo>
                    <a:lnTo>
                      <a:pt x="1396" y="650"/>
                    </a:lnTo>
                    <a:lnTo>
                      <a:pt x="1398" y="651"/>
                    </a:lnTo>
                    <a:lnTo>
                      <a:pt x="1404" y="652"/>
                    </a:lnTo>
                    <a:lnTo>
                      <a:pt x="1410" y="653"/>
                    </a:lnTo>
                    <a:lnTo>
                      <a:pt x="1415" y="653"/>
                    </a:lnTo>
                    <a:lnTo>
                      <a:pt x="1426" y="655"/>
                    </a:lnTo>
                    <a:lnTo>
                      <a:pt x="1437" y="655"/>
                    </a:lnTo>
                    <a:lnTo>
                      <a:pt x="1440" y="654"/>
                    </a:lnTo>
                    <a:lnTo>
                      <a:pt x="1441" y="652"/>
                    </a:lnTo>
                    <a:lnTo>
                      <a:pt x="1441" y="651"/>
                    </a:lnTo>
                    <a:lnTo>
                      <a:pt x="1440" y="649"/>
                    </a:lnTo>
                    <a:lnTo>
                      <a:pt x="1438" y="648"/>
                    </a:lnTo>
                    <a:lnTo>
                      <a:pt x="1434" y="647"/>
                    </a:lnTo>
                    <a:lnTo>
                      <a:pt x="1427" y="645"/>
                    </a:lnTo>
                    <a:lnTo>
                      <a:pt x="1418" y="645"/>
                    </a:lnTo>
                    <a:lnTo>
                      <a:pt x="1408" y="647"/>
                    </a:lnTo>
                    <a:lnTo>
                      <a:pt x="1408" y="647"/>
                    </a:lnTo>
                    <a:lnTo>
                      <a:pt x="1407" y="647"/>
                    </a:lnTo>
                    <a:lnTo>
                      <a:pt x="1405" y="648"/>
                    </a:lnTo>
                    <a:lnTo>
                      <a:pt x="1404" y="648"/>
                    </a:lnTo>
                    <a:lnTo>
                      <a:pt x="1402" y="648"/>
                    </a:lnTo>
                    <a:lnTo>
                      <a:pt x="1401" y="648"/>
                    </a:lnTo>
                    <a:lnTo>
                      <a:pt x="1401" y="647"/>
                    </a:lnTo>
                    <a:lnTo>
                      <a:pt x="1404" y="643"/>
                    </a:lnTo>
                    <a:lnTo>
                      <a:pt x="1404" y="641"/>
                    </a:lnTo>
                    <a:lnTo>
                      <a:pt x="1404" y="639"/>
                    </a:lnTo>
                    <a:lnTo>
                      <a:pt x="1404" y="636"/>
                    </a:lnTo>
                    <a:lnTo>
                      <a:pt x="1401" y="636"/>
                    </a:lnTo>
                    <a:lnTo>
                      <a:pt x="1399" y="637"/>
                    </a:lnTo>
                    <a:lnTo>
                      <a:pt x="1397" y="638"/>
                    </a:lnTo>
                    <a:lnTo>
                      <a:pt x="1396" y="640"/>
                    </a:lnTo>
                    <a:lnTo>
                      <a:pt x="1394" y="641"/>
                    </a:lnTo>
                    <a:lnTo>
                      <a:pt x="1391" y="641"/>
                    </a:lnTo>
                    <a:lnTo>
                      <a:pt x="1388" y="640"/>
                    </a:lnTo>
                    <a:lnTo>
                      <a:pt x="1385" y="640"/>
                    </a:lnTo>
                    <a:lnTo>
                      <a:pt x="1383" y="640"/>
                    </a:lnTo>
                    <a:lnTo>
                      <a:pt x="1378" y="642"/>
                    </a:lnTo>
                    <a:lnTo>
                      <a:pt x="1375" y="645"/>
                    </a:lnTo>
                    <a:lnTo>
                      <a:pt x="1374" y="648"/>
                    </a:lnTo>
                    <a:lnTo>
                      <a:pt x="1373" y="650"/>
                    </a:lnTo>
                    <a:lnTo>
                      <a:pt x="1372" y="653"/>
                    </a:lnTo>
                    <a:lnTo>
                      <a:pt x="1369" y="651"/>
                    </a:lnTo>
                    <a:lnTo>
                      <a:pt x="1368" y="650"/>
                    </a:lnTo>
                    <a:lnTo>
                      <a:pt x="1367" y="648"/>
                    </a:lnTo>
                    <a:lnTo>
                      <a:pt x="1366" y="645"/>
                    </a:lnTo>
                    <a:lnTo>
                      <a:pt x="1365" y="644"/>
                    </a:lnTo>
                    <a:lnTo>
                      <a:pt x="1362" y="645"/>
                    </a:lnTo>
                    <a:lnTo>
                      <a:pt x="1359" y="649"/>
                    </a:lnTo>
                    <a:lnTo>
                      <a:pt x="1358" y="654"/>
                    </a:lnTo>
                    <a:lnTo>
                      <a:pt x="1358" y="659"/>
                    </a:lnTo>
                    <a:lnTo>
                      <a:pt x="1358" y="662"/>
                    </a:lnTo>
                    <a:lnTo>
                      <a:pt x="1359" y="664"/>
                    </a:lnTo>
                    <a:lnTo>
                      <a:pt x="1359" y="666"/>
                    </a:lnTo>
                    <a:lnTo>
                      <a:pt x="1359" y="669"/>
                    </a:lnTo>
                    <a:lnTo>
                      <a:pt x="1358" y="671"/>
                    </a:lnTo>
                    <a:lnTo>
                      <a:pt x="1356" y="673"/>
                    </a:lnTo>
                    <a:lnTo>
                      <a:pt x="1354" y="675"/>
                    </a:lnTo>
                    <a:lnTo>
                      <a:pt x="1352" y="677"/>
                    </a:lnTo>
                    <a:lnTo>
                      <a:pt x="1348" y="678"/>
                    </a:lnTo>
                    <a:lnTo>
                      <a:pt x="1345" y="680"/>
                    </a:lnTo>
                    <a:lnTo>
                      <a:pt x="1343" y="680"/>
                    </a:lnTo>
                    <a:lnTo>
                      <a:pt x="1342" y="680"/>
                    </a:lnTo>
                    <a:lnTo>
                      <a:pt x="1341" y="678"/>
                    </a:lnTo>
                    <a:lnTo>
                      <a:pt x="1340" y="677"/>
                    </a:lnTo>
                    <a:lnTo>
                      <a:pt x="1339" y="675"/>
                    </a:lnTo>
                    <a:lnTo>
                      <a:pt x="1337" y="674"/>
                    </a:lnTo>
                    <a:lnTo>
                      <a:pt x="1336" y="673"/>
                    </a:lnTo>
                    <a:lnTo>
                      <a:pt x="1334" y="673"/>
                    </a:lnTo>
                    <a:lnTo>
                      <a:pt x="1333" y="674"/>
                    </a:lnTo>
                    <a:lnTo>
                      <a:pt x="1334" y="676"/>
                    </a:lnTo>
                    <a:lnTo>
                      <a:pt x="1334" y="678"/>
                    </a:lnTo>
                    <a:lnTo>
                      <a:pt x="1334" y="681"/>
                    </a:lnTo>
                    <a:lnTo>
                      <a:pt x="1334" y="682"/>
                    </a:lnTo>
                    <a:lnTo>
                      <a:pt x="1331" y="682"/>
                    </a:lnTo>
                    <a:lnTo>
                      <a:pt x="1328" y="682"/>
                    </a:lnTo>
                    <a:lnTo>
                      <a:pt x="1324" y="681"/>
                    </a:lnTo>
                    <a:lnTo>
                      <a:pt x="1322" y="678"/>
                    </a:lnTo>
                    <a:lnTo>
                      <a:pt x="1321" y="677"/>
                    </a:lnTo>
                    <a:lnTo>
                      <a:pt x="1320" y="676"/>
                    </a:lnTo>
                    <a:lnTo>
                      <a:pt x="1319" y="676"/>
                    </a:lnTo>
                    <a:lnTo>
                      <a:pt x="1318" y="677"/>
                    </a:lnTo>
                    <a:lnTo>
                      <a:pt x="1318" y="678"/>
                    </a:lnTo>
                    <a:lnTo>
                      <a:pt x="1317" y="681"/>
                    </a:lnTo>
                    <a:lnTo>
                      <a:pt x="1317" y="682"/>
                    </a:lnTo>
                    <a:lnTo>
                      <a:pt x="1315" y="684"/>
                    </a:lnTo>
                    <a:lnTo>
                      <a:pt x="1313" y="686"/>
                    </a:lnTo>
                    <a:lnTo>
                      <a:pt x="1312" y="687"/>
                    </a:lnTo>
                    <a:lnTo>
                      <a:pt x="1309" y="688"/>
                    </a:lnTo>
                    <a:lnTo>
                      <a:pt x="1306" y="688"/>
                    </a:lnTo>
                    <a:lnTo>
                      <a:pt x="1299" y="688"/>
                    </a:lnTo>
                    <a:lnTo>
                      <a:pt x="1290" y="687"/>
                    </a:lnTo>
                    <a:lnTo>
                      <a:pt x="1282" y="686"/>
                    </a:lnTo>
                    <a:lnTo>
                      <a:pt x="1277" y="684"/>
                    </a:lnTo>
                    <a:lnTo>
                      <a:pt x="1275" y="680"/>
                    </a:lnTo>
                    <a:lnTo>
                      <a:pt x="1277" y="677"/>
                    </a:lnTo>
                    <a:lnTo>
                      <a:pt x="1279" y="676"/>
                    </a:lnTo>
                    <a:lnTo>
                      <a:pt x="1281" y="675"/>
                    </a:lnTo>
                    <a:lnTo>
                      <a:pt x="1285" y="674"/>
                    </a:lnTo>
                    <a:lnTo>
                      <a:pt x="1287" y="672"/>
                    </a:lnTo>
                    <a:lnTo>
                      <a:pt x="1289" y="671"/>
                    </a:lnTo>
                    <a:lnTo>
                      <a:pt x="1290" y="669"/>
                    </a:lnTo>
                    <a:lnTo>
                      <a:pt x="1290" y="666"/>
                    </a:lnTo>
                    <a:lnTo>
                      <a:pt x="1289" y="666"/>
                    </a:lnTo>
                    <a:lnTo>
                      <a:pt x="1288" y="667"/>
                    </a:lnTo>
                    <a:lnTo>
                      <a:pt x="1287" y="667"/>
                    </a:lnTo>
                    <a:lnTo>
                      <a:pt x="1286" y="669"/>
                    </a:lnTo>
                    <a:lnTo>
                      <a:pt x="1284" y="669"/>
                    </a:lnTo>
                    <a:lnTo>
                      <a:pt x="1282" y="669"/>
                    </a:lnTo>
                    <a:lnTo>
                      <a:pt x="1281" y="669"/>
                    </a:lnTo>
                    <a:lnTo>
                      <a:pt x="1280" y="667"/>
                    </a:lnTo>
                    <a:lnTo>
                      <a:pt x="1279" y="666"/>
                    </a:lnTo>
                    <a:lnTo>
                      <a:pt x="1268" y="666"/>
                    </a:lnTo>
                    <a:lnTo>
                      <a:pt x="1267" y="664"/>
                    </a:lnTo>
                    <a:lnTo>
                      <a:pt x="1267" y="663"/>
                    </a:lnTo>
                    <a:lnTo>
                      <a:pt x="1267" y="661"/>
                    </a:lnTo>
                    <a:lnTo>
                      <a:pt x="1269" y="660"/>
                    </a:lnTo>
                    <a:lnTo>
                      <a:pt x="1270" y="658"/>
                    </a:lnTo>
                    <a:lnTo>
                      <a:pt x="1271" y="655"/>
                    </a:lnTo>
                    <a:lnTo>
                      <a:pt x="1273" y="654"/>
                    </a:lnTo>
                    <a:lnTo>
                      <a:pt x="1273" y="652"/>
                    </a:lnTo>
                    <a:lnTo>
                      <a:pt x="1270" y="651"/>
                    </a:lnTo>
                    <a:lnTo>
                      <a:pt x="1268" y="650"/>
                    </a:lnTo>
                    <a:lnTo>
                      <a:pt x="1267" y="649"/>
                    </a:lnTo>
                    <a:lnTo>
                      <a:pt x="1266" y="647"/>
                    </a:lnTo>
                    <a:lnTo>
                      <a:pt x="1267" y="645"/>
                    </a:lnTo>
                    <a:lnTo>
                      <a:pt x="1269" y="643"/>
                    </a:lnTo>
                    <a:lnTo>
                      <a:pt x="1270" y="642"/>
                    </a:lnTo>
                    <a:lnTo>
                      <a:pt x="1273" y="640"/>
                    </a:lnTo>
                    <a:lnTo>
                      <a:pt x="1279" y="637"/>
                    </a:lnTo>
                    <a:lnTo>
                      <a:pt x="1285" y="634"/>
                    </a:lnTo>
                    <a:lnTo>
                      <a:pt x="1292" y="633"/>
                    </a:lnTo>
                    <a:lnTo>
                      <a:pt x="1297" y="632"/>
                    </a:lnTo>
                    <a:lnTo>
                      <a:pt x="1299" y="631"/>
                    </a:lnTo>
                    <a:lnTo>
                      <a:pt x="1301" y="630"/>
                    </a:lnTo>
                    <a:lnTo>
                      <a:pt x="1301" y="629"/>
                    </a:lnTo>
                    <a:lnTo>
                      <a:pt x="1300" y="627"/>
                    </a:lnTo>
                    <a:lnTo>
                      <a:pt x="1299" y="626"/>
                    </a:lnTo>
                    <a:lnTo>
                      <a:pt x="1297" y="625"/>
                    </a:lnTo>
                    <a:lnTo>
                      <a:pt x="1295" y="623"/>
                    </a:lnTo>
                    <a:lnTo>
                      <a:pt x="1292" y="622"/>
                    </a:lnTo>
                    <a:lnTo>
                      <a:pt x="1282" y="620"/>
                    </a:lnTo>
                    <a:lnTo>
                      <a:pt x="1274" y="622"/>
                    </a:lnTo>
                    <a:lnTo>
                      <a:pt x="1262" y="627"/>
                    </a:lnTo>
                    <a:lnTo>
                      <a:pt x="1248" y="627"/>
                    </a:lnTo>
                    <a:lnTo>
                      <a:pt x="1247" y="626"/>
                    </a:lnTo>
                    <a:lnTo>
                      <a:pt x="1246" y="625"/>
                    </a:lnTo>
                    <a:lnTo>
                      <a:pt x="1246" y="625"/>
                    </a:lnTo>
                    <a:lnTo>
                      <a:pt x="1246" y="623"/>
                    </a:lnTo>
                    <a:lnTo>
                      <a:pt x="1246" y="622"/>
                    </a:lnTo>
                    <a:lnTo>
                      <a:pt x="1248" y="621"/>
                    </a:lnTo>
                    <a:lnTo>
                      <a:pt x="1251" y="620"/>
                    </a:lnTo>
                    <a:lnTo>
                      <a:pt x="1254" y="620"/>
                    </a:lnTo>
                    <a:lnTo>
                      <a:pt x="1257" y="619"/>
                    </a:lnTo>
                    <a:lnTo>
                      <a:pt x="1259" y="618"/>
                    </a:lnTo>
                    <a:lnTo>
                      <a:pt x="1262" y="617"/>
                    </a:lnTo>
                    <a:lnTo>
                      <a:pt x="1263" y="615"/>
                    </a:lnTo>
                    <a:lnTo>
                      <a:pt x="1264" y="614"/>
                    </a:lnTo>
                    <a:lnTo>
                      <a:pt x="1265" y="612"/>
                    </a:lnTo>
                    <a:lnTo>
                      <a:pt x="1264" y="611"/>
                    </a:lnTo>
                    <a:lnTo>
                      <a:pt x="1262" y="611"/>
                    </a:lnTo>
                    <a:lnTo>
                      <a:pt x="1258" y="612"/>
                    </a:lnTo>
                    <a:lnTo>
                      <a:pt x="1255" y="614"/>
                    </a:lnTo>
                    <a:lnTo>
                      <a:pt x="1252" y="614"/>
                    </a:lnTo>
                    <a:lnTo>
                      <a:pt x="1248" y="614"/>
                    </a:lnTo>
                    <a:lnTo>
                      <a:pt x="1246" y="614"/>
                    </a:lnTo>
                    <a:lnTo>
                      <a:pt x="1243" y="612"/>
                    </a:lnTo>
                    <a:lnTo>
                      <a:pt x="1241" y="611"/>
                    </a:lnTo>
                    <a:lnTo>
                      <a:pt x="1238" y="610"/>
                    </a:lnTo>
                    <a:lnTo>
                      <a:pt x="1237" y="609"/>
                    </a:lnTo>
                    <a:lnTo>
                      <a:pt x="1237" y="607"/>
                    </a:lnTo>
                    <a:lnTo>
                      <a:pt x="1238" y="605"/>
                    </a:lnTo>
                    <a:lnTo>
                      <a:pt x="1239" y="604"/>
                    </a:lnTo>
                    <a:lnTo>
                      <a:pt x="1241" y="601"/>
                    </a:lnTo>
                    <a:lnTo>
                      <a:pt x="1242" y="600"/>
                    </a:lnTo>
                    <a:lnTo>
                      <a:pt x="1242" y="598"/>
                    </a:lnTo>
                    <a:lnTo>
                      <a:pt x="1242" y="597"/>
                    </a:lnTo>
                    <a:lnTo>
                      <a:pt x="1242" y="595"/>
                    </a:lnTo>
                    <a:lnTo>
                      <a:pt x="1242" y="594"/>
                    </a:lnTo>
                    <a:lnTo>
                      <a:pt x="1243" y="591"/>
                    </a:lnTo>
                    <a:lnTo>
                      <a:pt x="1244" y="590"/>
                    </a:lnTo>
                    <a:lnTo>
                      <a:pt x="1246" y="589"/>
                    </a:lnTo>
                    <a:lnTo>
                      <a:pt x="1248" y="589"/>
                    </a:lnTo>
                    <a:lnTo>
                      <a:pt x="1251" y="589"/>
                    </a:lnTo>
                    <a:lnTo>
                      <a:pt x="1253" y="589"/>
                    </a:lnTo>
                    <a:lnTo>
                      <a:pt x="1255" y="588"/>
                    </a:lnTo>
                    <a:lnTo>
                      <a:pt x="1257" y="588"/>
                    </a:lnTo>
                    <a:lnTo>
                      <a:pt x="1257" y="587"/>
                    </a:lnTo>
                    <a:lnTo>
                      <a:pt x="1258" y="586"/>
                    </a:lnTo>
                    <a:lnTo>
                      <a:pt x="1257" y="585"/>
                    </a:lnTo>
                    <a:lnTo>
                      <a:pt x="1255" y="584"/>
                    </a:lnTo>
                    <a:lnTo>
                      <a:pt x="1253" y="583"/>
                    </a:lnTo>
                    <a:lnTo>
                      <a:pt x="1251" y="583"/>
                    </a:lnTo>
                    <a:lnTo>
                      <a:pt x="1248" y="582"/>
                    </a:lnTo>
                    <a:lnTo>
                      <a:pt x="1248" y="580"/>
                    </a:lnTo>
                    <a:lnTo>
                      <a:pt x="1248" y="579"/>
                    </a:lnTo>
                    <a:lnTo>
                      <a:pt x="1248" y="577"/>
                    </a:lnTo>
                    <a:lnTo>
                      <a:pt x="1249" y="576"/>
                    </a:lnTo>
                    <a:lnTo>
                      <a:pt x="1248" y="574"/>
                    </a:lnTo>
                    <a:lnTo>
                      <a:pt x="1248" y="572"/>
                    </a:lnTo>
                    <a:lnTo>
                      <a:pt x="1247" y="571"/>
                    </a:lnTo>
                    <a:lnTo>
                      <a:pt x="1247" y="568"/>
                    </a:lnTo>
                    <a:lnTo>
                      <a:pt x="1248" y="566"/>
                    </a:lnTo>
                    <a:lnTo>
                      <a:pt x="1251" y="565"/>
                    </a:lnTo>
                    <a:lnTo>
                      <a:pt x="1253" y="565"/>
                    </a:lnTo>
                    <a:lnTo>
                      <a:pt x="1256" y="565"/>
                    </a:lnTo>
                    <a:lnTo>
                      <a:pt x="1258" y="566"/>
                    </a:lnTo>
                    <a:lnTo>
                      <a:pt x="1260" y="566"/>
                    </a:lnTo>
                    <a:lnTo>
                      <a:pt x="1263" y="567"/>
                    </a:lnTo>
                    <a:lnTo>
                      <a:pt x="1265" y="566"/>
                    </a:lnTo>
                    <a:lnTo>
                      <a:pt x="1266" y="565"/>
                    </a:lnTo>
                    <a:lnTo>
                      <a:pt x="1267" y="564"/>
                    </a:lnTo>
                    <a:lnTo>
                      <a:pt x="1266" y="562"/>
                    </a:lnTo>
                    <a:lnTo>
                      <a:pt x="1265" y="562"/>
                    </a:lnTo>
                    <a:lnTo>
                      <a:pt x="1263" y="561"/>
                    </a:lnTo>
                    <a:lnTo>
                      <a:pt x="1259" y="561"/>
                    </a:lnTo>
                    <a:lnTo>
                      <a:pt x="1258" y="558"/>
                    </a:lnTo>
                    <a:lnTo>
                      <a:pt x="1258" y="556"/>
                    </a:lnTo>
                    <a:lnTo>
                      <a:pt x="1258" y="554"/>
                    </a:lnTo>
                    <a:lnTo>
                      <a:pt x="1259" y="552"/>
                    </a:lnTo>
                    <a:lnTo>
                      <a:pt x="1262" y="549"/>
                    </a:lnTo>
                    <a:lnTo>
                      <a:pt x="1265" y="547"/>
                    </a:lnTo>
                    <a:lnTo>
                      <a:pt x="1268" y="545"/>
                    </a:lnTo>
                    <a:lnTo>
                      <a:pt x="1271" y="545"/>
                    </a:lnTo>
                    <a:lnTo>
                      <a:pt x="1275" y="545"/>
                    </a:lnTo>
                    <a:lnTo>
                      <a:pt x="1278" y="545"/>
                    </a:lnTo>
                    <a:lnTo>
                      <a:pt x="1280" y="545"/>
                    </a:lnTo>
                    <a:lnTo>
                      <a:pt x="1281" y="545"/>
                    </a:lnTo>
                    <a:lnTo>
                      <a:pt x="1281" y="544"/>
                    </a:lnTo>
                    <a:lnTo>
                      <a:pt x="1281" y="543"/>
                    </a:lnTo>
                    <a:lnTo>
                      <a:pt x="1281" y="542"/>
                    </a:lnTo>
                    <a:lnTo>
                      <a:pt x="1281" y="541"/>
                    </a:lnTo>
                    <a:lnTo>
                      <a:pt x="1284" y="540"/>
                    </a:lnTo>
                    <a:lnTo>
                      <a:pt x="1286" y="539"/>
                    </a:lnTo>
                    <a:lnTo>
                      <a:pt x="1288" y="539"/>
                    </a:lnTo>
                    <a:lnTo>
                      <a:pt x="1291" y="539"/>
                    </a:lnTo>
                    <a:lnTo>
                      <a:pt x="1292" y="539"/>
                    </a:lnTo>
                    <a:lnTo>
                      <a:pt x="1292" y="536"/>
                    </a:lnTo>
                    <a:lnTo>
                      <a:pt x="1289" y="534"/>
                    </a:lnTo>
                    <a:lnTo>
                      <a:pt x="1284" y="534"/>
                    </a:lnTo>
                    <a:lnTo>
                      <a:pt x="1278" y="534"/>
                    </a:lnTo>
                    <a:lnTo>
                      <a:pt x="1273" y="534"/>
                    </a:lnTo>
                    <a:lnTo>
                      <a:pt x="1268" y="534"/>
                    </a:lnTo>
                    <a:lnTo>
                      <a:pt x="1267" y="533"/>
                    </a:lnTo>
                    <a:lnTo>
                      <a:pt x="1266" y="533"/>
                    </a:lnTo>
                    <a:lnTo>
                      <a:pt x="1266" y="531"/>
                    </a:lnTo>
                    <a:lnTo>
                      <a:pt x="1267" y="530"/>
                    </a:lnTo>
                    <a:lnTo>
                      <a:pt x="1268" y="529"/>
                    </a:lnTo>
                    <a:lnTo>
                      <a:pt x="1270" y="528"/>
                    </a:lnTo>
                    <a:lnTo>
                      <a:pt x="1273" y="527"/>
                    </a:lnTo>
                    <a:lnTo>
                      <a:pt x="1275" y="525"/>
                    </a:lnTo>
                    <a:lnTo>
                      <a:pt x="1278" y="525"/>
                    </a:lnTo>
                    <a:lnTo>
                      <a:pt x="1281" y="525"/>
                    </a:lnTo>
                    <a:lnTo>
                      <a:pt x="1284" y="525"/>
                    </a:lnTo>
                    <a:lnTo>
                      <a:pt x="1292" y="523"/>
                    </a:lnTo>
                    <a:lnTo>
                      <a:pt x="1299" y="524"/>
                    </a:lnTo>
                    <a:lnTo>
                      <a:pt x="1306" y="528"/>
                    </a:lnTo>
                    <a:lnTo>
                      <a:pt x="1308" y="530"/>
                    </a:lnTo>
                    <a:lnTo>
                      <a:pt x="1309" y="532"/>
                    </a:lnTo>
                    <a:lnTo>
                      <a:pt x="1309" y="534"/>
                    </a:lnTo>
                    <a:lnTo>
                      <a:pt x="1309" y="536"/>
                    </a:lnTo>
                    <a:lnTo>
                      <a:pt x="1308" y="540"/>
                    </a:lnTo>
                    <a:lnTo>
                      <a:pt x="1308" y="543"/>
                    </a:lnTo>
                    <a:lnTo>
                      <a:pt x="1310" y="545"/>
                    </a:lnTo>
                    <a:lnTo>
                      <a:pt x="1312" y="547"/>
                    </a:lnTo>
                    <a:lnTo>
                      <a:pt x="1314" y="550"/>
                    </a:lnTo>
                    <a:lnTo>
                      <a:pt x="1317" y="552"/>
                    </a:lnTo>
                    <a:lnTo>
                      <a:pt x="1319" y="554"/>
                    </a:lnTo>
                    <a:lnTo>
                      <a:pt x="1320" y="555"/>
                    </a:lnTo>
                    <a:lnTo>
                      <a:pt x="1320" y="557"/>
                    </a:lnTo>
                    <a:lnTo>
                      <a:pt x="1321" y="560"/>
                    </a:lnTo>
                    <a:lnTo>
                      <a:pt x="1322" y="561"/>
                    </a:lnTo>
                    <a:lnTo>
                      <a:pt x="1323" y="563"/>
                    </a:lnTo>
                    <a:lnTo>
                      <a:pt x="1325" y="564"/>
                    </a:lnTo>
                    <a:lnTo>
                      <a:pt x="1328" y="565"/>
                    </a:lnTo>
                    <a:lnTo>
                      <a:pt x="1329" y="565"/>
                    </a:lnTo>
                    <a:lnTo>
                      <a:pt x="1331" y="564"/>
                    </a:lnTo>
                    <a:lnTo>
                      <a:pt x="1333" y="564"/>
                    </a:lnTo>
                    <a:lnTo>
                      <a:pt x="1334" y="564"/>
                    </a:lnTo>
                    <a:lnTo>
                      <a:pt x="1336" y="565"/>
                    </a:lnTo>
                    <a:lnTo>
                      <a:pt x="1345" y="565"/>
                    </a:lnTo>
                    <a:lnTo>
                      <a:pt x="1346" y="565"/>
                    </a:lnTo>
                    <a:lnTo>
                      <a:pt x="1348" y="566"/>
                    </a:lnTo>
                    <a:lnTo>
                      <a:pt x="1350" y="567"/>
                    </a:lnTo>
                    <a:lnTo>
                      <a:pt x="1350" y="569"/>
                    </a:lnTo>
                    <a:lnTo>
                      <a:pt x="1350" y="572"/>
                    </a:lnTo>
                    <a:lnTo>
                      <a:pt x="1348" y="573"/>
                    </a:lnTo>
                    <a:lnTo>
                      <a:pt x="1347" y="574"/>
                    </a:lnTo>
                    <a:lnTo>
                      <a:pt x="1346" y="576"/>
                    </a:lnTo>
                    <a:lnTo>
                      <a:pt x="1345" y="578"/>
                    </a:lnTo>
                    <a:lnTo>
                      <a:pt x="1345" y="580"/>
                    </a:lnTo>
                    <a:lnTo>
                      <a:pt x="1345" y="582"/>
                    </a:lnTo>
                    <a:lnTo>
                      <a:pt x="1347" y="584"/>
                    </a:lnTo>
                    <a:lnTo>
                      <a:pt x="1350" y="585"/>
                    </a:lnTo>
                    <a:lnTo>
                      <a:pt x="1352" y="587"/>
                    </a:lnTo>
                    <a:lnTo>
                      <a:pt x="1354" y="588"/>
                    </a:lnTo>
                    <a:lnTo>
                      <a:pt x="1356" y="588"/>
                    </a:lnTo>
                    <a:lnTo>
                      <a:pt x="1358" y="588"/>
                    </a:lnTo>
                    <a:lnTo>
                      <a:pt x="1358" y="587"/>
                    </a:lnTo>
                    <a:lnTo>
                      <a:pt x="1358" y="585"/>
                    </a:lnTo>
                    <a:lnTo>
                      <a:pt x="1358" y="583"/>
                    </a:lnTo>
                    <a:lnTo>
                      <a:pt x="1355" y="580"/>
                    </a:lnTo>
                    <a:lnTo>
                      <a:pt x="1354" y="578"/>
                    </a:lnTo>
                    <a:lnTo>
                      <a:pt x="1353" y="575"/>
                    </a:lnTo>
                    <a:lnTo>
                      <a:pt x="1354" y="572"/>
                    </a:lnTo>
                    <a:lnTo>
                      <a:pt x="1356" y="569"/>
                    </a:lnTo>
                    <a:lnTo>
                      <a:pt x="1359" y="568"/>
                    </a:lnTo>
                    <a:lnTo>
                      <a:pt x="1363" y="568"/>
                    </a:lnTo>
                    <a:lnTo>
                      <a:pt x="1365" y="569"/>
                    </a:lnTo>
                    <a:lnTo>
                      <a:pt x="1367" y="571"/>
                    </a:lnTo>
                    <a:lnTo>
                      <a:pt x="1368" y="573"/>
                    </a:lnTo>
                    <a:lnTo>
                      <a:pt x="1369" y="574"/>
                    </a:lnTo>
                    <a:lnTo>
                      <a:pt x="1369" y="576"/>
                    </a:lnTo>
                    <a:lnTo>
                      <a:pt x="1369" y="579"/>
                    </a:lnTo>
                    <a:lnTo>
                      <a:pt x="1370" y="580"/>
                    </a:lnTo>
                    <a:lnTo>
                      <a:pt x="1369" y="583"/>
                    </a:lnTo>
                    <a:lnTo>
                      <a:pt x="1368" y="584"/>
                    </a:lnTo>
                    <a:lnTo>
                      <a:pt x="1367" y="585"/>
                    </a:lnTo>
                    <a:lnTo>
                      <a:pt x="1368" y="586"/>
                    </a:lnTo>
                    <a:lnTo>
                      <a:pt x="1369" y="587"/>
                    </a:lnTo>
                    <a:lnTo>
                      <a:pt x="1370" y="587"/>
                    </a:lnTo>
                    <a:lnTo>
                      <a:pt x="1370" y="588"/>
                    </a:lnTo>
                    <a:lnTo>
                      <a:pt x="1372" y="589"/>
                    </a:lnTo>
                    <a:lnTo>
                      <a:pt x="1370" y="593"/>
                    </a:lnTo>
                    <a:lnTo>
                      <a:pt x="1370" y="598"/>
                    </a:lnTo>
                    <a:lnTo>
                      <a:pt x="1369" y="604"/>
                    </a:lnTo>
                    <a:lnTo>
                      <a:pt x="1370" y="607"/>
                    </a:lnTo>
                    <a:lnTo>
                      <a:pt x="1374" y="609"/>
                    </a:lnTo>
                    <a:lnTo>
                      <a:pt x="1380" y="610"/>
                    </a:lnTo>
                    <a:lnTo>
                      <a:pt x="1388" y="610"/>
                    </a:lnTo>
                    <a:lnTo>
                      <a:pt x="1396" y="611"/>
                    </a:lnTo>
                    <a:lnTo>
                      <a:pt x="1397" y="612"/>
                    </a:lnTo>
                    <a:lnTo>
                      <a:pt x="1398" y="612"/>
                    </a:lnTo>
                    <a:lnTo>
                      <a:pt x="1400" y="614"/>
                    </a:lnTo>
                    <a:lnTo>
                      <a:pt x="1402" y="615"/>
                    </a:lnTo>
                    <a:lnTo>
                      <a:pt x="1404" y="615"/>
                    </a:lnTo>
                    <a:lnTo>
                      <a:pt x="1406" y="616"/>
                    </a:lnTo>
                    <a:lnTo>
                      <a:pt x="1406" y="615"/>
                    </a:lnTo>
                    <a:lnTo>
                      <a:pt x="1406" y="615"/>
                    </a:lnTo>
                    <a:lnTo>
                      <a:pt x="1404" y="614"/>
                    </a:lnTo>
                    <a:lnTo>
                      <a:pt x="1402" y="611"/>
                    </a:lnTo>
                    <a:lnTo>
                      <a:pt x="1400" y="610"/>
                    </a:lnTo>
                    <a:lnTo>
                      <a:pt x="1398" y="608"/>
                    </a:lnTo>
                    <a:lnTo>
                      <a:pt x="1398" y="607"/>
                    </a:lnTo>
                    <a:lnTo>
                      <a:pt x="1396" y="605"/>
                    </a:lnTo>
                    <a:lnTo>
                      <a:pt x="1395" y="604"/>
                    </a:lnTo>
                    <a:lnTo>
                      <a:pt x="1394" y="601"/>
                    </a:lnTo>
                    <a:lnTo>
                      <a:pt x="1391" y="600"/>
                    </a:lnTo>
                    <a:lnTo>
                      <a:pt x="1389" y="600"/>
                    </a:lnTo>
                    <a:lnTo>
                      <a:pt x="1386" y="599"/>
                    </a:lnTo>
                    <a:lnTo>
                      <a:pt x="1384" y="597"/>
                    </a:lnTo>
                    <a:lnTo>
                      <a:pt x="1383" y="596"/>
                    </a:lnTo>
                    <a:lnTo>
                      <a:pt x="1382" y="594"/>
                    </a:lnTo>
                    <a:lnTo>
                      <a:pt x="1382" y="591"/>
                    </a:lnTo>
                    <a:lnTo>
                      <a:pt x="1383" y="589"/>
                    </a:lnTo>
                    <a:lnTo>
                      <a:pt x="1383" y="587"/>
                    </a:lnTo>
                    <a:lnTo>
                      <a:pt x="1383" y="586"/>
                    </a:lnTo>
                    <a:lnTo>
                      <a:pt x="1382" y="584"/>
                    </a:lnTo>
                    <a:lnTo>
                      <a:pt x="1382" y="582"/>
                    </a:lnTo>
                    <a:lnTo>
                      <a:pt x="1382" y="579"/>
                    </a:lnTo>
                    <a:lnTo>
                      <a:pt x="1383" y="577"/>
                    </a:lnTo>
                    <a:lnTo>
                      <a:pt x="1383" y="576"/>
                    </a:lnTo>
                    <a:lnTo>
                      <a:pt x="1385" y="574"/>
                    </a:lnTo>
                    <a:lnTo>
                      <a:pt x="1386" y="574"/>
                    </a:lnTo>
                    <a:lnTo>
                      <a:pt x="1389" y="574"/>
                    </a:lnTo>
                    <a:lnTo>
                      <a:pt x="1400" y="574"/>
                    </a:lnTo>
                    <a:lnTo>
                      <a:pt x="1412" y="575"/>
                    </a:lnTo>
                    <a:lnTo>
                      <a:pt x="1423" y="578"/>
                    </a:lnTo>
                    <a:lnTo>
                      <a:pt x="1429" y="580"/>
                    </a:lnTo>
                    <a:lnTo>
                      <a:pt x="1432" y="584"/>
                    </a:lnTo>
                    <a:lnTo>
                      <a:pt x="1435" y="587"/>
                    </a:lnTo>
                    <a:lnTo>
                      <a:pt x="1439" y="590"/>
                    </a:lnTo>
                    <a:lnTo>
                      <a:pt x="1441" y="594"/>
                    </a:lnTo>
                    <a:lnTo>
                      <a:pt x="1443" y="596"/>
                    </a:lnTo>
                    <a:lnTo>
                      <a:pt x="1444" y="597"/>
                    </a:lnTo>
                    <a:lnTo>
                      <a:pt x="1444" y="599"/>
                    </a:lnTo>
                    <a:lnTo>
                      <a:pt x="1445" y="600"/>
                    </a:lnTo>
                    <a:lnTo>
                      <a:pt x="1448" y="603"/>
                    </a:lnTo>
                    <a:lnTo>
                      <a:pt x="1450" y="605"/>
                    </a:lnTo>
                    <a:lnTo>
                      <a:pt x="1452" y="605"/>
                    </a:lnTo>
                    <a:lnTo>
                      <a:pt x="1454" y="606"/>
                    </a:lnTo>
                    <a:lnTo>
                      <a:pt x="1456" y="607"/>
                    </a:lnTo>
                    <a:lnTo>
                      <a:pt x="1459" y="608"/>
                    </a:lnTo>
                    <a:lnTo>
                      <a:pt x="1461" y="609"/>
                    </a:lnTo>
                    <a:lnTo>
                      <a:pt x="1464" y="609"/>
                    </a:lnTo>
                    <a:lnTo>
                      <a:pt x="1466" y="609"/>
                    </a:lnTo>
                    <a:lnTo>
                      <a:pt x="1467" y="609"/>
                    </a:lnTo>
                    <a:lnTo>
                      <a:pt x="1467" y="609"/>
                    </a:lnTo>
                    <a:lnTo>
                      <a:pt x="1466" y="608"/>
                    </a:lnTo>
                    <a:lnTo>
                      <a:pt x="1465" y="607"/>
                    </a:lnTo>
                    <a:lnTo>
                      <a:pt x="1463" y="606"/>
                    </a:lnTo>
                    <a:lnTo>
                      <a:pt x="1461" y="606"/>
                    </a:lnTo>
                    <a:lnTo>
                      <a:pt x="1459" y="605"/>
                    </a:lnTo>
                    <a:lnTo>
                      <a:pt x="1456" y="603"/>
                    </a:lnTo>
                    <a:lnTo>
                      <a:pt x="1455" y="601"/>
                    </a:lnTo>
                    <a:lnTo>
                      <a:pt x="1454" y="599"/>
                    </a:lnTo>
                    <a:lnTo>
                      <a:pt x="1453" y="597"/>
                    </a:lnTo>
                    <a:lnTo>
                      <a:pt x="1452" y="596"/>
                    </a:lnTo>
                    <a:lnTo>
                      <a:pt x="1450" y="593"/>
                    </a:lnTo>
                    <a:lnTo>
                      <a:pt x="1448" y="590"/>
                    </a:lnTo>
                    <a:lnTo>
                      <a:pt x="1445" y="587"/>
                    </a:lnTo>
                    <a:lnTo>
                      <a:pt x="1443" y="585"/>
                    </a:lnTo>
                    <a:lnTo>
                      <a:pt x="1442" y="583"/>
                    </a:lnTo>
                    <a:lnTo>
                      <a:pt x="1440" y="582"/>
                    </a:lnTo>
                    <a:lnTo>
                      <a:pt x="1438" y="579"/>
                    </a:lnTo>
                    <a:lnTo>
                      <a:pt x="1437" y="578"/>
                    </a:lnTo>
                    <a:lnTo>
                      <a:pt x="1437" y="576"/>
                    </a:lnTo>
                    <a:lnTo>
                      <a:pt x="1438" y="575"/>
                    </a:lnTo>
                    <a:lnTo>
                      <a:pt x="1440" y="573"/>
                    </a:lnTo>
                    <a:lnTo>
                      <a:pt x="1443" y="572"/>
                    </a:lnTo>
                    <a:lnTo>
                      <a:pt x="1448" y="569"/>
                    </a:lnTo>
                    <a:lnTo>
                      <a:pt x="1453" y="567"/>
                    </a:lnTo>
                    <a:lnTo>
                      <a:pt x="1459" y="565"/>
                    </a:lnTo>
                    <a:lnTo>
                      <a:pt x="1462" y="565"/>
                    </a:lnTo>
                    <a:lnTo>
                      <a:pt x="1466" y="565"/>
                    </a:lnTo>
                    <a:lnTo>
                      <a:pt x="1471" y="564"/>
                    </a:lnTo>
                    <a:lnTo>
                      <a:pt x="1474" y="563"/>
                    </a:lnTo>
                    <a:lnTo>
                      <a:pt x="1477" y="561"/>
                    </a:lnTo>
                    <a:lnTo>
                      <a:pt x="1481" y="558"/>
                    </a:lnTo>
                    <a:lnTo>
                      <a:pt x="1483" y="556"/>
                    </a:lnTo>
                    <a:lnTo>
                      <a:pt x="1485" y="555"/>
                    </a:lnTo>
                    <a:lnTo>
                      <a:pt x="1487" y="554"/>
                    </a:lnTo>
                    <a:lnTo>
                      <a:pt x="1489" y="553"/>
                    </a:lnTo>
                    <a:lnTo>
                      <a:pt x="1492" y="552"/>
                    </a:lnTo>
                    <a:lnTo>
                      <a:pt x="1502" y="547"/>
                    </a:lnTo>
                    <a:lnTo>
                      <a:pt x="1510" y="546"/>
                    </a:lnTo>
                    <a:lnTo>
                      <a:pt x="1520" y="547"/>
                    </a:lnTo>
                    <a:lnTo>
                      <a:pt x="1521" y="547"/>
                    </a:lnTo>
                    <a:lnTo>
                      <a:pt x="1524" y="546"/>
                    </a:lnTo>
                    <a:lnTo>
                      <a:pt x="1526" y="546"/>
                    </a:lnTo>
                    <a:lnTo>
                      <a:pt x="1529" y="545"/>
                    </a:lnTo>
                    <a:lnTo>
                      <a:pt x="1531" y="545"/>
                    </a:lnTo>
                    <a:lnTo>
                      <a:pt x="1532" y="544"/>
                    </a:lnTo>
                    <a:lnTo>
                      <a:pt x="1532" y="543"/>
                    </a:lnTo>
                    <a:lnTo>
                      <a:pt x="1531" y="543"/>
                    </a:lnTo>
                    <a:lnTo>
                      <a:pt x="1525" y="541"/>
                    </a:lnTo>
                    <a:lnTo>
                      <a:pt x="1517" y="541"/>
                    </a:lnTo>
                    <a:lnTo>
                      <a:pt x="1509" y="541"/>
                    </a:lnTo>
                    <a:lnTo>
                      <a:pt x="1492" y="541"/>
                    </a:lnTo>
                    <a:lnTo>
                      <a:pt x="1489" y="539"/>
                    </a:lnTo>
                    <a:lnTo>
                      <a:pt x="1490" y="535"/>
                    </a:lnTo>
                    <a:lnTo>
                      <a:pt x="1494" y="531"/>
                    </a:lnTo>
                    <a:lnTo>
                      <a:pt x="1499" y="527"/>
                    </a:lnTo>
                    <a:lnTo>
                      <a:pt x="1504" y="523"/>
                    </a:lnTo>
                    <a:lnTo>
                      <a:pt x="1507" y="521"/>
                    </a:lnTo>
                    <a:lnTo>
                      <a:pt x="1509" y="520"/>
                    </a:lnTo>
                    <a:lnTo>
                      <a:pt x="1513" y="519"/>
                    </a:lnTo>
                    <a:lnTo>
                      <a:pt x="1515" y="518"/>
                    </a:lnTo>
                    <a:lnTo>
                      <a:pt x="1516" y="517"/>
                    </a:lnTo>
                    <a:lnTo>
                      <a:pt x="1518" y="514"/>
                    </a:lnTo>
                    <a:lnTo>
                      <a:pt x="1518" y="514"/>
                    </a:lnTo>
                    <a:lnTo>
                      <a:pt x="1518" y="513"/>
                    </a:lnTo>
                    <a:lnTo>
                      <a:pt x="1517" y="512"/>
                    </a:lnTo>
                    <a:lnTo>
                      <a:pt x="1516" y="512"/>
                    </a:lnTo>
                    <a:lnTo>
                      <a:pt x="1514" y="512"/>
                    </a:lnTo>
                    <a:lnTo>
                      <a:pt x="1508" y="512"/>
                    </a:lnTo>
                    <a:lnTo>
                      <a:pt x="1504" y="514"/>
                    </a:lnTo>
                    <a:lnTo>
                      <a:pt x="1499" y="517"/>
                    </a:lnTo>
                    <a:lnTo>
                      <a:pt x="1496" y="519"/>
                    </a:lnTo>
                    <a:lnTo>
                      <a:pt x="1492" y="521"/>
                    </a:lnTo>
                    <a:lnTo>
                      <a:pt x="1487" y="524"/>
                    </a:lnTo>
                    <a:lnTo>
                      <a:pt x="1485" y="528"/>
                    </a:lnTo>
                    <a:lnTo>
                      <a:pt x="1483" y="531"/>
                    </a:lnTo>
                    <a:lnTo>
                      <a:pt x="1483" y="536"/>
                    </a:lnTo>
                    <a:lnTo>
                      <a:pt x="1483" y="538"/>
                    </a:lnTo>
                    <a:lnTo>
                      <a:pt x="1484" y="540"/>
                    </a:lnTo>
                    <a:lnTo>
                      <a:pt x="1484" y="541"/>
                    </a:lnTo>
                    <a:lnTo>
                      <a:pt x="1483" y="543"/>
                    </a:lnTo>
                    <a:lnTo>
                      <a:pt x="1481" y="544"/>
                    </a:lnTo>
                    <a:lnTo>
                      <a:pt x="1478" y="546"/>
                    </a:lnTo>
                    <a:lnTo>
                      <a:pt x="1477" y="547"/>
                    </a:lnTo>
                    <a:lnTo>
                      <a:pt x="1476" y="550"/>
                    </a:lnTo>
                    <a:lnTo>
                      <a:pt x="1472" y="553"/>
                    </a:lnTo>
                    <a:lnTo>
                      <a:pt x="1464" y="555"/>
                    </a:lnTo>
                    <a:lnTo>
                      <a:pt x="1456" y="557"/>
                    </a:lnTo>
                    <a:lnTo>
                      <a:pt x="1448" y="558"/>
                    </a:lnTo>
                    <a:lnTo>
                      <a:pt x="1444" y="560"/>
                    </a:lnTo>
                    <a:lnTo>
                      <a:pt x="1441" y="562"/>
                    </a:lnTo>
                    <a:lnTo>
                      <a:pt x="1437" y="562"/>
                    </a:lnTo>
                    <a:lnTo>
                      <a:pt x="1432" y="563"/>
                    </a:lnTo>
                    <a:lnTo>
                      <a:pt x="1431" y="562"/>
                    </a:lnTo>
                    <a:lnTo>
                      <a:pt x="1430" y="561"/>
                    </a:lnTo>
                    <a:lnTo>
                      <a:pt x="1430" y="558"/>
                    </a:lnTo>
                    <a:lnTo>
                      <a:pt x="1431" y="557"/>
                    </a:lnTo>
                    <a:lnTo>
                      <a:pt x="1431" y="556"/>
                    </a:lnTo>
                    <a:lnTo>
                      <a:pt x="1431" y="555"/>
                    </a:lnTo>
                    <a:lnTo>
                      <a:pt x="1430" y="554"/>
                    </a:lnTo>
                    <a:lnTo>
                      <a:pt x="1428" y="553"/>
                    </a:lnTo>
                    <a:lnTo>
                      <a:pt x="1426" y="554"/>
                    </a:lnTo>
                    <a:lnTo>
                      <a:pt x="1423" y="555"/>
                    </a:lnTo>
                    <a:lnTo>
                      <a:pt x="1420" y="557"/>
                    </a:lnTo>
                    <a:lnTo>
                      <a:pt x="1418" y="560"/>
                    </a:lnTo>
                    <a:lnTo>
                      <a:pt x="1417" y="562"/>
                    </a:lnTo>
                    <a:lnTo>
                      <a:pt x="1415" y="563"/>
                    </a:lnTo>
                    <a:lnTo>
                      <a:pt x="1410" y="564"/>
                    </a:lnTo>
                    <a:lnTo>
                      <a:pt x="1402" y="565"/>
                    </a:lnTo>
                    <a:lnTo>
                      <a:pt x="1396" y="565"/>
                    </a:lnTo>
                    <a:lnTo>
                      <a:pt x="1391" y="563"/>
                    </a:lnTo>
                    <a:lnTo>
                      <a:pt x="1389" y="562"/>
                    </a:lnTo>
                    <a:lnTo>
                      <a:pt x="1389" y="560"/>
                    </a:lnTo>
                    <a:lnTo>
                      <a:pt x="1389" y="558"/>
                    </a:lnTo>
                    <a:lnTo>
                      <a:pt x="1390" y="556"/>
                    </a:lnTo>
                    <a:lnTo>
                      <a:pt x="1390" y="555"/>
                    </a:lnTo>
                    <a:lnTo>
                      <a:pt x="1391" y="554"/>
                    </a:lnTo>
                    <a:lnTo>
                      <a:pt x="1391" y="552"/>
                    </a:lnTo>
                    <a:lnTo>
                      <a:pt x="1393" y="550"/>
                    </a:lnTo>
                    <a:lnTo>
                      <a:pt x="1395" y="547"/>
                    </a:lnTo>
                    <a:lnTo>
                      <a:pt x="1397" y="546"/>
                    </a:lnTo>
                    <a:lnTo>
                      <a:pt x="1399" y="545"/>
                    </a:lnTo>
                    <a:lnTo>
                      <a:pt x="1415" y="540"/>
                    </a:lnTo>
                    <a:lnTo>
                      <a:pt x="1430" y="536"/>
                    </a:lnTo>
                    <a:lnTo>
                      <a:pt x="1433" y="535"/>
                    </a:lnTo>
                    <a:lnTo>
                      <a:pt x="1434" y="534"/>
                    </a:lnTo>
                    <a:lnTo>
                      <a:pt x="1434" y="534"/>
                    </a:lnTo>
                    <a:lnTo>
                      <a:pt x="1433" y="533"/>
                    </a:lnTo>
                    <a:lnTo>
                      <a:pt x="1432" y="533"/>
                    </a:lnTo>
                    <a:lnTo>
                      <a:pt x="1430" y="533"/>
                    </a:lnTo>
                    <a:lnTo>
                      <a:pt x="1428" y="533"/>
                    </a:lnTo>
                    <a:lnTo>
                      <a:pt x="1426" y="534"/>
                    </a:lnTo>
                    <a:lnTo>
                      <a:pt x="1423" y="534"/>
                    </a:lnTo>
                    <a:lnTo>
                      <a:pt x="1421" y="534"/>
                    </a:lnTo>
                    <a:lnTo>
                      <a:pt x="1410" y="535"/>
                    </a:lnTo>
                    <a:lnTo>
                      <a:pt x="1399" y="539"/>
                    </a:lnTo>
                    <a:lnTo>
                      <a:pt x="1389" y="543"/>
                    </a:lnTo>
                    <a:lnTo>
                      <a:pt x="1385" y="544"/>
                    </a:lnTo>
                    <a:lnTo>
                      <a:pt x="1383" y="546"/>
                    </a:lnTo>
                    <a:lnTo>
                      <a:pt x="1380" y="549"/>
                    </a:lnTo>
                    <a:lnTo>
                      <a:pt x="1378" y="551"/>
                    </a:lnTo>
                    <a:lnTo>
                      <a:pt x="1376" y="554"/>
                    </a:lnTo>
                    <a:lnTo>
                      <a:pt x="1369" y="555"/>
                    </a:lnTo>
                    <a:lnTo>
                      <a:pt x="1363" y="554"/>
                    </a:lnTo>
                    <a:lnTo>
                      <a:pt x="1356" y="552"/>
                    </a:lnTo>
                    <a:lnTo>
                      <a:pt x="1352" y="550"/>
                    </a:lnTo>
                    <a:lnTo>
                      <a:pt x="1348" y="549"/>
                    </a:lnTo>
                    <a:lnTo>
                      <a:pt x="1346" y="547"/>
                    </a:lnTo>
                    <a:lnTo>
                      <a:pt x="1346" y="546"/>
                    </a:lnTo>
                    <a:lnTo>
                      <a:pt x="1347" y="545"/>
                    </a:lnTo>
                    <a:lnTo>
                      <a:pt x="1350" y="544"/>
                    </a:lnTo>
                    <a:lnTo>
                      <a:pt x="1354" y="543"/>
                    </a:lnTo>
                    <a:lnTo>
                      <a:pt x="1365" y="540"/>
                    </a:lnTo>
                    <a:lnTo>
                      <a:pt x="1376" y="540"/>
                    </a:lnTo>
                    <a:lnTo>
                      <a:pt x="1387" y="539"/>
                    </a:lnTo>
                    <a:lnTo>
                      <a:pt x="1398" y="532"/>
                    </a:lnTo>
                    <a:lnTo>
                      <a:pt x="1408" y="525"/>
                    </a:lnTo>
                    <a:lnTo>
                      <a:pt x="1410" y="524"/>
                    </a:lnTo>
                    <a:lnTo>
                      <a:pt x="1410" y="524"/>
                    </a:lnTo>
                    <a:lnTo>
                      <a:pt x="1410" y="523"/>
                    </a:lnTo>
                    <a:lnTo>
                      <a:pt x="1408" y="523"/>
                    </a:lnTo>
                    <a:lnTo>
                      <a:pt x="1406" y="523"/>
                    </a:lnTo>
                    <a:lnTo>
                      <a:pt x="1404" y="524"/>
                    </a:lnTo>
                    <a:lnTo>
                      <a:pt x="1401" y="524"/>
                    </a:lnTo>
                    <a:lnTo>
                      <a:pt x="1399" y="525"/>
                    </a:lnTo>
                    <a:lnTo>
                      <a:pt x="1396" y="528"/>
                    </a:lnTo>
                    <a:lnTo>
                      <a:pt x="1391" y="530"/>
                    </a:lnTo>
                    <a:lnTo>
                      <a:pt x="1387" y="532"/>
                    </a:lnTo>
                    <a:lnTo>
                      <a:pt x="1383" y="534"/>
                    </a:lnTo>
                    <a:lnTo>
                      <a:pt x="1372" y="536"/>
                    </a:lnTo>
                    <a:lnTo>
                      <a:pt x="1361" y="539"/>
                    </a:lnTo>
                    <a:lnTo>
                      <a:pt x="1356" y="539"/>
                    </a:lnTo>
                    <a:lnTo>
                      <a:pt x="1353" y="540"/>
                    </a:lnTo>
                    <a:lnTo>
                      <a:pt x="1350" y="541"/>
                    </a:lnTo>
                    <a:lnTo>
                      <a:pt x="1346" y="541"/>
                    </a:lnTo>
                    <a:lnTo>
                      <a:pt x="1343" y="541"/>
                    </a:lnTo>
                    <a:lnTo>
                      <a:pt x="1340" y="541"/>
                    </a:lnTo>
                    <a:lnTo>
                      <a:pt x="1337" y="540"/>
                    </a:lnTo>
                    <a:lnTo>
                      <a:pt x="1335" y="540"/>
                    </a:lnTo>
                    <a:lnTo>
                      <a:pt x="1333" y="539"/>
                    </a:lnTo>
                    <a:lnTo>
                      <a:pt x="1333" y="538"/>
                    </a:lnTo>
                    <a:lnTo>
                      <a:pt x="1333" y="535"/>
                    </a:lnTo>
                    <a:lnTo>
                      <a:pt x="1334" y="534"/>
                    </a:lnTo>
                    <a:lnTo>
                      <a:pt x="1335" y="533"/>
                    </a:lnTo>
                    <a:lnTo>
                      <a:pt x="1336" y="532"/>
                    </a:lnTo>
                    <a:lnTo>
                      <a:pt x="1337" y="531"/>
                    </a:lnTo>
                    <a:lnTo>
                      <a:pt x="1339" y="530"/>
                    </a:lnTo>
                    <a:lnTo>
                      <a:pt x="1340" y="530"/>
                    </a:lnTo>
                    <a:lnTo>
                      <a:pt x="1342" y="529"/>
                    </a:lnTo>
                    <a:lnTo>
                      <a:pt x="1342" y="529"/>
                    </a:lnTo>
                    <a:lnTo>
                      <a:pt x="1343" y="528"/>
                    </a:lnTo>
                    <a:lnTo>
                      <a:pt x="1343" y="527"/>
                    </a:lnTo>
                    <a:lnTo>
                      <a:pt x="1343" y="525"/>
                    </a:lnTo>
                    <a:lnTo>
                      <a:pt x="1342" y="524"/>
                    </a:lnTo>
                    <a:lnTo>
                      <a:pt x="1341" y="524"/>
                    </a:lnTo>
                    <a:lnTo>
                      <a:pt x="1341" y="523"/>
                    </a:lnTo>
                    <a:lnTo>
                      <a:pt x="1341" y="521"/>
                    </a:lnTo>
                    <a:lnTo>
                      <a:pt x="1343" y="519"/>
                    </a:lnTo>
                    <a:lnTo>
                      <a:pt x="1345" y="519"/>
                    </a:lnTo>
                    <a:lnTo>
                      <a:pt x="1351" y="517"/>
                    </a:lnTo>
                    <a:lnTo>
                      <a:pt x="1356" y="513"/>
                    </a:lnTo>
                    <a:lnTo>
                      <a:pt x="1361" y="510"/>
                    </a:lnTo>
                    <a:lnTo>
                      <a:pt x="1356" y="510"/>
                    </a:lnTo>
                    <a:lnTo>
                      <a:pt x="1353" y="511"/>
                    </a:lnTo>
                    <a:lnTo>
                      <a:pt x="1350" y="512"/>
                    </a:lnTo>
                    <a:lnTo>
                      <a:pt x="1346" y="513"/>
                    </a:lnTo>
                    <a:lnTo>
                      <a:pt x="1345" y="514"/>
                    </a:lnTo>
                    <a:lnTo>
                      <a:pt x="1341" y="517"/>
                    </a:lnTo>
                    <a:lnTo>
                      <a:pt x="1336" y="518"/>
                    </a:lnTo>
                    <a:lnTo>
                      <a:pt x="1332" y="519"/>
                    </a:lnTo>
                    <a:lnTo>
                      <a:pt x="1330" y="518"/>
                    </a:lnTo>
                    <a:lnTo>
                      <a:pt x="1330" y="518"/>
                    </a:lnTo>
                    <a:lnTo>
                      <a:pt x="1329" y="517"/>
                    </a:lnTo>
                    <a:lnTo>
                      <a:pt x="1330" y="516"/>
                    </a:lnTo>
                    <a:lnTo>
                      <a:pt x="1330" y="514"/>
                    </a:lnTo>
                    <a:lnTo>
                      <a:pt x="1330" y="514"/>
                    </a:lnTo>
                    <a:lnTo>
                      <a:pt x="1331" y="513"/>
                    </a:lnTo>
                    <a:lnTo>
                      <a:pt x="1332" y="512"/>
                    </a:lnTo>
                    <a:lnTo>
                      <a:pt x="1333" y="511"/>
                    </a:lnTo>
                    <a:lnTo>
                      <a:pt x="1334" y="510"/>
                    </a:lnTo>
                    <a:lnTo>
                      <a:pt x="1335" y="509"/>
                    </a:lnTo>
                    <a:lnTo>
                      <a:pt x="1336" y="508"/>
                    </a:lnTo>
                    <a:lnTo>
                      <a:pt x="1336" y="508"/>
                    </a:lnTo>
                    <a:lnTo>
                      <a:pt x="1336" y="507"/>
                    </a:lnTo>
                    <a:lnTo>
                      <a:pt x="1334" y="507"/>
                    </a:lnTo>
                    <a:lnTo>
                      <a:pt x="1332" y="508"/>
                    </a:lnTo>
                    <a:lnTo>
                      <a:pt x="1329" y="508"/>
                    </a:lnTo>
                    <a:lnTo>
                      <a:pt x="1324" y="509"/>
                    </a:lnTo>
                    <a:lnTo>
                      <a:pt x="1319" y="509"/>
                    </a:lnTo>
                    <a:lnTo>
                      <a:pt x="1314" y="510"/>
                    </a:lnTo>
                    <a:lnTo>
                      <a:pt x="1312" y="509"/>
                    </a:lnTo>
                    <a:lnTo>
                      <a:pt x="1311" y="508"/>
                    </a:lnTo>
                    <a:lnTo>
                      <a:pt x="1311" y="507"/>
                    </a:lnTo>
                    <a:lnTo>
                      <a:pt x="1311" y="505"/>
                    </a:lnTo>
                    <a:lnTo>
                      <a:pt x="1312" y="503"/>
                    </a:lnTo>
                    <a:lnTo>
                      <a:pt x="1314" y="502"/>
                    </a:lnTo>
                    <a:lnTo>
                      <a:pt x="1317" y="501"/>
                    </a:lnTo>
                    <a:lnTo>
                      <a:pt x="1318" y="500"/>
                    </a:lnTo>
                    <a:lnTo>
                      <a:pt x="1319" y="499"/>
                    </a:lnTo>
                    <a:lnTo>
                      <a:pt x="1320" y="497"/>
                    </a:lnTo>
                    <a:lnTo>
                      <a:pt x="1322" y="495"/>
                    </a:lnTo>
                    <a:lnTo>
                      <a:pt x="1324" y="494"/>
                    </a:lnTo>
                    <a:lnTo>
                      <a:pt x="1329" y="492"/>
                    </a:lnTo>
                    <a:lnTo>
                      <a:pt x="1331" y="492"/>
                    </a:lnTo>
                    <a:lnTo>
                      <a:pt x="1334" y="492"/>
                    </a:lnTo>
                    <a:lnTo>
                      <a:pt x="1336" y="492"/>
                    </a:lnTo>
                    <a:lnTo>
                      <a:pt x="1339" y="492"/>
                    </a:lnTo>
                    <a:lnTo>
                      <a:pt x="1340" y="491"/>
                    </a:lnTo>
                    <a:lnTo>
                      <a:pt x="1341" y="489"/>
                    </a:lnTo>
                    <a:lnTo>
                      <a:pt x="1341" y="488"/>
                    </a:lnTo>
                    <a:lnTo>
                      <a:pt x="1343" y="486"/>
                    </a:lnTo>
                    <a:lnTo>
                      <a:pt x="1345" y="485"/>
                    </a:lnTo>
                    <a:lnTo>
                      <a:pt x="1347" y="484"/>
                    </a:lnTo>
                    <a:lnTo>
                      <a:pt x="1351" y="484"/>
                    </a:lnTo>
                    <a:lnTo>
                      <a:pt x="1354" y="484"/>
                    </a:lnTo>
                    <a:lnTo>
                      <a:pt x="1356" y="481"/>
                    </a:lnTo>
                    <a:lnTo>
                      <a:pt x="1361" y="479"/>
                    </a:lnTo>
                    <a:lnTo>
                      <a:pt x="1365" y="479"/>
                    </a:lnTo>
                    <a:lnTo>
                      <a:pt x="1367" y="479"/>
                    </a:lnTo>
                    <a:lnTo>
                      <a:pt x="1369" y="480"/>
                    </a:lnTo>
                    <a:lnTo>
                      <a:pt x="1372" y="480"/>
                    </a:lnTo>
                    <a:lnTo>
                      <a:pt x="1374" y="481"/>
                    </a:lnTo>
                    <a:lnTo>
                      <a:pt x="1376" y="481"/>
                    </a:lnTo>
                    <a:lnTo>
                      <a:pt x="1377" y="483"/>
                    </a:lnTo>
                    <a:lnTo>
                      <a:pt x="1378" y="481"/>
                    </a:lnTo>
                    <a:lnTo>
                      <a:pt x="1380" y="481"/>
                    </a:lnTo>
                    <a:lnTo>
                      <a:pt x="1383" y="481"/>
                    </a:lnTo>
                    <a:lnTo>
                      <a:pt x="1385" y="481"/>
                    </a:lnTo>
                    <a:lnTo>
                      <a:pt x="1387" y="481"/>
                    </a:lnTo>
                    <a:lnTo>
                      <a:pt x="1389" y="484"/>
                    </a:lnTo>
                    <a:lnTo>
                      <a:pt x="1391" y="484"/>
                    </a:lnTo>
                    <a:lnTo>
                      <a:pt x="1394" y="484"/>
                    </a:lnTo>
                    <a:lnTo>
                      <a:pt x="1396" y="483"/>
                    </a:lnTo>
                    <a:lnTo>
                      <a:pt x="1397" y="483"/>
                    </a:lnTo>
                    <a:lnTo>
                      <a:pt x="1397" y="483"/>
                    </a:lnTo>
                    <a:lnTo>
                      <a:pt x="1396" y="481"/>
                    </a:lnTo>
                    <a:lnTo>
                      <a:pt x="1394" y="479"/>
                    </a:lnTo>
                    <a:lnTo>
                      <a:pt x="1393" y="478"/>
                    </a:lnTo>
                    <a:lnTo>
                      <a:pt x="1389" y="477"/>
                    </a:lnTo>
                    <a:lnTo>
                      <a:pt x="1387" y="477"/>
                    </a:lnTo>
                    <a:lnTo>
                      <a:pt x="1385" y="476"/>
                    </a:lnTo>
                    <a:lnTo>
                      <a:pt x="1383" y="475"/>
                    </a:lnTo>
                    <a:lnTo>
                      <a:pt x="1382" y="474"/>
                    </a:lnTo>
                    <a:lnTo>
                      <a:pt x="1383" y="473"/>
                    </a:lnTo>
                    <a:lnTo>
                      <a:pt x="1383" y="471"/>
                    </a:lnTo>
                    <a:lnTo>
                      <a:pt x="1384" y="470"/>
                    </a:lnTo>
                    <a:lnTo>
                      <a:pt x="1386" y="470"/>
                    </a:lnTo>
                    <a:lnTo>
                      <a:pt x="1387" y="470"/>
                    </a:lnTo>
                    <a:lnTo>
                      <a:pt x="1389" y="470"/>
                    </a:lnTo>
                    <a:lnTo>
                      <a:pt x="1390" y="469"/>
                    </a:lnTo>
                    <a:lnTo>
                      <a:pt x="1391" y="469"/>
                    </a:lnTo>
                    <a:lnTo>
                      <a:pt x="1391" y="468"/>
                    </a:lnTo>
                    <a:lnTo>
                      <a:pt x="1391" y="467"/>
                    </a:lnTo>
                    <a:lnTo>
                      <a:pt x="1391" y="466"/>
                    </a:lnTo>
                    <a:lnTo>
                      <a:pt x="1391" y="466"/>
                    </a:lnTo>
                    <a:lnTo>
                      <a:pt x="1389" y="464"/>
                    </a:lnTo>
                    <a:lnTo>
                      <a:pt x="1387" y="463"/>
                    </a:lnTo>
                    <a:lnTo>
                      <a:pt x="1386" y="462"/>
                    </a:lnTo>
                    <a:lnTo>
                      <a:pt x="1385" y="460"/>
                    </a:lnTo>
                    <a:lnTo>
                      <a:pt x="1384" y="459"/>
                    </a:lnTo>
                    <a:lnTo>
                      <a:pt x="1385" y="458"/>
                    </a:lnTo>
                    <a:lnTo>
                      <a:pt x="1387" y="457"/>
                    </a:lnTo>
                    <a:lnTo>
                      <a:pt x="1391" y="457"/>
                    </a:lnTo>
                    <a:lnTo>
                      <a:pt x="1395" y="457"/>
                    </a:lnTo>
                    <a:lnTo>
                      <a:pt x="1399" y="457"/>
                    </a:lnTo>
                    <a:lnTo>
                      <a:pt x="1402" y="457"/>
                    </a:lnTo>
                    <a:lnTo>
                      <a:pt x="1406" y="459"/>
                    </a:lnTo>
                    <a:lnTo>
                      <a:pt x="1408" y="459"/>
                    </a:lnTo>
                    <a:lnTo>
                      <a:pt x="1409" y="462"/>
                    </a:lnTo>
                    <a:lnTo>
                      <a:pt x="1411" y="463"/>
                    </a:lnTo>
                    <a:lnTo>
                      <a:pt x="1412" y="464"/>
                    </a:lnTo>
                    <a:lnTo>
                      <a:pt x="1417" y="466"/>
                    </a:lnTo>
                    <a:lnTo>
                      <a:pt x="1420" y="468"/>
                    </a:lnTo>
                    <a:lnTo>
                      <a:pt x="1423" y="470"/>
                    </a:lnTo>
                    <a:lnTo>
                      <a:pt x="1426" y="469"/>
                    </a:lnTo>
                    <a:lnTo>
                      <a:pt x="1428" y="468"/>
                    </a:lnTo>
                    <a:lnTo>
                      <a:pt x="1430" y="468"/>
                    </a:lnTo>
                    <a:lnTo>
                      <a:pt x="1434" y="470"/>
                    </a:lnTo>
                    <a:lnTo>
                      <a:pt x="1437" y="473"/>
                    </a:lnTo>
                    <a:lnTo>
                      <a:pt x="1439" y="475"/>
                    </a:lnTo>
                    <a:lnTo>
                      <a:pt x="1443" y="476"/>
                    </a:lnTo>
                    <a:lnTo>
                      <a:pt x="1446" y="477"/>
                    </a:lnTo>
                    <a:lnTo>
                      <a:pt x="1451" y="478"/>
                    </a:lnTo>
                    <a:lnTo>
                      <a:pt x="1454" y="479"/>
                    </a:lnTo>
                    <a:lnTo>
                      <a:pt x="1456" y="479"/>
                    </a:lnTo>
                    <a:lnTo>
                      <a:pt x="1457" y="478"/>
                    </a:lnTo>
                    <a:lnTo>
                      <a:pt x="1459" y="477"/>
                    </a:lnTo>
                    <a:lnTo>
                      <a:pt x="1457" y="477"/>
                    </a:lnTo>
                    <a:lnTo>
                      <a:pt x="1456" y="476"/>
                    </a:lnTo>
                    <a:lnTo>
                      <a:pt x="1454" y="475"/>
                    </a:lnTo>
                    <a:lnTo>
                      <a:pt x="1453" y="475"/>
                    </a:lnTo>
                    <a:lnTo>
                      <a:pt x="1452" y="475"/>
                    </a:lnTo>
                    <a:lnTo>
                      <a:pt x="1450" y="473"/>
                    </a:lnTo>
                    <a:lnTo>
                      <a:pt x="1446" y="470"/>
                    </a:lnTo>
                    <a:lnTo>
                      <a:pt x="1443" y="468"/>
                    </a:lnTo>
                    <a:lnTo>
                      <a:pt x="1440" y="466"/>
                    </a:lnTo>
                    <a:lnTo>
                      <a:pt x="1437" y="464"/>
                    </a:lnTo>
                    <a:lnTo>
                      <a:pt x="1434" y="460"/>
                    </a:lnTo>
                    <a:lnTo>
                      <a:pt x="1433" y="458"/>
                    </a:lnTo>
                    <a:lnTo>
                      <a:pt x="1432" y="457"/>
                    </a:lnTo>
                    <a:lnTo>
                      <a:pt x="1433" y="456"/>
                    </a:lnTo>
                    <a:lnTo>
                      <a:pt x="1434" y="455"/>
                    </a:lnTo>
                    <a:lnTo>
                      <a:pt x="1435" y="454"/>
                    </a:lnTo>
                    <a:lnTo>
                      <a:pt x="1437" y="454"/>
                    </a:lnTo>
                    <a:lnTo>
                      <a:pt x="1437" y="453"/>
                    </a:lnTo>
                    <a:lnTo>
                      <a:pt x="1438" y="451"/>
                    </a:lnTo>
                    <a:lnTo>
                      <a:pt x="1439" y="451"/>
                    </a:lnTo>
                    <a:lnTo>
                      <a:pt x="1439" y="449"/>
                    </a:lnTo>
                    <a:lnTo>
                      <a:pt x="1439" y="448"/>
                    </a:lnTo>
                    <a:lnTo>
                      <a:pt x="1439" y="447"/>
                    </a:lnTo>
                    <a:lnTo>
                      <a:pt x="1439" y="447"/>
                    </a:lnTo>
                    <a:lnTo>
                      <a:pt x="1439" y="446"/>
                    </a:lnTo>
                    <a:lnTo>
                      <a:pt x="1440" y="446"/>
                    </a:lnTo>
                    <a:lnTo>
                      <a:pt x="1441" y="446"/>
                    </a:lnTo>
                    <a:lnTo>
                      <a:pt x="1443" y="447"/>
                    </a:lnTo>
                    <a:lnTo>
                      <a:pt x="1445" y="449"/>
                    </a:lnTo>
                    <a:lnTo>
                      <a:pt x="1448" y="451"/>
                    </a:lnTo>
                    <a:lnTo>
                      <a:pt x="1451" y="452"/>
                    </a:lnTo>
                    <a:lnTo>
                      <a:pt x="1453" y="453"/>
                    </a:lnTo>
                    <a:lnTo>
                      <a:pt x="1456" y="453"/>
                    </a:lnTo>
                    <a:lnTo>
                      <a:pt x="1456" y="452"/>
                    </a:lnTo>
                    <a:lnTo>
                      <a:pt x="1455" y="451"/>
                    </a:lnTo>
                    <a:lnTo>
                      <a:pt x="1454" y="448"/>
                    </a:lnTo>
                    <a:lnTo>
                      <a:pt x="1453" y="445"/>
                    </a:lnTo>
                    <a:lnTo>
                      <a:pt x="1452" y="443"/>
                    </a:lnTo>
                    <a:lnTo>
                      <a:pt x="1451" y="441"/>
                    </a:lnTo>
                    <a:lnTo>
                      <a:pt x="1450" y="440"/>
                    </a:lnTo>
                    <a:lnTo>
                      <a:pt x="1449" y="438"/>
                    </a:lnTo>
                    <a:lnTo>
                      <a:pt x="1449" y="437"/>
                    </a:lnTo>
                    <a:lnTo>
                      <a:pt x="1448" y="436"/>
                    </a:lnTo>
                    <a:lnTo>
                      <a:pt x="1449" y="435"/>
                    </a:lnTo>
                    <a:lnTo>
                      <a:pt x="1450" y="434"/>
                    </a:lnTo>
                    <a:lnTo>
                      <a:pt x="1451" y="434"/>
                    </a:lnTo>
                    <a:lnTo>
                      <a:pt x="1454" y="435"/>
                    </a:lnTo>
                    <a:lnTo>
                      <a:pt x="1455" y="435"/>
                    </a:lnTo>
                    <a:lnTo>
                      <a:pt x="1456" y="435"/>
                    </a:lnTo>
                    <a:lnTo>
                      <a:pt x="1457" y="436"/>
                    </a:lnTo>
                    <a:lnTo>
                      <a:pt x="1460" y="437"/>
                    </a:lnTo>
                    <a:lnTo>
                      <a:pt x="1462" y="438"/>
                    </a:lnTo>
                    <a:lnTo>
                      <a:pt x="1463" y="438"/>
                    </a:lnTo>
                    <a:lnTo>
                      <a:pt x="1465" y="440"/>
                    </a:lnTo>
                    <a:lnTo>
                      <a:pt x="1465" y="440"/>
                    </a:lnTo>
                    <a:lnTo>
                      <a:pt x="1465" y="440"/>
                    </a:lnTo>
                    <a:lnTo>
                      <a:pt x="1465" y="437"/>
                    </a:lnTo>
                    <a:lnTo>
                      <a:pt x="1464" y="436"/>
                    </a:lnTo>
                    <a:lnTo>
                      <a:pt x="1463" y="435"/>
                    </a:lnTo>
                    <a:lnTo>
                      <a:pt x="1463" y="434"/>
                    </a:lnTo>
                    <a:lnTo>
                      <a:pt x="1463" y="432"/>
                    </a:lnTo>
                    <a:lnTo>
                      <a:pt x="1463" y="431"/>
                    </a:lnTo>
                    <a:lnTo>
                      <a:pt x="1465" y="430"/>
                    </a:lnTo>
                    <a:lnTo>
                      <a:pt x="1467" y="429"/>
                    </a:lnTo>
                    <a:lnTo>
                      <a:pt x="1471" y="429"/>
                    </a:lnTo>
                    <a:lnTo>
                      <a:pt x="1474" y="429"/>
                    </a:lnTo>
                    <a:lnTo>
                      <a:pt x="1478" y="429"/>
                    </a:lnTo>
                    <a:lnTo>
                      <a:pt x="1482" y="430"/>
                    </a:lnTo>
                    <a:lnTo>
                      <a:pt x="1485" y="431"/>
                    </a:lnTo>
                    <a:lnTo>
                      <a:pt x="1487" y="433"/>
                    </a:lnTo>
                    <a:lnTo>
                      <a:pt x="1490" y="433"/>
                    </a:lnTo>
                    <a:lnTo>
                      <a:pt x="1494" y="433"/>
                    </a:lnTo>
                    <a:lnTo>
                      <a:pt x="1495" y="431"/>
                    </a:lnTo>
                    <a:lnTo>
                      <a:pt x="1496" y="431"/>
                    </a:lnTo>
                    <a:lnTo>
                      <a:pt x="1497" y="431"/>
                    </a:lnTo>
                    <a:lnTo>
                      <a:pt x="1498" y="431"/>
                    </a:lnTo>
                    <a:lnTo>
                      <a:pt x="1503" y="431"/>
                    </a:lnTo>
                    <a:lnTo>
                      <a:pt x="1504" y="432"/>
                    </a:lnTo>
                    <a:lnTo>
                      <a:pt x="1505" y="433"/>
                    </a:lnTo>
                    <a:lnTo>
                      <a:pt x="1506" y="434"/>
                    </a:lnTo>
                    <a:lnTo>
                      <a:pt x="1507" y="435"/>
                    </a:lnTo>
                    <a:lnTo>
                      <a:pt x="1510" y="437"/>
                    </a:lnTo>
                    <a:lnTo>
                      <a:pt x="1514" y="441"/>
                    </a:lnTo>
                    <a:lnTo>
                      <a:pt x="1517" y="443"/>
                    </a:lnTo>
                    <a:lnTo>
                      <a:pt x="1520" y="445"/>
                    </a:lnTo>
                    <a:lnTo>
                      <a:pt x="1522" y="447"/>
                    </a:lnTo>
                    <a:lnTo>
                      <a:pt x="1525" y="451"/>
                    </a:lnTo>
                    <a:lnTo>
                      <a:pt x="1526" y="452"/>
                    </a:lnTo>
                    <a:lnTo>
                      <a:pt x="1527" y="453"/>
                    </a:lnTo>
                    <a:lnTo>
                      <a:pt x="1527" y="454"/>
                    </a:lnTo>
                    <a:lnTo>
                      <a:pt x="1529" y="454"/>
                    </a:lnTo>
                    <a:lnTo>
                      <a:pt x="1531" y="455"/>
                    </a:lnTo>
                    <a:lnTo>
                      <a:pt x="1532" y="454"/>
                    </a:lnTo>
                    <a:lnTo>
                      <a:pt x="1533" y="454"/>
                    </a:lnTo>
                    <a:lnTo>
                      <a:pt x="1533" y="453"/>
                    </a:lnTo>
                    <a:lnTo>
                      <a:pt x="1533" y="452"/>
                    </a:lnTo>
                    <a:lnTo>
                      <a:pt x="1533" y="451"/>
                    </a:lnTo>
                    <a:lnTo>
                      <a:pt x="1532" y="448"/>
                    </a:lnTo>
                    <a:lnTo>
                      <a:pt x="1531" y="446"/>
                    </a:lnTo>
                    <a:lnTo>
                      <a:pt x="1529" y="443"/>
                    </a:lnTo>
                    <a:lnTo>
                      <a:pt x="1527" y="442"/>
                    </a:lnTo>
                    <a:lnTo>
                      <a:pt x="1525" y="440"/>
                    </a:lnTo>
                    <a:lnTo>
                      <a:pt x="1522" y="440"/>
                    </a:lnTo>
                    <a:lnTo>
                      <a:pt x="1519" y="438"/>
                    </a:lnTo>
                    <a:lnTo>
                      <a:pt x="1516" y="437"/>
                    </a:lnTo>
                    <a:lnTo>
                      <a:pt x="1514" y="435"/>
                    </a:lnTo>
                    <a:lnTo>
                      <a:pt x="1511" y="434"/>
                    </a:lnTo>
                    <a:lnTo>
                      <a:pt x="1510" y="433"/>
                    </a:lnTo>
                    <a:lnTo>
                      <a:pt x="1509" y="433"/>
                    </a:lnTo>
                    <a:lnTo>
                      <a:pt x="1507" y="433"/>
                    </a:lnTo>
                    <a:lnTo>
                      <a:pt x="1505" y="431"/>
                    </a:lnTo>
                    <a:lnTo>
                      <a:pt x="1503" y="429"/>
                    </a:lnTo>
                    <a:lnTo>
                      <a:pt x="1503" y="426"/>
                    </a:lnTo>
                    <a:lnTo>
                      <a:pt x="1504" y="425"/>
                    </a:lnTo>
                    <a:lnTo>
                      <a:pt x="1507" y="425"/>
                    </a:lnTo>
                    <a:lnTo>
                      <a:pt x="1509" y="425"/>
                    </a:lnTo>
                    <a:lnTo>
                      <a:pt x="1511" y="425"/>
                    </a:lnTo>
                    <a:lnTo>
                      <a:pt x="1514" y="426"/>
                    </a:lnTo>
                    <a:lnTo>
                      <a:pt x="1517" y="425"/>
                    </a:lnTo>
                    <a:lnTo>
                      <a:pt x="1521" y="425"/>
                    </a:lnTo>
                    <a:lnTo>
                      <a:pt x="1525" y="424"/>
                    </a:lnTo>
                    <a:lnTo>
                      <a:pt x="1529" y="424"/>
                    </a:lnTo>
                    <a:lnTo>
                      <a:pt x="1538" y="424"/>
                    </a:lnTo>
                    <a:lnTo>
                      <a:pt x="1544" y="426"/>
                    </a:lnTo>
                    <a:lnTo>
                      <a:pt x="1551" y="431"/>
                    </a:lnTo>
                    <a:lnTo>
                      <a:pt x="1551" y="432"/>
                    </a:lnTo>
                    <a:lnTo>
                      <a:pt x="1553" y="433"/>
                    </a:lnTo>
                    <a:lnTo>
                      <a:pt x="1555" y="435"/>
                    </a:lnTo>
                    <a:lnTo>
                      <a:pt x="1558" y="436"/>
                    </a:lnTo>
                    <a:lnTo>
                      <a:pt x="1561" y="437"/>
                    </a:lnTo>
                    <a:lnTo>
                      <a:pt x="1563" y="438"/>
                    </a:lnTo>
                    <a:lnTo>
                      <a:pt x="1566" y="440"/>
                    </a:lnTo>
                    <a:lnTo>
                      <a:pt x="1568" y="440"/>
                    </a:lnTo>
                    <a:lnTo>
                      <a:pt x="1560" y="433"/>
                    </a:lnTo>
                    <a:lnTo>
                      <a:pt x="1558" y="431"/>
                    </a:lnTo>
                    <a:lnTo>
                      <a:pt x="1559" y="429"/>
                    </a:lnTo>
                    <a:lnTo>
                      <a:pt x="1560" y="427"/>
                    </a:lnTo>
                    <a:lnTo>
                      <a:pt x="1562" y="426"/>
                    </a:lnTo>
                    <a:lnTo>
                      <a:pt x="1565" y="425"/>
                    </a:lnTo>
                    <a:lnTo>
                      <a:pt x="1568" y="424"/>
                    </a:lnTo>
                    <a:lnTo>
                      <a:pt x="1572" y="422"/>
                    </a:lnTo>
                    <a:lnTo>
                      <a:pt x="1576" y="422"/>
                    </a:lnTo>
                    <a:lnTo>
                      <a:pt x="1581" y="424"/>
                    </a:lnTo>
                    <a:lnTo>
                      <a:pt x="1583" y="424"/>
                    </a:lnTo>
                    <a:lnTo>
                      <a:pt x="1585" y="425"/>
                    </a:lnTo>
                    <a:lnTo>
                      <a:pt x="1587" y="426"/>
                    </a:lnTo>
                    <a:lnTo>
                      <a:pt x="1588" y="425"/>
                    </a:lnTo>
                    <a:lnTo>
                      <a:pt x="1588" y="424"/>
                    </a:lnTo>
                    <a:lnTo>
                      <a:pt x="1588" y="423"/>
                    </a:lnTo>
                    <a:lnTo>
                      <a:pt x="1588" y="422"/>
                    </a:lnTo>
                    <a:lnTo>
                      <a:pt x="1587" y="422"/>
                    </a:lnTo>
                    <a:lnTo>
                      <a:pt x="1591" y="420"/>
                    </a:lnTo>
                    <a:close/>
                    <a:moveTo>
                      <a:pt x="1715" y="120"/>
                    </a:moveTo>
                    <a:lnTo>
                      <a:pt x="1712" y="120"/>
                    </a:lnTo>
                    <a:lnTo>
                      <a:pt x="1638" y="120"/>
                    </a:lnTo>
                    <a:lnTo>
                      <a:pt x="1590" y="124"/>
                    </a:lnTo>
                    <a:lnTo>
                      <a:pt x="1541" y="129"/>
                    </a:lnTo>
                    <a:lnTo>
                      <a:pt x="1541" y="129"/>
                    </a:lnTo>
                    <a:lnTo>
                      <a:pt x="1541" y="129"/>
                    </a:lnTo>
                    <a:lnTo>
                      <a:pt x="1540" y="129"/>
                    </a:lnTo>
                    <a:lnTo>
                      <a:pt x="1537" y="129"/>
                    </a:lnTo>
                    <a:lnTo>
                      <a:pt x="1532" y="129"/>
                    </a:lnTo>
                    <a:lnTo>
                      <a:pt x="1477" y="136"/>
                    </a:lnTo>
                    <a:lnTo>
                      <a:pt x="1423" y="145"/>
                    </a:lnTo>
                    <a:lnTo>
                      <a:pt x="1375" y="154"/>
                    </a:lnTo>
                    <a:lnTo>
                      <a:pt x="1329" y="167"/>
                    </a:lnTo>
                    <a:lnTo>
                      <a:pt x="1322" y="167"/>
                    </a:lnTo>
                    <a:lnTo>
                      <a:pt x="1304" y="172"/>
                    </a:lnTo>
                    <a:lnTo>
                      <a:pt x="1286" y="178"/>
                    </a:lnTo>
                    <a:lnTo>
                      <a:pt x="1284" y="178"/>
                    </a:lnTo>
                    <a:lnTo>
                      <a:pt x="1281" y="178"/>
                    </a:lnTo>
                    <a:lnTo>
                      <a:pt x="1279" y="179"/>
                    </a:lnTo>
                    <a:lnTo>
                      <a:pt x="1277" y="180"/>
                    </a:lnTo>
                    <a:lnTo>
                      <a:pt x="1247" y="187"/>
                    </a:lnTo>
                    <a:lnTo>
                      <a:pt x="1215" y="197"/>
                    </a:lnTo>
                    <a:lnTo>
                      <a:pt x="1175" y="212"/>
                    </a:lnTo>
                    <a:lnTo>
                      <a:pt x="1132" y="228"/>
                    </a:lnTo>
                    <a:lnTo>
                      <a:pt x="1066" y="256"/>
                    </a:lnTo>
                    <a:lnTo>
                      <a:pt x="1001" y="287"/>
                    </a:lnTo>
                    <a:lnTo>
                      <a:pt x="938" y="321"/>
                    </a:lnTo>
                    <a:lnTo>
                      <a:pt x="876" y="357"/>
                    </a:lnTo>
                    <a:lnTo>
                      <a:pt x="874" y="357"/>
                    </a:lnTo>
                    <a:lnTo>
                      <a:pt x="841" y="378"/>
                    </a:lnTo>
                    <a:lnTo>
                      <a:pt x="808" y="401"/>
                    </a:lnTo>
                    <a:lnTo>
                      <a:pt x="806" y="401"/>
                    </a:lnTo>
                    <a:lnTo>
                      <a:pt x="775" y="424"/>
                    </a:lnTo>
                    <a:lnTo>
                      <a:pt x="744" y="446"/>
                    </a:lnTo>
                    <a:lnTo>
                      <a:pt x="743" y="447"/>
                    </a:lnTo>
                    <a:lnTo>
                      <a:pt x="742" y="447"/>
                    </a:lnTo>
                    <a:lnTo>
                      <a:pt x="742" y="448"/>
                    </a:lnTo>
                    <a:lnTo>
                      <a:pt x="712" y="471"/>
                    </a:lnTo>
                    <a:lnTo>
                      <a:pt x="684" y="495"/>
                    </a:lnTo>
                    <a:lnTo>
                      <a:pt x="682" y="496"/>
                    </a:lnTo>
                    <a:lnTo>
                      <a:pt x="681" y="497"/>
                    </a:lnTo>
                    <a:lnTo>
                      <a:pt x="680" y="498"/>
                    </a:lnTo>
                    <a:lnTo>
                      <a:pt x="679" y="499"/>
                    </a:lnTo>
                    <a:lnTo>
                      <a:pt x="651" y="523"/>
                    </a:lnTo>
                    <a:lnTo>
                      <a:pt x="622" y="550"/>
                    </a:lnTo>
                    <a:lnTo>
                      <a:pt x="622" y="552"/>
                    </a:lnTo>
                    <a:lnTo>
                      <a:pt x="620" y="552"/>
                    </a:lnTo>
                    <a:lnTo>
                      <a:pt x="564" y="607"/>
                    </a:lnTo>
                    <a:lnTo>
                      <a:pt x="511" y="664"/>
                    </a:lnTo>
                    <a:lnTo>
                      <a:pt x="461" y="725"/>
                    </a:lnTo>
                    <a:lnTo>
                      <a:pt x="415" y="786"/>
                    </a:lnTo>
                    <a:lnTo>
                      <a:pt x="371" y="852"/>
                    </a:lnTo>
                    <a:lnTo>
                      <a:pt x="330" y="920"/>
                    </a:lnTo>
                    <a:lnTo>
                      <a:pt x="303" y="969"/>
                    </a:lnTo>
                    <a:lnTo>
                      <a:pt x="277" y="1019"/>
                    </a:lnTo>
                    <a:lnTo>
                      <a:pt x="254" y="1070"/>
                    </a:lnTo>
                    <a:lnTo>
                      <a:pt x="252" y="1070"/>
                    </a:lnTo>
                    <a:lnTo>
                      <a:pt x="218" y="1156"/>
                    </a:lnTo>
                    <a:lnTo>
                      <a:pt x="188" y="1244"/>
                    </a:lnTo>
                    <a:lnTo>
                      <a:pt x="164" y="1334"/>
                    </a:lnTo>
                    <a:lnTo>
                      <a:pt x="145" y="1425"/>
                    </a:lnTo>
                    <a:lnTo>
                      <a:pt x="132" y="1518"/>
                    </a:lnTo>
                    <a:lnTo>
                      <a:pt x="123" y="1613"/>
                    </a:lnTo>
                    <a:lnTo>
                      <a:pt x="121" y="1710"/>
                    </a:lnTo>
                    <a:lnTo>
                      <a:pt x="121" y="1778"/>
                    </a:lnTo>
                    <a:lnTo>
                      <a:pt x="128" y="1875"/>
                    </a:lnTo>
                    <a:lnTo>
                      <a:pt x="141" y="1971"/>
                    </a:lnTo>
                    <a:lnTo>
                      <a:pt x="158" y="2065"/>
                    </a:lnTo>
                    <a:lnTo>
                      <a:pt x="183" y="2156"/>
                    </a:lnTo>
                    <a:lnTo>
                      <a:pt x="211" y="2245"/>
                    </a:lnTo>
                    <a:lnTo>
                      <a:pt x="245" y="2332"/>
                    </a:lnTo>
                    <a:lnTo>
                      <a:pt x="285" y="2417"/>
                    </a:lnTo>
                    <a:lnTo>
                      <a:pt x="329" y="2498"/>
                    </a:lnTo>
                    <a:lnTo>
                      <a:pt x="376" y="2576"/>
                    </a:lnTo>
                    <a:lnTo>
                      <a:pt x="429" y="2652"/>
                    </a:lnTo>
                    <a:lnTo>
                      <a:pt x="486" y="2725"/>
                    </a:lnTo>
                    <a:lnTo>
                      <a:pt x="547" y="2794"/>
                    </a:lnTo>
                    <a:lnTo>
                      <a:pt x="611" y="2859"/>
                    </a:lnTo>
                    <a:lnTo>
                      <a:pt x="637" y="2885"/>
                    </a:lnTo>
                    <a:lnTo>
                      <a:pt x="664" y="2908"/>
                    </a:lnTo>
                    <a:lnTo>
                      <a:pt x="664" y="2908"/>
                    </a:lnTo>
                    <a:lnTo>
                      <a:pt x="664" y="2909"/>
                    </a:lnTo>
                    <a:lnTo>
                      <a:pt x="665" y="2910"/>
                    </a:lnTo>
                    <a:lnTo>
                      <a:pt x="666" y="2910"/>
                    </a:lnTo>
                    <a:lnTo>
                      <a:pt x="692" y="2933"/>
                    </a:lnTo>
                    <a:lnTo>
                      <a:pt x="721" y="2956"/>
                    </a:lnTo>
                    <a:lnTo>
                      <a:pt x="750" y="2978"/>
                    </a:lnTo>
                    <a:lnTo>
                      <a:pt x="779" y="3000"/>
                    </a:lnTo>
                    <a:lnTo>
                      <a:pt x="809" y="3021"/>
                    </a:lnTo>
                    <a:lnTo>
                      <a:pt x="841" y="3041"/>
                    </a:lnTo>
                    <a:lnTo>
                      <a:pt x="841" y="3043"/>
                    </a:lnTo>
                    <a:lnTo>
                      <a:pt x="842" y="3043"/>
                    </a:lnTo>
                    <a:lnTo>
                      <a:pt x="843" y="3044"/>
                    </a:lnTo>
                    <a:lnTo>
                      <a:pt x="845" y="3045"/>
                    </a:lnTo>
                    <a:lnTo>
                      <a:pt x="845" y="3045"/>
                    </a:lnTo>
                    <a:lnTo>
                      <a:pt x="845" y="3045"/>
                    </a:lnTo>
                    <a:lnTo>
                      <a:pt x="845" y="3047"/>
                    </a:lnTo>
                    <a:lnTo>
                      <a:pt x="846" y="3047"/>
                    </a:lnTo>
                    <a:lnTo>
                      <a:pt x="848" y="3048"/>
                    </a:lnTo>
                    <a:lnTo>
                      <a:pt x="850" y="3049"/>
                    </a:lnTo>
                    <a:lnTo>
                      <a:pt x="852" y="3050"/>
                    </a:lnTo>
                    <a:lnTo>
                      <a:pt x="856" y="3052"/>
                    </a:lnTo>
                    <a:lnTo>
                      <a:pt x="861" y="3054"/>
                    </a:lnTo>
                    <a:lnTo>
                      <a:pt x="941" y="3102"/>
                    </a:lnTo>
                    <a:lnTo>
                      <a:pt x="1024" y="3144"/>
                    </a:lnTo>
                    <a:lnTo>
                      <a:pt x="1110" y="3183"/>
                    </a:lnTo>
                    <a:lnTo>
                      <a:pt x="1198" y="3216"/>
                    </a:lnTo>
                    <a:lnTo>
                      <a:pt x="1202" y="3216"/>
                    </a:lnTo>
                    <a:lnTo>
                      <a:pt x="1282" y="3242"/>
                    </a:lnTo>
                    <a:lnTo>
                      <a:pt x="1365" y="3262"/>
                    </a:lnTo>
                    <a:lnTo>
                      <a:pt x="1449" y="3279"/>
                    </a:lnTo>
                    <a:lnTo>
                      <a:pt x="1535" y="3291"/>
                    </a:lnTo>
                    <a:lnTo>
                      <a:pt x="1535" y="3291"/>
                    </a:lnTo>
                    <a:lnTo>
                      <a:pt x="1536" y="3291"/>
                    </a:lnTo>
                    <a:lnTo>
                      <a:pt x="1537" y="3291"/>
                    </a:lnTo>
                    <a:lnTo>
                      <a:pt x="1538" y="3291"/>
                    </a:lnTo>
                    <a:lnTo>
                      <a:pt x="1541" y="3291"/>
                    </a:lnTo>
                    <a:lnTo>
                      <a:pt x="1597" y="3296"/>
                    </a:lnTo>
                    <a:lnTo>
                      <a:pt x="1653" y="3299"/>
                    </a:lnTo>
                    <a:lnTo>
                      <a:pt x="1710" y="3300"/>
                    </a:lnTo>
                    <a:lnTo>
                      <a:pt x="1795" y="3298"/>
                    </a:lnTo>
                    <a:lnTo>
                      <a:pt x="1881" y="3291"/>
                    </a:lnTo>
                    <a:lnTo>
                      <a:pt x="1881" y="3291"/>
                    </a:lnTo>
                    <a:lnTo>
                      <a:pt x="1881" y="3291"/>
                    </a:lnTo>
                    <a:lnTo>
                      <a:pt x="1882" y="3291"/>
                    </a:lnTo>
                    <a:lnTo>
                      <a:pt x="1886" y="3291"/>
                    </a:lnTo>
                    <a:lnTo>
                      <a:pt x="1890" y="3291"/>
                    </a:lnTo>
                    <a:lnTo>
                      <a:pt x="1911" y="3288"/>
                    </a:lnTo>
                    <a:lnTo>
                      <a:pt x="1931" y="3284"/>
                    </a:lnTo>
                    <a:lnTo>
                      <a:pt x="2006" y="3273"/>
                    </a:lnTo>
                    <a:lnTo>
                      <a:pt x="2079" y="3258"/>
                    </a:lnTo>
                    <a:lnTo>
                      <a:pt x="2151" y="3239"/>
                    </a:lnTo>
                    <a:lnTo>
                      <a:pt x="2220" y="3216"/>
                    </a:lnTo>
                    <a:lnTo>
                      <a:pt x="2225" y="3216"/>
                    </a:lnTo>
                    <a:lnTo>
                      <a:pt x="2313" y="3183"/>
                    </a:lnTo>
                    <a:lnTo>
                      <a:pt x="2398" y="3144"/>
                    </a:lnTo>
                    <a:lnTo>
                      <a:pt x="2480" y="3102"/>
                    </a:lnTo>
                    <a:lnTo>
                      <a:pt x="2559" y="3054"/>
                    </a:lnTo>
                    <a:lnTo>
                      <a:pt x="2559" y="3054"/>
                    </a:lnTo>
                    <a:lnTo>
                      <a:pt x="2559" y="3054"/>
                    </a:lnTo>
                    <a:lnTo>
                      <a:pt x="2561" y="3054"/>
                    </a:lnTo>
                    <a:lnTo>
                      <a:pt x="2561" y="3054"/>
                    </a:lnTo>
                    <a:lnTo>
                      <a:pt x="2563" y="3053"/>
                    </a:lnTo>
                    <a:lnTo>
                      <a:pt x="2564" y="3052"/>
                    </a:lnTo>
                    <a:lnTo>
                      <a:pt x="2567" y="3051"/>
                    </a:lnTo>
                    <a:lnTo>
                      <a:pt x="2570" y="3049"/>
                    </a:lnTo>
                    <a:lnTo>
                      <a:pt x="2575" y="3045"/>
                    </a:lnTo>
                    <a:lnTo>
                      <a:pt x="2637" y="3004"/>
                    </a:lnTo>
                    <a:lnTo>
                      <a:pt x="2696" y="2958"/>
                    </a:lnTo>
                    <a:lnTo>
                      <a:pt x="2754" y="2911"/>
                    </a:lnTo>
                    <a:lnTo>
                      <a:pt x="2809" y="2859"/>
                    </a:lnTo>
                    <a:lnTo>
                      <a:pt x="2863" y="2805"/>
                    </a:lnTo>
                    <a:lnTo>
                      <a:pt x="2914" y="2750"/>
                    </a:lnTo>
                    <a:lnTo>
                      <a:pt x="2947" y="2711"/>
                    </a:lnTo>
                    <a:lnTo>
                      <a:pt x="2979" y="2671"/>
                    </a:lnTo>
                    <a:lnTo>
                      <a:pt x="3009" y="2629"/>
                    </a:lnTo>
                    <a:lnTo>
                      <a:pt x="3060" y="2551"/>
                    </a:lnTo>
                    <a:lnTo>
                      <a:pt x="3108" y="2470"/>
                    </a:lnTo>
                    <a:lnTo>
                      <a:pt x="3151" y="2386"/>
                    </a:lnTo>
                    <a:lnTo>
                      <a:pt x="3188" y="2299"/>
                    </a:lnTo>
                    <a:lnTo>
                      <a:pt x="3220" y="2211"/>
                    </a:lnTo>
                    <a:lnTo>
                      <a:pt x="3248" y="2120"/>
                    </a:lnTo>
                    <a:lnTo>
                      <a:pt x="3270" y="2025"/>
                    </a:lnTo>
                    <a:lnTo>
                      <a:pt x="3283" y="1945"/>
                    </a:lnTo>
                    <a:lnTo>
                      <a:pt x="3294" y="1862"/>
                    </a:lnTo>
                    <a:lnTo>
                      <a:pt x="3299" y="1778"/>
                    </a:lnTo>
                    <a:lnTo>
                      <a:pt x="3300" y="1745"/>
                    </a:lnTo>
                    <a:lnTo>
                      <a:pt x="3301" y="1710"/>
                    </a:lnTo>
                    <a:lnTo>
                      <a:pt x="3299" y="1613"/>
                    </a:lnTo>
                    <a:lnTo>
                      <a:pt x="3290" y="1518"/>
                    </a:lnTo>
                    <a:lnTo>
                      <a:pt x="3276" y="1425"/>
                    </a:lnTo>
                    <a:lnTo>
                      <a:pt x="3256" y="1334"/>
                    </a:lnTo>
                    <a:lnTo>
                      <a:pt x="3232" y="1244"/>
                    </a:lnTo>
                    <a:lnTo>
                      <a:pt x="3202" y="1156"/>
                    </a:lnTo>
                    <a:lnTo>
                      <a:pt x="3168" y="1070"/>
                    </a:lnTo>
                    <a:lnTo>
                      <a:pt x="3166" y="1070"/>
                    </a:lnTo>
                    <a:lnTo>
                      <a:pt x="3136" y="1007"/>
                    </a:lnTo>
                    <a:lnTo>
                      <a:pt x="3104" y="944"/>
                    </a:lnTo>
                    <a:lnTo>
                      <a:pt x="3068" y="883"/>
                    </a:lnTo>
                    <a:lnTo>
                      <a:pt x="3031" y="824"/>
                    </a:lnTo>
                    <a:lnTo>
                      <a:pt x="2980" y="752"/>
                    </a:lnTo>
                    <a:lnTo>
                      <a:pt x="2926" y="685"/>
                    </a:lnTo>
                    <a:lnTo>
                      <a:pt x="2869" y="620"/>
                    </a:lnTo>
                    <a:lnTo>
                      <a:pt x="2851" y="603"/>
                    </a:lnTo>
                    <a:lnTo>
                      <a:pt x="2834" y="585"/>
                    </a:lnTo>
                    <a:lnTo>
                      <a:pt x="2801" y="552"/>
                    </a:lnTo>
                    <a:lnTo>
                      <a:pt x="2798" y="552"/>
                    </a:lnTo>
                    <a:lnTo>
                      <a:pt x="2798" y="550"/>
                    </a:lnTo>
                    <a:lnTo>
                      <a:pt x="2771" y="523"/>
                    </a:lnTo>
                    <a:lnTo>
                      <a:pt x="2741" y="499"/>
                    </a:lnTo>
                    <a:lnTo>
                      <a:pt x="2740" y="498"/>
                    </a:lnTo>
                    <a:lnTo>
                      <a:pt x="2740" y="497"/>
                    </a:lnTo>
                    <a:lnTo>
                      <a:pt x="2739" y="497"/>
                    </a:lnTo>
                    <a:lnTo>
                      <a:pt x="2739" y="497"/>
                    </a:lnTo>
                    <a:lnTo>
                      <a:pt x="2709" y="473"/>
                    </a:lnTo>
                    <a:lnTo>
                      <a:pt x="2678" y="448"/>
                    </a:lnTo>
                    <a:lnTo>
                      <a:pt x="2678" y="446"/>
                    </a:lnTo>
                    <a:lnTo>
                      <a:pt x="2645" y="424"/>
                    </a:lnTo>
                    <a:lnTo>
                      <a:pt x="2614" y="401"/>
                    </a:lnTo>
                    <a:lnTo>
                      <a:pt x="2612" y="401"/>
                    </a:lnTo>
                    <a:lnTo>
                      <a:pt x="2579" y="378"/>
                    </a:lnTo>
                    <a:lnTo>
                      <a:pt x="2546" y="357"/>
                    </a:lnTo>
                    <a:lnTo>
                      <a:pt x="2463" y="309"/>
                    </a:lnTo>
                    <a:lnTo>
                      <a:pt x="2377" y="266"/>
                    </a:lnTo>
                    <a:lnTo>
                      <a:pt x="2289" y="228"/>
                    </a:lnTo>
                    <a:lnTo>
                      <a:pt x="2216" y="201"/>
                    </a:lnTo>
                    <a:lnTo>
                      <a:pt x="2143" y="180"/>
                    </a:lnTo>
                    <a:lnTo>
                      <a:pt x="2141" y="179"/>
                    </a:lnTo>
                    <a:lnTo>
                      <a:pt x="2139" y="178"/>
                    </a:lnTo>
                    <a:lnTo>
                      <a:pt x="2137" y="178"/>
                    </a:lnTo>
                    <a:lnTo>
                      <a:pt x="2135" y="178"/>
                    </a:lnTo>
                    <a:lnTo>
                      <a:pt x="2098" y="167"/>
                    </a:lnTo>
                    <a:lnTo>
                      <a:pt x="2092" y="167"/>
                    </a:lnTo>
                    <a:lnTo>
                      <a:pt x="2045" y="154"/>
                    </a:lnTo>
                    <a:lnTo>
                      <a:pt x="1999" y="147"/>
                    </a:lnTo>
                    <a:lnTo>
                      <a:pt x="1999" y="147"/>
                    </a:lnTo>
                    <a:lnTo>
                      <a:pt x="1999" y="147"/>
                    </a:lnTo>
                    <a:lnTo>
                      <a:pt x="1998" y="146"/>
                    </a:lnTo>
                    <a:lnTo>
                      <a:pt x="1997" y="145"/>
                    </a:lnTo>
                    <a:lnTo>
                      <a:pt x="1943" y="136"/>
                    </a:lnTo>
                    <a:lnTo>
                      <a:pt x="1888" y="129"/>
                    </a:lnTo>
                    <a:lnTo>
                      <a:pt x="1888" y="129"/>
                    </a:lnTo>
                    <a:lnTo>
                      <a:pt x="1887" y="129"/>
                    </a:lnTo>
                    <a:lnTo>
                      <a:pt x="1885" y="129"/>
                    </a:lnTo>
                    <a:lnTo>
                      <a:pt x="1881" y="129"/>
                    </a:lnTo>
                    <a:lnTo>
                      <a:pt x="1877" y="129"/>
                    </a:lnTo>
                    <a:lnTo>
                      <a:pt x="1831" y="124"/>
                    </a:lnTo>
                    <a:lnTo>
                      <a:pt x="1782" y="120"/>
                    </a:lnTo>
                    <a:lnTo>
                      <a:pt x="1719" y="120"/>
                    </a:lnTo>
                    <a:lnTo>
                      <a:pt x="1718" y="120"/>
                    </a:lnTo>
                    <a:lnTo>
                      <a:pt x="1718" y="120"/>
                    </a:lnTo>
                    <a:lnTo>
                      <a:pt x="1717" y="120"/>
                    </a:lnTo>
                    <a:lnTo>
                      <a:pt x="1715" y="120"/>
                    </a:lnTo>
                    <a:close/>
                    <a:moveTo>
                      <a:pt x="1710" y="0"/>
                    </a:moveTo>
                    <a:lnTo>
                      <a:pt x="1819" y="4"/>
                    </a:lnTo>
                    <a:lnTo>
                      <a:pt x="1924" y="14"/>
                    </a:lnTo>
                    <a:lnTo>
                      <a:pt x="2029" y="30"/>
                    </a:lnTo>
                    <a:lnTo>
                      <a:pt x="2131" y="52"/>
                    </a:lnTo>
                    <a:lnTo>
                      <a:pt x="2230" y="81"/>
                    </a:lnTo>
                    <a:lnTo>
                      <a:pt x="2328" y="115"/>
                    </a:lnTo>
                    <a:lnTo>
                      <a:pt x="2422" y="156"/>
                    </a:lnTo>
                    <a:lnTo>
                      <a:pt x="2513" y="201"/>
                    </a:lnTo>
                    <a:lnTo>
                      <a:pt x="2602" y="251"/>
                    </a:lnTo>
                    <a:lnTo>
                      <a:pt x="2687" y="306"/>
                    </a:lnTo>
                    <a:lnTo>
                      <a:pt x="2768" y="367"/>
                    </a:lnTo>
                    <a:lnTo>
                      <a:pt x="2846" y="432"/>
                    </a:lnTo>
                    <a:lnTo>
                      <a:pt x="2919" y="501"/>
                    </a:lnTo>
                    <a:lnTo>
                      <a:pt x="2989" y="575"/>
                    </a:lnTo>
                    <a:lnTo>
                      <a:pt x="3054" y="652"/>
                    </a:lnTo>
                    <a:lnTo>
                      <a:pt x="3113" y="734"/>
                    </a:lnTo>
                    <a:lnTo>
                      <a:pt x="3169" y="818"/>
                    </a:lnTo>
                    <a:lnTo>
                      <a:pt x="3220" y="906"/>
                    </a:lnTo>
                    <a:lnTo>
                      <a:pt x="3265" y="998"/>
                    </a:lnTo>
                    <a:lnTo>
                      <a:pt x="3305" y="1092"/>
                    </a:lnTo>
                    <a:lnTo>
                      <a:pt x="3339" y="1189"/>
                    </a:lnTo>
                    <a:lnTo>
                      <a:pt x="3368" y="1289"/>
                    </a:lnTo>
                    <a:lnTo>
                      <a:pt x="3391" y="1392"/>
                    </a:lnTo>
                    <a:lnTo>
                      <a:pt x="3407" y="1495"/>
                    </a:lnTo>
                    <a:lnTo>
                      <a:pt x="3417" y="1602"/>
                    </a:lnTo>
                    <a:lnTo>
                      <a:pt x="3420" y="1710"/>
                    </a:lnTo>
                    <a:lnTo>
                      <a:pt x="3417" y="1818"/>
                    </a:lnTo>
                    <a:lnTo>
                      <a:pt x="3407" y="1925"/>
                    </a:lnTo>
                    <a:lnTo>
                      <a:pt x="3391" y="2029"/>
                    </a:lnTo>
                    <a:lnTo>
                      <a:pt x="3368" y="2131"/>
                    </a:lnTo>
                    <a:lnTo>
                      <a:pt x="3339" y="2231"/>
                    </a:lnTo>
                    <a:lnTo>
                      <a:pt x="3305" y="2328"/>
                    </a:lnTo>
                    <a:lnTo>
                      <a:pt x="3265" y="2422"/>
                    </a:lnTo>
                    <a:lnTo>
                      <a:pt x="3220" y="2514"/>
                    </a:lnTo>
                    <a:lnTo>
                      <a:pt x="3169" y="2602"/>
                    </a:lnTo>
                    <a:lnTo>
                      <a:pt x="3113" y="2687"/>
                    </a:lnTo>
                    <a:lnTo>
                      <a:pt x="3054" y="2768"/>
                    </a:lnTo>
                    <a:lnTo>
                      <a:pt x="2989" y="2845"/>
                    </a:lnTo>
                    <a:lnTo>
                      <a:pt x="2919" y="2919"/>
                    </a:lnTo>
                    <a:lnTo>
                      <a:pt x="2846" y="2988"/>
                    </a:lnTo>
                    <a:lnTo>
                      <a:pt x="2768" y="3053"/>
                    </a:lnTo>
                    <a:lnTo>
                      <a:pt x="2687" y="3114"/>
                    </a:lnTo>
                    <a:lnTo>
                      <a:pt x="2602" y="3169"/>
                    </a:lnTo>
                    <a:lnTo>
                      <a:pt x="2513" y="3219"/>
                    </a:lnTo>
                    <a:lnTo>
                      <a:pt x="2422" y="3266"/>
                    </a:lnTo>
                    <a:lnTo>
                      <a:pt x="2328" y="3305"/>
                    </a:lnTo>
                    <a:lnTo>
                      <a:pt x="2230" y="3339"/>
                    </a:lnTo>
                    <a:lnTo>
                      <a:pt x="2131" y="3368"/>
                    </a:lnTo>
                    <a:lnTo>
                      <a:pt x="2029" y="3390"/>
                    </a:lnTo>
                    <a:lnTo>
                      <a:pt x="1924" y="3407"/>
                    </a:lnTo>
                    <a:lnTo>
                      <a:pt x="1819" y="3416"/>
                    </a:lnTo>
                    <a:lnTo>
                      <a:pt x="1710" y="3420"/>
                    </a:lnTo>
                    <a:lnTo>
                      <a:pt x="1602" y="3416"/>
                    </a:lnTo>
                    <a:lnTo>
                      <a:pt x="1496" y="3407"/>
                    </a:lnTo>
                    <a:lnTo>
                      <a:pt x="1391" y="3390"/>
                    </a:lnTo>
                    <a:lnTo>
                      <a:pt x="1289" y="3368"/>
                    </a:lnTo>
                    <a:lnTo>
                      <a:pt x="1190" y="3339"/>
                    </a:lnTo>
                    <a:lnTo>
                      <a:pt x="1092" y="3305"/>
                    </a:lnTo>
                    <a:lnTo>
                      <a:pt x="998" y="3266"/>
                    </a:lnTo>
                    <a:lnTo>
                      <a:pt x="907" y="3219"/>
                    </a:lnTo>
                    <a:lnTo>
                      <a:pt x="818" y="3169"/>
                    </a:lnTo>
                    <a:lnTo>
                      <a:pt x="733" y="3114"/>
                    </a:lnTo>
                    <a:lnTo>
                      <a:pt x="653" y="3053"/>
                    </a:lnTo>
                    <a:lnTo>
                      <a:pt x="575" y="2988"/>
                    </a:lnTo>
                    <a:lnTo>
                      <a:pt x="501" y="2919"/>
                    </a:lnTo>
                    <a:lnTo>
                      <a:pt x="431" y="2845"/>
                    </a:lnTo>
                    <a:lnTo>
                      <a:pt x="366" y="2768"/>
                    </a:lnTo>
                    <a:lnTo>
                      <a:pt x="307" y="2687"/>
                    </a:lnTo>
                    <a:lnTo>
                      <a:pt x="251" y="2602"/>
                    </a:lnTo>
                    <a:lnTo>
                      <a:pt x="200" y="2514"/>
                    </a:lnTo>
                    <a:lnTo>
                      <a:pt x="155" y="2422"/>
                    </a:lnTo>
                    <a:lnTo>
                      <a:pt x="115" y="2328"/>
                    </a:lnTo>
                    <a:lnTo>
                      <a:pt x="81" y="2231"/>
                    </a:lnTo>
                    <a:lnTo>
                      <a:pt x="53" y="2131"/>
                    </a:lnTo>
                    <a:lnTo>
                      <a:pt x="30" y="2029"/>
                    </a:lnTo>
                    <a:lnTo>
                      <a:pt x="13" y="1925"/>
                    </a:lnTo>
                    <a:lnTo>
                      <a:pt x="3" y="1818"/>
                    </a:lnTo>
                    <a:lnTo>
                      <a:pt x="0" y="1710"/>
                    </a:lnTo>
                    <a:lnTo>
                      <a:pt x="3" y="1602"/>
                    </a:lnTo>
                    <a:lnTo>
                      <a:pt x="13" y="1495"/>
                    </a:lnTo>
                    <a:lnTo>
                      <a:pt x="30" y="1392"/>
                    </a:lnTo>
                    <a:lnTo>
                      <a:pt x="53" y="1289"/>
                    </a:lnTo>
                    <a:lnTo>
                      <a:pt x="81" y="1189"/>
                    </a:lnTo>
                    <a:lnTo>
                      <a:pt x="115" y="1092"/>
                    </a:lnTo>
                    <a:lnTo>
                      <a:pt x="155" y="998"/>
                    </a:lnTo>
                    <a:lnTo>
                      <a:pt x="200" y="906"/>
                    </a:lnTo>
                    <a:lnTo>
                      <a:pt x="251" y="818"/>
                    </a:lnTo>
                    <a:lnTo>
                      <a:pt x="307" y="734"/>
                    </a:lnTo>
                    <a:lnTo>
                      <a:pt x="366" y="652"/>
                    </a:lnTo>
                    <a:lnTo>
                      <a:pt x="431" y="575"/>
                    </a:lnTo>
                    <a:lnTo>
                      <a:pt x="501" y="501"/>
                    </a:lnTo>
                    <a:lnTo>
                      <a:pt x="575" y="432"/>
                    </a:lnTo>
                    <a:lnTo>
                      <a:pt x="653" y="367"/>
                    </a:lnTo>
                    <a:lnTo>
                      <a:pt x="733" y="306"/>
                    </a:lnTo>
                    <a:lnTo>
                      <a:pt x="818" y="251"/>
                    </a:lnTo>
                    <a:lnTo>
                      <a:pt x="907" y="201"/>
                    </a:lnTo>
                    <a:lnTo>
                      <a:pt x="998" y="156"/>
                    </a:lnTo>
                    <a:lnTo>
                      <a:pt x="1092" y="115"/>
                    </a:lnTo>
                    <a:lnTo>
                      <a:pt x="1190" y="81"/>
                    </a:lnTo>
                    <a:lnTo>
                      <a:pt x="1289" y="52"/>
                    </a:lnTo>
                    <a:lnTo>
                      <a:pt x="1391" y="30"/>
                    </a:lnTo>
                    <a:lnTo>
                      <a:pt x="1496" y="14"/>
                    </a:lnTo>
                    <a:lnTo>
                      <a:pt x="1602" y="4"/>
                    </a:lnTo>
                    <a:lnTo>
                      <a:pt x="1710" y="0"/>
                    </a:lnTo>
                    <a:close/>
                  </a:path>
                </a:pathLst>
              </a:custGeom>
              <a:grpFill/>
              <a:ln w="0">
                <a:solidFill>
                  <a:srgbClr val="FF8C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42" name="Freeform 39"/>
              <p:cNvSpPr>
                <a:spLocks/>
              </p:cNvSpPr>
              <p:nvPr/>
            </p:nvSpPr>
            <p:spPr bwMode="auto">
              <a:xfrm>
                <a:off x="5791" y="865"/>
                <a:ext cx="220" cy="220"/>
              </a:xfrm>
              <a:custGeom>
                <a:avLst/>
                <a:gdLst>
                  <a:gd name="T0" fmla="*/ 0 w 2203"/>
                  <a:gd name="T1" fmla="*/ 0 h 2202"/>
                  <a:gd name="T2" fmla="*/ 1855 w 2203"/>
                  <a:gd name="T3" fmla="*/ 497 h 2202"/>
                  <a:gd name="T4" fmla="*/ 1422 w 2203"/>
                  <a:gd name="T5" fmla="*/ 929 h 2202"/>
                  <a:gd name="T6" fmla="*/ 1521 w 2203"/>
                  <a:gd name="T7" fmla="*/ 1030 h 2202"/>
                  <a:gd name="T8" fmla="*/ 2203 w 2203"/>
                  <a:gd name="T9" fmla="*/ 1711 h 2202"/>
                  <a:gd name="T10" fmla="*/ 1711 w 2203"/>
                  <a:gd name="T11" fmla="*/ 2202 h 2202"/>
                  <a:gd name="T12" fmla="*/ 1029 w 2203"/>
                  <a:gd name="T13" fmla="*/ 1521 h 2202"/>
                  <a:gd name="T14" fmla="*/ 930 w 2203"/>
                  <a:gd name="T15" fmla="*/ 1421 h 2202"/>
                  <a:gd name="T16" fmla="*/ 497 w 2203"/>
                  <a:gd name="T17" fmla="*/ 1855 h 2202"/>
                  <a:gd name="T18" fmla="*/ 0 w 2203"/>
                  <a:gd name="T19" fmla="*/ 0 h 2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3" h="2202">
                    <a:moveTo>
                      <a:pt x="0" y="0"/>
                    </a:moveTo>
                    <a:lnTo>
                      <a:pt x="1855" y="497"/>
                    </a:lnTo>
                    <a:lnTo>
                      <a:pt x="1422" y="929"/>
                    </a:lnTo>
                    <a:lnTo>
                      <a:pt x="1521" y="1030"/>
                    </a:lnTo>
                    <a:lnTo>
                      <a:pt x="2203" y="1711"/>
                    </a:lnTo>
                    <a:lnTo>
                      <a:pt x="1711" y="2202"/>
                    </a:lnTo>
                    <a:lnTo>
                      <a:pt x="1029" y="1521"/>
                    </a:lnTo>
                    <a:lnTo>
                      <a:pt x="930" y="1421"/>
                    </a:lnTo>
                    <a:lnTo>
                      <a:pt x="497" y="1855"/>
                    </a:lnTo>
                    <a:lnTo>
                      <a:pt x="0" y="0"/>
                    </a:lnTo>
                    <a:close/>
                  </a:path>
                </a:pathLst>
              </a:custGeom>
              <a:grpFill/>
              <a:ln w="190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grpSp>
      <p:grpSp>
        <p:nvGrpSpPr>
          <p:cNvPr id="151" name="Group 150"/>
          <p:cNvGrpSpPr/>
          <p:nvPr/>
        </p:nvGrpSpPr>
        <p:grpSpPr>
          <a:xfrm>
            <a:off x="452494" y="1580816"/>
            <a:ext cx="1887864" cy="2747797"/>
            <a:chOff x="452494" y="1580816"/>
            <a:chExt cx="1887864" cy="2747797"/>
          </a:xfrm>
        </p:grpSpPr>
        <p:sp>
          <p:nvSpPr>
            <p:cNvPr id="152" name="Text Placeholder 12"/>
            <p:cNvSpPr txBox="1">
              <a:spLocks/>
            </p:cNvSpPr>
            <p:nvPr/>
          </p:nvSpPr>
          <p:spPr>
            <a:xfrm>
              <a:off x="839756" y="3928041"/>
              <a:ext cx="930174" cy="2769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90000"/>
                </a:lnSpc>
                <a:spcBef>
                  <a:spcPts val="0"/>
                </a:spcBef>
                <a:spcAft>
                  <a:spcPts val="900"/>
                </a:spcAft>
                <a:buClrTx/>
                <a:buSzPct val="90000"/>
                <a:buFont typeface="Arial" pitchFamily="34" charset="0"/>
                <a:buNone/>
                <a:tabLst/>
                <a:defRPr/>
              </a:pPr>
              <a:r>
                <a:rPr kumimoji="0" lang="en-US" sz="2000" b="1" i="0" u="none" strike="noStrike" kern="1200" cap="none" spc="0" normalizeH="0" baseline="0" noProof="0" dirty="0">
                  <a:ln>
                    <a:noFill/>
                  </a:ln>
                  <a:solidFill>
                    <a:srgbClr val="00188F"/>
                  </a:solidFill>
                  <a:effectLst/>
                  <a:uLnTx/>
                  <a:uFillTx/>
                  <a:latin typeface="Segoe UI" pitchFamily="34" charset="0"/>
                  <a:ea typeface="Segoe UI" pitchFamily="34" charset="0"/>
                  <a:cs typeface="Segoe UI" pitchFamily="34" charset="0"/>
                </a:rPr>
                <a:t>Users</a:t>
              </a:r>
            </a:p>
          </p:txBody>
        </p:sp>
        <p:sp>
          <p:nvSpPr>
            <p:cNvPr id="153" name="Rectangle 152"/>
            <p:cNvSpPr/>
            <p:nvPr/>
          </p:nvSpPr>
          <p:spPr bwMode="auto">
            <a:xfrm>
              <a:off x="452494" y="1580816"/>
              <a:ext cx="1887864" cy="2747797"/>
            </a:xfrm>
            <a:prstGeom prst="rect">
              <a:avLst/>
            </a:prstGeom>
            <a:noFill/>
            <a:ln w="10795" cap="flat" cmpd="sng" algn="ctr">
              <a:solidFill>
                <a:srgbClr val="00187B"/>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nvGrpSpPr>
            <p:cNvPr id="154" name="Group 13"/>
            <p:cNvGrpSpPr>
              <a:grpSpLocks noChangeAspect="1"/>
            </p:cNvGrpSpPr>
            <p:nvPr/>
          </p:nvGrpSpPr>
          <p:grpSpPr bwMode="auto">
            <a:xfrm>
              <a:off x="657225" y="1822450"/>
              <a:ext cx="1330324" cy="1971675"/>
              <a:chOff x="414" y="1148"/>
              <a:chExt cx="838" cy="1242"/>
            </a:xfrm>
          </p:grpSpPr>
          <p:sp>
            <p:nvSpPr>
              <p:cNvPr id="155" name="AutoShape 12"/>
              <p:cNvSpPr>
                <a:spLocks noChangeAspect="1" noChangeArrowheads="1" noTextEdit="1"/>
              </p:cNvSpPr>
              <p:nvPr/>
            </p:nvSpPr>
            <p:spPr bwMode="auto">
              <a:xfrm>
                <a:off x="429" y="1148"/>
                <a:ext cx="823" cy="1242"/>
              </a:xfrm>
              <a:prstGeom prst="rect">
                <a:avLst/>
              </a:prstGeom>
              <a:blipFill dpi="0" rotWithShape="1">
                <a:blip r:embed="rId3">
                  <a:alphaModFix amt="95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56" name="Freeform 14"/>
              <p:cNvSpPr>
                <a:spLocks noEditPoints="1"/>
              </p:cNvSpPr>
              <p:nvPr/>
            </p:nvSpPr>
            <p:spPr bwMode="auto">
              <a:xfrm>
                <a:off x="414" y="1148"/>
                <a:ext cx="828" cy="1241"/>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rgbClr val="0018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grpSp>
      <p:sp>
        <p:nvSpPr>
          <p:cNvPr id="157" name="Text Placeholder 12"/>
          <p:cNvSpPr txBox="1">
            <a:spLocks/>
          </p:cNvSpPr>
          <p:nvPr/>
        </p:nvSpPr>
        <p:spPr>
          <a:xfrm>
            <a:off x="8915400" y="1620744"/>
            <a:ext cx="2917832" cy="1278812"/>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b="1" spc="0" dirty="0" smtClean="0">
                <a:solidFill>
                  <a:srgbClr val="969696">
                    <a:lumMod val="50000"/>
                  </a:srgbClr>
                </a:solidFill>
                <a:latin typeface="Segoe UI" pitchFamily="34" charset="0"/>
                <a:ea typeface="Segoe UI" pitchFamily="34" charset="0"/>
                <a:cs typeface="Segoe UI" pitchFamily="34" charset="0"/>
              </a:rPr>
              <a:t>Empower users</a:t>
            </a:r>
            <a:endParaRPr lang="en-US" sz="2000" b="1" spc="0" dirty="0">
              <a:solidFill>
                <a:srgbClr val="969696">
                  <a:lumMod val="50000"/>
                </a:srgbClr>
              </a:solidFill>
              <a:latin typeface="Segoe UI" pitchFamily="34" charset="0"/>
              <a:ea typeface="Segoe UI" pitchFamily="34" charset="0"/>
              <a:cs typeface="Segoe UI" pitchFamily="34" charset="0"/>
            </a:endParaRPr>
          </a:p>
          <a:p>
            <a:r>
              <a:rPr lang="en-US" sz="1600" spc="0" dirty="0" smtClean="0">
                <a:solidFill>
                  <a:srgbClr val="969696">
                    <a:lumMod val="50000"/>
                  </a:srgbClr>
                </a:solidFill>
                <a:latin typeface="Segoe UI"/>
                <a:ea typeface="Segoe UI" pitchFamily="34" charset="0"/>
                <a:cs typeface="Segoe UI" pitchFamily="34" charset="0"/>
              </a:rPr>
              <a:t>Allow </a:t>
            </a:r>
            <a:r>
              <a:rPr lang="en-US" sz="1600" spc="0" dirty="0">
                <a:solidFill>
                  <a:srgbClr val="969696">
                    <a:lumMod val="50000"/>
                  </a:srgbClr>
                </a:solidFill>
                <a:latin typeface="Segoe UI"/>
                <a:ea typeface="Segoe UI" pitchFamily="34" charset="0"/>
                <a:cs typeface="Segoe UI" pitchFamily="34" charset="0"/>
              </a:rPr>
              <a:t>users to work on the </a:t>
            </a:r>
            <a:r>
              <a:rPr lang="en-US" sz="1600" spc="0" dirty="0" smtClean="0">
                <a:solidFill>
                  <a:srgbClr val="969696">
                    <a:lumMod val="50000"/>
                  </a:srgbClr>
                </a:solidFill>
                <a:latin typeface="Segoe UI"/>
                <a:ea typeface="Segoe UI" pitchFamily="34" charset="0"/>
                <a:cs typeface="Segoe UI" pitchFamily="34" charset="0"/>
              </a:rPr>
              <a:t>devices </a:t>
            </a:r>
            <a:r>
              <a:rPr lang="en-US" sz="1600" spc="0" dirty="0">
                <a:solidFill>
                  <a:srgbClr val="969696">
                    <a:lumMod val="50000"/>
                  </a:srgbClr>
                </a:solidFill>
                <a:latin typeface="Segoe UI"/>
                <a:ea typeface="Segoe UI" pitchFamily="34" charset="0"/>
                <a:cs typeface="Segoe UI" pitchFamily="34" charset="0"/>
              </a:rPr>
              <a:t>of </a:t>
            </a:r>
            <a:r>
              <a:rPr lang="en-US" sz="1600" spc="0" dirty="0" smtClean="0">
                <a:solidFill>
                  <a:srgbClr val="969696">
                    <a:lumMod val="50000"/>
                  </a:srgbClr>
                </a:solidFill>
                <a:latin typeface="Segoe UI"/>
                <a:ea typeface="Segoe UI" pitchFamily="34" charset="0"/>
                <a:cs typeface="Segoe UI" pitchFamily="34" charset="0"/>
              </a:rPr>
              <a:t>their choice and provide </a:t>
            </a:r>
            <a:r>
              <a:rPr lang="en-US" sz="1600" spc="0" dirty="0">
                <a:solidFill>
                  <a:srgbClr val="969696">
                    <a:lumMod val="50000"/>
                  </a:srgbClr>
                </a:solidFill>
                <a:latin typeface="Segoe UI"/>
                <a:ea typeface="Segoe UI" pitchFamily="34" charset="0"/>
                <a:cs typeface="Segoe UI" pitchFamily="34" charset="0"/>
              </a:rPr>
              <a:t>consistent access to corporate </a:t>
            </a:r>
            <a:r>
              <a:rPr lang="en-US" sz="1600" spc="0" dirty="0" smtClean="0">
                <a:solidFill>
                  <a:srgbClr val="969696">
                    <a:lumMod val="50000"/>
                  </a:srgbClr>
                </a:solidFill>
                <a:latin typeface="Segoe UI"/>
                <a:ea typeface="Segoe UI" pitchFamily="34" charset="0"/>
                <a:cs typeface="Segoe UI" pitchFamily="34" charset="0"/>
              </a:rPr>
              <a:t>resources.</a:t>
            </a:r>
            <a:endParaRPr lang="en-US" sz="1600" spc="0" dirty="0">
              <a:solidFill>
                <a:srgbClr val="969696">
                  <a:lumMod val="50000"/>
                </a:srgbClr>
              </a:solidFill>
              <a:latin typeface="Segoe UI"/>
              <a:ea typeface="Segoe UI" pitchFamily="34" charset="0"/>
              <a:cs typeface="Segoe UI" pitchFamily="34" charset="0"/>
            </a:endParaRPr>
          </a:p>
        </p:txBody>
      </p:sp>
      <p:sp>
        <p:nvSpPr>
          <p:cNvPr id="158" name="Text Placeholder 12"/>
          <p:cNvSpPr txBox="1">
            <a:spLocks/>
          </p:cNvSpPr>
          <p:nvPr/>
        </p:nvSpPr>
        <p:spPr>
          <a:xfrm>
            <a:off x="8915400" y="3318665"/>
            <a:ext cx="2918668" cy="1095685"/>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295">
              <a:spcAft>
                <a:spcPts val="1224"/>
              </a:spcAft>
              <a:defRPr/>
            </a:pPr>
            <a:r>
              <a:rPr lang="en-US" sz="2000" b="1" spc="0" dirty="0" smtClean="0">
                <a:solidFill>
                  <a:srgbClr val="969696">
                    <a:lumMod val="50000"/>
                  </a:srgbClr>
                </a:solidFill>
                <a:latin typeface="Segoe UI" pitchFamily="34" charset="0"/>
                <a:ea typeface="Segoe UI" pitchFamily="34" charset="0"/>
                <a:cs typeface="Segoe UI" pitchFamily="34" charset="0"/>
              </a:rPr>
              <a:t>Unify your environment</a:t>
            </a:r>
          </a:p>
          <a:p>
            <a:pPr defTabSz="1243295">
              <a:spcAft>
                <a:spcPts val="1224"/>
              </a:spcAft>
              <a:defRPr/>
            </a:pPr>
            <a:r>
              <a:rPr lang="en-US" sz="1600" spc="0" dirty="0">
                <a:solidFill>
                  <a:srgbClr val="969696">
                    <a:lumMod val="50000"/>
                  </a:srgbClr>
                </a:solidFill>
                <a:latin typeface="Segoe UI"/>
                <a:ea typeface="Segoe UI" pitchFamily="34" charset="0"/>
                <a:cs typeface="Segoe UI" pitchFamily="34" charset="0"/>
              </a:rPr>
              <a:t>Deliver </a:t>
            </a:r>
            <a:r>
              <a:rPr lang="en-US" sz="1600" spc="0" dirty="0" smtClean="0">
                <a:solidFill>
                  <a:srgbClr val="969696">
                    <a:lumMod val="50000"/>
                  </a:srgbClr>
                </a:solidFill>
                <a:latin typeface="Segoe UI"/>
                <a:ea typeface="Segoe UI" pitchFamily="34" charset="0"/>
                <a:cs typeface="Segoe UI" pitchFamily="34" charset="0"/>
              </a:rPr>
              <a:t>a unified application </a:t>
            </a:r>
            <a:r>
              <a:rPr lang="en-US" sz="1600" spc="0" dirty="0">
                <a:solidFill>
                  <a:srgbClr val="969696">
                    <a:lumMod val="50000"/>
                  </a:srgbClr>
                </a:solidFill>
                <a:latin typeface="Segoe UI"/>
                <a:ea typeface="Segoe UI" pitchFamily="34" charset="0"/>
                <a:cs typeface="Segoe UI" pitchFamily="34" charset="0"/>
              </a:rPr>
              <a:t>and device </a:t>
            </a:r>
            <a:r>
              <a:rPr lang="en-US" sz="1600" spc="0" dirty="0" smtClean="0">
                <a:solidFill>
                  <a:srgbClr val="969696">
                    <a:lumMod val="50000"/>
                  </a:srgbClr>
                </a:solidFill>
                <a:latin typeface="Segoe UI"/>
                <a:ea typeface="Segoe UI" pitchFamily="34" charset="0"/>
                <a:cs typeface="Segoe UI" pitchFamily="34" charset="0"/>
              </a:rPr>
              <a:t>management</a:t>
            </a:r>
            <a:r>
              <a:rPr lang="en-US" sz="1600" spc="0" dirty="0" smtClean="0">
                <a:solidFill>
                  <a:srgbClr val="00188F"/>
                </a:solidFill>
                <a:latin typeface="Segoe UI"/>
                <a:ea typeface="Segoe UI" pitchFamily="34" charset="0"/>
                <a:cs typeface="Segoe UI" pitchFamily="34" charset="0"/>
              </a:rPr>
              <a:t> </a:t>
            </a:r>
            <a:r>
              <a:rPr lang="en-US" sz="1600" spc="0" dirty="0" smtClean="0">
                <a:solidFill>
                  <a:srgbClr val="969696">
                    <a:lumMod val="50000"/>
                  </a:srgbClr>
                </a:solidFill>
                <a:latin typeface="Segoe UI"/>
                <a:ea typeface="Segoe UI" pitchFamily="34" charset="0"/>
                <a:cs typeface="Segoe UI" pitchFamily="34" charset="0"/>
              </a:rPr>
              <a:t>on-premises and in the cloud.</a:t>
            </a:r>
          </a:p>
        </p:txBody>
      </p:sp>
      <p:sp>
        <p:nvSpPr>
          <p:cNvPr id="159" name="Text Placeholder 12"/>
          <p:cNvSpPr txBox="1">
            <a:spLocks/>
          </p:cNvSpPr>
          <p:nvPr/>
        </p:nvSpPr>
        <p:spPr>
          <a:xfrm>
            <a:off x="8915400" y="4833459"/>
            <a:ext cx="2918668" cy="874085"/>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295">
              <a:spcAft>
                <a:spcPts val="1224"/>
              </a:spcAft>
              <a:defRPr/>
            </a:pPr>
            <a:r>
              <a:rPr lang="en-US" sz="2000" b="1" spc="0" dirty="0" smtClean="0">
                <a:solidFill>
                  <a:srgbClr val="969696">
                    <a:lumMod val="50000"/>
                  </a:srgbClr>
                </a:solidFill>
                <a:latin typeface="Segoe UI"/>
              </a:rPr>
              <a:t>Protect your </a:t>
            </a:r>
            <a:r>
              <a:rPr lang="en-US" sz="2000" b="1" spc="0" dirty="0">
                <a:solidFill>
                  <a:srgbClr val="969696">
                    <a:lumMod val="50000"/>
                  </a:srgbClr>
                </a:solidFill>
                <a:latin typeface="Segoe UI"/>
              </a:rPr>
              <a:t>data</a:t>
            </a:r>
          </a:p>
          <a:p>
            <a:pPr defTabSz="1243295">
              <a:spcAft>
                <a:spcPts val="1224"/>
              </a:spcAft>
              <a:defRPr/>
            </a:pPr>
            <a:r>
              <a:rPr lang="en-US" sz="1600" spc="0" dirty="0" smtClean="0">
                <a:solidFill>
                  <a:srgbClr val="969696">
                    <a:lumMod val="50000"/>
                  </a:srgbClr>
                </a:solidFill>
                <a:latin typeface="Segoe UI"/>
              </a:rPr>
              <a:t>Help protect corporate information and manage risk.</a:t>
            </a:r>
            <a:endParaRPr lang="en-US" sz="1600" spc="0" dirty="0">
              <a:solidFill>
                <a:srgbClr val="969696">
                  <a:lumMod val="50000"/>
                </a:srgbClr>
              </a:solidFill>
              <a:latin typeface="Segoe UI"/>
            </a:endParaRPr>
          </a:p>
        </p:txBody>
      </p:sp>
      <p:sp>
        <p:nvSpPr>
          <p:cNvPr id="160" name="Freeform 12"/>
          <p:cNvSpPr>
            <a:spLocks noEditPoints="1"/>
          </p:cNvSpPr>
          <p:nvPr/>
        </p:nvSpPr>
        <p:spPr bwMode="auto">
          <a:xfrm>
            <a:off x="2907569" y="4480560"/>
            <a:ext cx="2863085" cy="1007135"/>
          </a:xfrm>
          <a:custGeom>
            <a:avLst/>
            <a:gdLst>
              <a:gd name="T0" fmla="*/ 341 w 1606"/>
              <a:gd name="T1" fmla="*/ 302 h 444"/>
              <a:gd name="T2" fmla="*/ 360 w 1606"/>
              <a:gd name="T3" fmla="*/ 276 h 444"/>
              <a:gd name="T4" fmla="*/ 388 w 1606"/>
              <a:gd name="T5" fmla="*/ 116 h 444"/>
              <a:gd name="T6" fmla="*/ 499 w 1606"/>
              <a:gd name="T7" fmla="*/ 50 h 444"/>
              <a:gd name="T8" fmla="*/ 263 w 1606"/>
              <a:gd name="T9" fmla="*/ 91 h 444"/>
              <a:gd name="T10" fmla="*/ 98 w 1606"/>
              <a:gd name="T11" fmla="*/ 187 h 444"/>
              <a:gd name="T12" fmla="*/ 61 w 1606"/>
              <a:gd name="T13" fmla="*/ 339 h 444"/>
              <a:gd name="T14" fmla="*/ 134 w 1606"/>
              <a:gd name="T15" fmla="*/ 365 h 444"/>
              <a:gd name="T16" fmla="*/ 405 w 1606"/>
              <a:gd name="T17" fmla="*/ 411 h 444"/>
              <a:gd name="T18" fmla="*/ 340 w 1606"/>
              <a:gd name="T19" fmla="*/ 323 h 444"/>
              <a:gd name="T20" fmla="*/ 463 w 1606"/>
              <a:gd name="T21" fmla="*/ 158 h 444"/>
              <a:gd name="T22" fmla="*/ 519 w 1606"/>
              <a:gd name="T23" fmla="*/ 168 h 444"/>
              <a:gd name="T24" fmla="*/ 519 w 1606"/>
              <a:gd name="T25" fmla="*/ 214 h 444"/>
              <a:gd name="T26" fmla="*/ 1500 w 1606"/>
              <a:gd name="T27" fmla="*/ 174 h 444"/>
              <a:gd name="T28" fmla="*/ 1216 w 1606"/>
              <a:gd name="T29" fmla="*/ 92 h 444"/>
              <a:gd name="T30" fmla="*/ 1046 w 1606"/>
              <a:gd name="T31" fmla="*/ 147 h 444"/>
              <a:gd name="T32" fmla="*/ 821 w 1606"/>
              <a:gd name="T33" fmla="*/ 110 h 444"/>
              <a:gd name="T34" fmla="*/ 408 w 1606"/>
              <a:gd name="T35" fmla="*/ 290 h 444"/>
              <a:gd name="T36" fmla="*/ 600 w 1606"/>
              <a:gd name="T37" fmla="*/ 394 h 444"/>
              <a:gd name="T38" fmla="*/ 823 w 1606"/>
              <a:gd name="T39" fmla="*/ 287 h 444"/>
              <a:gd name="T40" fmla="*/ 1014 w 1606"/>
              <a:gd name="T41" fmla="*/ 340 h 444"/>
              <a:gd name="T42" fmla="*/ 1087 w 1606"/>
              <a:gd name="T43" fmla="*/ 366 h 444"/>
              <a:gd name="T44" fmla="*/ 1358 w 1606"/>
              <a:gd name="T45" fmla="*/ 412 h 444"/>
              <a:gd name="T46" fmla="*/ 1502 w 1606"/>
              <a:gd name="T47" fmla="*/ 320 h 444"/>
              <a:gd name="T48" fmla="*/ 1528 w 1606"/>
              <a:gd name="T49" fmla="*/ 169 h 444"/>
              <a:gd name="T50" fmla="*/ 448 w 1606"/>
              <a:gd name="T51" fmla="*/ 239 h 444"/>
              <a:gd name="T52" fmla="*/ 448 w 1606"/>
              <a:gd name="T53" fmla="*/ 219 h 444"/>
              <a:gd name="T54" fmla="*/ 416 w 1606"/>
              <a:gd name="T55" fmla="*/ 171 h 444"/>
              <a:gd name="T56" fmla="*/ 417 w 1606"/>
              <a:gd name="T57" fmla="*/ 139 h 444"/>
              <a:gd name="T58" fmla="*/ 625 w 1606"/>
              <a:gd name="T59" fmla="*/ 58 h 444"/>
              <a:gd name="T60" fmla="*/ 625 w 1606"/>
              <a:gd name="T61" fmla="*/ 117 h 444"/>
              <a:gd name="T62" fmla="*/ 539 w 1606"/>
              <a:gd name="T63" fmla="*/ 212 h 444"/>
              <a:gd name="T64" fmla="*/ 539 w 1606"/>
              <a:gd name="T65" fmla="*/ 239 h 444"/>
              <a:gd name="T66" fmla="*/ 625 w 1606"/>
              <a:gd name="T67" fmla="*/ 339 h 444"/>
              <a:gd name="T68" fmla="*/ 462 w 1606"/>
              <a:gd name="T69" fmla="*/ 239 h 444"/>
              <a:gd name="T70" fmla="*/ 414 w 1606"/>
              <a:gd name="T71" fmla="*/ 273 h 444"/>
              <a:gd name="T72" fmla="*/ 471 w 1606"/>
              <a:gd name="T73" fmla="*/ 301 h 444"/>
              <a:gd name="T74" fmla="*/ 515 w 1606"/>
              <a:gd name="T75" fmla="*/ 249 h 444"/>
              <a:gd name="T76" fmla="*/ 498 w 1606"/>
              <a:gd name="T77" fmla="*/ 305 h 444"/>
              <a:gd name="T78" fmla="*/ 599 w 1606"/>
              <a:gd name="T79" fmla="*/ 379 h 444"/>
              <a:gd name="T80" fmla="*/ 415 w 1606"/>
              <a:gd name="T81" fmla="*/ 294 h 444"/>
              <a:gd name="T82" fmla="*/ 726 w 1606"/>
              <a:gd name="T83" fmla="*/ 342 h 444"/>
              <a:gd name="T84" fmla="*/ 1137 w 1606"/>
              <a:gd name="T85" fmla="*/ 256 h 444"/>
              <a:gd name="T86" fmla="*/ 771 w 1606"/>
              <a:gd name="T87" fmla="*/ 256 h 444"/>
              <a:gd name="T88" fmla="*/ 771 w 1606"/>
              <a:gd name="T89" fmla="*/ 127 h 444"/>
              <a:gd name="T90" fmla="*/ 1114 w 1606"/>
              <a:gd name="T91" fmla="*/ 168 h 444"/>
              <a:gd name="T92" fmla="*/ 1222 w 1606"/>
              <a:gd name="T93" fmla="*/ 2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6" h="444">
                <a:moveTo>
                  <a:pt x="340" y="323"/>
                </a:moveTo>
                <a:cubicBezTo>
                  <a:pt x="341" y="307"/>
                  <a:pt x="341" y="307"/>
                  <a:pt x="341" y="307"/>
                </a:cubicBezTo>
                <a:cubicBezTo>
                  <a:pt x="341" y="302"/>
                  <a:pt x="341" y="302"/>
                  <a:pt x="341" y="302"/>
                </a:cubicBezTo>
                <a:cubicBezTo>
                  <a:pt x="341" y="298"/>
                  <a:pt x="341" y="298"/>
                  <a:pt x="341" y="298"/>
                </a:cubicBezTo>
                <a:cubicBezTo>
                  <a:pt x="342" y="280"/>
                  <a:pt x="342" y="280"/>
                  <a:pt x="342" y="280"/>
                </a:cubicBezTo>
                <a:cubicBezTo>
                  <a:pt x="360" y="276"/>
                  <a:pt x="360" y="276"/>
                  <a:pt x="360" y="276"/>
                </a:cubicBezTo>
                <a:cubicBezTo>
                  <a:pt x="368" y="275"/>
                  <a:pt x="377" y="273"/>
                  <a:pt x="385" y="271"/>
                </a:cubicBezTo>
                <a:cubicBezTo>
                  <a:pt x="385" y="254"/>
                  <a:pt x="386" y="226"/>
                  <a:pt x="386" y="201"/>
                </a:cubicBezTo>
                <a:cubicBezTo>
                  <a:pt x="388" y="137"/>
                  <a:pt x="388" y="117"/>
                  <a:pt x="388" y="116"/>
                </a:cubicBezTo>
                <a:cubicBezTo>
                  <a:pt x="389" y="102"/>
                  <a:pt x="389" y="102"/>
                  <a:pt x="389" y="102"/>
                </a:cubicBezTo>
                <a:cubicBezTo>
                  <a:pt x="401" y="96"/>
                  <a:pt x="401" y="96"/>
                  <a:pt x="401" y="96"/>
                </a:cubicBezTo>
                <a:cubicBezTo>
                  <a:pt x="499" y="50"/>
                  <a:pt x="499" y="50"/>
                  <a:pt x="499" y="50"/>
                </a:cubicBezTo>
                <a:cubicBezTo>
                  <a:pt x="466" y="20"/>
                  <a:pt x="420" y="4"/>
                  <a:pt x="373" y="12"/>
                </a:cubicBezTo>
                <a:cubicBezTo>
                  <a:pt x="324" y="20"/>
                  <a:pt x="284" y="50"/>
                  <a:pt x="263" y="91"/>
                </a:cubicBezTo>
                <a:cubicBezTo>
                  <a:pt x="263" y="91"/>
                  <a:pt x="263" y="91"/>
                  <a:pt x="263" y="91"/>
                </a:cubicBezTo>
                <a:cubicBezTo>
                  <a:pt x="247" y="72"/>
                  <a:pt x="224" y="59"/>
                  <a:pt x="197" y="57"/>
                </a:cubicBezTo>
                <a:cubicBezTo>
                  <a:pt x="144" y="53"/>
                  <a:pt x="97" y="92"/>
                  <a:pt x="92" y="146"/>
                </a:cubicBezTo>
                <a:cubicBezTo>
                  <a:pt x="91" y="160"/>
                  <a:pt x="93" y="174"/>
                  <a:pt x="98" y="187"/>
                </a:cubicBezTo>
                <a:cubicBezTo>
                  <a:pt x="98" y="187"/>
                  <a:pt x="98" y="187"/>
                  <a:pt x="98" y="187"/>
                </a:cubicBezTo>
                <a:cubicBezTo>
                  <a:pt x="63" y="183"/>
                  <a:pt x="28" y="203"/>
                  <a:pt x="15" y="237"/>
                </a:cubicBezTo>
                <a:cubicBezTo>
                  <a:pt x="0" y="278"/>
                  <a:pt x="20" y="324"/>
                  <a:pt x="61" y="339"/>
                </a:cubicBezTo>
                <a:cubicBezTo>
                  <a:pt x="82" y="348"/>
                  <a:pt x="105" y="346"/>
                  <a:pt x="124" y="337"/>
                </a:cubicBezTo>
                <a:cubicBezTo>
                  <a:pt x="124" y="336"/>
                  <a:pt x="124" y="336"/>
                  <a:pt x="124" y="336"/>
                </a:cubicBezTo>
                <a:cubicBezTo>
                  <a:pt x="126" y="346"/>
                  <a:pt x="129" y="356"/>
                  <a:pt x="134" y="365"/>
                </a:cubicBezTo>
                <a:cubicBezTo>
                  <a:pt x="161" y="420"/>
                  <a:pt x="229" y="443"/>
                  <a:pt x="284" y="415"/>
                </a:cubicBezTo>
                <a:cubicBezTo>
                  <a:pt x="300" y="407"/>
                  <a:pt x="313" y="396"/>
                  <a:pt x="323" y="383"/>
                </a:cubicBezTo>
                <a:cubicBezTo>
                  <a:pt x="341" y="409"/>
                  <a:pt x="374" y="421"/>
                  <a:pt x="405" y="411"/>
                </a:cubicBezTo>
                <a:cubicBezTo>
                  <a:pt x="428" y="404"/>
                  <a:pt x="445" y="386"/>
                  <a:pt x="452" y="365"/>
                </a:cubicBezTo>
                <a:cubicBezTo>
                  <a:pt x="420" y="353"/>
                  <a:pt x="388" y="341"/>
                  <a:pt x="356" y="329"/>
                </a:cubicBezTo>
                <a:lnTo>
                  <a:pt x="340" y="323"/>
                </a:lnTo>
                <a:close/>
                <a:moveTo>
                  <a:pt x="519" y="99"/>
                </a:moveTo>
                <a:cubicBezTo>
                  <a:pt x="464" y="121"/>
                  <a:pt x="464" y="121"/>
                  <a:pt x="464" y="121"/>
                </a:cubicBezTo>
                <a:cubicBezTo>
                  <a:pt x="463" y="158"/>
                  <a:pt x="463" y="158"/>
                  <a:pt x="463" y="158"/>
                </a:cubicBezTo>
                <a:cubicBezTo>
                  <a:pt x="519" y="144"/>
                  <a:pt x="519" y="144"/>
                  <a:pt x="519" y="144"/>
                </a:cubicBezTo>
                <a:lnTo>
                  <a:pt x="519" y="99"/>
                </a:lnTo>
                <a:close/>
                <a:moveTo>
                  <a:pt x="519" y="168"/>
                </a:moveTo>
                <a:cubicBezTo>
                  <a:pt x="463" y="180"/>
                  <a:pt x="463" y="180"/>
                  <a:pt x="463" y="180"/>
                </a:cubicBezTo>
                <a:cubicBezTo>
                  <a:pt x="463" y="218"/>
                  <a:pt x="463" y="218"/>
                  <a:pt x="463" y="218"/>
                </a:cubicBezTo>
                <a:cubicBezTo>
                  <a:pt x="519" y="214"/>
                  <a:pt x="519" y="214"/>
                  <a:pt x="519" y="214"/>
                </a:cubicBezTo>
                <a:lnTo>
                  <a:pt x="519" y="168"/>
                </a:lnTo>
                <a:close/>
                <a:moveTo>
                  <a:pt x="1528" y="169"/>
                </a:moveTo>
                <a:cubicBezTo>
                  <a:pt x="1518" y="169"/>
                  <a:pt x="1509" y="170"/>
                  <a:pt x="1500" y="174"/>
                </a:cubicBezTo>
                <a:cubicBezTo>
                  <a:pt x="1501" y="162"/>
                  <a:pt x="1501" y="150"/>
                  <a:pt x="1499" y="138"/>
                </a:cubicBezTo>
                <a:cubicBezTo>
                  <a:pt x="1486" y="56"/>
                  <a:pt x="1409" y="0"/>
                  <a:pt x="1326" y="13"/>
                </a:cubicBezTo>
                <a:cubicBezTo>
                  <a:pt x="1277" y="21"/>
                  <a:pt x="1238" y="51"/>
                  <a:pt x="1216" y="92"/>
                </a:cubicBezTo>
                <a:cubicBezTo>
                  <a:pt x="1216" y="92"/>
                  <a:pt x="1216" y="92"/>
                  <a:pt x="1216" y="92"/>
                </a:cubicBezTo>
                <a:cubicBezTo>
                  <a:pt x="1200" y="73"/>
                  <a:pt x="1177" y="60"/>
                  <a:pt x="1151" y="58"/>
                </a:cubicBezTo>
                <a:cubicBezTo>
                  <a:pt x="1097" y="54"/>
                  <a:pt x="1050" y="93"/>
                  <a:pt x="1046" y="147"/>
                </a:cubicBezTo>
                <a:cubicBezTo>
                  <a:pt x="1046" y="149"/>
                  <a:pt x="1046" y="152"/>
                  <a:pt x="1046" y="155"/>
                </a:cubicBezTo>
                <a:cubicBezTo>
                  <a:pt x="821" y="155"/>
                  <a:pt x="821" y="155"/>
                  <a:pt x="821" y="155"/>
                </a:cubicBezTo>
                <a:cubicBezTo>
                  <a:pt x="821" y="135"/>
                  <a:pt x="821" y="118"/>
                  <a:pt x="821" y="110"/>
                </a:cubicBezTo>
                <a:cubicBezTo>
                  <a:pt x="625" y="15"/>
                  <a:pt x="625" y="15"/>
                  <a:pt x="625" y="15"/>
                </a:cubicBezTo>
                <a:cubicBezTo>
                  <a:pt x="411" y="117"/>
                  <a:pt x="411" y="117"/>
                  <a:pt x="411" y="117"/>
                </a:cubicBezTo>
                <a:cubicBezTo>
                  <a:pt x="411" y="120"/>
                  <a:pt x="408" y="287"/>
                  <a:pt x="408" y="290"/>
                </a:cubicBezTo>
                <a:cubicBezTo>
                  <a:pt x="393" y="293"/>
                  <a:pt x="379" y="296"/>
                  <a:pt x="364" y="299"/>
                </a:cubicBezTo>
                <a:cubicBezTo>
                  <a:pt x="364" y="302"/>
                  <a:pt x="364" y="305"/>
                  <a:pt x="364" y="308"/>
                </a:cubicBezTo>
                <a:cubicBezTo>
                  <a:pt x="442" y="337"/>
                  <a:pt x="518" y="365"/>
                  <a:pt x="600" y="394"/>
                </a:cubicBezTo>
                <a:cubicBezTo>
                  <a:pt x="682" y="367"/>
                  <a:pt x="743" y="345"/>
                  <a:pt x="841" y="312"/>
                </a:cubicBezTo>
                <a:cubicBezTo>
                  <a:pt x="840" y="305"/>
                  <a:pt x="839" y="298"/>
                  <a:pt x="838" y="291"/>
                </a:cubicBezTo>
                <a:cubicBezTo>
                  <a:pt x="833" y="290"/>
                  <a:pt x="828" y="289"/>
                  <a:pt x="823" y="287"/>
                </a:cubicBezTo>
                <a:cubicBezTo>
                  <a:pt x="823" y="285"/>
                  <a:pt x="823" y="279"/>
                  <a:pt x="823" y="269"/>
                </a:cubicBezTo>
                <a:cubicBezTo>
                  <a:pt x="964" y="269"/>
                  <a:pt x="964" y="269"/>
                  <a:pt x="964" y="269"/>
                </a:cubicBezTo>
                <a:cubicBezTo>
                  <a:pt x="965" y="300"/>
                  <a:pt x="984" y="328"/>
                  <a:pt x="1014" y="340"/>
                </a:cubicBezTo>
                <a:cubicBezTo>
                  <a:pt x="1036" y="348"/>
                  <a:pt x="1059" y="347"/>
                  <a:pt x="1078" y="337"/>
                </a:cubicBezTo>
                <a:cubicBezTo>
                  <a:pt x="1078" y="337"/>
                  <a:pt x="1078" y="337"/>
                  <a:pt x="1078" y="337"/>
                </a:cubicBezTo>
                <a:cubicBezTo>
                  <a:pt x="1080" y="347"/>
                  <a:pt x="1083" y="357"/>
                  <a:pt x="1087" y="366"/>
                </a:cubicBezTo>
                <a:cubicBezTo>
                  <a:pt x="1115" y="421"/>
                  <a:pt x="1182" y="444"/>
                  <a:pt x="1238" y="416"/>
                </a:cubicBezTo>
                <a:cubicBezTo>
                  <a:pt x="1253" y="408"/>
                  <a:pt x="1266" y="397"/>
                  <a:pt x="1276" y="384"/>
                </a:cubicBezTo>
                <a:cubicBezTo>
                  <a:pt x="1294" y="410"/>
                  <a:pt x="1327" y="422"/>
                  <a:pt x="1358" y="412"/>
                </a:cubicBezTo>
                <a:cubicBezTo>
                  <a:pt x="1385" y="404"/>
                  <a:pt x="1403" y="382"/>
                  <a:pt x="1408" y="357"/>
                </a:cubicBezTo>
                <a:cubicBezTo>
                  <a:pt x="1427" y="373"/>
                  <a:pt x="1454" y="375"/>
                  <a:pt x="1476" y="362"/>
                </a:cubicBezTo>
                <a:cubicBezTo>
                  <a:pt x="1491" y="352"/>
                  <a:pt x="1500" y="337"/>
                  <a:pt x="1502" y="320"/>
                </a:cubicBezTo>
                <a:cubicBezTo>
                  <a:pt x="1510" y="323"/>
                  <a:pt x="1519" y="325"/>
                  <a:pt x="1528" y="325"/>
                </a:cubicBezTo>
                <a:cubicBezTo>
                  <a:pt x="1571" y="325"/>
                  <a:pt x="1606" y="290"/>
                  <a:pt x="1606" y="247"/>
                </a:cubicBezTo>
                <a:cubicBezTo>
                  <a:pt x="1606" y="204"/>
                  <a:pt x="1571" y="169"/>
                  <a:pt x="1528" y="169"/>
                </a:cubicBezTo>
                <a:close/>
                <a:moveTo>
                  <a:pt x="414" y="273"/>
                </a:moveTo>
                <a:cubicBezTo>
                  <a:pt x="447" y="278"/>
                  <a:pt x="447" y="278"/>
                  <a:pt x="447" y="278"/>
                </a:cubicBezTo>
                <a:cubicBezTo>
                  <a:pt x="448" y="239"/>
                  <a:pt x="448" y="239"/>
                  <a:pt x="448" y="239"/>
                </a:cubicBezTo>
                <a:cubicBezTo>
                  <a:pt x="414" y="239"/>
                  <a:pt x="414" y="239"/>
                  <a:pt x="414" y="239"/>
                </a:cubicBezTo>
                <a:cubicBezTo>
                  <a:pt x="415" y="232"/>
                  <a:pt x="415" y="229"/>
                  <a:pt x="415" y="222"/>
                </a:cubicBezTo>
                <a:cubicBezTo>
                  <a:pt x="448" y="219"/>
                  <a:pt x="448" y="219"/>
                  <a:pt x="448" y="219"/>
                </a:cubicBezTo>
                <a:cubicBezTo>
                  <a:pt x="449" y="183"/>
                  <a:pt x="449" y="183"/>
                  <a:pt x="449" y="183"/>
                </a:cubicBezTo>
                <a:cubicBezTo>
                  <a:pt x="416" y="190"/>
                  <a:pt x="416" y="190"/>
                  <a:pt x="416" y="190"/>
                </a:cubicBezTo>
                <a:cubicBezTo>
                  <a:pt x="416" y="184"/>
                  <a:pt x="416" y="176"/>
                  <a:pt x="416" y="171"/>
                </a:cubicBezTo>
                <a:cubicBezTo>
                  <a:pt x="449" y="162"/>
                  <a:pt x="449" y="162"/>
                  <a:pt x="449" y="162"/>
                </a:cubicBezTo>
                <a:cubicBezTo>
                  <a:pt x="449" y="126"/>
                  <a:pt x="449" y="126"/>
                  <a:pt x="449" y="126"/>
                </a:cubicBezTo>
                <a:cubicBezTo>
                  <a:pt x="417" y="139"/>
                  <a:pt x="417" y="139"/>
                  <a:pt x="417" y="139"/>
                </a:cubicBezTo>
                <a:cubicBezTo>
                  <a:pt x="417" y="129"/>
                  <a:pt x="417" y="122"/>
                  <a:pt x="417" y="121"/>
                </a:cubicBezTo>
                <a:cubicBezTo>
                  <a:pt x="625" y="25"/>
                  <a:pt x="625" y="25"/>
                  <a:pt x="625" y="25"/>
                </a:cubicBezTo>
                <a:cubicBezTo>
                  <a:pt x="625" y="58"/>
                  <a:pt x="625" y="58"/>
                  <a:pt x="625" y="58"/>
                </a:cubicBezTo>
                <a:cubicBezTo>
                  <a:pt x="539" y="91"/>
                  <a:pt x="539" y="91"/>
                  <a:pt x="539" y="91"/>
                </a:cubicBezTo>
                <a:cubicBezTo>
                  <a:pt x="539" y="138"/>
                  <a:pt x="539" y="138"/>
                  <a:pt x="539" y="138"/>
                </a:cubicBezTo>
                <a:cubicBezTo>
                  <a:pt x="625" y="117"/>
                  <a:pt x="625" y="117"/>
                  <a:pt x="625" y="117"/>
                </a:cubicBezTo>
                <a:cubicBezTo>
                  <a:pt x="625" y="147"/>
                  <a:pt x="625" y="147"/>
                  <a:pt x="625" y="147"/>
                </a:cubicBezTo>
                <a:cubicBezTo>
                  <a:pt x="625" y="147"/>
                  <a:pt x="539" y="164"/>
                  <a:pt x="539" y="164"/>
                </a:cubicBezTo>
                <a:cubicBezTo>
                  <a:pt x="539" y="212"/>
                  <a:pt x="539" y="212"/>
                  <a:pt x="539" y="212"/>
                </a:cubicBezTo>
                <a:cubicBezTo>
                  <a:pt x="539" y="212"/>
                  <a:pt x="624" y="206"/>
                  <a:pt x="625" y="206"/>
                </a:cubicBezTo>
                <a:cubicBezTo>
                  <a:pt x="625" y="240"/>
                  <a:pt x="625" y="240"/>
                  <a:pt x="625" y="240"/>
                </a:cubicBezTo>
                <a:cubicBezTo>
                  <a:pt x="539" y="239"/>
                  <a:pt x="539" y="239"/>
                  <a:pt x="539" y="239"/>
                </a:cubicBezTo>
                <a:cubicBezTo>
                  <a:pt x="539" y="292"/>
                  <a:pt x="539" y="292"/>
                  <a:pt x="539" y="292"/>
                </a:cubicBezTo>
                <a:cubicBezTo>
                  <a:pt x="625" y="306"/>
                  <a:pt x="625" y="306"/>
                  <a:pt x="625" y="306"/>
                </a:cubicBezTo>
                <a:cubicBezTo>
                  <a:pt x="625" y="339"/>
                  <a:pt x="625" y="339"/>
                  <a:pt x="625" y="339"/>
                </a:cubicBezTo>
                <a:cubicBezTo>
                  <a:pt x="625" y="339"/>
                  <a:pt x="568" y="326"/>
                  <a:pt x="519" y="315"/>
                </a:cubicBezTo>
                <a:cubicBezTo>
                  <a:pt x="519" y="239"/>
                  <a:pt x="519" y="239"/>
                  <a:pt x="519" y="239"/>
                </a:cubicBezTo>
                <a:cubicBezTo>
                  <a:pt x="462" y="239"/>
                  <a:pt x="462" y="239"/>
                  <a:pt x="462" y="239"/>
                </a:cubicBezTo>
                <a:cubicBezTo>
                  <a:pt x="462" y="301"/>
                  <a:pt x="462" y="301"/>
                  <a:pt x="462" y="301"/>
                </a:cubicBezTo>
                <a:cubicBezTo>
                  <a:pt x="437" y="295"/>
                  <a:pt x="419" y="291"/>
                  <a:pt x="413" y="289"/>
                </a:cubicBezTo>
                <a:cubicBezTo>
                  <a:pt x="413" y="288"/>
                  <a:pt x="414" y="282"/>
                  <a:pt x="414" y="273"/>
                </a:cubicBezTo>
                <a:close/>
                <a:moveTo>
                  <a:pt x="476" y="249"/>
                </a:moveTo>
                <a:cubicBezTo>
                  <a:pt x="475" y="300"/>
                  <a:pt x="475" y="300"/>
                  <a:pt x="475" y="300"/>
                </a:cubicBezTo>
                <a:cubicBezTo>
                  <a:pt x="471" y="301"/>
                  <a:pt x="471" y="301"/>
                  <a:pt x="471" y="301"/>
                </a:cubicBezTo>
                <a:cubicBezTo>
                  <a:pt x="472" y="246"/>
                  <a:pt x="472" y="246"/>
                  <a:pt x="472" y="246"/>
                </a:cubicBezTo>
                <a:cubicBezTo>
                  <a:pt x="515" y="246"/>
                  <a:pt x="515" y="246"/>
                  <a:pt x="515" y="246"/>
                </a:cubicBezTo>
                <a:cubicBezTo>
                  <a:pt x="515" y="249"/>
                  <a:pt x="515" y="249"/>
                  <a:pt x="515" y="249"/>
                </a:cubicBezTo>
                <a:cubicBezTo>
                  <a:pt x="501" y="249"/>
                  <a:pt x="501" y="249"/>
                  <a:pt x="501" y="249"/>
                </a:cubicBezTo>
                <a:cubicBezTo>
                  <a:pt x="501" y="305"/>
                  <a:pt x="501" y="305"/>
                  <a:pt x="501" y="305"/>
                </a:cubicBezTo>
                <a:cubicBezTo>
                  <a:pt x="498" y="305"/>
                  <a:pt x="498" y="305"/>
                  <a:pt x="498" y="305"/>
                </a:cubicBezTo>
                <a:cubicBezTo>
                  <a:pt x="498" y="249"/>
                  <a:pt x="498" y="249"/>
                  <a:pt x="498" y="249"/>
                </a:cubicBezTo>
                <a:lnTo>
                  <a:pt x="476" y="249"/>
                </a:lnTo>
                <a:close/>
                <a:moveTo>
                  <a:pt x="599" y="379"/>
                </a:moveTo>
                <a:cubicBezTo>
                  <a:pt x="565" y="368"/>
                  <a:pt x="389" y="308"/>
                  <a:pt x="371" y="301"/>
                </a:cubicBezTo>
                <a:cubicBezTo>
                  <a:pt x="384" y="299"/>
                  <a:pt x="397" y="296"/>
                  <a:pt x="410" y="293"/>
                </a:cubicBezTo>
                <a:cubicBezTo>
                  <a:pt x="412" y="294"/>
                  <a:pt x="413" y="294"/>
                  <a:pt x="415" y="294"/>
                </a:cubicBezTo>
                <a:cubicBezTo>
                  <a:pt x="437" y="300"/>
                  <a:pt x="630" y="346"/>
                  <a:pt x="630" y="346"/>
                </a:cubicBezTo>
                <a:cubicBezTo>
                  <a:pt x="630" y="346"/>
                  <a:pt x="630" y="346"/>
                  <a:pt x="630" y="346"/>
                </a:cubicBezTo>
                <a:cubicBezTo>
                  <a:pt x="726" y="342"/>
                  <a:pt x="726" y="342"/>
                  <a:pt x="726" y="342"/>
                </a:cubicBezTo>
                <a:cubicBezTo>
                  <a:pt x="681" y="355"/>
                  <a:pt x="624" y="372"/>
                  <a:pt x="599" y="379"/>
                </a:cubicBezTo>
                <a:close/>
                <a:moveTo>
                  <a:pt x="1137" y="297"/>
                </a:moveTo>
                <a:cubicBezTo>
                  <a:pt x="1137" y="256"/>
                  <a:pt x="1137" y="256"/>
                  <a:pt x="1137" y="256"/>
                </a:cubicBezTo>
                <a:cubicBezTo>
                  <a:pt x="794" y="256"/>
                  <a:pt x="794" y="256"/>
                  <a:pt x="794" y="256"/>
                </a:cubicBezTo>
                <a:cubicBezTo>
                  <a:pt x="794" y="256"/>
                  <a:pt x="794" y="256"/>
                  <a:pt x="794" y="256"/>
                </a:cubicBezTo>
                <a:cubicBezTo>
                  <a:pt x="771" y="256"/>
                  <a:pt x="771" y="256"/>
                  <a:pt x="771" y="256"/>
                </a:cubicBezTo>
                <a:cubicBezTo>
                  <a:pt x="771" y="297"/>
                  <a:pt x="771" y="297"/>
                  <a:pt x="771" y="297"/>
                </a:cubicBezTo>
                <a:cubicBezTo>
                  <a:pt x="686" y="212"/>
                  <a:pt x="686" y="212"/>
                  <a:pt x="686" y="212"/>
                </a:cubicBezTo>
                <a:cubicBezTo>
                  <a:pt x="771" y="127"/>
                  <a:pt x="771" y="127"/>
                  <a:pt x="771" y="127"/>
                </a:cubicBezTo>
                <a:cubicBezTo>
                  <a:pt x="771" y="168"/>
                  <a:pt x="771" y="168"/>
                  <a:pt x="771" y="168"/>
                </a:cubicBezTo>
                <a:cubicBezTo>
                  <a:pt x="1114" y="168"/>
                  <a:pt x="1114" y="168"/>
                  <a:pt x="1114" y="168"/>
                </a:cubicBezTo>
                <a:cubicBezTo>
                  <a:pt x="1114" y="168"/>
                  <a:pt x="1114" y="168"/>
                  <a:pt x="1114" y="168"/>
                </a:cubicBezTo>
                <a:cubicBezTo>
                  <a:pt x="1137" y="168"/>
                  <a:pt x="1137" y="168"/>
                  <a:pt x="1137" y="168"/>
                </a:cubicBezTo>
                <a:cubicBezTo>
                  <a:pt x="1137" y="127"/>
                  <a:pt x="1137" y="127"/>
                  <a:pt x="1137" y="127"/>
                </a:cubicBezTo>
                <a:cubicBezTo>
                  <a:pt x="1222" y="212"/>
                  <a:pt x="1222" y="212"/>
                  <a:pt x="1222" y="212"/>
                </a:cubicBezTo>
                <a:lnTo>
                  <a:pt x="1137" y="297"/>
                </a:lnTo>
                <a:close/>
              </a:path>
            </a:pathLst>
          </a:custGeom>
          <a:solidFill>
            <a:srgbClr val="0070C0"/>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61" name="Text Placeholder 12"/>
          <p:cNvSpPr txBox="1">
            <a:spLocks/>
          </p:cNvSpPr>
          <p:nvPr/>
        </p:nvSpPr>
        <p:spPr>
          <a:xfrm>
            <a:off x="2470169" y="5499125"/>
            <a:ext cx="3848148" cy="2769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spc="0" dirty="0" smtClean="0">
                <a:solidFill>
                  <a:srgbClr val="969696">
                    <a:lumMod val="50000"/>
                  </a:srgbClr>
                </a:solidFill>
                <a:latin typeface="Segoe UI"/>
              </a:rPr>
              <a:t>Management.  Access.  Protection.</a:t>
            </a:r>
            <a:endParaRPr lang="en-US" sz="2000" spc="0" dirty="0">
              <a:solidFill>
                <a:srgbClr val="969696">
                  <a:lumMod val="50000"/>
                </a:srgbClr>
              </a:solidFill>
              <a:latin typeface="Segoe UI"/>
            </a:endParaRPr>
          </a:p>
        </p:txBody>
      </p:sp>
      <p:sp>
        <p:nvSpPr>
          <p:cNvPr id="162" name="Freeform 24"/>
          <p:cNvSpPr>
            <a:spLocks/>
          </p:cNvSpPr>
          <p:nvPr/>
        </p:nvSpPr>
        <p:spPr bwMode="auto">
          <a:xfrm>
            <a:off x="2772578" y="2892931"/>
            <a:ext cx="10929" cy="18146"/>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63" name="Freeform 25"/>
          <p:cNvSpPr>
            <a:spLocks/>
          </p:cNvSpPr>
          <p:nvPr/>
        </p:nvSpPr>
        <p:spPr bwMode="auto">
          <a:xfrm>
            <a:off x="2805365" y="2584452"/>
            <a:ext cx="15027" cy="14258"/>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64" name="Freeform 26"/>
          <p:cNvSpPr>
            <a:spLocks/>
          </p:cNvSpPr>
          <p:nvPr/>
        </p:nvSpPr>
        <p:spPr bwMode="auto">
          <a:xfrm>
            <a:off x="2805365" y="2584452"/>
            <a:ext cx="15027" cy="14258"/>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65" name="Freeform 42"/>
          <p:cNvSpPr>
            <a:spLocks/>
          </p:cNvSpPr>
          <p:nvPr/>
        </p:nvSpPr>
        <p:spPr bwMode="auto">
          <a:xfrm>
            <a:off x="3451026" y="3240658"/>
            <a:ext cx="20869" cy="28948"/>
          </a:xfrm>
          <a:custGeom>
            <a:avLst/>
            <a:gdLst>
              <a:gd name="T0" fmla="*/ 46 w 46"/>
              <a:gd name="T1" fmla="*/ 0 h 65"/>
              <a:gd name="T2" fmla="*/ 35 w 46"/>
              <a:gd name="T3" fmla="*/ 6 h 65"/>
              <a:gd name="T4" fmla="*/ 21 w 46"/>
              <a:gd name="T5" fmla="*/ 19 h 65"/>
              <a:gd name="T6" fmla="*/ 7 w 46"/>
              <a:gd name="T7" fmla="*/ 38 h 65"/>
              <a:gd name="T8" fmla="*/ 0 w 46"/>
              <a:gd name="T9" fmla="*/ 65 h 65"/>
              <a:gd name="T10" fmla="*/ 7 w 46"/>
              <a:gd name="T11" fmla="*/ 38 h 65"/>
              <a:gd name="T12" fmla="*/ 21 w 46"/>
              <a:gd name="T13" fmla="*/ 19 h 65"/>
              <a:gd name="T14" fmla="*/ 35 w 46"/>
              <a:gd name="T15" fmla="*/ 6 h 65"/>
              <a:gd name="T16" fmla="*/ 46 w 46"/>
              <a:gd name="T1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65">
                <a:moveTo>
                  <a:pt x="46" y="0"/>
                </a:moveTo>
                <a:cubicBezTo>
                  <a:pt x="43" y="1"/>
                  <a:pt x="40" y="3"/>
                  <a:pt x="35" y="6"/>
                </a:cubicBezTo>
                <a:cubicBezTo>
                  <a:pt x="31" y="10"/>
                  <a:pt x="26" y="14"/>
                  <a:pt x="21" y="19"/>
                </a:cubicBezTo>
                <a:cubicBezTo>
                  <a:pt x="16" y="24"/>
                  <a:pt x="11" y="31"/>
                  <a:pt x="7" y="38"/>
                </a:cubicBezTo>
                <a:cubicBezTo>
                  <a:pt x="4" y="46"/>
                  <a:pt x="1" y="55"/>
                  <a:pt x="0" y="65"/>
                </a:cubicBezTo>
                <a:cubicBezTo>
                  <a:pt x="1" y="55"/>
                  <a:pt x="4" y="46"/>
                  <a:pt x="7" y="38"/>
                </a:cubicBezTo>
                <a:cubicBezTo>
                  <a:pt x="11" y="31"/>
                  <a:pt x="16" y="24"/>
                  <a:pt x="21" y="19"/>
                </a:cubicBezTo>
                <a:cubicBezTo>
                  <a:pt x="26" y="14"/>
                  <a:pt x="31" y="10"/>
                  <a:pt x="35" y="6"/>
                </a:cubicBezTo>
                <a:cubicBezTo>
                  <a:pt x="40" y="3"/>
                  <a:pt x="43" y="1"/>
                  <a:pt x="46"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66" name="Rectangle 165"/>
          <p:cNvSpPr/>
          <p:nvPr/>
        </p:nvSpPr>
        <p:spPr bwMode="auto">
          <a:xfrm>
            <a:off x="452494" y="4423410"/>
            <a:ext cx="7883498" cy="1383030"/>
          </a:xfrm>
          <a:prstGeom prst="rect">
            <a:avLst/>
          </a:prstGeom>
          <a:noFill/>
          <a:ln w="10795" cap="flat" cmpd="sng" algn="ctr">
            <a:solidFill>
              <a:srgbClr val="969696">
                <a:lumMod val="50000"/>
              </a:srgbClr>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nvGrpSpPr>
          <p:cNvPr id="167" name="Group 166"/>
          <p:cNvGrpSpPr/>
          <p:nvPr/>
        </p:nvGrpSpPr>
        <p:grpSpPr>
          <a:xfrm>
            <a:off x="6339630" y="1580816"/>
            <a:ext cx="1996362" cy="2748161"/>
            <a:chOff x="6339630" y="1580816"/>
            <a:chExt cx="1996362" cy="2748161"/>
          </a:xfrm>
        </p:grpSpPr>
        <p:sp>
          <p:nvSpPr>
            <p:cNvPr id="168" name="Text Placeholder 12"/>
            <p:cNvSpPr txBox="1">
              <a:spLocks/>
            </p:cNvSpPr>
            <p:nvPr/>
          </p:nvSpPr>
          <p:spPr>
            <a:xfrm>
              <a:off x="6884596" y="3902176"/>
              <a:ext cx="930174" cy="276999"/>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90000"/>
                </a:lnSpc>
                <a:spcBef>
                  <a:spcPts val="0"/>
                </a:spcBef>
                <a:spcAft>
                  <a:spcPts val="900"/>
                </a:spcAft>
                <a:buClrTx/>
                <a:buSzPct val="90000"/>
                <a:buFont typeface="Arial" pitchFamily="34" charset="0"/>
                <a:buNone/>
                <a:tabLst/>
                <a:defRPr/>
              </a:pPr>
              <a:r>
                <a:rPr kumimoji="0" lang="en-US" sz="2000" b="1" i="0" u="none" strike="noStrike" kern="1200" cap="none" spc="0" normalizeH="0" baseline="0" noProof="0" dirty="0">
                  <a:ln>
                    <a:noFill/>
                  </a:ln>
                  <a:solidFill>
                    <a:srgbClr val="442359"/>
                  </a:solidFill>
                  <a:effectLst/>
                  <a:uLnTx/>
                  <a:uFillTx/>
                  <a:latin typeface="Segoe UI"/>
                </a:rPr>
                <a:t>Data</a:t>
              </a:r>
            </a:p>
          </p:txBody>
        </p:sp>
        <p:sp>
          <p:nvSpPr>
            <p:cNvPr id="169" name="Rectangle 168"/>
            <p:cNvSpPr/>
            <p:nvPr/>
          </p:nvSpPr>
          <p:spPr bwMode="auto">
            <a:xfrm>
              <a:off x="6339630" y="1580816"/>
              <a:ext cx="1996362" cy="2748161"/>
            </a:xfrm>
            <a:prstGeom prst="rect">
              <a:avLst/>
            </a:prstGeom>
            <a:noFill/>
            <a:ln w="10795" cap="flat" cmpd="sng" algn="ctr">
              <a:solidFill>
                <a:srgbClr val="7030A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nvGrpSpPr>
            <p:cNvPr id="170" name="Group 169"/>
            <p:cNvGrpSpPr/>
            <p:nvPr/>
          </p:nvGrpSpPr>
          <p:grpSpPr>
            <a:xfrm>
              <a:off x="6549739" y="1682732"/>
              <a:ext cx="1571639" cy="2130236"/>
              <a:chOff x="9962648" y="1385701"/>
              <a:chExt cx="1880481" cy="2548848"/>
            </a:xfrm>
          </p:grpSpPr>
          <p:sp>
            <p:nvSpPr>
              <p:cNvPr id="171" name="Freeform 331"/>
              <p:cNvSpPr>
                <a:spLocks noChangeAspect="1" noEditPoints="1"/>
              </p:cNvSpPr>
              <p:nvPr/>
            </p:nvSpPr>
            <p:spPr bwMode="auto">
              <a:xfrm>
                <a:off x="9962648" y="2264337"/>
                <a:ext cx="887171" cy="870112"/>
              </a:xfrm>
              <a:custGeom>
                <a:avLst/>
                <a:gdLst>
                  <a:gd name="T0" fmla="*/ 39 w 88"/>
                  <a:gd name="T1" fmla="*/ 46 h 86"/>
                  <a:gd name="T2" fmla="*/ 79 w 88"/>
                  <a:gd name="T3" fmla="*/ 46 h 86"/>
                  <a:gd name="T4" fmla="*/ 39 w 88"/>
                  <a:gd name="T5" fmla="*/ 86 h 86"/>
                  <a:gd name="T6" fmla="*/ 0 w 88"/>
                  <a:gd name="T7" fmla="*/ 46 h 86"/>
                  <a:gd name="T8" fmla="*/ 39 w 88"/>
                  <a:gd name="T9" fmla="*/ 7 h 86"/>
                  <a:gd name="T10" fmla="*/ 39 w 88"/>
                  <a:gd name="T11" fmla="*/ 46 h 86"/>
                  <a:gd name="T12" fmla="*/ 48 w 88"/>
                  <a:gd name="T13" fmla="*/ 40 h 86"/>
                  <a:gd name="T14" fmla="*/ 88 w 88"/>
                  <a:gd name="T15" fmla="*/ 40 h 86"/>
                  <a:gd name="T16" fmla="*/ 48 w 88"/>
                  <a:gd name="T17" fmla="*/ 0 h 86"/>
                  <a:gd name="T18" fmla="*/ 48 w 88"/>
                  <a:gd name="T19" fmla="*/ 4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6">
                    <a:moveTo>
                      <a:pt x="39" y="46"/>
                    </a:moveTo>
                    <a:cubicBezTo>
                      <a:pt x="79" y="46"/>
                      <a:pt x="79" y="46"/>
                      <a:pt x="79" y="46"/>
                    </a:cubicBezTo>
                    <a:cubicBezTo>
                      <a:pt x="79" y="68"/>
                      <a:pt x="61" y="86"/>
                      <a:pt x="39" y="86"/>
                    </a:cubicBezTo>
                    <a:cubicBezTo>
                      <a:pt x="18" y="86"/>
                      <a:pt x="0" y="68"/>
                      <a:pt x="0" y="46"/>
                    </a:cubicBezTo>
                    <a:cubicBezTo>
                      <a:pt x="0" y="25"/>
                      <a:pt x="18" y="7"/>
                      <a:pt x="39" y="7"/>
                    </a:cubicBezTo>
                    <a:lnTo>
                      <a:pt x="39" y="46"/>
                    </a:lnTo>
                    <a:close/>
                    <a:moveTo>
                      <a:pt x="48" y="40"/>
                    </a:moveTo>
                    <a:cubicBezTo>
                      <a:pt x="88" y="40"/>
                      <a:pt x="88" y="40"/>
                      <a:pt x="88" y="40"/>
                    </a:cubicBezTo>
                    <a:cubicBezTo>
                      <a:pt x="88" y="18"/>
                      <a:pt x="70" y="0"/>
                      <a:pt x="48" y="0"/>
                    </a:cubicBezTo>
                    <a:lnTo>
                      <a:pt x="48" y="40"/>
                    </a:lnTo>
                    <a:close/>
                  </a:path>
                </a:pathLst>
              </a:custGeom>
              <a:solidFill>
                <a:srgbClr val="442359"/>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72" name="Freeform 346"/>
              <p:cNvSpPr>
                <a:spLocks noChangeAspect="1" noEditPoints="1"/>
              </p:cNvSpPr>
              <p:nvPr/>
            </p:nvSpPr>
            <p:spPr bwMode="auto">
              <a:xfrm>
                <a:off x="10935954" y="2386132"/>
                <a:ext cx="907175" cy="518067"/>
              </a:xfrm>
              <a:custGeom>
                <a:avLst/>
                <a:gdLst>
                  <a:gd name="T0" fmla="*/ 0 w 319"/>
                  <a:gd name="T1" fmla="*/ 122 h 198"/>
                  <a:gd name="T2" fmla="*/ 50 w 319"/>
                  <a:gd name="T3" fmla="*/ 122 h 198"/>
                  <a:gd name="T4" fmla="*/ 50 w 319"/>
                  <a:gd name="T5" fmla="*/ 198 h 198"/>
                  <a:gd name="T6" fmla="*/ 0 w 319"/>
                  <a:gd name="T7" fmla="*/ 198 h 198"/>
                  <a:gd name="T8" fmla="*/ 0 w 319"/>
                  <a:gd name="T9" fmla="*/ 122 h 198"/>
                  <a:gd name="T10" fmla="*/ 69 w 319"/>
                  <a:gd name="T11" fmla="*/ 198 h 198"/>
                  <a:gd name="T12" fmla="*/ 119 w 319"/>
                  <a:gd name="T13" fmla="*/ 198 h 198"/>
                  <a:gd name="T14" fmla="*/ 119 w 319"/>
                  <a:gd name="T15" fmla="*/ 28 h 198"/>
                  <a:gd name="T16" fmla="*/ 69 w 319"/>
                  <a:gd name="T17" fmla="*/ 28 h 198"/>
                  <a:gd name="T18" fmla="*/ 69 w 319"/>
                  <a:gd name="T19" fmla="*/ 198 h 198"/>
                  <a:gd name="T20" fmla="*/ 135 w 319"/>
                  <a:gd name="T21" fmla="*/ 198 h 198"/>
                  <a:gd name="T22" fmla="*/ 185 w 319"/>
                  <a:gd name="T23" fmla="*/ 198 h 198"/>
                  <a:gd name="T24" fmla="*/ 185 w 319"/>
                  <a:gd name="T25" fmla="*/ 59 h 198"/>
                  <a:gd name="T26" fmla="*/ 135 w 319"/>
                  <a:gd name="T27" fmla="*/ 59 h 198"/>
                  <a:gd name="T28" fmla="*/ 135 w 319"/>
                  <a:gd name="T29" fmla="*/ 198 h 198"/>
                  <a:gd name="T30" fmla="*/ 201 w 319"/>
                  <a:gd name="T31" fmla="*/ 198 h 198"/>
                  <a:gd name="T32" fmla="*/ 251 w 319"/>
                  <a:gd name="T33" fmla="*/ 198 h 198"/>
                  <a:gd name="T34" fmla="*/ 251 w 319"/>
                  <a:gd name="T35" fmla="*/ 151 h 198"/>
                  <a:gd name="T36" fmla="*/ 201 w 319"/>
                  <a:gd name="T37" fmla="*/ 151 h 198"/>
                  <a:gd name="T38" fmla="*/ 201 w 319"/>
                  <a:gd name="T39" fmla="*/ 198 h 198"/>
                  <a:gd name="T40" fmla="*/ 270 w 319"/>
                  <a:gd name="T41" fmla="*/ 198 h 198"/>
                  <a:gd name="T42" fmla="*/ 319 w 319"/>
                  <a:gd name="T43" fmla="*/ 198 h 198"/>
                  <a:gd name="T44" fmla="*/ 319 w 319"/>
                  <a:gd name="T45" fmla="*/ 0 h 198"/>
                  <a:gd name="T46" fmla="*/ 270 w 319"/>
                  <a:gd name="T47" fmla="*/ 0 h 198"/>
                  <a:gd name="T48" fmla="*/ 270 w 319"/>
                  <a:gd name="T4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198">
                    <a:moveTo>
                      <a:pt x="0" y="122"/>
                    </a:moveTo>
                    <a:lnTo>
                      <a:pt x="50" y="122"/>
                    </a:lnTo>
                    <a:lnTo>
                      <a:pt x="50" y="198"/>
                    </a:lnTo>
                    <a:lnTo>
                      <a:pt x="0" y="198"/>
                    </a:lnTo>
                    <a:lnTo>
                      <a:pt x="0" y="122"/>
                    </a:lnTo>
                    <a:close/>
                    <a:moveTo>
                      <a:pt x="69" y="198"/>
                    </a:moveTo>
                    <a:lnTo>
                      <a:pt x="119" y="198"/>
                    </a:lnTo>
                    <a:lnTo>
                      <a:pt x="119" y="28"/>
                    </a:lnTo>
                    <a:lnTo>
                      <a:pt x="69" y="28"/>
                    </a:lnTo>
                    <a:lnTo>
                      <a:pt x="69" y="198"/>
                    </a:lnTo>
                    <a:close/>
                    <a:moveTo>
                      <a:pt x="135" y="198"/>
                    </a:moveTo>
                    <a:lnTo>
                      <a:pt x="185" y="198"/>
                    </a:lnTo>
                    <a:lnTo>
                      <a:pt x="185" y="59"/>
                    </a:lnTo>
                    <a:lnTo>
                      <a:pt x="135" y="59"/>
                    </a:lnTo>
                    <a:lnTo>
                      <a:pt x="135" y="198"/>
                    </a:lnTo>
                    <a:close/>
                    <a:moveTo>
                      <a:pt x="201" y="198"/>
                    </a:moveTo>
                    <a:lnTo>
                      <a:pt x="251" y="198"/>
                    </a:lnTo>
                    <a:lnTo>
                      <a:pt x="251" y="151"/>
                    </a:lnTo>
                    <a:lnTo>
                      <a:pt x="201" y="151"/>
                    </a:lnTo>
                    <a:lnTo>
                      <a:pt x="201" y="198"/>
                    </a:lnTo>
                    <a:close/>
                    <a:moveTo>
                      <a:pt x="270" y="198"/>
                    </a:moveTo>
                    <a:lnTo>
                      <a:pt x="319" y="198"/>
                    </a:lnTo>
                    <a:lnTo>
                      <a:pt x="319" y="0"/>
                    </a:lnTo>
                    <a:lnTo>
                      <a:pt x="270" y="0"/>
                    </a:lnTo>
                    <a:lnTo>
                      <a:pt x="270" y="198"/>
                    </a:lnTo>
                    <a:close/>
                  </a:path>
                </a:pathLst>
              </a:custGeom>
              <a:solidFill>
                <a:srgbClr val="442359"/>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73" name="Freeform 37"/>
              <p:cNvSpPr>
                <a:spLocks noEditPoints="1"/>
              </p:cNvSpPr>
              <p:nvPr/>
            </p:nvSpPr>
            <p:spPr bwMode="auto">
              <a:xfrm>
                <a:off x="10696245" y="1385701"/>
                <a:ext cx="1146884" cy="817571"/>
              </a:xfrm>
              <a:custGeom>
                <a:avLst/>
                <a:gdLst>
                  <a:gd name="T0" fmla="*/ 1070 w 1214"/>
                  <a:gd name="T1" fmla="*/ 106 h 852"/>
                  <a:gd name="T2" fmla="*/ 787 w 1214"/>
                  <a:gd name="T3" fmla="*/ 621 h 852"/>
                  <a:gd name="T4" fmla="*/ 753 w 1214"/>
                  <a:gd name="T5" fmla="*/ 538 h 852"/>
                  <a:gd name="T6" fmla="*/ 825 w 1214"/>
                  <a:gd name="T7" fmla="*/ 533 h 852"/>
                  <a:gd name="T8" fmla="*/ 782 w 1214"/>
                  <a:gd name="T9" fmla="*/ 550 h 852"/>
                  <a:gd name="T10" fmla="*/ 1214 w 1214"/>
                  <a:gd name="T11" fmla="*/ 117 h 852"/>
                  <a:gd name="T12" fmla="*/ 523 w 1214"/>
                  <a:gd name="T13" fmla="*/ 0 h 852"/>
                  <a:gd name="T14" fmla="*/ 0 w 1214"/>
                  <a:gd name="T15" fmla="*/ 523 h 852"/>
                  <a:gd name="T16" fmla="*/ 218 w 1214"/>
                  <a:gd name="T17" fmla="*/ 803 h 852"/>
                  <a:gd name="T18" fmla="*/ 1214 w 1214"/>
                  <a:gd name="T19" fmla="*/ 803 h 852"/>
                  <a:gd name="T20" fmla="*/ 607 w 1214"/>
                  <a:gd name="T21" fmla="*/ 207 h 852"/>
                  <a:gd name="T22" fmla="*/ 1118 w 1214"/>
                  <a:gd name="T23" fmla="*/ 100 h 852"/>
                  <a:gd name="T24" fmla="*/ 1154 w 1214"/>
                  <a:gd name="T25" fmla="*/ 100 h 852"/>
                  <a:gd name="T26" fmla="*/ 1143 w 1214"/>
                  <a:gd name="T27" fmla="*/ 136 h 852"/>
                  <a:gd name="T28" fmla="*/ 1119 w 1214"/>
                  <a:gd name="T29" fmla="*/ 135 h 852"/>
                  <a:gd name="T30" fmla="*/ 1125 w 1214"/>
                  <a:gd name="T31" fmla="*/ 118 h 852"/>
                  <a:gd name="T32" fmla="*/ 1040 w 1214"/>
                  <a:gd name="T33" fmla="*/ 100 h 852"/>
                  <a:gd name="T34" fmla="*/ 1040 w 1214"/>
                  <a:gd name="T35" fmla="*/ 136 h 852"/>
                  <a:gd name="T36" fmla="*/ 1015 w 1214"/>
                  <a:gd name="T37" fmla="*/ 128 h 852"/>
                  <a:gd name="T38" fmla="*/ 971 w 1214"/>
                  <a:gd name="T39" fmla="*/ 128 h 852"/>
                  <a:gd name="T40" fmla="*/ 607 w 1214"/>
                  <a:gd name="T41" fmla="*/ 397 h 852"/>
                  <a:gd name="T42" fmla="*/ 607 w 1214"/>
                  <a:gd name="T43" fmla="*/ 484 h 852"/>
                  <a:gd name="T44" fmla="*/ 27 w 1214"/>
                  <a:gd name="T45" fmla="*/ 523 h 852"/>
                  <a:gd name="T46" fmla="*/ 523 w 1214"/>
                  <a:gd name="T47" fmla="*/ 26 h 852"/>
                  <a:gd name="T48" fmla="*/ 523 w 1214"/>
                  <a:gd name="T49" fmla="*/ 580 h 852"/>
                  <a:gd name="T50" fmla="*/ 1165 w 1214"/>
                  <a:gd name="T51" fmla="*/ 256 h 852"/>
                  <a:gd name="T52" fmla="*/ 268 w 1214"/>
                  <a:gd name="T53" fmla="*/ 803 h 852"/>
                  <a:gd name="T54" fmla="*/ 523 w 1214"/>
                  <a:gd name="T55" fmla="*/ 606 h 852"/>
                  <a:gd name="T56" fmla="*/ 613 w 1214"/>
                  <a:gd name="T57" fmla="*/ 504 h 852"/>
                  <a:gd name="T58" fmla="*/ 657 w 1214"/>
                  <a:gd name="T59" fmla="*/ 460 h 852"/>
                  <a:gd name="T60" fmla="*/ 657 w 1214"/>
                  <a:gd name="T61" fmla="*/ 398 h 852"/>
                  <a:gd name="T62" fmla="*/ 613 w 1214"/>
                  <a:gd name="T63" fmla="*/ 354 h 852"/>
                  <a:gd name="T64" fmla="*/ 1164 w 1214"/>
                  <a:gd name="T65" fmla="*/ 256 h 852"/>
                  <a:gd name="T66" fmla="*/ 697 w 1214"/>
                  <a:gd name="T67" fmla="*/ 610 h 852"/>
                  <a:gd name="T68" fmla="*/ 763 w 1214"/>
                  <a:gd name="T69" fmla="*/ 678 h 852"/>
                  <a:gd name="T70" fmla="*/ 861 w 1214"/>
                  <a:gd name="T71" fmla="*/ 678 h 852"/>
                  <a:gd name="T72" fmla="*/ 927 w 1214"/>
                  <a:gd name="T73" fmla="*/ 610 h 852"/>
                  <a:gd name="T74" fmla="*/ 927 w 1214"/>
                  <a:gd name="T75" fmla="*/ 516 h 852"/>
                  <a:gd name="T76" fmla="*/ 860 w 1214"/>
                  <a:gd name="T77" fmla="*/ 448 h 852"/>
                  <a:gd name="T78" fmla="*/ 763 w 1214"/>
                  <a:gd name="T79" fmla="*/ 448 h 852"/>
                  <a:gd name="T80" fmla="*/ 697 w 1214"/>
                  <a:gd name="T81" fmla="*/ 516 h 852"/>
                  <a:gd name="T82" fmla="*/ 848 w 1214"/>
                  <a:gd name="T83" fmla="*/ 478 h 852"/>
                  <a:gd name="T84" fmla="*/ 727 w 1214"/>
                  <a:gd name="T85" fmla="*/ 527 h 852"/>
                  <a:gd name="T86" fmla="*/ 296 w 1214"/>
                  <a:gd name="T87" fmla="*/ 265 h 852"/>
                  <a:gd name="T88" fmla="*/ 488 w 1214"/>
                  <a:gd name="T89" fmla="*/ 279 h 852"/>
                  <a:gd name="T90" fmla="*/ 362 w 1214"/>
                  <a:gd name="T91" fmla="*/ 231 h 852"/>
                  <a:gd name="T92" fmla="*/ 223 w 1214"/>
                  <a:gd name="T93" fmla="*/ 330 h 852"/>
                  <a:gd name="T94" fmla="*/ 218 w 1214"/>
                  <a:gd name="T95" fmla="*/ 383 h 852"/>
                  <a:gd name="T96" fmla="*/ 86 w 1214"/>
                  <a:gd name="T97" fmla="*/ 503 h 852"/>
                  <a:gd name="T98" fmla="*/ 123 w 1214"/>
                  <a:gd name="T99" fmla="*/ 465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4" h="852">
                    <a:moveTo>
                      <a:pt x="1046" y="130"/>
                    </a:moveTo>
                    <a:cubicBezTo>
                      <a:pt x="1070" y="130"/>
                      <a:pt x="1070" y="130"/>
                      <a:pt x="1070" y="130"/>
                    </a:cubicBezTo>
                    <a:cubicBezTo>
                      <a:pt x="1070" y="106"/>
                      <a:pt x="1070" y="106"/>
                      <a:pt x="1070" y="106"/>
                    </a:cubicBezTo>
                    <a:cubicBezTo>
                      <a:pt x="1046" y="106"/>
                      <a:pt x="1046" y="106"/>
                      <a:pt x="1046" y="106"/>
                    </a:cubicBezTo>
                    <a:lnTo>
                      <a:pt x="1046" y="130"/>
                    </a:lnTo>
                    <a:close/>
                    <a:moveTo>
                      <a:pt x="787" y="621"/>
                    </a:moveTo>
                    <a:cubicBezTo>
                      <a:pt x="819" y="635"/>
                      <a:pt x="856" y="620"/>
                      <a:pt x="870" y="588"/>
                    </a:cubicBezTo>
                    <a:cubicBezTo>
                      <a:pt x="884" y="556"/>
                      <a:pt x="869" y="518"/>
                      <a:pt x="837" y="505"/>
                    </a:cubicBezTo>
                    <a:cubicBezTo>
                      <a:pt x="804" y="491"/>
                      <a:pt x="767" y="506"/>
                      <a:pt x="753" y="538"/>
                    </a:cubicBezTo>
                    <a:cubicBezTo>
                      <a:pt x="740" y="571"/>
                      <a:pt x="755" y="608"/>
                      <a:pt x="787" y="621"/>
                    </a:cubicBezTo>
                    <a:close/>
                    <a:moveTo>
                      <a:pt x="782" y="550"/>
                    </a:moveTo>
                    <a:cubicBezTo>
                      <a:pt x="789" y="534"/>
                      <a:pt x="808" y="526"/>
                      <a:pt x="825" y="533"/>
                    </a:cubicBezTo>
                    <a:cubicBezTo>
                      <a:pt x="841" y="540"/>
                      <a:pt x="849" y="559"/>
                      <a:pt x="842" y="576"/>
                    </a:cubicBezTo>
                    <a:cubicBezTo>
                      <a:pt x="835" y="592"/>
                      <a:pt x="816" y="600"/>
                      <a:pt x="799" y="593"/>
                    </a:cubicBezTo>
                    <a:cubicBezTo>
                      <a:pt x="782" y="586"/>
                      <a:pt x="775" y="567"/>
                      <a:pt x="782" y="550"/>
                    </a:cubicBezTo>
                    <a:close/>
                    <a:moveTo>
                      <a:pt x="1175" y="166"/>
                    </a:moveTo>
                    <a:cubicBezTo>
                      <a:pt x="1191" y="166"/>
                      <a:pt x="1204" y="173"/>
                      <a:pt x="1214" y="183"/>
                    </a:cubicBezTo>
                    <a:cubicBezTo>
                      <a:pt x="1214" y="117"/>
                      <a:pt x="1214" y="117"/>
                      <a:pt x="1214" y="117"/>
                    </a:cubicBezTo>
                    <a:cubicBezTo>
                      <a:pt x="1214" y="90"/>
                      <a:pt x="1192" y="68"/>
                      <a:pt x="1164" y="68"/>
                    </a:cubicBezTo>
                    <a:cubicBezTo>
                      <a:pt x="606" y="68"/>
                      <a:pt x="606" y="68"/>
                      <a:pt x="606" y="68"/>
                    </a:cubicBezTo>
                    <a:cubicBezTo>
                      <a:pt x="598" y="29"/>
                      <a:pt x="564" y="0"/>
                      <a:pt x="523" y="0"/>
                    </a:cubicBezTo>
                    <a:cubicBezTo>
                      <a:pt x="84" y="0"/>
                      <a:pt x="84" y="0"/>
                      <a:pt x="84" y="0"/>
                    </a:cubicBezTo>
                    <a:cubicBezTo>
                      <a:pt x="38" y="0"/>
                      <a:pt x="0" y="37"/>
                      <a:pt x="0" y="83"/>
                    </a:cubicBezTo>
                    <a:cubicBezTo>
                      <a:pt x="0" y="523"/>
                      <a:pt x="0" y="523"/>
                      <a:pt x="0" y="523"/>
                    </a:cubicBezTo>
                    <a:cubicBezTo>
                      <a:pt x="0" y="569"/>
                      <a:pt x="38" y="606"/>
                      <a:pt x="84" y="606"/>
                    </a:cubicBezTo>
                    <a:cubicBezTo>
                      <a:pt x="218" y="606"/>
                      <a:pt x="218" y="606"/>
                      <a:pt x="218" y="606"/>
                    </a:cubicBezTo>
                    <a:cubicBezTo>
                      <a:pt x="218" y="803"/>
                      <a:pt x="218" y="803"/>
                      <a:pt x="218" y="803"/>
                    </a:cubicBezTo>
                    <a:cubicBezTo>
                      <a:pt x="218" y="830"/>
                      <a:pt x="240" y="852"/>
                      <a:pt x="268" y="852"/>
                    </a:cubicBezTo>
                    <a:cubicBezTo>
                      <a:pt x="1164" y="852"/>
                      <a:pt x="1164" y="852"/>
                      <a:pt x="1164" y="852"/>
                    </a:cubicBezTo>
                    <a:cubicBezTo>
                      <a:pt x="1192" y="852"/>
                      <a:pt x="1214" y="830"/>
                      <a:pt x="1214" y="803"/>
                    </a:cubicBezTo>
                    <a:cubicBezTo>
                      <a:pt x="1214" y="256"/>
                      <a:pt x="1214" y="256"/>
                      <a:pt x="1214" y="256"/>
                    </a:cubicBezTo>
                    <a:cubicBezTo>
                      <a:pt x="1214" y="229"/>
                      <a:pt x="1192" y="207"/>
                      <a:pt x="1164" y="207"/>
                    </a:cubicBezTo>
                    <a:cubicBezTo>
                      <a:pt x="607" y="207"/>
                      <a:pt x="607" y="207"/>
                      <a:pt x="607" y="207"/>
                    </a:cubicBezTo>
                    <a:cubicBezTo>
                      <a:pt x="607" y="166"/>
                      <a:pt x="607" y="166"/>
                      <a:pt x="607" y="166"/>
                    </a:cubicBezTo>
                    <a:lnTo>
                      <a:pt x="1175" y="166"/>
                    </a:lnTo>
                    <a:close/>
                    <a:moveTo>
                      <a:pt x="1118" y="100"/>
                    </a:moveTo>
                    <a:cubicBezTo>
                      <a:pt x="1131" y="112"/>
                      <a:pt x="1131" y="112"/>
                      <a:pt x="1131" y="112"/>
                    </a:cubicBezTo>
                    <a:cubicBezTo>
                      <a:pt x="1143" y="100"/>
                      <a:pt x="1143" y="100"/>
                      <a:pt x="1143" y="100"/>
                    </a:cubicBezTo>
                    <a:cubicBezTo>
                      <a:pt x="1154" y="100"/>
                      <a:pt x="1154" y="100"/>
                      <a:pt x="1154" y="100"/>
                    </a:cubicBezTo>
                    <a:cubicBezTo>
                      <a:pt x="1136" y="118"/>
                      <a:pt x="1136" y="118"/>
                      <a:pt x="1136" y="118"/>
                    </a:cubicBezTo>
                    <a:cubicBezTo>
                      <a:pt x="1154" y="136"/>
                      <a:pt x="1154" y="136"/>
                      <a:pt x="1154" y="136"/>
                    </a:cubicBezTo>
                    <a:cubicBezTo>
                      <a:pt x="1143" y="136"/>
                      <a:pt x="1143" y="136"/>
                      <a:pt x="1143" y="136"/>
                    </a:cubicBezTo>
                    <a:cubicBezTo>
                      <a:pt x="1136" y="129"/>
                      <a:pt x="1136" y="129"/>
                      <a:pt x="1136" y="129"/>
                    </a:cubicBezTo>
                    <a:cubicBezTo>
                      <a:pt x="1131" y="124"/>
                      <a:pt x="1131" y="124"/>
                      <a:pt x="1131" y="124"/>
                    </a:cubicBezTo>
                    <a:cubicBezTo>
                      <a:pt x="1119" y="135"/>
                      <a:pt x="1119" y="135"/>
                      <a:pt x="1119" y="135"/>
                    </a:cubicBezTo>
                    <a:cubicBezTo>
                      <a:pt x="1118" y="136"/>
                      <a:pt x="1118" y="136"/>
                      <a:pt x="1118" y="136"/>
                    </a:cubicBezTo>
                    <a:cubicBezTo>
                      <a:pt x="1107" y="136"/>
                      <a:pt x="1107" y="136"/>
                      <a:pt x="1107" y="136"/>
                    </a:cubicBezTo>
                    <a:cubicBezTo>
                      <a:pt x="1125" y="118"/>
                      <a:pt x="1125" y="118"/>
                      <a:pt x="1125" y="118"/>
                    </a:cubicBezTo>
                    <a:cubicBezTo>
                      <a:pt x="1107" y="100"/>
                      <a:pt x="1107" y="100"/>
                      <a:pt x="1107" y="100"/>
                    </a:cubicBezTo>
                    <a:lnTo>
                      <a:pt x="1118" y="100"/>
                    </a:lnTo>
                    <a:close/>
                    <a:moveTo>
                      <a:pt x="1040" y="100"/>
                    </a:moveTo>
                    <a:cubicBezTo>
                      <a:pt x="1076" y="100"/>
                      <a:pt x="1076" y="100"/>
                      <a:pt x="1076" y="100"/>
                    </a:cubicBezTo>
                    <a:cubicBezTo>
                      <a:pt x="1076" y="136"/>
                      <a:pt x="1076" y="136"/>
                      <a:pt x="1076" y="136"/>
                    </a:cubicBezTo>
                    <a:cubicBezTo>
                      <a:pt x="1040" y="136"/>
                      <a:pt x="1040" y="136"/>
                      <a:pt x="1040" y="136"/>
                    </a:cubicBezTo>
                    <a:lnTo>
                      <a:pt x="1040" y="100"/>
                    </a:lnTo>
                    <a:close/>
                    <a:moveTo>
                      <a:pt x="971" y="128"/>
                    </a:moveTo>
                    <a:cubicBezTo>
                      <a:pt x="1015" y="128"/>
                      <a:pt x="1015" y="128"/>
                      <a:pt x="1015" y="128"/>
                    </a:cubicBezTo>
                    <a:cubicBezTo>
                      <a:pt x="1015" y="137"/>
                      <a:pt x="1015" y="137"/>
                      <a:pt x="1015" y="137"/>
                    </a:cubicBezTo>
                    <a:cubicBezTo>
                      <a:pt x="971" y="137"/>
                      <a:pt x="971" y="137"/>
                      <a:pt x="971" y="137"/>
                    </a:cubicBezTo>
                    <a:lnTo>
                      <a:pt x="971" y="128"/>
                    </a:lnTo>
                    <a:close/>
                    <a:moveTo>
                      <a:pt x="607" y="461"/>
                    </a:moveTo>
                    <a:cubicBezTo>
                      <a:pt x="612" y="457"/>
                      <a:pt x="617" y="452"/>
                      <a:pt x="619" y="445"/>
                    </a:cubicBezTo>
                    <a:cubicBezTo>
                      <a:pt x="627" y="428"/>
                      <a:pt x="621" y="408"/>
                      <a:pt x="607" y="397"/>
                    </a:cubicBezTo>
                    <a:cubicBezTo>
                      <a:pt x="607" y="374"/>
                      <a:pt x="607" y="374"/>
                      <a:pt x="607" y="374"/>
                    </a:cubicBezTo>
                    <a:cubicBezTo>
                      <a:pt x="636" y="388"/>
                      <a:pt x="650" y="423"/>
                      <a:pt x="637" y="453"/>
                    </a:cubicBezTo>
                    <a:cubicBezTo>
                      <a:pt x="631" y="467"/>
                      <a:pt x="620" y="478"/>
                      <a:pt x="607" y="484"/>
                    </a:cubicBezTo>
                    <a:lnTo>
                      <a:pt x="607" y="461"/>
                    </a:lnTo>
                    <a:close/>
                    <a:moveTo>
                      <a:pt x="84" y="580"/>
                    </a:moveTo>
                    <a:cubicBezTo>
                      <a:pt x="52" y="580"/>
                      <a:pt x="27" y="554"/>
                      <a:pt x="27" y="523"/>
                    </a:cubicBezTo>
                    <a:cubicBezTo>
                      <a:pt x="27" y="83"/>
                      <a:pt x="27" y="83"/>
                      <a:pt x="27" y="83"/>
                    </a:cubicBezTo>
                    <a:cubicBezTo>
                      <a:pt x="27" y="52"/>
                      <a:pt x="52" y="26"/>
                      <a:pt x="84" y="26"/>
                    </a:cubicBezTo>
                    <a:cubicBezTo>
                      <a:pt x="523" y="26"/>
                      <a:pt x="523" y="26"/>
                      <a:pt x="523" y="26"/>
                    </a:cubicBezTo>
                    <a:cubicBezTo>
                      <a:pt x="555" y="26"/>
                      <a:pt x="581" y="52"/>
                      <a:pt x="581" y="83"/>
                    </a:cubicBezTo>
                    <a:cubicBezTo>
                      <a:pt x="581" y="523"/>
                      <a:pt x="581" y="523"/>
                      <a:pt x="581" y="523"/>
                    </a:cubicBezTo>
                    <a:cubicBezTo>
                      <a:pt x="581" y="554"/>
                      <a:pt x="555" y="580"/>
                      <a:pt x="523" y="580"/>
                    </a:cubicBezTo>
                    <a:lnTo>
                      <a:pt x="84" y="580"/>
                    </a:lnTo>
                    <a:close/>
                    <a:moveTo>
                      <a:pt x="1164" y="256"/>
                    </a:moveTo>
                    <a:cubicBezTo>
                      <a:pt x="1165" y="256"/>
                      <a:pt x="1165" y="256"/>
                      <a:pt x="1165" y="256"/>
                    </a:cubicBezTo>
                    <a:cubicBezTo>
                      <a:pt x="1165" y="803"/>
                      <a:pt x="1165" y="803"/>
                      <a:pt x="1165" y="803"/>
                    </a:cubicBezTo>
                    <a:cubicBezTo>
                      <a:pt x="1165" y="803"/>
                      <a:pt x="1164" y="803"/>
                      <a:pt x="1164" y="803"/>
                    </a:cubicBezTo>
                    <a:cubicBezTo>
                      <a:pt x="268" y="803"/>
                      <a:pt x="268" y="803"/>
                      <a:pt x="268" y="803"/>
                    </a:cubicBezTo>
                    <a:cubicBezTo>
                      <a:pt x="267" y="803"/>
                      <a:pt x="267" y="803"/>
                      <a:pt x="267" y="803"/>
                    </a:cubicBezTo>
                    <a:cubicBezTo>
                      <a:pt x="267" y="606"/>
                      <a:pt x="267" y="606"/>
                      <a:pt x="267" y="606"/>
                    </a:cubicBezTo>
                    <a:cubicBezTo>
                      <a:pt x="523" y="606"/>
                      <a:pt x="523" y="606"/>
                      <a:pt x="523" y="606"/>
                    </a:cubicBezTo>
                    <a:cubicBezTo>
                      <a:pt x="570" y="606"/>
                      <a:pt x="607" y="569"/>
                      <a:pt x="607" y="523"/>
                    </a:cubicBezTo>
                    <a:cubicBezTo>
                      <a:pt x="607" y="508"/>
                      <a:pt x="607" y="508"/>
                      <a:pt x="607" y="508"/>
                    </a:cubicBezTo>
                    <a:cubicBezTo>
                      <a:pt x="609" y="506"/>
                      <a:pt x="611" y="505"/>
                      <a:pt x="613" y="504"/>
                    </a:cubicBezTo>
                    <a:cubicBezTo>
                      <a:pt x="623" y="500"/>
                      <a:pt x="634" y="502"/>
                      <a:pt x="642" y="508"/>
                    </a:cubicBezTo>
                    <a:cubicBezTo>
                      <a:pt x="649" y="503"/>
                      <a:pt x="656" y="497"/>
                      <a:pt x="661" y="489"/>
                    </a:cubicBezTo>
                    <a:cubicBezTo>
                      <a:pt x="655" y="481"/>
                      <a:pt x="652" y="470"/>
                      <a:pt x="657" y="460"/>
                    </a:cubicBezTo>
                    <a:cubicBezTo>
                      <a:pt x="661" y="450"/>
                      <a:pt x="670" y="443"/>
                      <a:pt x="680" y="442"/>
                    </a:cubicBezTo>
                    <a:cubicBezTo>
                      <a:pt x="681" y="433"/>
                      <a:pt x="681" y="425"/>
                      <a:pt x="680" y="416"/>
                    </a:cubicBezTo>
                    <a:cubicBezTo>
                      <a:pt x="670" y="415"/>
                      <a:pt x="661" y="408"/>
                      <a:pt x="657" y="398"/>
                    </a:cubicBezTo>
                    <a:cubicBezTo>
                      <a:pt x="652" y="388"/>
                      <a:pt x="655" y="377"/>
                      <a:pt x="661" y="369"/>
                    </a:cubicBezTo>
                    <a:cubicBezTo>
                      <a:pt x="656" y="362"/>
                      <a:pt x="649" y="355"/>
                      <a:pt x="642" y="350"/>
                    </a:cubicBezTo>
                    <a:cubicBezTo>
                      <a:pt x="634" y="356"/>
                      <a:pt x="623" y="358"/>
                      <a:pt x="613" y="354"/>
                    </a:cubicBezTo>
                    <a:cubicBezTo>
                      <a:pt x="611" y="353"/>
                      <a:pt x="609" y="352"/>
                      <a:pt x="607" y="350"/>
                    </a:cubicBezTo>
                    <a:cubicBezTo>
                      <a:pt x="607" y="256"/>
                      <a:pt x="607" y="256"/>
                      <a:pt x="607" y="256"/>
                    </a:cubicBezTo>
                    <a:lnTo>
                      <a:pt x="1164" y="256"/>
                    </a:lnTo>
                    <a:close/>
                    <a:moveTo>
                      <a:pt x="660" y="543"/>
                    </a:moveTo>
                    <a:cubicBezTo>
                      <a:pt x="659" y="556"/>
                      <a:pt x="659" y="570"/>
                      <a:pt x="660" y="583"/>
                    </a:cubicBezTo>
                    <a:cubicBezTo>
                      <a:pt x="676" y="585"/>
                      <a:pt x="690" y="595"/>
                      <a:pt x="697" y="610"/>
                    </a:cubicBezTo>
                    <a:cubicBezTo>
                      <a:pt x="703" y="626"/>
                      <a:pt x="700" y="643"/>
                      <a:pt x="690" y="655"/>
                    </a:cubicBezTo>
                    <a:cubicBezTo>
                      <a:pt x="698" y="666"/>
                      <a:pt x="707" y="675"/>
                      <a:pt x="718" y="684"/>
                    </a:cubicBezTo>
                    <a:cubicBezTo>
                      <a:pt x="731" y="674"/>
                      <a:pt x="748" y="671"/>
                      <a:pt x="763" y="678"/>
                    </a:cubicBezTo>
                    <a:cubicBezTo>
                      <a:pt x="779" y="684"/>
                      <a:pt x="788" y="699"/>
                      <a:pt x="790" y="714"/>
                    </a:cubicBezTo>
                    <a:cubicBezTo>
                      <a:pt x="805" y="716"/>
                      <a:pt x="819" y="716"/>
                      <a:pt x="834" y="714"/>
                    </a:cubicBezTo>
                    <a:cubicBezTo>
                      <a:pt x="835" y="699"/>
                      <a:pt x="845" y="684"/>
                      <a:pt x="861" y="678"/>
                    </a:cubicBezTo>
                    <a:cubicBezTo>
                      <a:pt x="876" y="671"/>
                      <a:pt x="893" y="674"/>
                      <a:pt x="905" y="684"/>
                    </a:cubicBezTo>
                    <a:cubicBezTo>
                      <a:pt x="916" y="676"/>
                      <a:pt x="926" y="666"/>
                      <a:pt x="934" y="655"/>
                    </a:cubicBezTo>
                    <a:cubicBezTo>
                      <a:pt x="924" y="643"/>
                      <a:pt x="921" y="626"/>
                      <a:pt x="927" y="610"/>
                    </a:cubicBezTo>
                    <a:cubicBezTo>
                      <a:pt x="933" y="595"/>
                      <a:pt x="948" y="585"/>
                      <a:pt x="963" y="583"/>
                    </a:cubicBezTo>
                    <a:cubicBezTo>
                      <a:pt x="965" y="570"/>
                      <a:pt x="965" y="556"/>
                      <a:pt x="963" y="543"/>
                    </a:cubicBezTo>
                    <a:cubicBezTo>
                      <a:pt x="948" y="541"/>
                      <a:pt x="933" y="531"/>
                      <a:pt x="927" y="516"/>
                    </a:cubicBezTo>
                    <a:cubicBezTo>
                      <a:pt x="921" y="500"/>
                      <a:pt x="924" y="483"/>
                      <a:pt x="934" y="471"/>
                    </a:cubicBezTo>
                    <a:cubicBezTo>
                      <a:pt x="926" y="461"/>
                      <a:pt x="916" y="451"/>
                      <a:pt x="905" y="442"/>
                    </a:cubicBezTo>
                    <a:cubicBezTo>
                      <a:pt x="893" y="452"/>
                      <a:pt x="876" y="455"/>
                      <a:pt x="860" y="448"/>
                    </a:cubicBezTo>
                    <a:cubicBezTo>
                      <a:pt x="845" y="442"/>
                      <a:pt x="835" y="428"/>
                      <a:pt x="834" y="412"/>
                    </a:cubicBezTo>
                    <a:cubicBezTo>
                      <a:pt x="819" y="410"/>
                      <a:pt x="804" y="410"/>
                      <a:pt x="790" y="412"/>
                    </a:cubicBezTo>
                    <a:cubicBezTo>
                      <a:pt x="788" y="428"/>
                      <a:pt x="778" y="442"/>
                      <a:pt x="763" y="448"/>
                    </a:cubicBezTo>
                    <a:cubicBezTo>
                      <a:pt x="748" y="455"/>
                      <a:pt x="731" y="452"/>
                      <a:pt x="718" y="442"/>
                    </a:cubicBezTo>
                    <a:cubicBezTo>
                      <a:pt x="708" y="451"/>
                      <a:pt x="698" y="460"/>
                      <a:pt x="690" y="471"/>
                    </a:cubicBezTo>
                    <a:cubicBezTo>
                      <a:pt x="700" y="483"/>
                      <a:pt x="703" y="500"/>
                      <a:pt x="697" y="516"/>
                    </a:cubicBezTo>
                    <a:cubicBezTo>
                      <a:pt x="690" y="531"/>
                      <a:pt x="676" y="541"/>
                      <a:pt x="660" y="543"/>
                    </a:cubicBezTo>
                    <a:close/>
                    <a:moveTo>
                      <a:pt x="727" y="527"/>
                    </a:moveTo>
                    <a:cubicBezTo>
                      <a:pt x="747" y="480"/>
                      <a:pt x="801" y="458"/>
                      <a:pt x="848" y="478"/>
                    </a:cubicBezTo>
                    <a:cubicBezTo>
                      <a:pt x="895" y="498"/>
                      <a:pt x="917" y="552"/>
                      <a:pt x="897" y="599"/>
                    </a:cubicBezTo>
                    <a:cubicBezTo>
                      <a:pt x="877" y="646"/>
                      <a:pt x="823" y="668"/>
                      <a:pt x="776" y="648"/>
                    </a:cubicBezTo>
                    <a:cubicBezTo>
                      <a:pt x="729" y="628"/>
                      <a:pt x="707" y="574"/>
                      <a:pt x="727" y="527"/>
                    </a:cubicBezTo>
                    <a:close/>
                    <a:moveTo>
                      <a:pt x="218" y="383"/>
                    </a:moveTo>
                    <a:cubicBezTo>
                      <a:pt x="264" y="453"/>
                      <a:pt x="264" y="453"/>
                      <a:pt x="264" y="453"/>
                    </a:cubicBezTo>
                    <a:cubicBezTo>
                      <a:pt x="296" y="265"/>
                      <a:pt x="296" y="265"/>
                      <a:pt x="296" y="265"/>
                    </a:cubicBezTo>
                    <a:cubicBezTo>
                      <a:pt x="379" y="265"/>
                      <a:pt x="379" y="265"/>
                      <a:pt x="379" y="265"/>
                    </a:cubicBezTo>
                    <a:cubicBezTo>
                      <a:pt x="439" y="185"/>
                      <a:pt x="439" y="185"/>
                      <a:pt x="439" y="185"/>
                    </a:cubicBezTo>
                    <a:cubicBezTo>
                      <a:pt x="488" y="279"/>
                      <a:pt x="488" y="279"/>
                      <a:pt x="488" y="279"/>
                    </a:cubicBezTo>
                    <a:cubicBezTo>
                      <a:pt x="518" y="264"/>
                      <a:pt x="518" y="264"/>
                      <a:pt x="518" y="264"/>
                    </a:cubicBezTo>
                    <a:cubicBezTo>
                      <a:pt x="444" y="121"/>
                      <a:pt x="444" y="121"/>
                      <a:pt x="444" y="121"/>
                    </a:cubicBezTo>
                    <a:cubicBezTo>
                      <a:pt x="362" y="231"/>
                      <a:pt x="362" y="231"/>
                      <a:pt x="362" y="231"/>
                    </a:cubicBezTo>
                    <a:cubicBezTo>
                      <a:pt x="267" y="231"/>
                      <a:pt x="267" y="231"/>
                      <a:pt x="267" y="231"/>
                    </a:cubicBezTo>
                    <a:cubicBezTo>
                      <a:pt x="245" y="363"/>
                      <a:pt x="245" y="363"/>
                      <a:pt x="245" y="363"/>
                    </a:cubicBezTo>
                    <a:cubicBezTo>
                      <a:pt x="223" y="330"/>
                      <a:pt x="223" y="330"/>
                      <a:pt x="223" y="330"/>
                    </a:cubicBezTo>
                    <a:cubicBezTo>
                      <a:pt x="137" y="416"/>
                      <a:pt x="137" y="416"/>
                      <a:pt x="137" y="416"/>
                    </a:cubicBezTo>
                    <a:cubicBezTo>
                      <a:pt x="161" y="440"/>
                      <a:pt x="161" y="440"/>
                      <a:pt x="161" y="440"/>
                    </a:cubicBezTo>
                    <a:lnTo>
                      <a:pt x="218" y="383"/>
                    </a:lnTo>
                    <a:close/>
                    <a:moveTo>
                      <a:pt x="123" y="103"/>
                    </a:moveTo>
                    <a:cubicBezTo>
                      <a:pt x="86" y="103"/>
                      <a:pt x="86" y="103"/>
                      <a:pt x="86" y="103"/>
                    </a:cubicBezTo>
                    <a:cubicBezTo>
                      <a:pt x="86" y="503"/>
                      <a:pt x="86" y="503"/>
                      <a:pt x="86" y="503"/>
                    </a:cubicBezTo>
                    <a:cubicBezTo>
                      <a:pt x="522" y="503"/>
                      <a:pt x="522" y="503"/>
                      <a:pt x="522" y="503"/>
                    </a:cubicBezTo>
                    <a:cubicBezTo>
                      <a:pt x="522" y="465"/>
                      <a:pt x="522" y="465"/>
                      <a:pt x="522" y="465"/>
                    </a:cubicBezTo>
                    <a:cubicBezTo>
                      <a:pt x="123" y="465"/>
                      <a:pt x="123" y="465"/>
                      <a:pt x="123" y="465"/>
                    </a:cubicBezTo>
                    <a:lnTo>
                      <a:pt x="123" y="103"/>
                    </a:lnTo>
                    <a:close/>
                  </a:path>
                </a:pathLst>
              </a:custGeom>
              <a:solidFill>
                <a:srgbClr val="442359"/>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pic>
            <p:nvPicPr>
              <p:cNvPr id="174" name="Picture 1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61816" y="1406416"/>
                <a:ext cx="542443" cy="820803"/>
              </a:xfrm>
              <a:prstGeom prst="rect">
                <a:avLst/>
              </a:prstGeom>
            </p:spPr>
          </p:pic>
          <p:pic>
            <p:nvPicPr>
              <p:cNvPr id="175" name="Picture 17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03449" y="3134449"/>
                <a:ext cx="1200150" cy="800100"/>
              </a:xfrm>
              <a:prstGeom prst="rect">
                <a:avLst/>
              </a:prstGeom>
            </p:spPr>
          </p:pic>
        </p:grpSp>
      </p:grpSp>
      <p:sp>
        <p:nvSpPr>
          <p:cNvPr id="176" name="Left-Right Arrow 175"/>
          <p:cNvSpPr/>
          <p:nvPr/>
        </p:nvSpPr>
        <p:spPr bwMode="auto">
          <a:xfrm rot="5400000">
            <a:off x="5006048" y="4454713"/>
            <a:ext cx="894095" cy="322824"/>
          </a:xfrm>
          <a:prstGeom prst="leftRightArrow">
            <a:avLst/>
          </a:prstGeom>
          <a:solidFill>
            <a:srgbClr val="FFFFFF"/>
          </a:solidFill>
          <a:ln w="25400" cap="flat" cmpd="sng" algn="ctr">
            <a:solidFill>
              <a:srgbClr val="FF8C0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77" name="Left-Right Arrow 176"/>
          <p:cNvSpPr/>
          <p:nvPr/>
        </p:nvSpPr>
        <p:spPr bwMode="auto">
          <a:xfrm rot="5400000">
            <a:off x="6852714" y="4455716"/>
            <a:ext cx="902931" cy="322824"/>
          </a:xfrm>
          <a:prstGeom prst="leftRightArrow">
            <a:avLst/>
          </a:prstGeom>
          <a:solidFill>
            <a:srgbClr val="FFFFFF"/>
          </a:solidFill>
          <a:ln w="25400" cap="flat" cmpd="sng" algn="ctr">
            <a:solidFill>
              <a:srgbClr val="442359"/>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78" name="Left-Right Arrow 177"/>
          <p:cNvSpPr/>
          <p:nvPr/>
        </p:nvSpPr>
        <p:spPr bwMode="auto">
          <a:xfrm>
            <a:off x="5968186" y="3171475"/>
            <a:ext cx="702336" cy="322824"/>
          </a:xfrm>
          <a:prstGeom prst="leftRightArrow">
            <a:avLst/>
          </a:prstGeom>
          <a:solidFill>
            <a:srgbClr val="FFFFFF"/>
          </a:solidFill>
          <a:ln w="25400" cap="flat" cmpd="sng" algn="ctr">
            <a:solidFill>
              <a:srgbClr val="FF8C0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79" name="Left-Right Arrow 178"/>
          <p:cNvSpPr/>
          <p:nvPr/>
        </p:nvSpPr>
        <p:spPr bwMode="auto">
          <a:xfrm rot="5400000">
            <a:off x="842320" y="4458889"/>
            <a:ext cx="902927" cy="322824"/>
          </a:xfrm>
          <a:prstGeom prst="leftRightArrow">
            <a:avLst/>
          </a:prstGeom>
          <a:solidFill>
            <a:srgbClr val="FFFFFF"/>
          </a:solidFill>
          <a:ln w="25400" cap="flat" cmpd="sng" algn="ctr">
            <a:solidFill>
              <a:srgbClr val="00187B"/>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nvGrpSpPr>
          <p:cNvPr id="180" name="Group 179"/>
          <p:cNvGrpSpPr/>
          <p:nvPr/>
        </p:nvGrpSpPr>
        <p:grpSpPr>
          <a:xfrm>
            <a:off x="2412779" y="1580816"/>
            <a:ext cx="1887864" cy="2747797"/>
            <a:chOff x="2412779" y="1580816"/>
            <a:chExt cx="1887864" cy="2747797"/>
          </a:xfrm>
        </p:grpSpPr>
        <p:grpSp>
          <p:nvGrpSpPr>
            <p:cNvPr id="181" name="Group 180"/>
            <p:cNvGrpSpPr/>
            <p:nvPr/>
          </p:nvGrpSpPr>
          <p:grpSpPr>
            <a:xfrm>
              <a:off x="2412779" y="1580816"/>
              <a:ext cx="1887864" cy="2747797"/>
              <a:chOff x="2412779" y="1580816"/>
              <a:chExt cx="1887864" cy="2747797"/>
            </a:xfrm>
          </p:grpSpPr>
          <p:sp>
            <p:nvSpPr>
              <p:cNvPr id="185" name="Text Placeholder 12"/>
              <p:cNvSpPr txBox="1">
                <a:spLocks/>
              </p:cNvSpPr>
              <p:nvPr/>
            </p:nvSpPr>
            <p:spPr>
              <a:xfrm>
                <a:off x="2893275" y="3924106"/>
                <a:ext cx="930174" cy="2769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90000"/>
                  </a:lnSpc>
                  <a:spcBef>
                    <a:spcPts val="0"/>
                  </a:spcBef>
                  <a:spcAft>
                    <a:spcPts val="900"/>
                  </a:spcAft>
                  <a:buClrTx/>
                  <a:buSzPct val="90000"/>
                  <a:buFont typeface="Arial" pitchFamily="34" charset="0"/>
                  <a:buNone/>
                  <a:tabLst/>
                  <a:defRPr/>
                </a:pPr>
                <a:r>
                  <a:rPr kumimoji="0" lang="en-US" sz="2000" b="1" i="0" u="none" strike="noStrike" kern="1200" cap="none" spc="0" normalizeH="0" baseline="0" noProof="0" dirty="0">
                    <a:ln>
                      <a:noFill/>
                    </a:ln>
                    <a:solidFill>
                      <a:srgbClr val="3D5800"/>
                    </a:solidFill>
                    <a:effectLst/>
                    <a:uLnTx/>
                    <a:uFillTx/>
                    <a:latin typeface="Segoe UI"/>
                  </a:rPr>
                  <a:t>Devices</a:t>
                </a:r>
              </a:p>
            </p:txBody>
          </p:sp>
          <p:sp>
            <p:nvSpPr>
              <p:cNvPr id="186" name="Rectangle 185"/>
              <p:cNvSpPr/>
              <p:nvPr/>
            </p:nvSpPr>
            <p:spPr bwMode="auto">
              <a:xfrm>
                <a:off x="2412779" y="1580816"/>
                <a:ext cx="1887864" cy="2747797"/>
              </a:xfrm>
              <a:prstGeom prst="rect">
                <a:avLst/>
              </a:prstGeom>
              <a:noFill/>
              <a:ln w="10795" cap="flat" cmpd="sng" algn="ctr">
                <a:solidFill>
                  <a:srgbClr val="3D580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nvGrpSpPr>
              <p:cNvPr id="187" name="Group 186"/>
              <p:cNvGrpSpPr/>
              <p:nvPr/>
            </p:nvGrpSpPr>
            <p:grpSpPr>
              <a:xfrm>
                <a:off x="2694451" y="1679521"/>
                <a:ext cx="1333710" cy="2237201"/>
                <a:chOff x="3632038" y="1206859"/>
                <a:chExt cx="1847223" cy="3098577"/>
              </a:xfrm>
            </p:grpSpPr>
            <p:sp>
              <p:nvSpPr>
                <p:cNvPr id="188" name="Freeform 24"/>
                <p:cNvSpPr>
                  <a:spLocks/>
                </p:cNvSpPr>
                <p:nvPr/>
              </p:nvSpPr>
              <p:spPr bwMode="auto">
                <a:xfrm>
                  <a:off x="3632038" y="2956925"/>
                  <a:ext cx="15888" cy="28910"/>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89" name="Freeform 25"/>
                <p:cNvSpPr>
                  <a:spLocks/>
                </p:cNvSpPr>
                <p:nvPr/>
              </p:nvSpPr>
              <p:spPr bwMode="auto">
                <a:xfrm>
                  <a:off x="3679701" y="2465467"/>
                  <a:ext cx="21845" cy="22715"/>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90" name="Freeform 26"/>
                <p:cNvSpPr>
                  <a:spLocks/>
                </p:cNvSpPr>
                <p:nvPr/>
              </p:nvSpPr>
              <p:spPr bwMode="auto">
                <a:xfrm>
                  <a:off x="3679701" y="2465467"/>
                  <a:ext cx="21845" cy="22715"/>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sp>
              <p:nvSpPr>
                <p:cNvPr id="191" name="Freeform 27"/>
                <p:cNvSpPr>
                  <a:spLocks/>
                </p:cNvSpPr>
                <p:nvPr/>
              </p:nvSpPr>
              <p:spPr bwMode="auto">
                <a:xfrm>
                  <a:off x="3955749" y="3008552"/>
                  <a:ext cx="31777" cy="39235"/>
                </a:xfrm>
                <a:custGeom>
                  <a:avLst/>
                  <a:gdLst>
                    <a:gd name="T0" fmla="*/ 15 w 27"/>
                    <a:gd name="T1" fmla="*/ 0 h 31"/>
                    <a:gd name="T2" fmla="*/ 20 w 27"/>
                    <a:gd name="T3" fmla="*/ 3 h 31"/>
                    <a:gd name="T4" fmla="*/ 24 w 27"/>
                    <a:gd name="T5" fmla="*/ 7 h 31"/>
                    <a:gd name="T6" fmla="*/ 27 w 27"/>
                    <a:gd name="T7" fmla="*/ 12 h 31"/>
                    <a:gd name="T8" fmla="*/ 27 w 27"/>
                    <a:gd name="T9" fmla="*/ 19 h 31"/>
                    <a:gd name="T10" fmla="*/ 25 w 27"/>
                    <a:gd name="T11" fmla="*/ 24 h 31"/>
                    <a:gd name="T12" fmla="*/ 22 w 27"/>
                    <a:gd name="T13" fmla="*/ 29 h 31"/>
                    <a:gd name="T14" fmla="*/ 17 w 27"/>
                    <a:gd name="T15" fmla="*/ 31 h 31"/>
                    <a:gd name="T16" fmla="*/ 12 w 27"/>
                    <a:gd name="T17" fmla="*/ 31 h 31"/>
                    <a:gd name="T18" fmla="*/ 7 w 27"/>
                    <a:gd name="T19" fmla="*/ 29 h 31"/>
                    <a:gd name="T20" fmla="*/ 3 w 27"/>
                    <a:gd name="T21" fmla="*/ 24 h 31"/>
                    <a:gd name="T22" fmla="*/ 0 w 27"/>
                    <a:gd name="T23" fmla="*/ 19 h 31"/>
                    <a:gd name="T24" fmla="*/ 0 w 27"/>
                    <a:gd name="T25" fmla="*/ 13 h 31"/>
                    <a:gd name="T26" fmla="*/ 2 w 27"/>
                    <a:gd name="T27" fmla="*/ 7 h 31"/>
                    <a:gd name="T28" fmla="*/ 5 w 27"/>
                    <a:gd name="T29" fmla="*/ 3 h 31"/>
                    <a:gd name="T30" fmla="*/ 10 w 27"/>
                    <a:gd name="T31" fmla="*/ 0 h 31"/>
                    <a:gd name="T32" fmla="*/ 15 w 27"/>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31">
                      <a:moveTo>
                        <a:pt x="15" y="0"/>
                      </a:moveTo>
                      <a:cubicBezTo>
                        <a:pt x="17" y="1"/>
                        <a:pt x="19" y="1"/>
                        <a:pt x="20" y="3"/>
                      </a:cubicBezTo>
                      <a:cubicBezTo>
                        <a:pt x="22" y="4"/>
                        <a:pt x="23" y="5"/>
                        <a:pt x="24" y="7"/>
                      </a:cubicBezTo>
                      <a:cubicBezTo>
                        <a:pt x="26" y="9"/>
                        <a:pt x="26" y="10"/>
                        <a:pt x="27" y="12"/>
                      </a:cubicBezTo>
                      <a:cubicBezTo>
                        <a:pt x="27" y="14"/>
                        <a:pt x="27" y="17"/>
                        <a:pt x="27" y="19"/>
                      </a:cubicBezTo>
                      <a:cubicBezTo>
                        <a:pt x="27" y="21"/>
                        <a:pt x="26" y="23"/>
                        <a:pt x="25" y="24"/>
                      </a:cubicBezTo>
                      <a:cubicBezTo>
                        <a:pt x="25" y="26"/>
                        <a:pt x="23" y="28"/>
                        <a:pt x="22" y="29"/>
                      </a:cubicBezTo>
                      <a:cubicBezTo>
                        <a:pt x="21" y="30"/>
                        <a:pt x="19" y="31"/>
                        <a:pt x="17" y="31"/>
                      </a:cubicBezTo>
                      <a:cubicBezTo>
                        <a:pt x="15" y="31"/>
                        <a:pt x="14" y="31"/>
                        <a:pt x="12" y="31"/>
                      </a:cubicBezTo>
                      <a:cubicBezTo>
                        <a:pt x="10" y="31"/>
                        <a:pt x="8" y="30"/>
                        <a:pt x="7" y="29"/>
                      </a:cubicBezTo>
                      <a:cubicBezTo>
                        <a:pt x="5" y="27"/>
                        <a:pt x="4" y="26"/>
                        <a:pt x="3" y="24"/>
                      </a:cubicBezTo>
                      <a:cubicBezTo>
                        <a:pt x="2" y="23"/>
                        <a:pt x="1" y="21"/>
                        <a:pt x="0" y="19"/>
                      </a:cubicBezTo>
                      <a:cubicBezTo>
                        <a:pt x="0" y="17"/>
                        <a:pt x="0" y="15"/>
                        <a:pt x="0" y="13"/>
                      </a:cubicBezTo>
                      <a:cubicBezTo>
                        <a:pt x="0" y="10"/>
                        <a:pt x="1" y="9"/>
                        <a:pt x="2" y="7"/>
                      </a:cubicBezTo>
                      <a:cubicBezTo>
                        <a:pt x="3" y="5"/>
                        <a:pt x="4" y="4"/>
                        <a:pt x="5" y="3"/>
                      </a:cubicBezTo>
                      <a:cubicBezTo>
                        <a:pt x="7" y="2"/>
                        <a:pt x="8" y="1"/>
                        <a:pt x="10" y="0"/>
                      </a:cubicBezTo>
                      <a:cubicBezTo>
                        <a:pt x="12" y="0"/>
                        <a:pt x="13" y="0"/>
                        <a:pt x="15" y="0"/>
                      </a:cubicBezTo>
                      <a:close/>
                    </a:path>
                  </a:pathLst>
                </a:custGeom>
                <a:solidFill>
                  <a:srgbClr val="7FBA00"/>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505050"/>
                    </a:solidFill>
                    <a:effectLst/>
                    <a:uLnTx/>
                    <a:uFillTx/>
                  </a:endParaRPr>
                </a:p>
              </p:txBody>
            </p:sp>
            <p:pic>
              <p:nvPicPr>
                <p:cNvPr id="192" name="Picture 19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38632" y="3327102"/>
                  <a:ext cx="1465959" cy="978334"/>
                </a:xfrm>
                <a:prstGeom prst="rect">
                  <a:avLst/>
                </a:prstGeom>
              </p:spPr>
            </p:pic>
            <p:pic>
              <p:nvPicPr>
                <p:cNvPr id="193" name="Picture 19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47372" y="2347338"/>
                  <a:ext cx="486267" cy="898622"/>
                </a:xfrm>
                <a:prstGeom prst="rect">
                  <a:avLst/>
                </a:prstGeom>
              </p:spPr>
            </p:pic>
            <p:pic>
              <p:nvPicPr>
                <p:cNvPr id="194" name="Picture 19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60464" y="1206859"/>
                  <a:ext cx="1118797" cy="1118797"/>
                </a:xfrm>
                <a:prstGeom prst="rect">
                  <a:avLst/>
                </a:prstGeom>
              </p:spPr>
            </p:pic>
            <p:pic>
              <p:nvPicPr>
                <p:cNvPr id="195" name="Picture 1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48794" y="1276042"/>
                  <a:ext cx="710070" cy="920829"/>
                </a:xfrm>
                <a:prstGeom prst="rect">
                  <a:avLst/>
                </a:prstGeom>
              </p:spPr>
            </p:pic>
          </p:grpSp>
        </p:grpSp>
        <p:grpSp>
          <p:nvGrpSpPr>
            <p:cNvPr id="182" name="Group 181"/>
            <p:cNvGrpSpPr>
              <a:grpSpLocks noChangeAspect="1"/>
            </p:cNvGrpSpPr>
            <p:nvPr/>
          </p:nvGrpSpPr>
          <p:grpSpPr bwMode="auto">
            <a:xfrm>
              <a:off x="2641549" y="2498504"/>
              <a:ext cx="742387" cy="635008"/>
              <a:chOff x="1063" y="2846"/>
              <a:chExt cx="961" cy="822"/>
            </a:xfrm>
          </p:grpSpPr>
          <p:sp>
            <p:nvSpPr>
              <p:cNvPr id="183" name="Freeform 6"/>
              <p:cNvSpPr>
                <a:spLocks noEditPoints="1"/>
              </p:cNvSpPr>
              <p:nvPr/>
            </p:nvSpPr>
            <p:spPr bwMode="auto">
              <a:xfrm>
                <a:off x="1063" y="2846"/>
                <a:ext cx="961" cy="822"/>
              </a:xfrm>
              <a:custGeom>
                <a:avLst/>
                <a:gdLst>
                  <a:gd name="T0" fmla="*/ 265 w 3843"/>
                  <a:gd name="T1" fmla="*/ 229 h 3287"/>
                  <a:gd name="T2" fmla="*/ 225 w 3843"/>
                  <a:gd name="T3" fmla="*/ 311 h 3287"/>
                  <a:gd name="T4" fmla="*/ 225 w 3843"/>
                  <a:gd name="T5" fmla="*/ 679 h 3287"/>
                  <a:gd name="T6" fmla="*/ 225 w 3843"/>
                  <a:gd name="T7" fmla="*/ 1741 h 3287"/>
                  <a:gd name="T8" fmla="*/ 227 w 3843"/>
                  <a:gd name="T9" fmla="*/ 2520 h 3287"/>
                  <a:gd name="T10" fmla="*/ 331 w 3843"/>
                  <a:gd name="T11" fmla="*/ 2598 h 3287"/>
                  <a:gd name="T12" fmla="*/ 403 w 3843"/>
                  <a:gd name="T13" fmla="*/ 2598 h 3287"/>
                  <a:gd name="T14" fmla="*/ 907 w 3843"/>
                  <a:gd name="T15" fmla="*/ 2598 h 3287"/>
                  <a:gd name="T16" fmla="*/ 1618 w 3843"/>
                  <a:gd name="T17" fmla="*/ 2598 h 3287"/>
                  <a:gd name="T18" fmla="*/ 2427 w 3843"/>
                  <a:gd name="T19" fmla="*/ 2598 h 3287"/>
                  <a:gd name="T20" fmla="*/ 3542 w 3843"/>
                  <a:gd name="T21" fmla="*/ 2596 h 3287"/>
                  <a:gd name="T22" fmla="*/ 3621 w 3843"/>
                  <a:gd name="T23" fmla="*/ 2495 h 3287"/>
                  <a:gd name="T24" fmla="*/ 3621 w 3843"/>
                  <a:gd name="T25" fmla="*/ 2223 h 3287"/>
                  <a:gd name="T26" fmla="*/ 3621 w 3843"/>
                  <a:gd name="T27" fmla="*/ 1873 h 3287"/>
                  <a:gd name="T28" fmla="*/ 3621 w 3843"/>
                  <a:gd name="T29" fmla="*/ 479 h 3287"/>
                  <a:gd name="T30" fmla="*/ 3563 w 3843"/>
                  <a:gd name="T31" fmla="*/ 218 h 3287"/>
                  <a:gd name="T32" fmla="*/ 3007 w 3843"/>
                  <a:gd name="T33" fmla="*/ 208 h 3287"/>
                  <a:gd name="T34" fmla="*/ 1722 w 3843"/>
                  <a:gd name="T35" fmla="*/ 208 h 3287"/>
                  <a:gd name="T36" fmla="*/ 131 w 3843"/>
                  <a:gd name="T37" fmla="*/ 0 h 3287"/>
                  <a:gd name="T38" fmla="*/ 456 w 3843"/>
                  <a:gd name="T39" fmla="*/ 0 h 3287"/>
                  <a:gd name="T40" fmla="*/ 1886 w 3843"/>
                  <a:gd name="T41" fmla="*/ 0 h 3287"/>
                  <a:gd name="T42" fmla="*/ 3774 w 3843"/>
                  <a:gd name="T43" fmla="*/ 11 h 3287"/>
                  <a:gd name="T44" fmla="*/ 3843 w 3843"/>
                  <a:gd name="T45" fmla="*/ 117 h 3287"/>
                  <a:gd name="T46" fmla="*/ 3843 w 3843"/>
                  <a:gd name="T47" fmla="*/ 127 h 3287"/>
                  <a:gd name="T48" fmla="*/ 3843 w 3843"/>
                  <a:gd name="T49" fmla="*/ 270 h 3287"/>
                  <a:gd name="T50" fmla="*/ 3843 w 3843"/>
                  <a:gd name="T51" fmla="*/ 633 h 3287"/>
                  <a:gd name="T52" fmla="*/ 3843 w 3843"/>
                  <a:gd name="T53" fmla="*/ 1340 h 3287"/>
                  <a:gd name="T54" fmla="*/ 3843 w 3843"/>
                  <a:gd name="T55" fmla="*/ 2007 h 3287"/>
                  <a:gd name="T56" fmla="*/ 3830 w 3843"/>
                  <a:gd name="T57" fmla="*/ 2743 h 3287"/>
                  <a:gd name="T58" fmla="*/ 3720 w 3843"/>
                  <a:gd name="T59" fmla="*/ 2811 h 3287"/>
                  <a:gd name="T60" fmla="*/ 3701 w 3843"/>
                  <a:gd name="T61" fmla="*/ 2811 h 3287"/>
                  <a:gd name="T62" fmla="*/ 3489 w 3843"/>
                  <a:gd name="T63" fmla="*/ 2811 h 3287"/>
                  <a:gd name="T64" fmla="*/ 3118 w 3843"/>
                  <a:gd name="T65" fmla="*/ 2811 h 3287"/>
                  <a:gd name="T66" fmla="*/ 2608 w 3843"/>
                  <a:gd name="T67" fmla="*/ 2815 h 3287"/>
                  <a:gd name="T68" fmla="*/ 2622 w 3843"/>
                  <a:gd name="T69" fmla="*/ 2938 h 3287"/>
                  <a:gd name="T70" fmla="*/ 2694 w 3843"/>
                  <a:gd name="T71" fmla="*/ 3043 h 3287"/>
                  <a:gd name="T72" fmla="*/ 2816 w 3843"/>
                  <a:gd name="T73" fmla="*/ 3066 h 3287"/>
                  <a:gd name="T74" fmla="*/ 2836 w 3843"/>
                  <a:gd name="T75" fmla="*/ 3067 h 3287"/>
                  <a:gd name="T76" fmla="*/ 2919 w 3843"/>
                  <a:gd name="T77" fmla="*/ 3153 h 3287"/>
                  <a:gd name="T78" fmla="*/ 2916 w 3843"/>
                  <a:gd name="T79" fmla="*/ 3224 h 3287"/>
                  <a:gd name="T80" fmla="*/ 2836 w 3843"/>
                  <a:gd name="T81" fmla="*/ 3287 h 3287"/>
                  <a:gd name="T82" fmla="*/ 2209 w 3843"/>
                  <a:gd name="T83" fmla="*/ 3287 h 3287"/>
                  <a:gd name="T84" fmla="*/ 1031 w 3843"/>
                  <a:gd name="T85" fmla="*/ 3285 h 3287"/>
                  <a:gd name="T86" fmla="*/ 971 w 3843"/>
                  <a:gd name="T87" fmla="*/ 3201 h 3287"/>
                  <a:gd name="T88" fmla="*/ 981 w 3843"/>
                  <a:gd name="T89" fmla="*/ 3110 h 3287"/>
                  <a:gd name="T90" fmla="*/ 1093 w 3843"/>
                  <a:gd name="T91" fmla="*/ 3062 h 3287"/>
                  <a:gd name="T92" fmla="*/ 1222 w 3843"/>
                  <a:gd name="T93" fmla="*/ 3039 h 3287"/>
                  <a:gd name="T94" fmla="*/ 1293 w 3843"/>
                  <a:gd name="T95" fmla="*/ 2938 h 3287"/>
                  <a:gd name="T96" fmla="*/ 1310 w 3843"/>
                  <a:gd name="T97" fmla="*/ 2815 h 3287"/>
                  <a:gd name="T98" fmla="*/ 1291 w 3843"/>
                  <a:gd name="T99" fmla="*/ 2811 h 3287"/>
                  <a:gd name="T100" fmla="*/ 1162 w 3843"/>
                  <a:gd name="T101" fmla="*/ 2811 h 3287"/>
                  <a:gd name="T102" fmla="*/ 812 w 3843"/>
                  <a:gd name="T103" fmla="*/ 2811 h 3287"/>
                  <a:gd name="T104" fmla="*/ 100 w 3843"/>
                  <a:gd name="T105" fmla="*/ 2808 h 3287"/>
                  <a:gd name="T106" fmla="*/ 0 w 3843"/>
                  <a:gd name="T107" fmla="*/ 2689 h 3287"/>
                  <a:gd name="T108" fmla="*/ 0 w 3843"/>
                  <a:gd name="T109" fmla="*/ 2682 h 3287"/>
                  <a:gd name="T110" fmla="*/ 0 w 3843"/>
                  <a:gd name="T111" fmla="*/ 2563 h 3287"/>
                  <a:gd name="T112" fmla="*/ 0 w 3843"/>
                  <a:gd name="T113" fmla="*/ 2234 h 3287"/>
                  <a:gd name="T114" fmla="*/ 0 w 3843"/>
                  <a:gd name="T115" fmla="*/ 1533 h 3287"/>
                  <a:gd name="T116" fmla="*/ 0 w 3843"/>
                  <a:gd name="T117" fmla="*/ 949 h 3287"/>
                  <a:gd name="T118" fmla="*/ 3 w 3843"/>
                  <a:gd name="T119" fmla="*/ 89 h 3287"/>
                  <a:gd name="T120" fmla="*/ 131 w 3843"/>
                  <a:gd name="T121" fmla="*/ 0 h 3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43" h="3287">
                    <a:moveTo>
                      <a:pt x="915" y="208"/>
                    </a:moveTo>
                    <a:lnTo>
                      <a:pt x="729" y="208"/>
                    </a:lnTo>
                    <a:lnTo>
                      <a:pt x="331" y="208"/>
                    </a:lnTo>
                    <a:lnTo>
                      <a:pt x="306" y="211"/>
                    </a:lnTo>
                    <a:lnTo>
                      <a:pt x="284" y="218"/>
                    </a:lnTo>
                    <a:lnTo>
                      <a:pt x="265" y="229"/>
                    </a:lnTo>
                    <a:lnTo>
                      <a:pt x="248" y="246"/>
                    </a:lnTo>
                    <a:lnTo>
                      <a:pt x="235" y="264"/>
                    </a:lnTo>
                    <a:lnTo>
                      <a:pt x="227" y="286"/>
                    </a:lnTo>
                    <a:lnTo>
                      <a:pt x="225" y="310"/>
                    </a:lnTo>
                    <a:lnTo>
                      <a:pt x="225" y="311"/>
                    </a:lnTo>
                    <a:lnTo>
                      <a:pt x="225" y="311"/>
                    </a:lnTo>
                    <a:lnTo>
                      <a:pt x="225" y="324"/>
                    </a:lnTo>
                    <a:lnTo>
                      <a:pt x="225" y="331"/>
                    </a:lnTo>
                    <a:lnTo>
                      <a:pt x="225" y="339"/>
                    </a:lnTo>
                    <a:lnTo>
                      <a:pt x="225" y="584"/>
                    </a:lnTo>
                    <a:lnTo>
                      <a:pt x="225" y="629"/>
                    </a:lnTo>
                    <a:lnTo>
                      <a:pt x="225" y="679"/>
                    </a:lnTo>
                    <a:lnTo>
                      <a:pt x="225" y="734"/>
                    </a:lnTo>
                    <a:lnTo>
                      <a:pt x="225" y="795"/>
                    </a:lnTo>
                    <a:lnTo>
                      <a:pt x="225" y="861"/>
                    </a:lnTo>
                    <a:lnTo>
                      <a:pt x="225" y="932"/>
                    </a:lnTo>
                    <a:lnTo>
                      <a:pt x="225" y="1615"/>
                    </a:lnTo>
                    <a:lnTo>
                      <a:pt x="225" y="1741"/>
                    </a:lnTo>
                    <a:lnTo>
                      <a:pt x="225" y="1875"/>
                    </a:lnTo>
                    <a:lnTo>
                      <a:pt x="225" y="2018"/>
                    </a:lnTo>
                    <a:lnTo>
                      <a:pt x="225" y="2169"/>
                    </a:lnTo>
                    <a:lnTo>
                      <a:pt x="225" y="2328"/>
                    </a:lnTo>
                    <a:lnTo>
                      <a:pt x="225" y="2495"/>
                    </a:lnTo>
                    <a:lnTo>
                      <a:pt x="227" y="2520"/>
                    </a:lnTo>
                    <a:lnTo>
                      <a:pt x="235" y="2542"/>
                    </a:lnTo>
                    <a:lnTo>
                      <a:pt x="248" y="2561"/>
                    </a:lnTo>
                    <a:lnTo>
                      <a:pt x="265" y="2576"/>
                    </a:lnTo>
                    <a:lnTo>
                      <a:pt x="284" y="2589"/>
                    </a:lnTo>
                    <a:lnTo>
                      <a:pt x="306" y="2596"/>
                    </a:lnTo>
                    <a:lnTo>
                      <a:pt x="331" y="2598"/>
                    </a:lnTo>
                    <a:lnTo>
                      <a:pt x="332" y="2598"/>
                    </a:lnTo>
                    <a:lnTo>
                      <a:pt x="332" y="2598"/>
                    </a:lnTo>
                    <a:lnTo>
                      <a:pt x="333" y="2598"/>
                    </a:lnTo>
                    <a:lnTo>
                      <a:pt x="336" y="2598"/>
                    </a:lnTo>
                    <a:lnTo>
                      <a:pt x="388" y="2598"/>
                    </a:lnTo>
                    <a:lnTo>
                      <a:pt x="403" y="2598"/>
                    </a:lnTo>
                    <a:lnTo>
                      <a:pt x="421" y="2598"/>
                    </a:lnTo>
                    <a:lnTo>
                      <a:pt x="465" y="2598"/>
                    </a:lnTo>
                    <a:lnTo>
                      <a:pt x="492" y="2598"/>
                    </a:lnTo>
                    <a:lnTo>
                      <a:pt x="522" y="2598"/>
                    </a:lnTo>
                    <a:lnTo>
                      <a:pt x="842" y="2598"/>
                    </a:lnTo>
                    <a:lnTo>
                      <a:pt x="907" y="2598"/>
                    </a:lnTo>
                    <a:lnTo>
                      <a:pt x="976" y="2598"/>
                    </a:lnTo>
                    <a:lnTo>
                      <a:pt x="1050" y="2598"/>
                    </a:lnTo>
                    <a:lnTo>
                      <a:pt x="1307" y="2598"/>
                    </a:lnTo>
                    <a:lnTo>
                      <a:pt x="1404" y="2598"/>
                    </a:lnTo>
                    <a:lnTo>
                      <a:pt x="1508" y="2598"/>
                    </a:lnTo>
                    <a:lnTo>
                      <a:pt x="1618" y="2598"/>
                    </a:lnTo>
                    <a:lnTo>
                      <a:pt x="1735" y="2598"/>
                    </a:lnTo>
                    <a:lnTo>
                      <a:pt x="1860" y="2598"/>
                    </a:lnTo>
                    <a:lnTo>
                      <a:pt x="1990" y="2598"/>
                    </a:lnTo>
                    <a:lnTo>
                      <a:pt x="2128" y="2598"/>
                    </a:lnTo>
                    <a:lnTo>
                      <a:pt x="2273" y="2598"/>
                    </a:lnTo>
                    <a:lnTo>
                      <a:pt x="2427" y="2598"/>
                    </a:lnTo>
                    <a:lnTo>
                      <a:pt x="2588" y="2598"/>
                    </a:lnTo>
                    <a:lnTo>
                      <a:pt x="2758" y="2598"/>
                    </a:lnTo>
                    <a:lnTo>
                      <a:pt x="2935" y="2598"/>
                    </a:lnTo>
                    <a:lnTo>
                      <a:pt x="3120" y="2598"/>
                    </a:lnTo>
                    <a:lnTo>
                      <a:pt x="3519" y="2598"/>
                    </a:lnTo>
                    <a:lnTo>
                      <a:pt x="3542" y="2596"/>
                    </a:lnTo>
                    <a:lnTo>
                      <a:pt x="3563" y="2589"/>
                    </a:lnTo>
                    <a:lnTo>
                      <a:pt x="3583" y="2576"/>
                    </a:lnTo>
                    <a:lnTo>
                      <a:pt x="3598" y="2561"/>
                    </a:lnTo>
                    <a:lnTo>
                      <a:pt x="3611" y="2542"/>
                    </a:lnTo>
                    <a:lnTo>
                      <a:pt x="3619" y="2520"/>
                    </a:lnTo>
                    <a:lnTo>
                      <a:pt x="3621" y="2495"/>
                    </a:lnTo>
                    <a:lnTo>
                      <a:pt x="3621" y="2495"/>
                    </a:lnTo>
                    <a:lnTo>
                      <a:pt x="3621" y="2495"/>
                    </a:lnTo>
                    <a:lnTo>
                      <a:pt x="3621" y="2483"/>
                    </a:lnTo>
                    <a:lnTo>
                      <a:pt x="3621" y="2476"/>
                    </a:lnTo>
                    <a:lnTo>
                      <a:pt x="3621" y="2466"/>
                    </a:lnTo>
                    <a:lnTo>
                      <a:pt x="3621" y="2223"/>
                    </a:lnTo>
                    <a:lnTo>
                      <a:pt x="3621" y="2177"/>
                    </a:lnTo>
                    <a:lnTo>
                      <a:pt x="3621" y="2127"/>
                    </a:lnTo>
                    <a:lnTo>
                      <a:pt x="3621" y="2071"/>
                    </a:lnTo>
                    <a:lnTo>
                      <a:pt x="3621" y="2012"/>
                    </a:lnTo>
                    <a:lnTo>
                      <a:pt x="3621" y="1945"/>
                    </a:lnTo>
                    <a:lnTo>
                      <a:pt x="3621" y="1873"/>
                    </a:lnTo>
                    <a:lnTo>
                      <a:pt x="3621" y="1191"/>
                    </a:lnTo>
                    <a:lnTo>
                      <a:pt x="3621" y="1064"/>
                    </a:lnTo>
                    <a:lnTo>
                      <a:pt x="3621" y="930"/>
                    </a:lnTo>
                    <a:lnTo>
                      <a:pt x="3621" y="788"/>
                    </a:lnTo>
                    <a:lnTo>
                      <a:pt x="3621" y="637"/>
                    </a:lnTo>
                    <a:lnTo>
                      <a:pt x="3621" y="479"/>
                    </a:lnTo>
                    <a:lnTo>
                      <a:pt x="3621" y="310"/>
                    </a:lnTo>
                    <a:lnTo>
                      <a:pt x="3619" y="286"/>
                    </a:lnTo>
                    <a:lnTo>
                      <a:pt x="3611" y="264"/>
                    </a:lnTo>
                    <a:lnTo>
                      <a:pt x="3598" y="246"/>
                    </a:lnTo>
                    <a:lnTo>
                      <a:pt x="3583" y="229"/>
                    </a:lnTo>
                    <a:lnTo>
                      <a:pt x="3563" y="218"/>
                    </a:lnTo>
                    <a:lnTo>
                      <a:pt x="3542" y="211"/>
                    </a:lnTo>
                    <a:lnTo>
                      <a:pt x="3519" y="208"/>
                    </a:lnTo>
                    <a:lnTo>
                      <a:pt x="3519" y="208"/>
                    </a:lnTo>
                    <a:lnTo>
                      <a:pt x="3518" y="208"/>
                    </a:lnTo>
                    <a:lnTo>
                      <a:pt x="3517" y="208"/>
                    </a:lnTo>
                    <a:lnTo>
                      <a:pt x="3007" y="208"/>
                    </a:lnTo>
                    <a:lnTo>
                      <a:pt x="2943" y="208"/>
                    </a:lnTo>
                    <a:lnTo>
                      <a:pt x="2875" y="208"/>
                    </a:lnTo>
                    <a:lnTo>
                      <a:pt x="2800" y="208"/>
                    </a:lnTo>
                    <a:lnTo>
                      <a:pt x="2544" y="208"/>
                    </a:lnTo>
                    <a:lnTo>
                      <a:pt x="2446" y="208"/>
                    </a:lnTo>
                    <a:lnTo>
                      <a:pt x="1722" y="208"/>
                    </a:lnTo>
                    <a:lnTo>
                      <a:pt x="1577" y="208"/>
                    </a:lnTo>
                    <a:lnTo>
                      <a:pt x="1423" y="208"/>
                    </a:lnTo>
                    <a:lnTo>
                      <a:pt x="1262" y="208"/>
                    </a:lnTo>
                    <a:lnTo>
                      <a:pt x="1093" y="208"/>
                    </a:lnTo>
                    <a:lnTo>
                      <a:pt x="915" y="208"/>
                    </a:lnTo>
                    <a:close/>
                    <a:moveTo>
                      <a:pt x="131" y="0"/>
                    </a:moveTo>
                    <a:lnTo>
                      <a:pt x="197" y="0"/>
                    </a:lnTo>
                    <a:lnTo>
                      <a:pt x="214" y="0"/>
                    </a:lnTo>
                    <a:lnTo>
                      <a:pt x="233" y="0"/>
                    </a:lnTo>
                    <a:lnTo>
                      <a:pt x="374" y="0"/>
                    </a:lnTo>
                    <a:lnTo>
                      <a:pt x="412" y="0"/>
                    </a:lnTo>
                    <a:lnTo>
                      <a:pt x="456" y="0"/>
                    </a:lnTo>
                    <a:lnTo>
                      <a:pt x="800" y="0"/>
                    </a:lnTo>
                    <a:lnTo>
                      <a:pt x="874" y="0"/>
                    </a:lnTo>
                    <a:lnTo>
                      <a:pt x="954" y="0"/>
                    </a:lnTo>
                    <a:lnTo>
                      <a:pt x="1727" y="0"/>
                    </a:lnTo>
                    <a:lnTo>
                      <a:pt x="1805" y="0"/>
                    </a:lnTo>
                    <a:lnTo>
                      <a:pt x="1886" y="0"/>
                    </a:lnTo>
                    <a:lnTo>
                      <a:pt x="1997" y="0"/>
                    </a:lnTo>
                    <a:lnTo>
                      <a:pt x="2083" y="0"/>
                    </a:lnTo>
                    <a:lnTo>
                      <a:pt x="2234" y="0"/>
                    </a:lnTo>
                    <a:lnTo>
                      <a:pt x="3720" y="0"/>
                    </a:lnTo>
                    <a:lnTo>
                      <a:pt x="3748" y="2"/>
                    </a:lnTo>
                    <a:lnTo>
                      <a:pt x="3774" y="11"/>
                    </a:lnTo>
                    <a:lnTo>
                      <a:pt x="3796" y="24"/>
                    </a:lnTo>
                    <a:lnTo>
                      <a:pt x="3815" y="43"/>
                    </a:lnTo>
                    <a:lnTo>
                      <a:pt x="3830" y="65"/>
                    </a:lnTo>
                    <a:lnTo>
                      <a:pt x="3839" y="89"/>
                    </a:lnTo>
                    <a:lnTo>
                      <a:pt x="3843" y="117"/>
                    </a:lnTo>
                    <a:lnTo>
                      <a:pt x="3843" y="117"/>
                    </a:lnTo>
                    <a:lnTo>
                      <a:pt x="3843" y="117"/>
                    </a:lnTo>
                    <a:lnTo>
                      <a:pt x="3843" y="119"/>
                    </a:lnTo>
                    <a:lnTo>
                      <a:pt x="3843" y="120"/>
                    </a:lnTo>
                    <a:lnTo>
                      <a:pt x="3843" y="122"/>
                    </a:lnTo>
                    <a:lnTo>
                      <a:pt x="3843" y="124"/>
                    </a:lnTo>
                    <a:lnTo>
                      <a:pt x="3843" y="127"/>
                    </a:lnTo>
                    <a:lnTo>
                      <a:pt x="3843" y="130"/>
                    </a:lnTo>
                    <a:lnTo>
                      <a:pt x="3843" y="136"/>
                    </a:lnTo>
                    <a:lnTo>
                      <a:pt x="3843" y="144"/>
                    </a:lnTo>
                    <a:lnTo>
                      <a:pt x="3843" y="150"/>
                    </a:lnTo>
                    <a:lnTo>
                      <a:pt x="3843" y="243"/>
                    </a:lnTo>
                    <a:lnTo>
                      <a:pt x="3843" y="270"/>
                    </a:lnTo>
                    <a:lnTo>
                      <a:pt x="3843" y="300"/>
                    </a:lnTo>
                    <a:lnTo>
                      <a:pt x="3843" y="335"/>
                    </a:lnTo>
                    <a:lnTo>
                      <a:pt x="3843" y="373"/>
                    </a:lnTo>
                    <a:lnTo>
                      <a:pt x="3843" y="416"/>
                    </a:lnTo>
                    <a:lnTo>
                      <a:pt x="3843" y="571"/>
                    </a:lnTo>
                    <a:lnTo>
                      <a:pt x="3843" y="633"/>
                    </a:lnTo>
                    <a:lnTo>
                      <a:pt x="3843" y="700"/>
                    </a:lnTo>
                    <a:lnTo>
                      <a:pt x="3843" y="774"/>
                    </a:lnTo>
                    <a:lnTo>
                      <a:pt x="3843" y="852"/>
                    </a:lnTo>
                    <a:lnTo>
                      <a:pt x="3843" y="937"/>
                    </a:lnTo>
                    <a:lnTo>
                      <a:pt x="3843" y="1274"/>
                    </a:lnTo>
                    <a:lnTo>
                      <a:pt x="3843" y="1340"/>
                    </a:lnTo>
                    <a:lnTo>
                      <a:pt x="3843" y="1458"/>
                    </a:lnTo>
                    <a:lnTo>
                      <a:pt x="3843" y="1584"/>
                    </a:lnTo>
                    <a:lnTo>
                      <a:pt x="3843" y="1664"/>
                    </a:lnTo>
                    <a:lnTo>
                      <a:pt x="3843" y="1774"/>
                    </a:lnTo>
                    <a:lnTo>
                      <a:pt x="3843" y="1858"/>
                    </a:lnTo>
                    <a:lnTo>
                      <a:pt x="3843" y="2007"/>
                    </a:lnTo>
                    <a:lnTo>
                      <a:pt x="3843" y="2164"/>
                    </a:lnTo>
                    <a:lnTo>
                      <a:pt x="3843" y="2331"/>
                    </a:lnTo>
                    <a:lnTo>
                      <a:pt x="3843" y="2505"/>
                    </a:lnTo>
                    <a:lnTo>
                      <a:pt x="3843" y="2689"/>
                    </a:lnTo>
                    <a:lnTo>
                      <a:pt x="3839" y="2717"/>
                    </a:lnTo>
                    <a:lnTo>
                      <a:pt x="3830" y="2743"/>
                    </a:lnTo>
                    <a:lnTo>
                      <a:pt x="3815" y="2765"/>
                    </a:lnTo>
                    <a:lnTo>
                      <a:pt x="3796" y="2783"/>
                    </a:lnTo>
                    <a:lnTo>
                      <a:pt x="3774" y="2799"/>
                    </a:lnTo>
                    <a:lnTo>
                      <a:pt x="3748" y="2808"/>
                    </a:lnTo>
                    <a:lnTo>
                      <a:pt x="3720" y="2811"/>
                    </a:lnTo>
                    <a:lnTo>
                      <a:pt x="3720" y="2811"/>
                    </a:lnTo>
                    <a:lnTo>
                      <a:pt x="3719" y="2811"/>
                    </a:lnTo>
                    <a:lnTo>
                      <a:pt x="3718" y="2811"/>
                    </a:lnTo>
                    <a:lnTo>
                      <a:pt x="3717" y="2811"/>
                    </a:lnTo>
                    <a:lnTo>
                      <a:pt x="3713" y="2811"/>
                    </a:lnTo>
                    <a:lnTo>
                      <a:pt x="3708" y="2811"/>
                    </a:lnTo>
                    <a:lnTo>
                      <a:pt x="3701" y="2811"/>
                    </a:lnTo>
                    <a:lnTo>
                      <a:pt x="3679" y="2811"/>
                    </a:lnTo>
                    <a:lnTo>
                      <a:pt x="3663" y="2811"/>
                    </a:lnTo>
                    <a:lnTo>
                      <a:pt x="3645" y="2811"/>
                    </a:lnTo>
                    <a:lnTo>
                      <a:pt x="3566" y="2811"/>
                    </a:lnTo>
                    <a:lnTo>
                      <a:pt x="3529" y="2811"/>
                    </a:lnTo>
                    <a:lnTo>
                      <a:pt x="3489" y="2811"/>
                    </a:lnTo>
                    <a:lnTo>
                      <a:pt x="3442" y="2811"/>
                    </a:lnTo>
                    <a:lnTo>
                      <a:pt x="3391" y="2811"/>
                    </a:lnTo>
                    <a:lnTo>
                      <a:pt x="3332" y="2811"/>
                    </a:lnTo>
                    <a:lnTo>
                      <a:pt x="3268" y="2811"/>
                    </a:lnTo>
                    <a:lnTo>
                      <a:pt x="3196" y="2811"/>
                    </a:lnTo>
                    <a:lnTo>
                      <a:pt x="3118" y="2811"/>
                    </a:lnTo>
                    <a:lnTo>
                      <a:pt x="3032" y="2811"/>
                    </a:lnTo>
                    <a:lnTo>
                      <a:pt x="2939" y="2811"/>
                    </a:lnTo>
                    <a:lnTo>
                      <a:pt x="2837" y="2811"/>
                    </a:lnTo>
                    <a:lnTo>
                      <a:pt x="2727" y="2811"/>
                    </a:lnTo>
                    <a:lnTo>
                      <a:pt x="2608" y="2811"/>
                    </a:lnTo>
                    <a:lnTo>
                      <a:pt x="2608" y="2815"/>
                    </a:lnTo>
                    <a:lnTo>
                      <a:pt x="2609" y="2827"/>
                    </a:lnTo>
                    <a:lnTo>
                      <a:pt x="2610" y="2843"/>
                    </a:lnTo>
                    <a:lnTo>
                      <a:pt x="2612" y="2865"/>
                    </a:lnTo>
                    <a:lnTo>
                      <a:pt x="2615" y="2888"/>
                    </a:lnTo>
                    <a:lnTo>
                      <a:pt x="2618" y="2914"/>
                    </a:lnTo>
                    <a:lnTo>
                      <a:pt x="2622" y="2938"/>
                    </a:lnTo>
                    <a:lnTo>
                      <a:pt x="2626" y="2962"/>
                    </a:lnTo>
                    <a:lnTo>
                      <a:pt x="2632" y="2982"/>
                    </a:lnTo>
                    <a:lnTo>
                      <a:pt x="2639" y="2996"/>
                    </a:lnTo>
                    <a:lnTo>
                      <a:pt x="2655" y="3017"/>
                    </a:lnTo>
                    <a:lnTo>
                      <a:pt x="2674" y="3032"/>
                    </a:lnTo>
                    <a:lnTo>
                      <a:pt x="2694" y="3043"/>
                    </a:lnTo>
                    <a:lnTo>
                      <a:pt x="2716" y="3052"/>
                    </a:lnTo>
                    <a:lnTo>
                      <a:pt x="2738" y="3059"/>
                    </a:lnTo>
                    <a:lnTo>
                      <a:pt x="2760" y="3062"/>
                    </a:lnTo>
                    <a:lnTo>
                      <a:pt x="2781" y="3064"/>
                    </a:lnTo>
                    <a:lnTo>
                      <a:pt x="2800" y="3066"/>
                    </a:lnTo>
                    <a:lnTo>
                      <a:pt x="2816" y="3066"/>
                    </a:lnTo>
                    <a:lnTo>
                      <a:pt x="2829" y="3067"/>
                    </a:lnTo>
                    <a:lnTo>
                      <a:pt x="2829" y="3067"/>
                    </a:lnTo>
                    <a:lnTo>
                      <a:pt x="2829" y="3067"/>
                    </a:lnTo>
                    <a:lnTo>
                      <a:pt x="2830" y="3067"/>
                    </a:lnTo>
                    <a:lnTo>
                      <a:pt x="2833" y="3067"/>
                    </a:lnTo>
                    <a:lnTo>
                      <a:pt x="2836" y="3067"/>
                    </a:lnTo>
                    <a:lnTo>
                      <a:pt x="2857" y="3070"/>
                    </a:lnTo>
                    <a:lnTo>
                      <a:pt x="2877" y="3078"/>
                    </a:lnTo>
                    <a:lnTo>
                      <a:pt x="2894" y="3092"/>
                    </a:lnTo>
                    <a:lnTo>
                      <a:pt x="2907" y="3110"/>
                    </a:lnTo>
                    <a:lnTo>
                      <a:pt x="2916" y="3131"/>
                    </a:lnTo>
                    <a:lnTo>
                      <a:pt x="2919" y="3153"/>
                    </a:lnTo>
                    <a:lnTo>
                      <a:pt x="2919" y="3154"/>
                    </a:lnTo>
                    <a:lnTo>
                      <a:pt x="2919" y="3155"/>
                    </a:lnTo>
                    <a:lnTo>
                      <a:pt x="2919" y="3167"/>
                    </a:lnTo>
                    <a:lnTo>
                      <a:pt x="2919" y="3181"/>
                    </a:lnTo>
                    <a:lnTo>
                      <a:pt x="2919" y="3201"/>
                    </a:lnTo>
                    <a:lnTo>
                      <a:pt x="2916" y="3224"/>
                    </a:lnTo>
                    <a:lnTo>
                      <a:pt x="2907" y="3244"/>
                    </a:lnTo>
                    <a:lnTo>
                      <a:pt x="2894" y="3261"/>
                    </a:lnTo>
                    <a:lnTo>
                      <a:pt x="2877" y="3275"/>
                    </a:lnTo>
                    <a:lnTo>
                      <a:pt x="2857" y="3285"/>
                    </a:lnTo>
                    <a:lnTo>
                      <a:pt x="2836" y="3287"/>
                    </a:lnTo>
                    <a:lnTo>
                      <a:pt x="2836" y="3287"/>
                    </a:lnTo>
                    <a:lnTo>
                      <a:pt x="2836" y="3287"/>
                    </a:lnTo>
                    <a:lnTo>
                      <a:pt x="2813" y="3287"/>
                    </a:lnTo>
                    <a:lnTo>
                      <a:pt x="2803" y="3287"/>
                    </a:lnTo>
                    <a:lnTo>
                      <a:pt x="2791" y="3287"/>
                    </a:lnTo>
                    <a:lnTo>
                      <a:pt x="2285" y="3287"/>
                    </a:lnTo>
                    <a:lnTo>
                      <a:pt x="2209" y="3287"/>
                    </a:lnTo>
                    <a:lnTo>
                      <a:pt x="2128" y="3287"/>
                    </a:lnTo>
                    <a:lnTo>
                      <a:pt x="2039" y="3287"/>
                    </a:lnTo>
                    <a:lnTo>
                      <a:pt x="1292" y="3287"/>
                    </a:lnTo>
                    <a:lnTo>
                      <a:pt x="1206" y="3287"/>
                    </a:lnTo>
                    <a:lnTo>
                      <a:pt x="1053" y="3287"/>
                    </a:lnTo>
                    <a:lnTo>
                      <a:pt x="1031" y="3285"/>
                    </a:lnTo>
                    <a:lnTo>
                      <a:pt x="1010" y="3275"/>
                    </a:lnTo>
                    <a:lnTo>
                      <a:pt x="994" y="3261"/>
                    </a:lnTo>
                    <a:lnTo>
                      <a:pt x="981" y="3244"/>
                    </a:lnTo>
                    <a:lnTo>
                      <a:pt x="973" y="3224"/>
                    </a:lnTo>
                    <a:lnTo>
                      <a:pt x="971" y="3201"/>
                    </a:lnTo>
                    <a:lnTo>
                      <a:pt x="971" y="3201"/>
                    </a:lnTo>
                    <a:lnTo>
                      <a:pt x="971" y="3198"/>
                    </a:lnTo>
                    <a:lnTo>
                      <a:pt x="971" y="3187"/>
                    </a:lnTo>
                    <a:lnTo>
                      <a:pt x="971" y="3173"/>
                    </a:lnTo>
                    <a:lnTo>
                      <a:pt x="971" y="3153"/>
                    </a:lnTo>
                    <a:lnTo>
                      <a:pt x="973" y="3131"/>
                    </a:lnTo>
                    <a:lnTo>
                      <a:pt x="981" y="3110"/>
                    </a:lnTo>
                    <a:lnTo>
                      <a:pt x="994" y="3092"/>
                    </a:lnTo>
                    <a:lnTo>
                      <a:pt x="1010" y="3078"/>
                    </a:lnTo>
                    <a:lnTo>
                      <a:pt x="1031" y="3070"/>
                    </a:lnTo>
                    <a:lnTo>
                      <a:pt x="1053" y="3067"/>
                    </a:lnTo>
                    <a:lnTo>
                      <a:pt x="1073" y="3067"/>
                    </a:lnTo>
                    <a:lnTo>
                      <a:pt x="1093" y="3062"/>
                    </a:lnTo>
                    <a:lnTo>
                      <a:pt x="1114" y="3059"/>
                    </a:lnTo>
                    <a:lnTo>
                      <a:pt x="1135" y="3056"/>
                    </a:lnTo>
                    <a:lnTo>
                      <a:pt x="1157" y="3054"/>
                    </a:lnTo>
                    <a:lnTo>
                      <a:pt x="1179" y="3050"/>
                    </a:lnTo>
                    <a:lnTo>
                      <a:pt x="1201" y="3046"/>
                    </a:lnTo>
                    <a:lnTo>
                      <a:pt x="1222" y="3039"/>
                    </a:lnTo>
                    <a:lnTo>
                      <a:pt x="1241" y="3028"/>
                    </a:lnTo>
                    <a:lnTo>
                      <a:pt x="1258" y="3014"/>
                    </a:lnTo>
                    <a:lnTo>
                      <a:pt x="1274" y="2996"/>
                    </a:lnTo>
                    <a:lnTo>
                      <a:pt x="1282" y="2982"/>
                    </a:lnTo>
                    <a:lnTo>
                      <a:pt x="1289" y="2962"/>
                    </a:lnTo>
                    <a:lnTo>
                      <a:pt x="1293" y="2938"/>
                    </a:lnTo>
                    <a:lnTo>
                      <a:pt x="1298" y="2914"/>
                    </a:lnTo>
                    <a:lnTo>
                      <a:pt x="1303" y="2888"/>
                    </a:lnTo>
                    <a:lnTo>
                      <a:pt x="1305" y="2865"/>
                    </a:lnTo>
                    <a:lnTo>
                      <a:pt x="1307" y="2843"/>
                    </a:lnTo>
                    <a:lnTo>
                      <a:pt x="1309" y="2827"/>
                    </a:lnTo>
                    <a:lnTo>
                      <a:pt x="1310" y="2815"/>
                    </a:lnTo>
                    <a:lnTo>
                      <a:pt x="1310" y="2811"/>
                    </a:lnTo>
                    <a:lnTo>
                      <a:pt x="1310" y="2811"/>
                    </a:lnTo>
                    <a:lnTo>
                      <a:pt x="1310" y="2811"/>
                    </a:lnTo>
                    <a:lnTo>
                      <a:pt x="1303" y="2811"/>
                    </a:lnTo>
                    <a:lnTo>
                      <a:pt x="1298" y="2811"/>
                    </a:lnTo>
                    <a:lnTo>
                      <a:pt x="1291" y="2811"/>
                    </a:lnTo>
                    <a:lnTo>
                      <a:pt x="1282" y="2811"/>
                    </a:lnTo>
                    <a:lnTo>
                      <a:pt x="1270" y="2811"/>
                    </a:lnTo>
                    <a:lnTo>
                      <a:pt x="1239" y="2811"/>
                    </a:lnTo>
                    <a:lnTo>
                      <a:pt x="1216" y="2811"/>
                    </a:lnTo>
                    <a:lnTo>
                      <a:pt x="1192" y="2811"/>
                    </a:lnTo>
                    <a:lnTo>
                      <a:pt x="1162" y="2811"/>
                    </a:lnTo>
                    <a:lnTo>
                      <a:pt x="1128" y="2811"/>
                    </a:lnTo>
                    <a:lnTo>
                      <a:pt x="1089" y="2811"/>
                    </a:lnTo>
                    <a:lnTo>
                      <a:pt x="996" y="2811"/>
                    </a:lnTo>
                    <a:lnTo>
                      <a:pt x="941" y="2811"/>
                    </a:lnTo>
                    <a:lnTo>
                      <a:pt x="880" y="2811"/>
                    </a:lnTo>
                    <a:lnTo>
                      <a:pt x="812" y="2811"/>
                    </a:lnTo>
                    <a:lnTo>
                      <a:pt x="738" y="2811"/>
                    </a:lnTo>
                    <a:lnTo>
                      <a:pt x="656" y="2811"/>
                    </a:lnTo>
                    <a:lnTo>
                      <a:pt x="366" y="2811"/>
                    </a:lnTo>
                    <a:lnTo>
                      <a:pt x="252" y="2811"/>
                    </a:lnTo>
                    <a:lnTo>
                      <a:pt x="131" y="2811"/>
                    </a:lnTo>
                    <a:lnTo>
                      <a:pt x="100" y="2808"/>
                    </a:lnTo>
                    <a:lnTo>
                      <a:pt x="73" y="2799"/>
                    </a:lnTo>
                    <a:lnTo>
                      <a:pt x="49" y="2783"/>
                    </a:lnTo>
                    <a:lnTo>
                      <a:pt x="29" y="2765"/>
                    </a:lnTo>
                    <a:lnTo>
                      <a:pt x="13" y="2743"/>
                    </a:lnTo>
                    <a:lnTo>
                      <a:pt x="3" y="2717"/>
                    </a:lnTo>
                    <a:lnTo>
                      <a:pt x="0" y="2689"/>
                    </a:lnTo>
                    <a:lnTo>
                      <a:pt x="0" y="2689"/>
                    </a:lnTo>
                    <a:lnTo>
                      <a:pt x="0" y="2689"/>
                    </a:lnTo>
                    <a:lnTo>
                      <a:pt x="0" y="2688"/>
                    </a:lnTo>
                    <a:lnTo>
                      <a:pt x="0" y="2687"/>
                    </a:lnTo>
                    <a:lnTo>
                      <a:pt x="0" y="2684"/>
                    </a:lnTo>
                    <a:lnTo>
                      <a:pt x="0" y="2682"/>
                    </a:lnTo>
                    <a:lnTo>
                      <a:pt x="0" y="2678"/>
                    </a:lnTo>
                    <a:lnTo>
                      <a:pt x="0" y="2676"/>
                    </a:lnTo>
                    <a:lnTo>
                      <a:pt x="0" y="2670"/>
                    </a:lnTo>
                    <a:lnTo>
                      <a:pt x="0" y="2662"/>
                    </a:lnTo>
                    <a:lnTo>
                      <a:pt x="0" y="2655"/>
                    </a:lnTo>
                    <a:lnTo>
                      <a:pt x="0" y="2563"/>
                    </a:lnTo>
                    <a:lnTo>
                      <a:pt x="0" y="2536"/>
                    </a:lnTo>
                    <a:lnTo>
                      <a:pt x="0" y="2506"/>
                    </a:lnTo>
                    <a:lnTo>
                      <a:pt x="0" y="2471"/>
                    </a:lnTo>
                    <a:lnTo>
                      <a:pt x="0" y="2433"/>
                    </a:lnTo>
                    <a:lnTo>
                      <a:pt x="0" y="2391"/>
                    </a:lnTo>
                    <a:lnTo>
                      <a:pt x="0" y="2234"/>
                    </a:lnTo>
                    <a:lnTo>
                      <a:pt x="0" y="2173"/>
                    </a:lnTo>
                    <a:lnTo>
                      <a:pt x="0" y="2106"/>
                    </a:lnTo>
                    <a:lnTo>
                      <a:pt x="0" y="2033"/>
                    </a:lnTo>
                    <a:lnTo>
                      <a:pt x="0" y="1955"/>
                    </a:lnTo>
                    <a:lnTo>
                      <a:pt x="0" y="1869"/>
                    </a:lnTo>
                    <a:lnTo>
                      <a:pt x="0" y="1533"/>
                    </a:lnTo>
                    <a:lnTo>
                      <a:pt x="0" y="1466"/>
                    </a:lnTo>
                    <a:lnTo>
                      <a:pt x="0" y="1348"/>
                    </a:lnTo>
                    <a:lnTo>
                      <a:pt x="0" y="1223"/>
                    </a:lnTo>
                    <a:lnTo>
                      <a:pt x="0" y="1142"/>
                    </a:lnTo>
                    <a:lnTo>
                      <a:pt x="0" y="1032"/>
                    </a:lnTo>
                    <a:lnTo>
                      <a:pt x="0" y="949"/>
                    </a:lnTo>
                    <a:lnTo>
                      <a:pt x="0" y="799"/>
                    </a:lnTo>
                    <a:lnTo>
                      <a:pt x="0" y="642"/>
                    </a:lnTo>
                    <a:lnTo>
                      <a:pt x="0" y="475"/>
                    </a:lnTo>
                    <a:lnTo>
                      <a:pt x="0" y="300"/>
                    </a:lnTo>
                    <a:lnTo>
                      <a:pt x="0" y="117"/>
                    </a:lnTo>
                    <a:lnTo>
                      <a:pt x="3" y="89"/>
                    </a:lnTo>
                    <a:lnTo>
                      <a:pt x="13" y="65"/>
                    </a:lnTo>
                    <a:lnTo>
                      <a:pt x="29" y="43"/>
                    </a:lnTo>
                    <a:lnTo>
                      <a:pt x="49" y="24"/>
                    </a:lnTo>
                    <a:lnTo>
                      <a:pt x="73" y="11"/>
                    </a:lnTo>
                    <a:lnTo>
                      <a:pt x="100" y="2"/>
                    </a:lnTo>
                    <a:lnTo>
                      <a:pt x="131" y="0"/>
                    </a:lnTo>
                    <a:close/>
                  </a:path>
                </a:pathLst>
              </a:custGeom>
              <a:solidFill>
                <a:srgbClr val="3D58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84" name="Freeform 7"/>
              <p:cNvSpPr>
                <a:spLocks noEditPoints="1"/>
              </p:cNvSpPr>
              <p:nvPr/>
            </p:nvSpPr>
            <p:spPr bwMode="auto">
              <a:xfrm>
                <a:off x="1388" y="2982"/>
                <a:ext cx="288" cy="403"/>
              </a:xfrm>
              <a:custGeom>
                <a:avLst/>
                <a:gdLst>
                  <a:gd name="T0" fmla="*/ 949 w 1154"/>
                  <a:gd name="T1" fmla="*/ 378 h 1612"/>
                  <a:gd name="T2" fmla="*/ 1023 w 1154"/>
                  <a:gd name="T3" fmla="*/ 414 h 1612"/>
                  <a:gd name="T4" fmla="*/ 1080 w 1154"/>
                  <a:gd name="T5" fmla="*/ 463 h 1612"/>
                  <a:gd name="T6" fmla="*/ 1113 w 1154"/>
                  <a:gd name="T7" fmla="*/ 503 h 1612"/>
                  <a:gd name="T8" fmla="*/ 1095 w 1154"/>
                  <a:gd name="T9" fmla="*/ 527 h 1612"/>
                  <a:gd name="T10" fmla="*/ 1035 w 1154"/>
                  <a:gd name="T11" fmla="*/ 586 h 1612"/>
                  <a:gd name="T12" fmla="*/ 956 w 1154"/>
                  <a:gd name="T13" fmla="*/ 696 h 1612"/>
                  <a:gd name="T14" fmla="*/ 923 w 1154"/>
                  <a:gd name="T15" fmla="*/ 803 h 1612"/>
                  <a:gd name="T16" fmla="*/ 920 w 1154"/>
                  <a:gd name="T17" fmla="*/ 919 h 1612"/>
                  <a:gd name="T18" fmla="*/ 953 w 1154"/>
                  <a:gd name="T19" fmla="*/ 1025 h 1612"/>
                  <a:gd name="T20" fmla="*/ 1012 w 1154"/>
                  <a:gd name="T21" fmla="*/ 1103 h 1612"/>
                  <a:gd name="T22" fmla="*/ 1071 w 1154"/>
                  <a:gd name="T23" fmla="*/ 1158 h 1612"/>
                  <a:gd name="T24" fmla="*/ 1125 w 1154"/>
                  <a:gd name="T25" fmla="*/ 1194 h 1612"/>
                  <a:gd name="T26" fmla="*/ 1154 w 1154"/>
                  <a:gd name="T27" fmla="*/ 1209 h 1612"/>
                  <a:gd name="T28" fmla="*/ 1139 w 1154"/>
                  <a:gd name="T29" fmla="*/ 1247 h 1612"/>
                  <a:gd name="T30" fmla="*/ 1106 w 1154"/>
                  <a:gd name="T31" fmla="*/ 1323 h 1612"/>
                  <a:gd name="T32" fmla="*/ 1051 w 1154"/>
                  <a:gd name="T33" fmla="*/ 1427 h 1612"/>
                  <a:gd name="T34" fmla="*/ 954 w 1154"/>
                  <a:gd name="T35" fmla="*/ 1560 h 1612"/>
                  <a:gd name="T36" fmla="*/ 897 w 1154"/>
                  <a:gd name="T37" fmla="*/ 1604 h 1612"/>
                  <a:gd name="T38" fmla="*/ 837 w 1154"/>
                  <a:gd name="T39" fmla="*/ 1610 h 1612"/>
                  <a:gd name="T40" fmla="*/ 784 w 1154"/>
                  <a:gd name="T41" fmla="*/ 1599 h 1612"/>
                  <a:gd name="T42" fmla="*/ 728 w 1154"/>
                  <a:gd name="T43" fmla="*/ 1574 h 1612"/>
                  <a:gd name="T44" fmla="*/ 693 w 1154"/>
                  <a:gd name="T45" fmla="*/ 1552 h 1612"/>
                  <a:gd name="T46" fmla="*/ 634 w 1154"/>
                  <a:gd name="T47" fmla="*/ 1534 h 1612"/>
                  <a:gd name="T48" fmla="*/ 550 w 1154"/>
                  <a:gd name="T49" fmla="*/ 1538 h 1612"/>
                  <a:gd name="T50" fmla="*/ 469 w 1154"/>
                  <a:gd name="T51" fmla="*/ 1566 h 1612"/>
                  <a:gd name="T52" fmla="*/ 419 w 1154"/>
                  <a:gd name="T53" fmla="*/ 1592 h 1612"/>
                  <a:gd name="T54" fmla="*/ 367 w 1154"/>
                  <a:gd name="T55" fmla="*/ 1603 h 1612"/>
                  <a:gd name="T56" fmla="*/ 296 w 1154"/>
                  <a:gd name="T57" fmla="*/ 1580 h 1612"/>
                  <a:gd name="T58" fmla="*/ 232 w 1154"/>
                  <a:gd name="T59" fmla="*/ 1528 h 1612"/>
                  <a:gd name="T60" fmla="*/ 159 w 1154"/>
                  <a:gd name="T61" fmla="*/ 1435 h 1612"/>
                  <a:gd name="T62" fmla="*/ 92 w 1154"/>
                  <a:gd name="T63" fmla="*/ 1315 h 1612"/>
                  <a:gd name="T64" fmla="*/ 39 w 1154"/>
                  <a:gd name="T65" fmla="*/ 1168 h 1612"/>
                  <a:gd name="T66" fmla="*/ 1 w 1154"/>
                  <a:gd name="T67" fmla="*/ 934 h 1612"/>
                  <a:gd name="T68" fmla="*/ 20 w 1154"/>
                  <a:gd name="T69" fmla="*/ 708 h 1612"/>
                  <a:gd name="T70" fmla="*/ 70 w 1154"/>
                  <a:gd name="T71" fmla="*/ 581 h 1612"/>
                  <a:gd name="T72" fmla="*/ 125 w 1154"/>
                  <a:gd name="T73" fmla="*/ 505 h 1612"/>
                  <a:gd name="T74" fmla="*/ 206 w 1154"/>
                  <a:gd name="T75" fmla="*/ 431 h 1612"/>
                  <a:gd name="T76" fmla="*/ 286 w 1154"/>
                  <a:gd name="T77" fmla="*/ 392 h 1612"/>
                  <a:gd name="T78" fmla="*/ 378 w 1154"/>
                  <a:gd name="T79" fmla="*/ 386 h 1612"/>
                  <a:gd name="T80" fmla="*/ 480 w 1154"/>
                  <a:gd name="T81" fmla="*/ 419 h 1612"/>
                  <a:gd name="T82" fmla="*/ 569 w 1154"/>
                  <a:gd name="T83" fmla="*/ 448 h 1612"/>
                  <a:gd name="T84" fmla="*/ 640 w 1154"/>
                  <a:gd name="T85" fmla="*/ 443 h 1612"/>
                  <a:gd name="T86" fmla="*/ 693 w 1154"/>
                  <a:gd name="T87" fmla="*/ 420 h 1612"/>
                  <a:gd name="T88" fmla="*/ 783 w 1154"/>
                  <a:gd name="T89" fmla="*/ 386 h 1612"/>
                  <a:gd name="T90" fmla="*/ 887 w 1154"/>
                  <a:gd name="T91" fmla="*/ 368 h 1612"/>
                  <a:gd name="T92" fmla="*/ 882 w 1154"/>
                  <a:gd name="T93" fmla="*/ 36 h 1612"/>
                  <a:gd name="T94" fmla="*/ 867 w 1154"/>
                  <a:gd name="T95" fmla="*/ 121 h 1612"/>
                  <a:gd name="T96" fmla="*/ 847 w 1154"/>
                  <a:gd name="T97" fmla="*/ 175 h 1612"/>
                  <a:gd name="T98" fmla="*/ 805 w 1154"/>
                  <a:gd name="T99" fmla="*/ 232 h 1612"/>
                  <a:gd name="T100" fmla="*/ 742 w 1154"/>
                  <a:gd name="T101" fmla="*/ 286 h 1612"/>
                  <a:gd name="T102" fmla="*/ 673 w 1154"/>
                  <a:gd name="T103" fmla="*/ 324 h 1612"/>
                  <a:gd name="T104" fmla="*/ 571 w 1154"/>
                  <a:gd name="T105" fmla="*/ 347 h 1612"/>
                  <a:gd name="T106" fmla="*/ 565 w 1154"/>
                  <a:gd name="T107" fmla="*/ 349 h 1612"/>
                  <a:gd name="T108" fmla="*/ 558 w 1154"/>
                  <a:gd name="T109" fmla="*/ 333 h 1612"/>
                  <a:gd name="T110" fmla="*/ 554 w 1154"/>
                  <a:gd name="T111" fmla="*/ 287 h 1612"/>
                  <a:gd name="T112" fmla="*/ 580 w 1154"/>
                  <a:gd name="T113" fmla="*/ 225 h 1612"/>
                  <a:gd name="T114" fmla="*/ 625 w 1154"/>
                  <a:gd name="T115" fmla="*/ 159 h 1612"/>
                  <a:gd name="T116" fmla="*/ 668 w 1154"/>
                  <a:gd name="T117" fmla="*/ 107 h 1612"/>
                  <a:gd name="T118" fmla="*/ 760 w 1154"/>
                  <a:gd name="T119" fmla="*/ 40 h 1612"/>
                  <a:gd name="T120" fmla="*/ 821 w 1154"/>
                  <a:gd name="T121" fmla="*/ 18 h 1612"/>
                  <a:gd name="T122" fmla="*/ 882 w 1154"/>
                  <a:gd name="T123" fmla="*/ 0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54" h="1612">
                    <a:moveTo>
                      <a:pt x="887" y="368"/>
                    </a:moveTo>
                    <a:lnTo>
                      <a:pt x="918" y="372"/>
                    </a:lnTo>
                    <a:lnTo>
                      <a:pt x="949" y="378"/>
                    </a:lnTo>
                    <a:lnTo>
                      <a:pt x="973" y="386"/>
                    </a:lnTo>
                    <a:lnTo>
                      <a:pt x="1000" y="399"/>
                    </a:lnTo>
                    <a:lnTo>
                      <a:pt x="1023" y="414"/>
                    </a:lnTo>
                    <a:lnTo>
                      <a:pt x="1047" y="430"/>
                    </a:lnTo>
                    <a:lnTo>
                      <a:pt x="1064" y="445"/>
                    </a:lnTo>
                    <a:lnTo>
                      <a:pt x="1080" y="463"/>
                    </a:lnTo>
                    <a:lnTo>
                      <a:pt x="1094" y="478"/>
                    </a:lnTo>
                    <a:lnTo>
                      <a:pt x="1105" y="492"/>
                    </a:lnTo>
                    <a:lnTo>
                      <a:pt x="1113" y="503"/>
                    </a:lnTo>
                    <a:lnTo>
                      <a:pt x="1120" y="513"/>
                    </a:lnTo>
                    <a:lnTo>
                      <a:pt x="1108" y="519"/>
                    </a:lnTo>
                    <a:lnTo>
                      <a:pt x="1095" y="527"/>
                    </a:lnTo>
                    <a:lnTo>
                      <a:pt x="1082" y="537"/>
                    </a:lnTo>
                    <a:lnTo>
                      <a:pt x="1065" y="550"/>
                    </a:lnTo>
                    <a:lnTo>
                      <a:pt x="1035" y="586"/>
                    </a:lnTo>
                    <a:lnTo>
                      <a:pt x="1000" y="627"/>
                    </a:lnTo>
                    <a:lnTo>
                      <a:pt x="977" y="659"/>
                    </a:lnTo>
                    <a:lnTo>
                      <a:pt x="956" y="696"/>
                    </a:lnTo>
                    <a:lnTo>
                      <a:pt x="938" y="735"/>
                    </a:lnTo>
                    <a:lnTo>
                      <a:pt x="930" y="768"/>
                    </a:lnTo>
                    <a:lnTo>
                      <a:pt x="923" y="803"/>
                    </a:lnTo>
                    <a:lnTo>
                      <a:pt x="918" y="841"/>
                    </a:lnTo>
                    <a:lnTo>
                      <a:pt x="917" y="880"/>
                    </a:lnTo>
                    <a:lnTo>
                      <a:pt x="920" y="919"/>
                    </a:lnTo>
                    <a:lnTo>
                      <a:pt x="928" y="957"/>
                    </a:lnTo>
                    <a:lnTo>
                      <a:pt x="939" y="992"/>
                    </a:lnTo>
                    <a:lnTo>
                      <a:pt x="953" y="1025"/>
                    </a:lnTo>
                    <a:lnTo>
                      <a:pt x="971" y="1053"/>
                    </a:lnTo>
                    <a:lnTo>
                      <a:pt x="991" y="1080"/>
                    </a:lnTo>
                    <a:lnTo>
                      <a:pt x="1012" y="1103"/>
                    </a:lnTo>
                    <a:lnTo>
                      <a:pt x="1034" y="1122"/>
                    </a:lnTo>
                    <a:lnTo>
                      <a:pt x="1052" y="1141"/>
                    </a:lnTo>
                    <a:lnTo>
                      <a:pt x="1071" y="1158"/>
                    </a:lnTo>
                    <a:lnTo>
                      <a:pt x="1091" y="1172"/>
                    </a:lnTo>
                    <a:lnTo>
                      <a:pt x="1108" y="1182"/>
                    </a:lnTo>
                    <a:lnTo>
                      <a:pt x="1125" y="1194"/>
                    </a:lnTo>
                    <a:lnTo>
                      <a:pt x="1137" y="1201"/>
                    </a:lnTo>
                    <a:lnTo>
                      <a:pt x="1148" y="1205"/>
                    </a:lnTo>
                    <a:lnTo>
                      <a:pt x="1154" y="1209"/>
                    </a:lnTo>
                    <a:lnTo>
                      <a:pt x="1150" y="1218"/>
                    </a:lnTo>
                    <a:lnTo>
                      <a:pt x="1146" y="1230"/>
                    </a:lnTo>
                    <a:lnTo>
                      <a:pt x="1139" y="1247"/>
                    </a:lnTo>
                    <a:lnTo>
                      <a:pt x="1130" y="1268"/>
                    </a:lnTo>
                    <a:lnTo>
                      <a:pt x="1121" y="1293"/>
                    </a:lnTo>
                    <a:lnTo>
                      <a:pt x="1106" y="1323"/>
                    </a:lnTo>
                    <a:lnTo>
                      <a:pt x="1090" y="1357"/>
                    </a:lnTo>
                    <a:lnTo>
                      <a:pt x="1071" y="1393"/>
                    </a:lnTo>
                    <a:lnTo>
                      <a:pt x="1051" y="1427"/>
                    </a:lnTo>
                    <a:lnTo>
                      <a:pt x="1020" y="1477"/>
                    </a:lnTo>
                    <a:lnTo>
                      <a:pt x="987" y="1521"/>
                    </a:lnTo>
                    <a:lnTo>
                      <a:pt x="954" y="1560"/>
                    </a:lnTo>
                    <a:lnTo>
                      <a:pt x="935" y="1577"/>
                    </a:lnTo>
                    <a:lnTo>
                      <a:pt x="916" y="1592"/>
                    </a:lnTo>
                    <a:lnTo>
                      <a:pt x="897" y="1604"/>
                    </a:lnTo>
                    <a:lnTo>
                      <a:pt x="879" y="1611"/>
                    </a:lnTo>
                    <a:lnTo>
                      <a:pt x="860" y="1612"/>
                    </a:lnTo>
                    <a:lnTo>
                      <a:pt x="837" y="1610"/>
                    </a:lnTo>
                    <a:lnTo>
                      <a:pt x="816" y="1606"/>
                    </a:lnTo>
                    <a:lnTo>
                      <a:pt x="798" y="1603"/>
                    </a:lnTo>
                    <a:lnTo>
                      <a:pt x="784" y="1599"/>
                    </a:lnTo>
                    <a:lnTo>
                      <a:pt x="765" y="1591"/>
                    </a:lnTo>
                    <a:lnTo>
                      <a:pt x="746" y="1583"/>
                    </a:lnTo>
                    <a:lnTo>
                      <a:pt x="728" y="1574"/>
                    </a:lnTo>
                    <a:lnTo>
                      <a:pt x="717" y="1567"/>
                    </a:lnTo>
                    <a:lnTo>
                      <a:pt x="705" y="1559"/>
                    </a:lnTo>
                    <a:lnTo>
                      <a:pt x="693" y="1552"/>
                    </a:lnTo>
                    <a:lnTo>
                      <a:pt x="678" y="1548"/>
                    </a:lnTo>
                    <a:lnTo>
                      <a:pt x="659" y="1540"/>
                    </a:lnTo>
                    <a:lnTo>
                      <a:pt x="634" y="1534"/>
                    </a:lnTo>
                    <a:lnTo>
                      <a:pt x="608" y="1534"/>
                    </a:lnTo>
                    <a:lnTo>
                      <a:pt x="578" y="1534"/>
                    </a:lnTo>
                    <a:lnTo>
                      <a:pt x="550" y="1538"/>
                    </a:lnTo>
                    <a:lnTo>
                      <a:pt x="525" y="1544"/>
                    </a:lnTo>
                    <a:lnTo>
                      <a:pt x="494" y="1555"/>
                    </a:lnTo>
                    <a:lnTo>
                      <a:pt x="469" y="1566"/>
                    </a:lnTo>
                    <a:lnTo>
                      <a:pt x="450" y="1575"/>
                    </a:lnTo>
                    <a:lnTo>
                      <a:pt x="434" y="1584"/>
                    </a:lnTo>
                    <a:lnTo>
                      <a:pt x="419" y="1592"/>
                    </a:lnTo>
                    <a:lnTo>
                      <a:pt x="400" y="1598"/>
                    </a:lnTo>
                    <a:lnTo>
                      <a:pt x="384" y="1602"/>
                    </a:lnTo>
                    <a:lnTo>
                      <a:pt x="367" y="1603"/>
                    </a:lnTo>
                    <a:lnTo>
                      <a:pt x="344" y="1599"/>
                    </a:lnTo>
                    <a:lnTo>
                      <a:pt x="319" y="1591"/>
                    </a:lnTo>
                    <a:lnTo>
                      <a:pt x="296" y="1580"/>
                    </a:lnTo>
                    <a:lnTo>
                      <a:pt x="274" y="1568"/>
                    </a:lnTo>
                    <a:lnTo>
                      <a:pt x="252" y="1551"/>
                    </a:lnTo>
                    <a:lnTo>
                      <a:pt x="232" y="1528"/>
                    </a:lnTo>
                    <a:lnTo>
                      <a:pt x="208" y="1502"/>
                    </a:lnTo>
                    <a:lnTo>
                      <a:pt x="183" y="1469"/>
                    </a:lnTo>
                    <a:lnTo>
                      <a:pt x="159" y="1435"/>
                    </a:lnTo>
                    <a:lnTo>
                      <a:pt x="138" y="1399"/>
                    </a:lnTo>
                    <a:lnTo>
                      <a:pt x="114" y="1359"/>
                    </a:lnTo>
                    <a:lnTo>
                      <a:pt x="92" y="1315"/>
                    </a:lnTo>
                    <a:lnTo>
                      <a:pt x="71" y="1268"/>
                    </a:lnTo>
                    <a:lnTo>
                      <a:pt x="54" y="1219"/>
                    </a:lnTo>
                    <a:lnTo>
                      <a:pt x="39" y="1168"/>
                    </a:lnTo>
                    <a:lnTo>
                      <a:pt x="19" y="1090"/>
                    </a:lnTo>
                    <a:lnTo>
                      <a:pt x="6" y="1012"/>
                    </a:lnTo>
                    <a:lnTo>
                      <a:pt x="1" y="934"/>
                    </a:lnTo>
                    <a:lnTo>
                      <a:pt x="0" y="859"/>
                    </a:lnTo>
                    <a:lnTo>
                      <a:pt x="8" y="782"/>
                    </a:lnTo>
                    <a:lnTo>
                      <a:pt x="20" y="708"/>
                    </a:lnTo>
                    <a:lnTo>
                      <a:pt x="33" y="665"/>
                    </a:lnTo>
                    <a:lnTo>
                      <a:pt x="49" y="621"/>
                    </a:lnTo>
                    <a:lnTo>
                      <a:pt x="70" y="581"/>
                    </a:lnTo>
                    <a:lnTo>
                      <a:pt x="86" y="555"/>
                    </a:lnTo>
                    <a:lnTo>
                      <a:pt x="105" y="529"/>
                    </a:lnTo>
                    <a:lnTo>
                      <a:pt x="125" y="505"/>
                    </a:lnTo>
                    <a:lnTo>
                      <a:pt x="148" y="482"/>
                    </a:lnTo>
                    <a:lnTo>
                      <a:pt x="177" y="454"/>
                    </a:lnTo>
                    <a:lnTo>
                      <a:pt x="206" y="431"/>
                    </a:lnTo>
                    <a:lnTo>
                      <a:pt x="237" y="414"/>
                    </a:lnTo>
                    <a:lnTo>
                      <a:pt x="261" y="401"/>
                    </a:lnTo>
                    <a:lnTo>
                      <a:pt x="286" y="392"/>
                    </a:lnTo>
                    <a:lnTo>
                      <a:pt x="310" y="386"/>
                    </a:lnTo>
                    <a:lnTo>
                      <a:pt x="333" y="382"/>
                    </a:lnTo>
                    <a:lnTo>
                      <a:pt x="378" y="386"/>
                    </a:lnTo>
                    <a:lnTo>
                      <a:pt x="420" y="394"/>
                    </a:lnTo>
                    <a:lnTo>
                      <a:pt x="451" y="406"/>
                    </a:lnTo>
                    <a:lnTo>
                      <a:pt x="480" y="419"/>
                    </a:lnTo>
                    <a:lnTo>
                      <a:pt x="509" y="430"/>
                    </a:lnTo>
                    <a:lnTo>
                      <a:pt x="535" y="440"/>
                    </a:lnTo>
                    <a:lnTo>
                      <a:pt x="569" y="448"/>
                    </a:lnTo>
                    <a:lnTo>
                      <a:pt x="605" y="452"/>
                    </a:lnTo>
                    <a:lnTo>
                      <a:pt x="622" y="449"/>
                    </a:lnTo>
                    <a:lnTo>
                      <a:pt x="640" y="443"/>
                    </a:lnTo>
                    <a:lnTo>
                      <a:pt x="656" y="436"/>
                    </a:lnTo>
                    <a:lnTo>
                      <a:pt x="676" y="429"/>
                    </a:lnTo>
                    <a:lnTo>
                      <a:pt x="693" y="420"/>
                    </a:lnTo>
                    <a:lnTo>
                      <a:pt x="711" y="409"/>
                    </a:lnTo>
                    <a:lnTo>
                      <a:pt x="745" y="398"/>
                    </a:lnTo>
                    <a:lnTo>
                      <a:pt x="783" y="386"/>
                    </a:lnTo>
                    <a:lnTo>
                      <a:pt x="815" y="378"/>
                    </a:lnTo>
                    <a:lnTo>
                      <a:pt x="848" y="373"/>
                    </a:lnTo>
                    <a:lnTo>
                      <a:pt x="887" y="368"/>
                    </a:lnTo>
                    <a:close/>
                    <a:moveTo>
                      <a:pt x="882" y="0"/>
                    </a:moveTo>
                    <a:lnTo>
                      <a:pt x="883" y="19"/>
                    </a:lnTo>
                    <a:lnTo>
                      <a:pt x="882" y="36"/>
                    </a:lnTo>
                    <a:lnTo>
                      <a:pt x="883" y="53"/>
                    </a:lnTo>
                    <a:lnTo>
                      <a:pt x="873" y="100"/>
                    </a:lnTo>
                    <a:lnTo>
                      <a:pt x="867" y="121"/>
                    </a:lnTo>
                    <a:lnTo>
                      <a:pt x="861" y="143"/>
                    </a:lnTo>
                    <a:lnTo>
                      <a:pt x="854" y="160"/>
                    </a:lnTo>
                    <a:lnTo>
                      <a:pt x="847" y="175"/>
                    </a:lnTo>
                    <a:lnTo>
                      <a:pt x="839" y="188"/>
                    </a:lnTo>
                    <a:lnTo>
                      <a:pt x="824" y="210"/>
                    </a:lnTo>
                    <a:lnTo>
                      <a:pt x="805" y="232"/>
                    </a:lnTo>
                    <a:lnTo>
                      <a:pt x="783" y="252"/>
                    </a:lnTo>
                    <a:lnTo>
                      <a:pt x="763" y="269"/>
                    </a:lnTo>
                    <a:lnTo>
                      <a:pt x="742" y="286"/>
                    </a:lnTo>
                    <a:lnTo>
                      <a:pt x="719" y="300"/>
                    </a:lnTo>
                    <a:lnTo>
                      <a:pt x="696" y="313"/>
                    </a:lnTo>
                    <a:lnTo>
                      <a:pt x="673" y="324"/>
                    </a:lnTo>
                    <a:lnTo>
                      <a:pt x="649" y="335"/>
                    </a:lnTo>
                    <a:lnTo>
                      <a:pt x="611" y="343"/>
                    </a:lnTo>
                    <a:lnTo>
                      <a:pt x="571" y="347"/>
                    </a:lnTo>
                    <a:lnTo>
                      <a:pt x="565" y="349"/>
                    </a:lnTo>
                    <a:lnTo>
                      <a:pt x="565" y="349"/>
                    </a:lnTo>
                    <a:lnTo>
                      <a:pt x="565" y="349"/>
                    </a:lnTo>
                    <a:lnTo>
                      <a:pt x="563" y="349"/>
                    </a:lnTo>
                    <a:lnTo>
                      <a:pt x="561" y="349"/>
                    </a:lnTo>
                    <a:lnTo>
                      <a:pt x="558" y="333"/>
                    </a:lnTo>
                    <a:lnTo>
                      <a:pt x="557" y="318"/>
                    </a:lnTo>
                    <a:lnTo>
                      <a:pt x="555" y="303"/>
                    </a:lnTo>
                    <a:lnTo>
                      <a:pt x="554" y="287"/>
                    </a:lnTo>
                    <a:lnTo>
                      <a:pt x="564" y="262"/>
                    </a:lnTo>
                    <a:lnTo>
                      <a:pt x="575" y="238"/>
                    </a:lnTo>
                    <a:lnTo>
                      <a:pt x="580" y="225"/>
                    </a:lnTo>
                    <a:lnTo>
                      <a:pt x="587" y="210"/>
                    </a:lnTo>
                    <a:lnTo>
                      <a:pt x="597" y="194"/>
                    </a:lnTo>
                    <a:lnTo>
                      <a:pt x="625" y="159"/>
                    </a:lnTo>
                    <a:lnTo>
                      <a:pt x="638" y="138"/>
                    </a:lnTo>
                    <a:lnTo>
                      <a:pt x="653" y="125"/>
                    </a:lnTo>
                    <a:lnTo>
                      <a:pt x="668" y="107"/>
                    </a:lnTo>
                    <a:lnTo>
                      <a:pt x="684" y="91"/>
                    </a:lnTo>
                    <a:lnTo>
                      <a:pt x="700" y="77"/>
                    </a:lnTo>
                    <a:lnTo>
                      <a:pt x="760" y="40"/>
                    </a:lnTo>
                    <a:lnTo>
                      <a:pt x="780" y="30"/>
                    </a:lnTo>
                    <a:lnTo>
                      <a:pt x="801" y="22"/>
                    </a:lnTo>
                    <a:lnTo>
                      <a:pt x="821" y="18"/>
                    </a:lnTo>
                    <a:lnTo>
                      <a:pt x="845" y="9"/>
                    </a:lnTo>
                    <a:lnTo>
                      <a:pt x="866" y="4"/>
                    </a:lnTo>
                    <a:lnTo>
                      <a:pt x="882" y="0"/>
                    </a:lnTo>
                    <a:close/>
                  </a:path>
                </a:pathLst>
              </a:custGeom>
              <a:solidFill>
                <a:srgbClr val="3D58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grpSp>
      <p:sp>
        <p:nvSpPr>
          <p:cNvPr id="196" name="Left-Right Arrow 195"/>
          <p:cNvSpPr/>
          <p:nvPr/>
        </p:nvSpPr>
        <p:spPr bwMode="auto">
          <a:xfrm>
            <a:off x="2034018" y="3193827"/>
            <a:ext cx="702336" cy="322824"/>
          </a:xfrm>
          <a:prstGeom prst="leftRightArrow">
            <a:avLst/>
          </a:prstGeom>
          <a:solidFill>
            <a:srgbClr val="FFFFFF"/>
          </a:solidFill>
          <a:ln w="25400" cap="flat" cmpd="sng" algn="ctr">
            <a:solidFill>
              <a:srgbClr val="00187B"/>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97" name="Left-Right Arrow 196"/>
          <p:cNvSpPr/>
          <p:nvPr/>
        </p:nvSpPr>
        <p:spPr bwMode="auto">
          <a:xfrm>
            <a:off x="3969724" y="3221135"/>
            <a:ext cx="702336" cy="322824"/>
          </a:xfrm>
          <a:prstGeom prst="leftRightArrow">
            <a:avLst/>
          </a:prstGeom>
          <a:solidFill>
            <a:srgbClr val="FFFFFF"/>
          </a:solidFill>
          <a:ln w="25400" cap="flat" cmpd="sng" algn="ctr">
            <a:solidFill>
              <a:srgbClr val="3D580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98" name="Left-Right Arrow 197"/>
          <p:cNvSpPr/>
          <p:nvPr/>
        </p:nvSpPr>
        <p:spPr bwMode="auto">
          <a:xfrm rot="5400000">
            <a:off x="2905903" y="4458888"/>
            <a:ext cx="902926" cy="322824"/>
          </a:xfrm>
          <a:prstGeom prst="leftRightArrow">
            <a:avLst/>
          </a:prstGeom>
          <a:solidFill>
            <a:srgbClr val="FFFFFF"/>
          </a:solidFill>
          <a:ln w="25400" cap="flat" cmpd="sng" algn="ctr">
            <a:solidFill>
              <a:srgbClr val="3D580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32290" eaLnBrk="1" fontAlgn="base" latinLnBrk="0" hangingPunct="1">
              <a:lnSpc>
                <a:spcPct val="90000"/>
              </a:lnSpc>
              <a:spcBef>
                <a:spcPct val="0"/>
              </a:spcBef>
              <a:spcAft>
                <a:spcPct val="0"/>
              </a:spcAft>
              <a:buClrTx/>
              <a:buSzTx/>
              <a:buFontTx/>
              <a:buNone/>
              <a:tabLst/>
              <a:defRPr/>
            </a:pPr>
            <a:endParaRPr kumimoji="0" lang="en-US" sz="2040" b="0" i="0" u="none" strike="noStrike" kern="0" cap="none" spc="-51" normalizeH="0" baseline="0" noProof="0" dirty="0" smtClean="0">
              <a:ln>
                <a:noFill/>
              </a:ln>
              <a:gradFill>
                <a:gsLst>
                  <a:gs pos="1250">
                    <a:srgbClr val="EFEFEF"/>
                  </a:gs>
                  <a:gs pos="10417">
                    <a:srgbClr val="EFEFEF"/>
                  </a:gs>
                </a:gsLst>
                <a:lin ang="5400000" scaled="0"/>
              </a:gradFill>
              <a:effectLst/>
              <a:uLnTx/>
              <a:uFillTx/>
              <a:latin typeface="Segoe UI"/>
            </a:endParaRPr>
          </a:p>
        </p:txBody>
      </p:sp>
    </p:spTree>
    <p:extLst>
      <p:ext uri="{BB962C8B-B14F-4D97-AF65-F5344CB8AC3E}">
        <p14:creationId xmlns:p14="http://schemas.microsoft.com/office/powerpoint/2010/main" val="32434482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1"/>
                                        </p:tgtEl>
                                        <p:attrNameLst>
                                          <p:attrName>style.visibility</p:attrName>
                                        </p:attrNameLst>
                                      </p:cBhvr>
                                      <p:to>
                                        <p:strVal val="visible"/>
                                      </p:to>
                                    </p:set>
                                    <p:animEffect transition="in" filter="fade">
                                      <p:cBhvr>
                                        <p:cTn id="7" dur="500"/>
                                        <p:tgtEl>
                                          <p:spTgt spid="15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6"/>
                                        </p:tgtEl>
                                        <p:attrNameLst>
                                          <p:attrName>style.visibility</p:attrName>
                                        </p:attrNameLst>
                                      </p:cBhvr>
                                      <p:to>
                                        <p:strVal val="visible"/>
                                      </p:to>
                                    </p:set>
                                    <p:animEffect transition="in" filter="fade">
                                      <p:cBhvr>
                                        <p:cTn id="10" dur="500"/>
                                        <p:tgtEl>
                                          <p:spTgt spid="19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80"/>
                                        </p:tgtEl>
                                        <p:attrNameLst>
                                          <p:attrName>style.visibility</p:attrName>
                                        </p:attrNameLst>
                                      </p:cBhvr>
                                      <p:to>
                                        <p:strVal val="visible"/>
                                      </p:to>
                                    </p:set>
                                    <p:animEffect transition="in" filter="fade">
                                      <p:cBhvr>
                                        <p:cTn id="14" dur="500"/>
                                        <p:tgtEl>
                                          <p:spTgt spid="18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7"/>
                                        </p:tgtEl>
                                        <p:attrNameLst>
                                          <p:attrName>style.visibility</p:attrName>
                                        </p:attrNameLst>
                                      </p:cBhvr>
                                      <p:to>
                                        <p:strVal val="visible"/>
                                      </p:to>
                                    </p:set>
                                    <p:animEffect transition="in" filter="fade">
                                      <p:cBhvr>
                                        <p:cTn id="17" dur="500"/>
                                        <p:tgtEl>
                                          <p:spTgt spid="197"/>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31"/>
                                        </p:tgtEl>
                                        <p:attrNameLst>
                                          <p:attrName>style.visibility</p:attrName>
                                        </p:attrNameLst>
                                      </p:cBhvr>
                                      <p:to>
                                        <p:strVal val="visible"/>
                                      </p:to>
                                    </p:set>
                                    <p:animEffect transition="in" filter="fade">
                                      <p:cBhvr>
                                        <p:cTn id="21" dur="500"/>
                                        <p:tgtEl>
                                          <p:spTgt spid="131"/>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78"/>
                                        </p:tgtEl>
                                        <p:attrNameLst>
                                          <p:attrName>style.visibility</p:attrName>
                                        </p:attrNameLst>
                                      </p:cBhvr>
                                      <p:to>
                                        <p:strVal val="visible"/>
                                      </p:to>
                                    </p:set>
                                    <p:animEffect transition="in" filter="fade">
                                      <p:cBhvr>
                                        <p:cTn id="24" dur="500"/>
                                        <p:tgtEl>
                                          <p:spTgt spid="178"/>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167"/>
                                        </p:tgtEl>
                                        <p:attrNameLst>
                                          <p:attrName>style.visibility</p:attrName>
                                        </p:attrNameLst>
                                      </p:cBhvr>
                                      <p:to>
                                        <p:strVal val="visible"/>
                                      </p:to>
                                    </p:set>
                                    <p:animEffect transition="in" filter="fade">
                                      <p:cBhvr>
                                        <p:cTn id="28" dur="500"/>
                                        <p:tgtEl>
                                          <p:spTgt spid="167"/>
                                        </p:tgtEl>
                                      </p:cBhvr>
                                    </p:animEffect>
                                  </p:childTnLst>
                                </p:cTn>
                              </p:par>
                            </p:childTnLst>
                          </p:cTn>
                        </p:par>
                        <p:par>
                          <p:cTn id="29" fill="hold">
                            <p:stCondLst>
                              <p:cond delay="2000"/>
                            </p:stCondLst>
                            <p:childTnLst>
                              <p:par>
                                <p:cTn id="30" presetID="10" presetClass="entr" presetSubtype="0" fill="hold" grpId="0" nodeType="afterEffect">
                                  <p:stCondLst>
                                    <p:cond delay="1000"/>
                                  </p:stCondLst>
                                  <p:childTnLst>
                                    <p:set>
                                      <p:cBhvr>
                                        <p:cTn id="31" dur="1" fill="hold">
                                          <p:stCondLst>
                                            <p:cond delay="0"/>
                                          </p:stCondLst>
                                        </p:cTn>
                                        <p:tgtEl>
                                          <p:spTgt spid="166"/>
                                        </p:tgtEl>
                                        <p:attrNameLst>
                                          <p:attrName>style.visibility</p:attrName>
                                        </p:attrNameLst>
                                      </p:cBhvr>
                                      <p:to>
                                        <p:strVal val="visible"/>
                                      </p:to>
                                    </p:set>
                                    <p:animEffect transition="in" filter="fade">
                                      <p:cBhvr>
                                        <p:cTn id="32" dur="500"/>
                                        <p:tgtEl>
                                          <p:spTgt spid="16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60"/>
                                        </p:tgtEl>
                                        <p:attrNameLst>
                                          <p:attrName>style.visibility</p:attrName>
                                        </p:attrNameLst>
                                      </p:cBhvr>
                                      <p:to>
                                        <p:strVal val="visible"/>
                                      </p:to>
                                    </p:set>
                                    <p:animEffect transition="in" filter="fade">
                                      <p:cBhvr>
                                        <p:cTn id="35" dur="500"/>
                                        <p:tgtEl>
                                          <p:spTgt spid="16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61"/>
                                        </p:tgtEl>
                                        <p:attrNameLst>
                                          <p:attrName>style.visibility</p:attrName>
                                        </p:attrNameLst>
                                      </p:cBhvr>
                                      <p:to>
                                        <p:strVal val="visible"/>
                                      </p:to>
                                    </p:set>
                                    <p:animEffect transition="in" filter="fade">
                                      <p:cBhvr>
                                        <p:cTn id="38" dur="500"/>
                                        <p:tgtEl>
                                          <p:spTgt spid="161"/>
                                        </p:tgtEl>
                                      </p:cBhvr>
                                    </p:animEffect>
                                  </p:childTnLst>
                                </p:cTn>
                              </p:par>
                            </p:childTnLst>
                          </p:cTn>
                        </p:par>
                        <p:par>
                          <p:cTn id="39" fill="hold">
                            <p:stCondLst>
                              <p:cond delay="3500"/>
                            </p:stCondLst>
                            <p:childTnLst>
                              <p:par>
                                <p:cTn id="40" presetID="22" presetClass="entr" presetSubtype="1" fill="hold" grpId="0" nodeType="afterEffect">
                                  <p:stCondLst>
                                    <p:cond delay="0"/>
                                  </p:stCondLst>
                                  <p:childTnLst>
                                    <p:set>
                                      <p:cBhvr>
                                        <p:cTn id="41" dur="1" fill="hold">
                                          <p:stCondLst>
                                            <p:cond delay="0"/>
                                          </p:stCondLst>
                                        </p:cTn>
                                        <p:tgtEl>
                                          <p:spTgt spid="179"/>
                                        </p:tgtEl>
                                        <p:attrNameLst>
                                          <p:attrName>style.visibility</p:attrName>
                                        </p:attrNameLst>
                                      </p:cBhvr>
                                      <p:to>
                                        <p:strVal val="visible"/>
                                      </p:to>
                                    </p:set>
                                    <p:animEffect transition="in" filter="wipe(up)">
                                      <p:cBhvr>
                                        <p:cTn id="42" dur="500"/>
                                        <p:tgtEl>
                                          <p:spTgt spid="179"/>
                                        </p:tgtEl>
                                      </p:cBhvr>
                                    </p:animEffect>
                                  </p:childTnLst>
                                </p:cTn>
                              </p:par>
                            </p:childTnLst>
                          </p:cTn>
                        </p:par>
                        <p:par>
                          <p:cTn id="43" fill="hold">
                            <p:stCondLst>
                              <p:cond delay="4000"/>
                            </p:stCondLst>
                            <p:childTnLst>
                              <p:par>
                                <p:cTn id="44" presetID="22" presetClass="entr" presetSubtype="1" fill="hold" grpId="0" nodeType="afterEffect">
                                  <p:stCondLst>
                                    <p:cond delay="0"/>
                                  </p:stCondLst>
                                  <p:childTnLst>
                                    <p:set>
                                      <p:cBhvr>
                                        <p:cTn id="45" dur="1" fill="hold">
                                          <p:stCondLst>
                                            <p:cond delay="0"/>
                                          </p:stCondLst>
                                        </p:cTn>
                                        <p:tgtEl>
                                          <p:spTgt spid="198"/>
                                        </p:tgtEl>
                                        <p:attrNameLst>
                                          <p:attrName>style.visibility</p:attrName>
                                        </p:attrNameLst>
                                      </p:cBhvr>
                                      <p:to>
                                        <p:strVal val="visible"/>
                                      </p:to>
                                    </p:set>
                                    <p:animEffect transition="in" filter="wipe(up)">
                                      <p:cBhvr>
                                        <p:cTn id="46" dur="500"/>
                                        <p:tgtEl>
                                          <p:spTgt spid="198"/>
                                        </p:tgtEl>
                                      </p:cBhvr>
                                    </p:animEffect>
                                  </p:childTnLst>
                                </p:cTn>
                              </p:par>
                            </p:childTnLst>
                          </p:cTn>
                        </p:par>
                        <p:par>
                          <p:cTn id="47" fill="hold">
                            <p:stCondLst>
                              <p:cond delay="4500"/>
                            </p:stCondLst>
                            <p:childTnLst>
                              <p:par>
                                <p:cTn id="48" presetID="22" presetClass="entr" presetSubtype="1" fill="hold" grpId="0" nodeType="afterEffect">
                                  <p:stCondLst>
                                    <p:cond delay="0"/>
                                  </p:stCondLst>
                                  <p:childTnLst>
                                    <p:set>
                                      <p:cBhvr>
                                        <p:cTn id="49" dur="1" fill="hold">
                                          <p:stCondLst>
                                            <p:cond delay="0"/>
                                          </p:stCondLst>
                                        </p:cTn>
                                        <p:tgtEl>
                                          <p:spTgt spid="176"/>
                                        </p:tgtEl>
                                        <p:attrNameLst>
                                          <p:attrName>style.visibility</p:attrName>
                                        </p:attrNameLst>
                                      </p:cBhvr>
                                      <p:to>
                                        <p:strVal val="visible"/>
                                      </p:to>
                                    </p:set>
                                    <p:animEffect transition="in" filter="wipe(up)">
                                      <p:cBhvr>
                                        <p:cTn id="50" dur="500"/>
                                        <p:tgtEl>
                                          <p:spTgt spid="176"/>
                                        </p:tgtEl>
                                      </p:cBhvr>
                                    </p:animEffect>
                                  </p:childTnLst>
                                </p:cTn>
                              </p:par>
                            </p:childTnLst>
                          </p:cTn>
                        </p:par>
                        <p:par>
                          <p:cTn id="51" fill="hold">
                            <p:stCondLst>
                              <p:cond delay="5000"/>
                            </p:stCondLst>
                            <p:childTnLst>
                              <p:par>
                                <p:cTn id="52" presetID="22" presetClass="entr" presetSubtype="1" fill="hold" grpId="0" nodeType="afterEffect">
                                  <p:stCondLst>
                                    <p:cond delay="0"/>
                                  </p:stCondLst>
                                  <p:childTnLst>
                                    <p:set>
                                      <p:cBhvr>
                                        <p:cTn id="53" dur="1" fill="hold">
                                          <p:stCondLst>
                                            <p:cond delay="0"/>
                                          </p:stCondLst>
                                        </p:cTn>
                                        <p:tgtEl>
                                          <p:spTgt spid="177"/>
                                        </p:tgtEl>
                                        <p:attrNameLst>
                                          <p:attrName>style.visibility</p:attrName>
                                        </p:attrNameLst>
                                      </p:cBhvr>
                                      <p:to>
                                        <p:strVal val="visible"/>
                                      </p:to>
                                    </p:set>
                                    <p:animEffect transition="in" filter="wipe(up)">
                                      <p:cBhvr>
                                        <p:cTn id="54" dur="500"/>
                                        <p:tgtEl>
                                          <p:spTgt spid="177"/>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57"/>
                                        </p:tgtEl>
                                        <p:attrNameLst>
                                          <p:attrName>style.visibility</p:attrName>
                                        </p:attrNameLst>
                                      </p:cBhvr>
                                      <p:to>
                                        <p:strVal val="visible"/>
                                      </p:to>
                                    </p:set>
                                    <p:animEffect transition="in" filter="fade">
                                      <p:cBhvr>
                                        <p:cTn id="59" dur="500"/>
                                        <p:tgtEl>
                                          <p:spTgt spid="157"/>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58"/>
                                        </p:tgtEl>
                                        <p:attrNameLst>
                                          <p:attrName>style.visibility</p:attrName>
                                        </p:attrNameLst>
                                      </p:cBhvr>
                                      <p:to>
                                        <p:strVal val="visible"/>
                                      </p:to>
                                    </p:set>
                                    <p:animEffect transition="in" filter="fade">
                                      <p:cBhvr>
                                        <p:cTn id="64" dur="500"/>
                                        <p:tgtEl>
                                          <p:spTgt spid="158"/>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59"/>
                                        </p:tgtEl>
                                        <p:attrNameLst>
                                          <p:attrName>style.visibility</p:attrName>
                                        </p:attrNameLst>
                                      </p:cBhvr>
                                      <p:to>
                                        <p:strVal val="visible"/>
                                      </p:to>
                                    </p:set>
                                    <p:animEffect transition="in" filter="fade">
                                      <p:cBhvr>
                                        <p:cTn id="69" dur="500"/>
                                        <p:tgtEl>
                                          <p:spTgt spid="1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7" grpId="0"/>
      <p:bldP spid="158" grpId="0"/>
      <p:bldP spid="159" grpId="0"/>
      <p:bldP spid="160" grpId="0" animBg="1"/>
      <p:bldP spid="161" grpId="0"/>
      <p:bldP spid="166" grpId="0" animBg="1"/>
      <p:bldP spid="176" grpId="0" animBg="1"/>
      <p:bldP spid="177" grpId="0" animBg="1"/>
      <p:bldP spid="178" grpId="0" animBg="1"/>
      <p:bldP spid="179" grpId="0" animBg="1"/>
      <p:bldP spid="196" grpId="0" animBg="1"/>
      <p:bldP spid="197" grpId="0" animBg="1"/>
      <p:bldP spid="19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mpower Users</a:t>
            </a:r>
            <a:endParaRPr lang="en-US" dirty="0"/>
          </a:p>
        </p:txBody>
      </p:sp>
      <p:sp>
        <p:nvSpPr>
          <p:cNvPr id="13" name="Rectangle 12"/>
          <p:cNvSpPr/>
          <p:nvPr/>
        </p:nvSpPr>
        <p:spPr>
          <a:xfrm>
            <a:off x="1502229" y="3130971"/>
            <a:ext cx="10934246" cy="2164695"/>
          </a:xfrm>
          <a:prstGeom prst="rect">
            <a:avLst/>
          </a:prstGeom>
        </p:spPr>
        <p:txBody>
          <a:bodyPr wrap="square">
            <a:spAutoFit/>
          </a:bodyPr>
          <a:lstStyle/>
          <a:p>
            <a:pPr marL="0" marR="0" lvl="0" indent="0" defTabSz="914126" eaLnBrk="1" fontAlgn="auto" latinLnBrk="0" hangingPunct="1">
              <a:lnSpc>
                <a:spcPct val="90000"/>
              </a:lnSpc>
              <a:spcBef>
                <a:spcPts val="800"/>
              </a:spcBef>
              <a:spcAft>
                <a:spcPts val="0"/>
              </a:spcAft>
              <a:buClrTx/>
              <a:buSzTx/>
              <a:buFontTx/>
              <a:buNone/>
              <a:tabLst/>
              <a:defRPr/>
            </a:pPr>
            <a:r>
              <a:rPr kumimoji="0" lang="en-US" sz="2800" b="0" i="0" u="none" strike="noStrike" kern="0" cap="none" spc="-30" normalizeH="0" baseline="0" noProof="0" dirty="0" smtClean="0">
                <a:ln>
                  <a:noFill/>
                </a:ln>
                <a:solidFill>
                  <a:srgbClr val="FFFFFF"/>
                </a:solidFill>
                <a:effectLst/>
                <a:uLnTx/>
                <a:uFillTx/>
              </a:rPr>
              <a:t>Consistent Company Portal experiences across devices</a:t>
            </a:r>
          </a:p>
          <a:p>
            <a:pPr marL="0" marR="0" lvl="0" indent="0" defTabSz="914126" eaLnBrk="1" fontAlgn="auto" latinLnBrk="0" hangingPunct="1">
              <a:lnSpc>
                <a:spcPct val="90000"/>
              </a:lnSpc>
              <a:spcBef>
                <a:spcPts val="800"/>
              </a:spcBef>
              <a:spcAft>
                <a:spcPts val="0"/>
              </a:spcAft>
              <a:buClrTx/>
              <a:buSzTx/>
              <a:buFontTx/>
              <a:buNone/>
              <a:tabLst/>
              <a:defRPr/>
            </a:pPr>
            <a:endParaRPr kumimoji="0" lang="en-US" b="0" i="0" u="none" strike="noStrike" kern="0" cap="none" spc="-30" normalizeH="0" baseline="0" noProof="0" dirty="0" smtClean="0">
              <a:ln>
                <a:noFill/>
              </a:ln>
              <a:solidFill>
                <a:srgbClr val="FFFFFF"/>
              </a:solidFill>
              <a:effectLst/>
              <a:uLnTx/>
              <a:uFillTx/>
            </a:endParaRPr>
          </a:p>
          <a:p>
            <a:pPr marL="0" marR="0" lvl="0" indent="0" defTabSz="914126" eaLnBrk="1" fontAlgn="auto" latinLnBrk="0" hangingPunct="1">
              <a:lnSpc>
                <a:spcPct val="90000"/>
              </a:lnSpc>
              <a:spcBef>
                <a:spcPts val="800"/>
              </a:spcBef>
              <a:spcAft>
                <a:spcPts val="0"/>
              </a:spcAft>
              <a:buClrTx/>
              <a:buSzTx/>
              <a:buFontTx/>
              <a:buNone/>
              <a:tabLst/>
              <a:defRPr/>
            </a:pPr>
            <a:r>
              <a:rPr kumimoji="0" lang="en-US" sz="2800" b="0" i="0" u="none" strike="noStrike" kern="0" cap="none" spc="-30" normalizeH="0" baseline="0" noProof="0" dirty="0" smtClean="0">
                <a:ln>
                  <a:noFill/>
                </a:ln>
                <a:solidFill>
                  <a:srgbClr val="FFFFFF"/>
                </a:solidFill>
                <a:effectLst/>
                <a:uLnTx/>
                <a:uFillTx/>
              </a:rPr>
              <a:t>Simplified registration and enrollment</a:t>
            </a:r>
          </a:p>
          <a:p>
            <a:pPr marL="0" marR="0" lvl="0" indent="0" defTabSz="914126" eaLnBrk="1" fontAlgn="auto" latinLnBrk="0" hangingPunct="1">
              <a:lnSpc>
                <a:spcPct val="90000"/>
              </a:lnSpc>
              <a:spcBef>
                <a:spcPts val="800"/>
              </a:spcBef>
              <a:spcAft>
                <a:spcPts val="0"/>
              </a:spcAft>
              <a:buClrTx/>
              <a:buSzTx/>
              <a:buFontTx/>
              <a:buNone/>
              <a:tabLst/>
              <a:defRPr/>
            </a:pPr>
            <a:endParaRPr kumimoji="0" lang="en-US" b="0" i="0" u="none" strike="noStrike" kern="0" cap="none" spc="-30" normalizeH="0" baseline="0" noProof="0" dirty="0" smtClean="0">
              <a:ln>
                <a:noFill/>
              </a:ln>
              <a:solidFill>
                <a:srgbClr val="FFFFFF"/>
              </a:solidFill>
              <a:effectLst/>
              <a:uLnTx/>
              <a:uFillTx/>
            </a:endParaRPr>
          </a:p>
          <a:p>
            <a:pPr marL="0" marR="0" lvl="0" indent="0" defTabSz="914126" eaLnBrk="1" fontAlgn="auto" latinLnBrk="0" hangingPunct="1">
              <a:lnSpc>
                <a:spcPct val="90000"/>
              </a:lnSpc>
              <a:spcBef>
                <a:spcPts val="800"/>
              </a:spcBef>
              <a:spcAft>
                <a:spcPts val="0"/>
              </a:spcAft>
              <a:buClrTx/>
              <a:buSzTx/>
              <a:buFontTx/>
              <a:buNone/>
              <a:tabLst/>
              <a:defRPr/>
            </a:pPr>
            <a:r>
              <a:rPr kumimoji="0" lang="en-US" sz="2800" b="0" i="0" u="none" strike="noStrike" kern="0" cap="none" spc="-30" normalizeH="0" baseline="0" noProof="0" dirty="0" smtClean="0">
                <a:ln>
                  <a:noFill/>
                </a:ln>
                <a:solidFill>
                  <a:srgbClr val="FFFFFF"/>
                </a:solidFill>
                <a:effectLst/>
                <a:uLnTx/>
                <a:uFillTx/>
              </a:rPr>
              <a:t>Automatic connection to internal resources</a:t>
            </a:r>
          </a:p>
        </p:txBody>
      </p:sp>
      <p:grpSp>
        <p:nvGrpSpPr>
          <p:cNvPr id="17" name="Group 16"/>
          <p:cNvGrpSpPr/>
          <p:nvPr/>
        </p:nvGrpSpPr>
        <p:grpSpPr>
          <a:xfrm>
            <a:off x="300404" y="1214472"/>
            <a:ext cx="11919593" cy="941001"/>
            <a:chOff x="269302" y="1187962"/>
            <a:chExt cx="11922698" cy="941246"/>
          </a:xfrm>
        </p:grpSpPr>
        <p:sp>
          <p:nvSpPr>
            <p:cNvPr id="19" name="Rectangle 18"/>
            <p:cNvSpPr/>
            <p:nvPr/>
          </p:nvSpPr>
          <p:spPr bwMode="auto">
            <a:xfrm>
              <a:off x="986690" y="1241748"/>
              <a:ext cx="11205310" cy="833675"/>
            </a:xfrm>
            <a:prstGeom prst="rect">
              <a:avLst/>
            </a:prstGeom>
            <a:solidFill>
              <a:srgbClr val="FFFFFF"/>
            </a:solidFill>
            <a:ln w="25400" cap="flat" cmpd="sng" algn="ctr">
              <a:noFill/>
              <a:prstDash val="solid"/>
              <a:headEnd type="none" w="med" len="med"/>
              <a:tailEnd type="none" w="med" len="med"/>
            </a:ln>
            <a:effectLst/>
          </p:spPr>
          <p:txBody>
            <a:bodyPr vert="horz" wrap="square" lIns="448095" tIns="143391" rIns="179238" bIns="143391" numCol="1" rtlCol="0" anchor="ctr" anchorCtr="0" compatLnSpc="1">
              <a:prstTxWarp prst="textNoShape">
                <a:avLst/>
              </a:prstTxWarp>
              <a:noAutofit/>
            </a:bodyPr>
            <a:lstStyle/>
            <a:p>
              <a:pPr marL="0" marR="0" lvl="0" indent="0" defTabSz="895822" eaLnBrk="1" fontAlgn="base" latinLnBrk="0" hangingPunct="1">
                <a:lnSpc>
                  <a:spcPct val="90000"/>
                </a:lnSpc>
                <a:spcBef>
                  <a:spcPts val="1176"/>
                </a:spcBef>
                <a:spcAft>
                  <a:spcPts val="0"/>
                </a:spcAft>
                <a:buClrTx/>
                <a:buSzTx/>
                <a:buFontTx/>
                <a:buNone/>
                <a:tabLst/>
                <a:defRPr/>
              </a:pPr>
              <a:r>
                <a:rPr kumimoji="0" lang="en-US" sz="2199" b="0" i="0" u="none" strike="noStrike" kern="0" cap="none" spc="0" normalizeH="0" baseline="0" noProof="0" dirty="0" smtClean="0">
                  <a:ln>
                    <a:noFill/>
                  </a:ln>
                  <a:solidFill>
                    <a:srgbClr val="002060"/>
                  </a:solidFill>
                  <a:effectLst/>
                  <a:uLnTx/>
                  <a:uFillTx/>
                  <a:ea typeface="Segoe UI" pitchFamily="34" charset="0"/>
                  <a:cs typeface="Segoe UI" pitchFamily="34" charset="0"/>
                </a:rPr>
                <a:t>Enable </a:t>
              </a:r>
              <a:r>
                <a:rPr kumimoji="0" lang="en-US" sz="2199" b="0" i="0" u="none" strike="noStrike" kern="0" cap="none" spc="0" normalizeH="0" baseline="0" noProof="0" dirty="0" err="1" smtClean="0">
                  <a:ln>
                    <a:noFill/>
                  </a:ln>
                  <a:solidFill>
                    <a:srgbClr val="002060"/>
                  </a:solidFill>
                  <a:effectLst/>
                  <a:uLnTx/>
                  <a:uFillTx/>
                  <a:latin typeface="Segoe UI Semibold" panose="020B0702040204020203" pitchFamily="34" charset="0"/>
                  <a:ea typeface="Segoe UI" pitchFamily="34" charset="0"/>
                  <a:cs typeface="Segoe UI" pitchFamily="34" charset="0"/>
                </a:rPr>
                <a:t>consumerization</a:t>
              </a:r>
              <a:r>
                <a:rPr kumimoji="0" lang="en-US" sz="2199" b="0" i="0" u="none" strike="noStrike" kern="0" cap="none" spc="0" normalizeH="0" baseline="0" noProof="0" dirty="0" smtClean="0">
                  <a:ln>
                    <a:noFill/>
                  </a:ln>
                  <a:solidFill>
                    <a:srgbClr val="002060"/>
                  </a:solidFill>
                  <a:effectLst/>
                  <a:uLnTx/>
                  <a:uFillTx/>
                  <a:latin typeface="Segoe UI Semibold" panose="020B0702040204020203" pitchFamily="34" charset="0"/>
                  <a:ea typeface="Segoe UI" pitchFamily="34" charset="0"/>
                  <a:cs typeface="Segoe UI" pitchFamily="34" charset="0"/>
                </a:rPr>
                <a:t> of IT </a:t>
              </a:r>
              <a:r>
                <a:rPr kumimoji="0" lang="en-US" sz="2199" b="0" i="0" u="none" strike="noStrike" kern="0" cap="none" spc="0" normalizeH="0" baseline="0" noProof="0" dirty="0" smtClean="0">
                  <a:ln>
                    <a:noFill/>
                  </a:ln>
                  <a:solidFill>
                    <a:srgbClr val="002060"/>
                  </a:solidFill>
                  <a:effectLst/>
                  <a:uLnTx/>
                  <a:uFillTx/>
                  <a:ea typeface="Segoe UI" pitchFamily="34" charset="0"/>
                  <a:cs typeface="Segoe UI" pitchFamily="34" charset="0"/>
                </a:rPr>
                <a:t>without compromising compliance</a:t>
              </a:r>
            </a:p>
          </p:txBody>
        </p:sp>
        <p:sp>
          <p:nvSpPr>
            <p:cNvPr id="20" name="Oval 19"/>
            <p:cNvSpPr>
              <a:spLocks noChangeAspect="1"/>
            </p:cNvSpPr>
            <p:nvPr/>
          </p:nvSpPr>
          <p:spPr bwMode="auto">
            <a:xfrm>
              <a:off x="269302" y="1187962"/>
              <a:ext cx="941246" cy="941246"/>
            </a:xfrm>
            <a:prstGeom prst="ellipse">
              <a:avLst/>
            </a:prstGeom>
            <a:solidFill>
              <a:schemeClr val="bg2"/>
            </a:solidFill>
            <a:ln w="76200" cap="flat" cmpd="sng" algn="ctr">
              <a:solidFill>
                <a:srgbClr val="FFFFFF"/>
              </a:solid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895822" eaLnBrk="1" fontAlgn="base" latinLnBrk="0" hangingPunct="1">
                <a:lnSpc>
                  <a:spcPct val="90000"/>
                </a:lnSpc>
                <a:spcBef>
                  <a:spcPct val="0"/>
                </a:spcBef>
                <a:spcAft>
                  <a:spcPct val="0"/>
                </a:spcAft>
                <a:buClrTx/>
                <a:buSzTx/>
                <a:buFontTx/>
                <a:buNone/>
                <a:tabLst/>
                <a:defRPr/>
              </a:pPr>
              <a:endParaRPr kumimoji="0" lang="en-US" sz="1960" b="0" i="0" u="none" strike="noStrike" kern="0" cap="none" spc="0" normalizeH="0" baseline="0" noProof="0" dirty="0" err="1" smtClean="0">
                <a:ln>
                  <a:noFill/>
                </a:ln>
                <a:gradFill>
                  <a:gsLst>
                    <a:gs pos="1250">
                      <a:srgbClr val="EFEFEF"/>
                    </a:gs>
                    <a:gs pos="10417">
                      <a:srgbClr val="EFEFEF"/>
                    </a:gs>
                  </a:gsLst>
                  <a:lin ang="5400000" scaled="0"/>
                </a:gradFill>
                <a:effectLst/>
                <a:uLnTx/>
                <a:uFillTx/>
                <a:latin typeface="Segoe UI"/>
              </a:endParaRPr>
            </a:p>
          </p:txBody>
        </p:sp>
      </p:grpSp>
      <p:sp>
        <p:nvSpPr>
          <p:cNvPr id="12" name="Freeform 11"/>
          <p:cNvSpPr>
            <a:spLocks/>
          </p:cNvSpPr>
          <p:nvPr/>
        </p:nvSpPr>
        <p:spPr bwMode="black">
          <a:xfrm>
            <a:off x="628350" y="1474830"/>
            <a:ext cx="243761" cy="543940"/>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ctr" defTabSz="1218534"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endParaRPr>
          </a:p>
        </p:txBody>
      </p:sp>
      <p:sp>
        <p:nvSpPr>
          <p:cNvPr id="14" name="Oval 38"/>
          <p:cNvSpPr>
            <a:spLocks noChangeArrowheads="1"/>
          </p:cNvSpPr>
          <p:nvPr/>
        </p:nvSpPr>
        <p:spPr bwMode="black">
          <a:xfrm>
            <a:off x="704939" y="1351174"/>
            <a:ext cx="108993" cy="11040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ctr" defTabSz="1218534"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endParaRPr>
          </a:p>
        </p:txBody>
      </p:sp>
      <p:sp>
        <p:nvSpPr>
          <p:cNvPr id="15" name="Freeform 39"/>
          <p:cNvSpPr>
            <a:spLocks/>
          </p:cNvSpPr>
          <p:nvPr/>
        </p:nvSpPr>
        <p:spPr bwMode="black">
          <a:xfrm>
            <a:off x="742497" y="1497648"/>
            <a:ext cx="231978" cy="206093"/>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ctr" defTabSz="1218534"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endParaRPr>
          </a:p>
        </p:txBody>
      </p:sp>
    </p:spTree>
    <p:extLst>
      <p:ext uri="{BB962C8B-B14F-4D97-AF65-F5344CB8AC3E}">
        <p14:creationId xmlns:p14="http://schemas.microsoft.com/office/powerpoint/2010/main" val="37572025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5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750"/>
                                        <p:tgtEl>
                                          <p:spTgt spid="13"/>
                                        </p:tgtEl>
                                      </p:cBhvr>
                                    </p:animEffect>
                                  </p:childTnLst>
                                </p:cTn>
                              </p:par>
                              <p:par>
                                <p:cTn id="8" presetID="63" presetClass="path" presetSubtype="0" decel="100000" fill="hold" grpId="1" nodeType="withEffect">
                                  <p:stCondLst>
                                    <p:cond delay="500"/>
                                  </p:stCondLst>
                                  <p:childTnLst>
                                    <p:animMotion origin="layout" path="M -0.02409 2.22222E-6 L 2.5E-6 2.22222E-6 " pathEditMode="relative" rAng="0" ptsTypes="AA">
                                      <p:cBhvr>
                                        <p:cTn id="9" dur="500" fill="hold"/>
                                        <p:tgtEl>
                                          <p:spTgt spid="13"/>
                                        </p:tgtEl>
                                        <p:attrNameLst>
                                          <p:attrName>ppt_x</p:attrName>
                                          <p:attrName>ppt_y</p:attrName>
                                        </p:attrNameLst>
                                      </p:cBhvr>
                                      <p:rCtr x="1198" y="0"/>
                                    </p:animMotion>
                                  </p:childTnLst>
                                </p:cTn>
                              </p:par>
                              <p:par>
                                <p:cTn id="10" presetID="6" presetClass="emph" presetSubtype="0" accel="100000" autoRev="1" fill="hold" grpId="2" nodeType="withEffect">
                                  <p:stCondLst>
                                    <p:cond delay="0"/>
                                  </p:stCondLst>
                                  <p:childTnLst>
                                    <p:animScale>
                                      <p:cBhvr>
                                        <p:cTn id="11" dur="500" fill="hold"/>
                                        <p:tgtEl>
                                          <p:spTgt spid="1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3" grpId="2"/>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 name="Rectangle 251"/>
          <p:cNvSpPr/>
          <p:nvPr/>
        </p:nvSpPr>
        <p:spPr bwMode="auto">
          <a:xfrm>
            <a:off x="192432" y="1453415"/>
            <a:ext cx="12022313" cy="5409398"/>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mpower Users</a:t>
            </a:r>
            <a:br>
              <a:rPr lang="en-US" dirty="0" smtClean="0"/>
            </a:br>
            <a:r>
              <a:rPr lang="en-US" sz="2000" spc="0" dirty="0">
                <a:solidFill>
                  <a:schemeClr val="tx1"/>
                </a:solidFill>
              </a:rPr>
              <a:t>Allow users to work the device of their choice and provide consistent access to corporate resources</a:t>
            </a:r>
            <a:endParaRPr lang="en-US" sz="2000" dirty="0">
              <a:solidFill>
                <a:schemeClr val="tx1"/>
              </a:solidFill>
            </a:endParaRPr>
          </a:p>
        </p:txBody>
      </p:sp>
      <p:sp>
        <p:nvSpPr>
          <p:cNvPr id="186" name="AutoShape 7"/>
          <p:cNvSpPr>
            <a:spLocks noChangeAspect="1" noChangeArrowheads="1" noTextEdit="1"/>
          </p:cNvSpPr>
          <p:nvPr/>
        </p:nvSpPr>
        <p:spPr bwMode="auto">
          <a:xfrm>
            <a:off x="6197600" y="4884685"/>
            <a:ext cx="1622425" cy="130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nvGrpSpPr>
          <p:cNvPr id="7" name="Group 6"/>
          <p:cNvGrpSpPr/>
          <p:nvPr/>
        </p:nvGrpSpPr>
        <p:grpSpPr>
          <a:xfrm>
            <a:off x="2544802" y="1483780"/>
            <a:ext cx="3266603" cy="1786153"/>
            <a:chOff x="2544802" y="1483780"/>
            <a:chExt cx="3266603" cy="1786153"/>
          </a:xfrm>
        </p:grpSpPr>
        <p:cxnSp>
          <p:nvCxnSpPr>
            <p:cNvPr id="169" name="Straight Connector 168"/>
            <p:cNvCxnSpPr/>
            <p:nvPr/>
          </p:nvCxnSpPr>
          <p:spPr>
            <a:xfrm>
              <a:off x="3614641" y="2818733"/>
              <a:ext cx="0" cy="451200"/>
            </a:xfrm>
            <a:prstGeom prst="line">
              <a:avLst/>
            </a:prstGeom>
            <a:noFill/>
            <a:ln w="19050" cap="rnd" cmpd="sng" algn="ctr">
              <a:solidFill>
                <a:srgbClr val="0070C0"/>
              </a:solidFill>
              <a:prstDash val="sysDot"/>
              <a:headEnd type="triangle" w="med" len="med"/>
              <a:tailEnd type="triangle" w="med" len="med"/>
            </a:ln>
            <a:effectLst/>
          </p:spPr>
        </p:cxnSp>
        <p:grpSp>
          <p:nvGrpSpPr>
            <p:cNvPr id="190" name="Group 189"/>
            <p:cNvGrpSpPr/>
            <p:nvPr/>
          </p:nvGrpSpPr>
          <p:grpSpPr>
            <a:xfrm>
              <a:off x="2544802" y="1483780"/>
              <a:ext cx="3266603" cy="1599815"/>
              <a:chOff x="2564088" y="996132"/>
              <a:chExt cx="3266603" cy="1599815"/>
            </a:xfrm>
          </p:grpSpPr>
          <p:grpSp>
            <p:nvGrpSpPr>
              <p:cNvPr id="191" name="Group 190"/>
              <p:cNvGrpSpPr/>
              <p:nvPr/>
            </p:nvGrpSpPr>
            <p:grpSpPr>
              <a:xfrm>
                <a:off x="2564088" y="996132"/>
                <a:ext cx="1839929" cy="1335876"/>
                <a:chOff x="2711278" y="1155808"/>
                <a:chExt cx="1839929" cy="1335876"/>
              </a:xfrm>
            </p:grpSpPr>
            <p:sp>
              <p:nvSpPr>
                <p:cNvPr id="196" name="Oval 195"/>
                <p:cNvSpPr/>
                <p:nvPr>
                  <p:custDataLst>
                    <p:tags r:id="rId3"/>
                  </p:custDataLst>
                </p:nvPr>
              </p:nvSpPr>
              <p:spPr bwMode="auto">
                <a:xfrm>
                  <a:off x="2711278" y="1155808"/>
                  <a:ext cx="1839929" cy="1335876"/>
                </a:xfrm>
                <a:prstGeom prst="ellipse">
                  <a:avLst/>
                </a:prstGeom>
                <a:solidFill>
                  <a:srgbClr val="0070C0"/>
                </a:solidFill>
                <a:ln w="19050" cap="flat" cmpd="sng" algn="ctr">
                  <a:solidFill>
                    <a:srgbClr val="0070C0"/>
                  </a:solidFill>
                  <a:prstDash val="solid"/>
                  <a:headEnd type="none" w="med" len="med"/>
                  <a:tailEnd type="none" w="med" len="med"/>
                </a:ln>
                <a:effectLst/>
              </p:spPr>
              <p:txBody>
                <a:bodyPr vert="horz" wrap="square" lIns="111915" tIns="55957" rIns="111915" bIns="55957" numCol="1" rtlCol="0" anchor="ctr" anchorCtr="0" compatLnSpc="1">
                  <a:prstTxWarp prst="textNoShape">
                    <a:avLst/>
                  </a:prstTxWarp>
                </a:bodyPr>
                <a:lstStyle/>
                <a:p>
                  <a:pPr marL="0" marR="0" lvl="0" indent="0" algn="ctr" defTabSz="1118920" eaLnBrk="1" fontAlgn="base" latinLnBrk="0" hangingPunct="1">
                    <a:lnSpc>
                      <a:spcPct val="100000"/>
                    </a:lnSpc>
                    <a:spcBef>
                      <a:spcPct val="0"/>
                    </a:spcBef>
                    <a:spcAft>
                      <a:spcPct val="0"/>
                    </a:spcAft>
                    <a:buClrTx/>
                    <a:buSzTx/>
                    <a:buFontTx/>
                    <a:buNone/>
                    <a:tabLst/>
                    <a:defRPr/>
                  </a:pPr>
                  <a:endParaRPr kumimoji="0" lang="en-US" sz="2754" b="0" i="0" u="none" strike="noStrike" kern="0" cap="none" spc="0" normalizeH="0" baseline="0" noProof="0" dirty="0">
                    <a:ln>
                      <a:noFill/>
                    </a:ln>
                    <a:solidFill>
                      <a:srgbClr val="505050"/>
                    </a:solidFill>
                    <a:effectLst/>
                    <a:uLnTx/>
                    <a:uFillTx/>
                  </a:endParaRPr>
                </a:p>
              </p:txBody>
            </p:sp>
            <p:sp>
              <p:nvSpPr>
                <p:cNvPr id="197" name="Freeform 21"/>
                <p:cNvSpPr>
                  <a:spLocks noChangeAspect="1" noEditPoints="1"/>
                </p:cNvSpPr>
                <p:nvPr/>
              </p:nvSpPr>
              <p:spPr bwMode="auto">
                <a:xfrm>
                  <a:off x="2862896" y="1966455"/>
                  <a:ext cx="1544538" cy="237659"/>
                </a:xfrm>
                <a:custGeom>
                  <a:avLst/>
                  <a:gdLst>
                    <a:gd name="T0" fmla="*/ 81 w 1381"/>
                    <a:gd name="T1" fmla="*/ 8 h 210"/>
                    <a:gd name="T2" fmla="*/ 695 w 1381"/>
                    <a:gd name="T3" fmla="*/ 114 h 210"/>
                    <a:gd name="T4" fmla="*/ 630 w 1381"/>
                    <a:gd name="T5" fmla="*/ 127 h 210"/>
                    <a:gd name="T6" fmla="*/ 256 w 1381"/>
                    <a:gd name="T7" fmla="*/ 201 h 210"/>
                    <a:gd name="T8" fmla="*/ 870 w 1381"/>
                    <a:gd name="T9" fmla="*/ 136 h 210"/>
                    <a:gd name="T10" fmla="*/ 909 w 1381"/>
                    <a:gd name="T11" fmla="*/ 132 h 210"/>
                    <a:gd name="T12" fmla="*/ 357 w 1381"/>
                    <a:gd name="T13" fmla="*/ 37 h 210"/>
                    <a:gd name="T14" fmla="*/ 395 w 1381"/>
                    <a:gd name="T15" fmla="*/ 34 h 210"/>
                    <a:gd name="T16" fmla="*/ 371 w 1381"/>
                    <a:gd name="T17" fmla="*/ 2 h 210"/>
                    <a:gd name="T18" fmla="*/ 688 w 1381"/>
                    <a:gd name="T19" fmla="*/ 45 h 210"/>
                    <a:gd name="T20" fmla="*/ 1313 w 1381"/>
                    <a:gd name="T21" fmla="*/ 7 h 210"/>
                    <a:gd name="T22" fmla="*/ 1316 w 1381"/>
                    <a:gd name="T23" fmla="*/ 52 h 210"/>
                    <a:gd name="T24" fmla="*/ 13 w 1381"/>
                    <a:gd name="T25" fmla="*/ 133 h 210"/>
                    <a:gd name="T26" fmla="*/ 760 w 1381"/>
                    <a:gd name="T27" fmla="*/ 40 h 210"/>
                    <a:gd name="T28" fmla="*/ 603 w 1381"/>
                    <a:gd name="T29" fmla="*/ 55 h 210"/>
                    <a:gd name="T30" fmla="*/ 467 w 1381"/>
                    <a:gd name="T31" fmla="*/ 63 h 210"/>
                    <a:gd name="T32" fmla="*/ 449 w 1381"/>
                    <a:gd name="T33" fmla="*/ 72 h 210"/>
                    <a:gd name="T34" fmla="*/ 831 w 1381"/>
                    <a:gd name="T35" fmla="*/ 80 h 210"/>
                    <a:gd name="T36" fmla="*/ 938 w 1381"/>
                    <a:gd name="T37" fmla="*/ 185 h 210"/>
                    <a:gd name="T38" fmla="*/ 989 w 1381"/>
                    <a:gd name="T39" fmla="*/ 78 h 210"/>
                    <a:gd name="T40" fmla="*/ 843 w 1381"/>
                    <a:gd name="T41" fmla="*/ 142 h 210"/>
                    <a:gd name="T42" fmla="*/ 408 w 1381"/>
                    <a:gd name="T43" fmla="*/ 183 h 210"/>
                    <a:gd name="T44" fmla="*/ 376 w 1381"/>
                    <a:gd name="T45" fmla="*/ 166 h 210"/>
                    <a:gd name="T46" fmla="*/ 314 w 1381"/>
                    <a:gd name="T47" fmla="*/ 80 h 210"/>
                    <a:gd name="T48" fmla="*/ 1215 w 1381"/>
                    <a:gd name="T49" fmla="*/ 72 h 210"/>
                    <a:gd name="T50" fmla="*/ 530 w 1381"/>
                    <a:gd name="T51" fmla="*/ 169 h 210"/>
                    <a:gd name="T52" fmla="*/ 1067 w 1381"/>
                    <a:gd name="T53" fmla="*/ 70 h 210"/>
                    <a:gd name="T54" fmla="*/ 1337 w 1381"/>
                    <a:gd name="T55" fmla="*/ 79 h 210"/>
                    <a:gd name="T56" fmla="*/ 738 w 1381"/>
                    <a:gd name="T57" fmla="*/ 151 h 210"/>
                    <a:gd name="T58" fmla="*/ 712 w 1381"/>
                    <a:gd name="T59" fmla="*/ 135 h 210"/>
                    <a:gd name="T60" fmla="*/ 495 w 1381"/>
                    <a:gd name="T61" fmla="*/ 70 h 210"/>
                    <a:gd name="T62" fmla="*/ 148 w 1381"/>
                    <a:gd name="T63" fmla="*/ 138 h 210"/>
                    <a:gd name="T64" fmla="*/ 760 w 1381"/>
                    <a:gd name="T65" fmla="*/ 133 h 210"/>
                    <a:gd name="T66" fmla="*/ 803 w 1381"/>
                    <a:gd name="T67" fmla="*/ 148 h 210"/>
                    <a:gd name="T68" fmla="*/ 902 w 1381"/>
                    <a:gd name="T69" fmla="*/ 41 h 210"/>
                    <a:gd name="T70" fmla="*/ 325 w 1381"/>
                    <a:gd name="T71" fmla="*/ 132 h 210"/>
                    <a:gd name="T72" fmla="*/ 324 w 1381"/>
                    <a:gd name="T73" fmla="*/ 177 h 210"/>
                    <a:gd name="T74" fmla="*/ 583 w 1381"/>
                    <a:gd name="T75" fmla="*/ 184 h 210"/>
                    <a:gd name="T76" fmla="*/ 176 w 1381"/>
                    <a:gd name="T77" fmla="*/ 139 h 210"/>
                    <a:gd name="T78" fmla="*/ 206 w 1381"/>
                    <a:gd name="T79" fmla="*/ 107 h 210"/>
                    <a:gd name="T80" fmla="*/ 540 w 1381"/>
                    <a:gd name="T81" fmla="*/ 59 h 210"/>
                    <a:gd name="T82" fmla="*/ 277 w 1381"/>
                    <a:gd name="T83" fmla="*/ 27 h 210"/>
                    <a:gd name="T84" fmla="*/ 926 w 1381"/>
                    <a:gd name="T85" fmla="*/ 35 h 210"/>
                    <a:gd name="T86" fmla="*/ 935 w 1381"/>
                    <a:gd name="T87" fmla="*/ 11 h 210"/>
                    <a:gd name="T88" fmla="*/ 431 w 1381"/>
                    <a:gd name="T89" fmla="*/ 132 h 210"/>
                    <a:gd name="T90" fmla="*/ 153 w 1381"/>
                    <a:gd name="T91" fmla="*/ 30 h 210"/>
                    <a:gd name="T92" fmla="*/ 586 w 1381"/>
                    <a:gd name="T93" fmla="*/ 26 h 210"/>
                    <a:gd name="T94" fmla="*/ 586 w 1381"/>
                    <a:gd name="T95" fmla="*/ 72 h 210"/>
                    <a:gd name="T96" fmla="*/ 983 w 1381"/>
                    <a:gd name="T97" fmla="*/ 133 h 210"/>
                    <a:gd name="T98" fmla="*/ 163 w 1381"/>
                    <a:gd name="T99" fmla="*/ 76 h 210"/>
                    <a:gd name="T100" fmla="*/ 355 w 1381"/>
                    <a:gd name="T101" fmla="*/ 133 h 210"/>
                    <a:gd name="T102" fmla="*/ 1015 w 1381"/>
                    <a:gd name="T103" fmla="*/ 33 h 210"/>
                    <a:gd name="T104" fmla="*/ 462 w 1381"/>
                    <a:gd name="T105" fmla="*/ 178 h 210"/>
                    <a:gd name="T106" fmla="*/ 210 w 1381"/>
                    <a:gd name="T107" fmla="*/ 132 h 210"/>
                    <a:gd name="T108" fmla="*/ 220 w 1381"/>
                    <a:gd name="T109" fmla="*/ 113 h 210"/>
                    <a:gd name="T110" fmla="*/ 872 w 1381"/>
                    <a:gd name="T111" fmla="*/ 150 h 210"/>
                    <a:gd name="T112" fmla="*/ 1145 w 1381"/>
                    <a:gd name="T113" fmla="*/ 17 h 210"/>
                    <a:gd name="T114" fmla="*/ 821 w 1381"/>
                    <a:gd name="T115" fmla="*/ 47 h 210"/>
                    <a:gd name="T116" fmla="*/ 844 w 1381"/>
                    <a:gd name="T117" fmla="*/ 158 h 210"/>
                    <a:gd name="T118" fmla="*/ 408 w 1381"/>
                    <a:gd name="T119" fmla="*/ 159 h 210"/>
                    <a:gd name="T120" fmla="*/ 325 w 1381"/>
                    <a:gd name="T121" fmla="*/ 67 h 210"/>
                    <a:gd name="T122" fmla="*/ 726 w 1381"/>
                    <a:gd name="T123" fmla="*/ 17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81" h="210">
                      <a:moveTo>
                        <a:pt x="14" y="20"/>
                      </a:moveTo>
                      <a:cubicBezTo>
                        <a:pt x="14" y="21"/>
                        <a:pt x="14" y="22"/>
                        <a:pt x="14" y="22"/>
                      </a:cubicBezTo>
                      <a:cubicBezTo>
                        <a:pt x="14" y="40"/>
                        <a:pt x="14" y="58"/>
                        <a:pt x="14" y="76"/>
                      </a:cubicBezTo>
                      <a:cubicBezTo>
                        <a:pt x="14" y="80"/>
                        <a:pt x="14" y="79"/>
                        <a:pt x="11" y="79"/>
                      </a:cubicBezTo>
                      <a:cubicBezTo>
                        <a:pt x="9" y="79"/>
                        <a:pt x="8" y="79"/>
                        <a:pt x="6" y="79"/>
                      </a:cubicBezTo>
                      <a:cubicBezTo>
                        <a:pt x="6" y="79"/>
                        <a:pt x="6" y="79"/>
                        <a:pt x="6" y="78"/>
                      </a:cubicBezTo>
                      <a:cubicBezTo>
                        <a:pt x="6" y="78"/>
                        <a:pt x="6" y="77"/>
                        <a:pt x="6" y="77"/>
                      </a:cubicBezTo>
                      <a:cubicBezTo>
                        <a:pt x="6" y="54"/>
                        <a:pt x="6" y="31"/>
                        <a:pt x="6" y="7"/>
                      </a:cubicBezTo>
                      <a:cubicBezTo>
                        <a:pt x="6" y="7"/>
                        <a:pt x="6" y="7"/>
                        <a:pt x="6" y="7"/>
                      </a:cubicBezTo>
                      <a:cubicBezTo>
                        <a:pt x="6" y="5"/>
                        <a:pt x="6" y="5"/>
                        <a:pt x="7" y="5"/>
                      </a:cubicBezTo>
                      <a:cubicBezTo>
                        <a:pt x="9" y="5"/>
                        <a:pt x="10" y="5"/>
                        <a:pt x="12" y="5"/>
                      </a:cubicBezTo>
                      <a:cubicBezTo>
                        <a:pt x="13" y="5"/>
                        <a:pt x="15" y="5"/>
                        <a:pt x="16" y="5"/>
                      </a:cubicBezTo>
                      <a:cubicBezTo>
                        <a:pt x="17" y="5"/>
                        <a:pt x="17" y="6"/>
                        <a:pt x="17" y="6"/>
                      </a:cubicBezTo>
                      <a:cubicBezTo>
                        <a:pt x="18" y="7"/>
                        <a:pt x="18" y="7"/>
                        <a:pt x="18" y="8"/>
                      </a:cubicBezTo>
                      <a:cubicBezTo>
                        <a:pt x="26" y="26"/>
                        <a:pt x="34" y="44"/>
                        <a:pt x="42" y="62"/>
                      </a:cubicBezTo>
                      <a:cubicBezTo>
                        <a:pt x="42" y="62"/>
                        <a:pt x="42" y="63"/>
                        <a:pt x="43" y="64"/>
                      </a:cubicBezTo>
                      <a:cubicBezTo>
                        <a:pt x="44" y="63"/>
                        <a:pt x="44" y="63"/>
                        <a:pt x="44" y="62"/>
                      </a:cubicBezTo>
                      <a:cubicBezTo>
                        <a:pt x="53" y="44"/>
                        <a:pt x="61" y="26"/>
                        <a:pt x="69" y="8"/>
                      </a:cubicBezTo>
                      <a:cubicBezTo>
                        <a:pt x="69" y="8"/>
                        <a:pt x="69" y="8"/>
                        <a:pt x="69" y="7"/>
                      </a:cubicBezTo>
                      <a:cubicBezTo>
                        <a:pt x="69" y="6"/>
                        <a:pt x="70" y="5"/>
                        <a:pt x="72" y="5"/>
                      </a:cubicBezTo>
                      <a:cubicBezTo>
                        <a:pt x="75" y="5"/>
                        <a:pt x="77" y="5"/>
                        <a:pt x="80" y="5"/>
                      </a:cubicBezTo>
                      <a:cubicBezTo>
                        <a:pt x="81" y="5"/>
                        <a:pt x="81" y="6"/>
                        <a:pt x="81" y="6"/>
                      </a:cubicBezTo>
                      <a:cubicBezTo>
                        <a:pt x="81" y="7"/>
                        <a:pt x="81" y="8"/>
                        <a:pt x="81" y="8"/>
                      </a:cubicBezTo>
                      <a:cubicBezTo>
                        <a:pt x="81" y="31"/>
                        <a:pt x="81" y="54"/>
                        <a:pt x="81" y="76"/>
                      </a:cubicBezTo>
                      <a:cubicBezTo>
                        <a:pt x="81" y="80"/>
                        <a:pt x="81" y="79"/>
                        <a:pt x="78" y="79"/>
                      </a:cubicBezTo>
                      <a:cubicBezTo>
                        <a:pt x="76" y="79"/>
                        <a:pt x="75" y="79"/>
                        <a:pt x="73" y="79"/>
                      </a:cubicBezTo>
                      <a:cubicBezTo>
                        <a:pt x="73" y="79"/>
                        <a:pt x="72" y="79"/>
                        <a:pt x="72" y="78"/>
                      </a:cubicBezTo>
                      <a:cubicBezTo>
                        <a:pt x="72" y="77"/>
                        <a:pt x="72" y="77"/>
                        <a:pt x="72" y="76"/>
                      </a:cubicBezTo>
                      <a:cubicBezTo>
                        <a:pt x="72" y="58"/>
                        <a:pt x="72" y="41"/>
                        <a:pt x="72" y="23"/>
                      </a:cubicBezTo>
                      <a:cubicBezTo>
                        <a:pt x="72" y="22"/>
                        <a:pt x="72" y="21"/>
                        <a:pt x="72" y="21"/>
                      </a:cubicBezTo>
                      <a:cubicBezTo>
                        <a:pt x="72" y="20"/>
                        <a:pt x="72" y="20"/>
                        <a:pt x="72" y="20"/>
                      </a:cubicBezTo>
                      <a:cubicBezTo>
                        <a:pt x="72" y="20"/>
                        <a:pt x="71" y="20"/>
                        <a:pt x="71" y="21"/>
                      </a:cubicBezTo>
                      <a:cubicBezTo>
                        <a:pt x="71" y="21"/>
                        <a:pt x="71" y="22"/>
                        <a:pt x="71" y="22"/>
                      </a:cubicBezTo>
                      <a:cubicBezTo>
                        <a:pt x="64" y="37"/>
                        <a:pt x="57" y="53"/>
                        <a:pt x="50" y="68"/>
                      </a:cubicBezTo>
                      <a:cubicBezTo>
                        <a:pt x="49" y="71"/>
                        <a:pt x="47" y="75"/>
                        <a:pt x="46" y="78"/>
                      </a:cubicBezTo>
                      <a:cubicBezTo>
                        <a:pt x="45" y="79"/>
                        <a:pt x="45" y="79"/>
                        <a:pt x="44" y="79"/>
                      </a:cubicBezTo>
                      <a:cubicBezTo>
                        <a:pt x="41" y="79"/>
                        <a:pt x="41" y="80"/>
                        <a:pt x="40" y="77"/>
                      </a:cubicBezTo>
                      <a:cubicBezTo>
                        <a:pt x="32" y="58"/>
                        <a:pt x="24" y="40"/>
                        <a:pt x="16" y="22"/>
                      </a:cubicBezTo>
                      <a:cubicBezTo>
                        <a:pt x="15" y="21"/>
                        <a:pt x="15" y="21"/>
                        <a:pt x="14" y="20"/>
                      </a:cubicBezTo>
                      <a:cubicBezTo>
                        <a:pt x="14" y="20"/>
                        <a:pt x="14" y="20"/>
                        <a:pt x="14" y="20"/>
                      </a:cubicBezTo>
                      <a:close/>
                      <a:moveTo>
                        <a:pt x="687" y="128"/>
                      </a:moveTo>
                      <a:cubicBezTo>
                        <a:pt x="687" y="145"/>
                        <a:pt x="686" y="162"/>
                        <a:pt x="687" y="179"/>
                      </a:cubicBezTo>
                      <a:cubicBezTo>
                        <a:pt x="687" y="181"/>
                        <a:pt x="686" y="182"/>
                        <a:pt x="687" y="184"/>
                      </a:cubicBezTo>
                      <a:cubicBezTo>
                        <a:pt x="688" y="185"/>
                        <a:pt x="690" y="184"/>
                        <a:pt x="692" y="184"/>
                      </a:cubicBezTo>
                      <a:cubicBezTo>
                        <a:pt x="696" y="184"/>
                        <a:pt x="695" y="185"/>
                        <a:pt x="695" y="181"/>
                      </a:cubicBezTo>
                      <a:cubicBezTo>
                        <a:pt x="695" y="159"/>
                        <a:pt x="695" y="136"/>
                        <a:pt x="695" y="114"/>
                      </a:cubicBezTo>
                      <a:cubicBezTo>
                        <a:pt x="695" y="113"/>
                        <a:pt x="695" y="112"/>
                        <a:pt x="695" y="112"/>
                      </a:cubicBezTo>
                      <a:cubicBezTo>
                        <a:pt x="695" y="111"/>
                        <a:pt x="695" y="111"/>
                        <a:pt x="694" y="111"/>
                      </a:cubicBezTo>
                      <a:cubicBezTo>
                        <a:pt x="692" y="111"/>
                        <a:pt x="689" y="111"/>
                        <a:pt x="686" y="111"/>
                      </a:cubicBezTo>
                      <a:cubicBezTo>
                        <a:pt x="685" y="111"/>
                        <a:pt x="684" y="111"/>
                        <a:pt x="683" y="113"/>
                      </a:cubicBezTo>
                      <a:cubicBezTo>
                        <a:pt x="683" y="113"/>
                        <a:pt x="683" y="113"/>
                        <a:pt x="683" y="113"/>
                      </a:cubicBezTo>
                      <a:cubicBezTo>
                        <a:pt x="678" y="124"/>
                        <a:pt x="674" y="134"/>
                        <a:pt x="669" y="145"/>
                      </a:cubicBezTo>
                      <a:cubicBezTo>
                        <a:pt x="666" y="152"/>
                        <a:pt x="662" y="160"/>
                        <a:pt x="659" y="167"/>
                      </a:cubicBezTo>
                      <a:cubicBezTo>
                        <a:pt x="658" y="168"/>
                        <a:pt x="658" y="168"/>
                        <a:pt x="658" y="169"/>
                      </a:cubicBezTo>
                      <a:cubicBezTo>
                        <a:pt x="658" y="169"/>
                        <a:pt x="658" y="169"/>
                        <a:pt x="658" y="169"/>
                      </a:cubicBezTo>
                      <a:cubicBezTo>
                        <a:pt x="657" y="169"/>
                        <a:pt x="657" y="169"/>
                        <a:pt x="657" y="169"/>
                      </a:cubicBezTo>
                      <a:cubicBezTo>
                        <a:pt x="657" y="168"/>
                        <a:pt x="656" y="168"/>
                        <a:pt x="656" y="167"/>
                      </a:cubicBezTo>
                      <a:cubicBezTo>
                        <a:pt x="652" y="156"/>
                        <a:pt x="647" y="146"/>
                        <a:pt x="642" y="135"/>
                      </a:cubicBezTo>
                      <a:cubicBezTo>
                        <a:pt x="639" y="128"/>
                        <a:pt x="636" y="120"/>
                        <a:pt x="632" y="112"/>
                      </a:cubicBezTo>
                      <a:cubicBezTo>
                        <a:pt x="632" y="111"/>
                        <a:pt x="631" y="111"/>
                        <a:pt x="630" y="111"/>
                      </a:cubicBezTo>
                      <a:cubicBezTo>
                        <a:pt x="627" y="111"/>
                        <a:pt x="625" y="111"/>
                        <a:pt x="623" y="111"/>
                      </a:cubicBezTo>
                      <a:cubicBezTo>
                        <a:pt x="620" y="111"/>
                        <a:pt x="620" y="110"/>
                        <a:pt x="620" y="114"/>
                      </a:cubicBezTo>
                      <a:cubicBezTo>
                        <a:pt x="620" y="136"/>
                        <a:pt x="620" y="157"/>
                        <a:pt x="620" y="179"/>
                      </a:cubicBezTo>
                      <a:cubicBezTo>
                        <a:pt x="620" y="181"/>
                        <a:pt x="620" y="182"/>
                        <a:pt x="620" y="184"/>
                      </a:cubicBezTo>
                      <a:cubicBezTo>
                        <a:pt x="622" y="185"/>
                        <a:pt x="623" y="184"/>
                        <a:pt x="625" y="184"/>
                      </a:cubicBezTo>
                      <a:cubicBezTo>
                        <a:pt x="629" y="184"/>
                        <a:pt x="628" y="185"/>
                        <a:pt x="628" y="181"/>
                      </a:cubicBezTo>
                      <a:cubicBezTo>
                        <a:pt x="628" y="163"/>
                        <a:pt x="628" y="145"/>
                        <a:pt x="628" y="127"/>
                      </a:cubicBezTo>
                      <a:cubicBezTo>
                        <a:pt x="628" y="126"/>
                        <a:pt x="628" y="126"/>
                        <a:pt x="629" y="125"/>
                      </a:cubicBezTo>
                      <a:cubicBezTo>
                        <a:pt x="629" y="125"/>
                        <a:pt x="629" y="126"/>
                        <a:pt x="630" y="127"/>
                      </a:cubicBezTo>
                      <a:cubicBezTo>
                        <a:pt x="636" y="142"/>
                        <a:pt x="643" y="156"/>
                        <a:pt x="649" y="171"/>
                      </a:cubicBezTo>
                      <a:cubicBezTo>
                        <a:pt x="651" y="175"/>
                        <a:pt x="653" y="179"/>
                        <a:pt x="655" y="183"/>
                      </a:cubicBezTo>
                      <a:cubicBezTo>
                        <a:pt x="655" y="184"/>
                        <a:pt x="656" y="184"/>
                        <a:pt x="657" y="184"/>
                      </a:cubicBezTo>
                      <a:cubicBezTo>
                        <a:pt x="660" y="184"/>
                        <a:pt x="660" y="185"/>
                        <a:pt x="661" y="182"/>
                      </a:cubicBezTo>
                      <a:cubicBezTo>
                        <a:pt x="669" y="164"/>
                        <a:pt x="677" y="146"/>
                        <a:pt x="685" y="128"/>
                      </a:cubicBezTo>
                      <a:cubicBezTo>
                        <a:pt x="685" y="127"/>
                        <a:pt x="685" y="126"/>
                        <a:pt x="687" y="125"/>
                      </a:cubicBezTo>
                      <a:cubicBezTo>
                        <a:pt x="687" y="126"/>
                        <a:pt x="687" y="127"/>
                        <a:pt x="687" y="128"/>
                      </a:cubicBezTo>
                      <a:close/>
                      <a:moveTo>
                        <a:pt x="267" y="138"/>
                      </a:moveTo>
                      <a:cubicBezTo>
                        <a:pt x="267" y="138"/>
                        <a:pt x="267" y="137"/>
                        <a:pt x="266" y="137"/>
                      </a:cubicBezTo>
                      <a:cubicBezTo>
                        <a:pt x="264" y="134"/>
                        <a:pt x="260" y="132"/>
                        <a:pt x="256" y="131"/>
                      </a:cubicBezTo>
                      <a:cubicBezTo>
                        <a:pt x="254" y="130"/>
                        <a:pt x="252" y="130"/>
                        <a:pt x="250" y="131"/>
                      </a:cubicBezTo>
                      <a:cubicBezTo>
                        <a:pt x="244" y="131"/>
                        <a:pt x="239" y="133"/>
                        <a:pt x="235" y="138"/>
                      </a:cubicBezTo>
                      <a:cubicBezTo>
                        <a:pt x="232" y="140"/>
                        <a:pt x="231" y="144"/>
                        <a:pt x="230" y="147"/>
                      </a:cubicBezTo>
                      <a:cubicBezTo>
                        <a:pt x="228" y="153"/>
                        <a:pt x="227" y="159"/>
                        <a:pt x="228" y="165"/>
                      </a:cubicBezTo>
                      <a:cubicBezTo>
                        <a:pt x="228" y="169"/>
                        <a:pt x="230" y="172"/>
                        <a:pt x="232" y="176"/>
                      </a:cubicBezTo>
                      <a:cubicBezTo>
                        <a:pt x="235" y="180"/>
                        <a:pt x="239" y="184"/>
                        <a:pt x="244" y="185"/>
                      </a:cubicBezTo>
                      <a:cubicBezTo>
                        <a:pt x="248" y="186"/>
                        <a:pt x="252" y="186"/>
                        <a:pt x="256" y="185"/>
                      </a:cubicBezTo>
                      <a:cubicBezTo>
                        <a:pt x="260" y="184"/>
                        <a:pt x="263" y="181"/>
                        <a:pt x="266" y="178"/>
                      </a:cubicBezTo>
                      <a:cubicBezTo>
                        <a:pt x="266" y="178"/>
                        <a:pt x="266" y="177"/>
                        <a:pt x="267" y="177"/>
                      </a:cubicBezTo>
                      <a:cubicBezTo>
                        <a:pt x="267" y="177"/>
                        <a:pt x="267" y="176"/>
                        <a:pt x="268" y="176"/>
                      </a:cubicBezTo>
                      <a:cubicBezTo>
                        <a:pt x="268" y="179"/>
                        <a:pt x="268" y="181"/>
                        <a:pt x="268" y="183"/>
                      </a:cubicBezTo>
                      <a:cubicBezTo>
                        <a:pt x="268" y="185"/>
                        <a:pt x="268" y="187"/>
                        <a:pt x="267" y="189"/>
                      </a:cubicBezTo>
                      <a:cubicBezTo>
                        <a:pt x="266" y="195"/>
                        <a:pt x="262" y="199"/>
                        <a:pt x="256" y="201"/>
                      </a:cubicBezTo>
                      <a:cubicBezTo>
                        <a:pt x="253" y="202"/>
                        <a:pt x="249" y="202"/>
                        <a:pt x="246" y="202"/>
                      </a:cubicBezTo>
                      <a:cubicBezTo>
                        <a:pt x="242" y="201"/>
                        <a:pt x="238" y="200"/>
                        <a:pt x="234" y="198"/>
                      </a:cubicBezTo>
                      <a:cubicBezTo>
                        <a:pt x="233" y="198"/>
                        <a:pt x="233" y="197"/>
                        <a:pt x="232" y="197"/>
                      </a:cubicBezTo>
                      <a:cubicBezTo>
                        <a:pt x="232" y="198"/>
                        <a:pt x="231" y="198"/>
                        <a:pt x="231" y="198"/>
                      </a:cubicBezTo>
                      <a:cubicBezTo>
                        <a:pt x="231" y="200"/>
                        <a:pt x="231" y="202"/>
                        <a:pt x="231" y="204"/>
                      </a:cubicBezTo>
                      <a:cubicBezTo>
                        <a:pt x="231" y="205"/>
                        <a:pt x="232" y="206"/>
                        <a:pt x="233" y="206"/>
                      </a:cubicBezTo>
                      <a:cubicBezTo>
                        <a:pt x="233" y="206"/>
                        <a:pt x="233" y="206"/>
                        <a:pt x="233" y="206"/>
                      </a:cubicBezTo>
                      <a:cubicBezTo>
                        <a:pt x="242" y="210"/>
                        <a:pt x="251" y="210"/>
                        <a:pt x="260" y="208"/>
                      </a:cubicBezTo>
                      <a:cubicBezTo>
                        <a:pt x="265" y="206"/>
                        <a:pt x="269" y="203"/>
                        <a:pt x="271" y="199"/>
                      </a:cubicBezTo>
                      <a:cubicBezTo>
                        <a:pt x="273" y="197"/>
                        <a:pt x="274" y="195"/>
                        <a:pt x="275" y="192"/>
                      </a:cubicBezTo>
                      <a:cubicBezTo>
                        <a:pt x="276" y="188"/>
                        <a:pt x="276" y="183"/>
                        <a:pt x="276" y="179"/>
                      </a:cubicBezTo>
                      <a:cubicBezTo>
                        <a:pt x="276" y="164"/>
                        <a:pt x="276" y="149"/>
                        <a:pt x="276" y="135"/>
                      </a:cubicBezTo>
                      <a:cubicBezTo>
                        <a:pt x="276" y="134"/>
                        <a:pt x="276" y="134"/>
                        <a:pt x="276" y="133"/>
                      </a:cubicBezTo>
                      <a:cubicBezTo>
                        <a:pt x="276" y="132"/>
                        <a:pt x="276" y="132"/>
                        <a:pt x="275" y="132"/>
                      </a:cubicBezTo>
                      <a:cubicBezTo>
                        <a:pt x="273" y="132"/>
                        <a:pt x="271" y="132"/>
                        <a:pt x="269" y="132"/>
                      </a:cubicBezTo>
                      <a:cubicBezTo>
                        <a:pt x="268" y="132"/>
                        <a:pt x="268" y="132"/>
                        <a:pt x="268" y="133"/>
                      </a:cubicBezTo>
                      <a:cubicBezTo>
                        <a:pt x="268" y="135"/>
                        <a:pt x="268" y="136"/>
                        <a:pt x="268" y="138"/>
                      </a:cubicBezTo>
                      <a:cubicBezTo>
                        <a:pt x="267" y="138"/>
                        <a:pt x="267" y="138"/>
                        <a:pt x="267" y="138"/>
                      </a:cubicBezTo>
                      <a:close/>
                      <a:moveTo>
                        <a:pt x="901" y="138"/>
                      </a:moveTo>
                      <a:cubicBezTo>
                        <a:pt x="901" y="138"/>
                        <a:pt x="901" y="137"/>
                        <a:pt x="900" y="137"/>
                      </a:cubicBezTo>
                      <a:cubicBezTo>
                        <a:pt x="898" y="134"/>
                        <a:pt x="895" y="132"/>
                        <a:pt x="891" y="131"/>
                      </a:cubicBezTo>
                      <a:cubicBezTo>
                        <a:pt x="888" y="130"/>
                        <a:pt x="885" y="130"/>
                        <a:pt x="883" y="131"/>
                      </a:cubicBezTo>
                      <a:cubicBezTo>
                        <a:pt x="878" y="131"/>
                        <a:pt x="874" y="133"/>
                        <a:pt x="870" y="136"/>
                      </a:cubicBezTo>
                      <a:cubicBezTo>
                        <a:pt x="867" y="139"/>
                        <a:pt x="865" y="143"/>
                        <a:pt x="864" y="146"/>
                      </a:cubicBezTo>
                      <a:cubicBezTo>
                        <a:pt x="862" y="153"/>
                        <a:pt x="861" y="160"/>
                        <a:pt x="862" y="167"/>
                      </a:cubicBezTo>
                      <a:cubicBezTo>
                        <a:pt x="863" y="170"/>
                        <a:pt x="864" y="173"/>
                        <a:pt x="866" y="176"/>
                      </a:cubicBezTo>
                      <a:cubicBezTo>
                        <a:pt x="869" y="180"/>
                        <a:pt x="872" y="183"/>
                        <a:pt x="877" y="185"/>
                      </a:cubicBezTo>
                      <a:cubicBezTo>
                        <a:pt x="880" y="186"/>
                        <a:pt x="883" y="186"/>
                        <a:pt x="886" y="186"/>
                      </a:cubicBezTo>
                      <a:cubicBezTo>
                        <a:pt x="892" y="185"/>
                        <a:pt x="897" y="182"/>
                        <a:pt x="900" y="178"/>
                      </a:cubicBezTo>
                      <a:cubicBezTo>
                        <a:pt x="901" y="177"/>
                        <a:pt x="901" y="177"/>
                        <a:pt x="901" y="177"/>
                      </a:cubicBezTo>
                      <a:cubicBezTo>
                        <a:pt x="901" y="176"/>
                        <a:pt x="901" y="176"/>
                        <a:pt x="902" y="176"/>
                      </a:cubicBezTo>
                      <a:cubicBezTo>
                        <a:pt x="902" y="179"/>
                        <a:pt x="902" y="181"/>
                        <a:pt x="902" y="183"/>
                      </a:cubicBezTo>
                      <a:cubicBezTo>
                        <a:pt x="902" y="186"/>
                        <a:pt x="901" y="188"/>
                        <a:pt x="900" y="191"/>
                      </a:cubicBezTo>
                      <a:cubicBezTo>
                        <a:pt x="899" y="196"/>
                        <a:pt x="896" y="199"/>
                        <a:pt x="891" y="201"/>
                      </a:cubicBezTo>
                      <a:cubicBezTo>
                        <a:pt x="887" y="202"/>
                        <a:pt x="884" y="202"/>
                        <a:pt x="880" y="202"/>
                      </a:cubicBezTo>
                      <a:cubicBezTo>
                        <a:pt x="876" y="201"/>
                        <a:pt x="872" y="200"/>
                        <a:pt x="868" y="198"/>
                      </a:cubicBezTo>
                      <a:cubicBezTo>
                        <a:pt x="867" y="198"/>
                        <a:pt x="867" y="197"/>
                        <a:pt x="866" y="197"/>
                      </a:cubicBezTo>
                      <a:cubicBezTo>
                        <a:pt x="866" y="200"/>
                        <a:pt x="866" y="202"/>
                        <a:pt x="866" y="204"/>
                      </a:cubicBezTo>
                      <a:cubicBezTo>
                        <a:pt x="866" y="205"/>
                        <a:pt x="866" y="206"/>
                        <a:pt x="867" y="206"/>
                      </a:cubicBezTo>
                      <a:cubicBezTo>
                        <a:pt x="868" y="206"/>
                        <a:pt x="868" y="207"/>
                        <a:pt x="869" y="207"/>
                      </a:cubicBezTo>
                      <a:cubicBezTo>
                        <a:pt x="877" y="209"/>
                        <a:pt x="884" y="210"/>
                        <a:pt x="892" y="208"/>
                      </a:cubicBezTo>
                      <a:cubicBezTo>
                        <a:pt x="901" y="206"/>
                        <a:pt x="906" y="201"/>
                        <a:pt x="909" y="192"/>
                      </a:cubicBezTo>
                      <a:cubicBezTo>
                        <a:pt x="910" y="188"/>
                        <a:pt x="910" y="184"/>
                        <a:pt x="910" y="180"/>
                      </a:cubicBezTo>
                      <a:cubicBezTo>
                        <a:pt x="910" y="165"/>
                        <a:pt x="910" y="150"/>
                        <a:pt x="910" y="134"/>
                      </a:cubicBezTo>
                      <a:cubicBezTo>
                        <a:pt x="910" y="134"/>
                        <a:pt x="910" y="133"/>
                        <a:pt x="910" y="133"/>
                      </a:cubicBezTo>
                      <a:cubicBezTo>
                        <a:pt x="910" y="132"/>
                        <a:pt x="910" y="132"/>
                        <a:pt x="909" y="132"/>
                      </a:cubicBezTo>
                      <a:cubicBezTo>
                        <a:pt x="907" y="132"/>
                        <a:pt x="905" y="132"/>
                        <a:pt x="903" y="132"/>
                      </a:cubicBezTo>
                      <a:cubicBezTo>
                        <a:pt x="902" y="132"/>
                        <a:pt x="902" y="132"/>
                        <a:pt x="902" y="133"/>
                      </a:cubicBezTo>
                      <a:cubicBezTo>
                        <a:pt x="902" y="134"/>
                        <a:pt x="902" y="136"/>
                        <a:pt x="902" y="138"/>
                      </a:cubicBezTo>
                      <a:cubicBezTo>
                        <a:pt x="902" y="138"/>
                        <a:pt x="902" y="138"/>
                        <a:pt x="901" y="138"/>
                      </a:cubicBezTo>
                      <a:close/>
                      <a:moveTo>
                        <a:pt x="371" y="2"/>
                      </a:moveTo>
                      <a:cubicBezTo>
                        <a:pt x="371" y="1"/>
                        <a:pt x="371" y="1"/>
                        <a:pt x="370" y="1"/>
                      </a:cubicBezTo>
                      <a:cubicBezTo>
                        <a:pt x="368" y="0"/>
                        <a:pt x="366" y="0"/>
                        <a:pt x="364" y="0"/>
                      </a:cubicBezTo>
                      <a:cubicBezTo>
                        <a:pt x="358" y="0"/>
                        <a:pt x="352" y="4"/>
                        <a:pt x="350" y="11"/>
                      </a:cubicBezTo>
                      <a:cubicBezTo>
                        <a:pt x="349" y="13"/>
                        <a:pt x="349" y="15"/>
                        <a:pt x="349" y="17"/>
                      </a:cubicBezTo>
                      <a:cubicBezTo>
                        <a:pt x="349" y="20"/>
                        <a:pt x="349" y="23"/>
                        <a:pt x="349" y="25"/>
                      </a:cubicBezTo>
                      <a:cubicBezTo>
                        <a:pt x="349" y="26"/>
                        <a:pt x="348" y="26"/>
                        <a:pt x="347" y="26"/>
                      </a:cubicBezTo>
                      <a:cubicBezTo>
                        <a:pt x="347" y="26"/>
                        <a:pt x="346" y="26"/>
                        <a:pt x="345" y="26"/>
                      </a:cubicBezTo>
                      <a:cubicBezTo>
                        <a:pt x="344" y="27"/>
                        <a:pt x="342" y="26"/>
                        <a:pt x="340" y="27"/>
                      </a:cubicBezTo>
                      <a:cubicBezTo>
                        <a:pt x="340" y="29"/>
                        <a:pt x="340" y="31"/>
                        <a:pt x="340" y="32"/>
                      </a:cubicBezTo>
                      <a:cubicBezTo>
                        <a:pt x="340" y="33"/>
                        <a:pt x="340" y="33"/>
                        <a:pt x="340" y="33"/>
                      </a:cubicBezTo>
                      <a:cubicBezTo>
                        <a:pt x="340" y="33"/>
                        <a:pt x="340" y="34"/>
                        <a:pt x="340" y="34"/>
                      </a:cubicBezTo>
                      <a:cubicBezTo>
                        <a:pt x="342" y="34"/>
                        <a:pt x="344" y="34"/>
                        <a:pt x="346" y="34"/>
                      </a:cubicBezTo>
                      <a:cubicBezTo>
                        <a:pt x="349" y="34"/>
                        <a:pt x="349" y="34"/>
                        <a:pt x="349" y="36"/>
                      </a:cubicBezTo>
                      <a:cubicBezTo>
                        <a:pt x="349" y="49"/>
                        <a:pt x="349" y="61"/>
                        <a:pt x="349" y="74"/>
                      </a:cubicBezTo>
                      <a:cubicBezTo>
                        <a:pt x="349" y="75"/>
                        <a:pt x="348" y="77"/>
                        <a:pt x="349" y="79"/>
                      </a:cubicBezTo>
                      <a:cubicBezTo>
                        <a:pt x="350" y="80"/>
                        <a:pt x="352" y="79"/>
                        <a:pt x="354" y="79"/>
                      </a:cubicBezTo>
                      <a:cubicBezTo>
                        <a:pt x="357" y="79"/>
                        <a:pt x="357" y="79"/>
                        <a:pt x="357" y="76"/>
                      </a:cubicBezTo>
                      <a:cubicBezTo>
                        <a:pt x="357" y="63"/>
                        <a:pt x="357" y="50"/>
                        <a:pt x="357" y="37"/>
                      </a:cubicBezTo>
                      <a:cubicBezTo>
                        <a:pt x="357" y="36"/>
                        <a:pt x="357" y="35"/>
                        <a:pt x="357" y="34"/>
                      </a:cubicBezTo>
                      <a:cubicBezTo>
                        <a:pt x="357" y="34"/>
                        <a:pt x="357" y="34"/>
                        <a:pt x="358" y="34"/>
                      </a:cubicBezTo>
                      <a:cubicBezTo>
                        <a:pt x="358" y="34"/>
                        <a:pt x="358" y="34"/>
                        <a:pt x="359" y="34"/>
                      </a:cubicBezTo>
                      <a:cubicBezTo>
                        <a:pt x="364" y="34"/>
                        <a:pt x="370" y="34"/>
                        <a:pt x="376" y="34"/>
                      </a:cubicBezTo>
                      <a:cubicBezTo>
                        <a:pt x="376" y="34"/>
                        <a:pt x="376" y="34"/>
                        <a:pt x="377" y="34"/>
                      </a:cubicBezTo>
                      <a:cubicBezTo>
                        <a:pt x="377" y="34"/>
                        <a:pt x="378" y="34"/>
                        <a:pt x="378" y="35"/>
                      </a:cubicBezTo>
                      <a:cubicBezTo>
                        <a:pt x="378" y="35"/>
                        <a:pt x="378" y="36"/>
                        <a:pt x="378" y="36"/>
                      </a:cubicBezTo>
                      <a:cubicBezTo>
                        <a:pt x="378" y="43"/>
                        <a:pt x="378" y="50"/>
                        <a:pt x="378" y="56"/>
                      </a:cubicBezTo>
                      <a:cubicBezTo>
                        <a:pt x="378" y="59"/>
                        <a:pt x="378" y="62"/>
                        <a:pt x="378" y="65"/>
                      </a:cubicBezTo>
                      <a:cubicBezTo>
                        <a:pt x="378" y="68"/>
                        <a:pt x="378" y="70"/>
                        <a:pt x="379" y="73"/>
                      </a:cubicBezTo>
                      <a:cubicBezTo>
                        <a:pt x="380" y="76"/>
                        <a:pt x="383" y="78"/>
                        <a:pt x="386" y="79"/>
                      </a:cubicBezTo>
                      <a:cubicBezTo>
                        <a:pt x="387" y="80"/>
                        <a:pt x="388" y="80"/>
                        <a:pt x="389" y="80"/>
                      </a:cubicBezTo>
                      <a:cubicBezTo>
                        <a:pt x="392" y="81"/>
                        <a:pt x="395" y="80"/>
                        <a:pt x="398" y="79"/>
                      </a:cubicBezTo>
                      <a:cubicBezTo>
                        <a:pt x="399" y="79"/>
                        <a:pt x="399" y="78"/>
                        <a:pt x="399" y="78"/>
                      </a:cubicBezTo>
                      <a:cubicBezTo>
                        <a:pt x="399" y="76"/>
                        <a:pt x="399" y="74"/>
                        <a:pt x="399" y="72"/>
                      </a:cubicBezTo>
                      <a:cubicBezTo>
                        <a:pt x="399" y="72"/>
                        <a:pt x="398" y="72"/>
                        <a:pt x="398" y="72"/>
                      </a:cubicBezTo>
                      <a:cubicBezTo>
                        <a:pt x="396" y="73"/>
                        <a:pt x="394" y="73"/>
                        <a:pt x="392" y="73"/>
                      </a:cubicBezTo>
                      <a:cubicBezTo>
                        <a:pt x="389" y="72"/>
                        <a:pt x="387" y="71"/>
                        <a:pt x="387" y="68"/>
                      </a:cubicBezTo>
                      <a:cubicBezTo>
                        <a:pt x="386" y="66"/>
                        <a:pt x="386" y="65"/>
                        <a:pt x="386" y="63"/>
                      </a:cubicBezTo>
                      <a:cubicBezTo>
                        <a:pt x="386" y="54"/>
                        <a:pt x="386" y="45"/>
                        <a:pt x="386" y="36"/>
                      </a:cubicBezTo>
                      <a:cubicBezTo>
                        <a:pt x="386" y="36"/>
                        <a:pt x="386" y="35"/>
                        <a:pt x="386" y="35"/>
                      </a:cubicBezTo>
                      <a:cubicBezTo>
                        <a:pt x="386" y="34"/>
                        <a:pt x="386" y="34"/>
                        <a:pt x="387" y="34"/>
                      </a:cubicBezTo>
                      <a:cubicBezTo>
                        <a:pt x="390" y="34"/>
                        <a:pt x="392" y="34"/>
                        <a:pt x="395" y="34"/>
                      </a:cubicBezTo>
                      <a:cubicBezTo>
                        <a:pt x="396" y="33"/>
                        <a:pt x="398" y="34"/>
                        <a:pt x="399" y="33"/>
                      </a:cubicBezTo>
                      <a:cubicBezTo>
                        <a:pt x="400" y="32"/>
                        <a:pt x="399" y="31"/>
                        <a:pt x="399" y="29"/>
                      </a:cubicBezTo>
                      <a:cubicBezTo>
                        <a:pt x="399" y="26"/>
                        <a:pt x="400" y="26"/>
                        <a:pt x="397" y="26"/>
                      </a:cubicBezTo>
                      <a:cubicBezTo>
                        <a:pt x="394" y="26"/>
                        <a:pt x="391" y="26"/>
                        <a:pt x="388" y="26"/>
                      </a:cubicBezTo>
                      <a:cubicBezTo>
                        <a:pt x="386" y="26"/>
                        <a:pt x="386" y="26"/>
                        <a:pt x="386" y="24"/>
                      </a:cubicBezTo>
                      <a:cubicBezTo>
                        <a:pt x="386" y="21"/>
                        <a:pt x="386" y="17"/>
                        <a:pt x="386" y="14"/>
                      </a:cubicBezTo>
                      <a:cubicBezTo>
                        <a:pt x="386" y="13"/>
                        <a:pt x="386" y="12"/>
                        <a:pt x="386" y="11"/>
                      </a:cubicBezTo>
                      <a:cubicBezTo>
                        <a:pt x="386" y="11"/>
                        <a:pt x="385" y="11"/>
                        <a:pt x="385" y="11"/>
                      </a:cubicBezTo>
                      <a:cubicBezTo>
                        <a:pt x="383" y="12"/>
                        <a:pt x="381" y="12"/>
                        <a:pt x="379" y="13"/>
                      </a:cubicBezTo>
                      <a:cubicBezTo>
                        <a:pt x="378" y="14"/>
                        <a:pt x="378" y="14"/>
                        <a:pt x="378" y="15"/>
                      </a:cubicBezTo>
                      <a:cubicBezTo>
                        <a:pt x="378" y="18"/>
                        <a:pt x="378" y="20"/>
                        <a:pt x="378" y="23"/>
                      </a:cubicBezTo>
                      <a:cubicBezTo>
                        <a:pt x="378" y="24"/>
                        <a:pt x="378" y="25"/>
                        <a:pt x="378" y="25"/>
                      </a:cubicBezTo>
                      <a:cubicBezTo>
                        <a:pt x="378" y="26"/>
                        <a:pt x="378" y="26"/>
                        <a:pt x="377" y="26"/>
                      </a:cubicBezTo>
                      <a:cubicBezTo>
                        <a:pt x="376" y="26"/>
                        <a:pt x="375" y="26"/>
                        <a:pt x="375" y="26"/>
                      </a:cubicBezTo>
                      <a:cubicBezTo>
                        <a:pt x="370" y="26"/>
                        <a:pt x="365" y="26"/>
                        <a:pt x="360" y="26"/>
                      </a:cubicBezTo>
                      <a:cubicBezTo>
                        <a:pt x="359" y="26"/>
                        <a:pt x="359" y="26"/>
                        <a:pt x="358" y="26"/>
                      </a:cubicBezTo>
                      <a:cubicBezTo>
                        <a:pt x="357" y="26"/>
                        <a:pt x="357" y="26"/>
                        <a:pt x="357" y="25"/>
                      </a:cubicBezTo>
                      <a:cubicBezTo>
                        <a:pt x="357" y="22"/>
                        <a:pt x="357" y="18"/>
                        <a:pt x="357" y="15"/>
                      </a:cubicBezTo>
                      <a:cubicBezTo>
                        <a:pt x="357" y="14"/>
                        <a:pt x="358" y="12"/>
                        <a:pt x="358" y="11"/>
                      </a:cubicBezTo>
                      <a:cubicBezTo>
                        <a:pt x="359" y="9"/>
                        <a:pt x="361" y="8"/>
                        <a:pt x="363" y="8"/>
                      </a:cubicBezTo>
                      <a:cubicBezTo>
                        <a:pt x="365" y="7"/>
                        <a:pt x="367" y="7"/>
                        <a:pt x="369" y="7"/>
                      </a:cubicBezTo>
                      <a:cubicBezTo>
                        <a:pt x="370" y="8"/>
                        <a:pt x="370" y="8"/>
                        <a:pt x="371" y="8"/>
                      </a:cubicBezTo>
                      <a:cubicBezTo>
                        <a:pt x="371" y="6"/>
                        <a:pt x="371" y="4"/>
                        <a:pt x="371" y="2"/>
                      </a:cubicBezTo>
                      <a:close/>
                      <a:moveTo>
                        <a:pt x="655" y="33"/>
                      </a:moveTo>
                      <a:cubicBezTo>
                        <a:pt x="655" y="31"/>
                        <a:pt x="655" y="30"/>
                        <a:pt x="655" y="28"/>
                      </a:cubicBezTo>
                      <a:cubicBezTo>
                        <a:pt x="655" y="27"/>
                        <a:pt x="654" y="26"/>
                        <a:pt x="653" y="26"/>
                      </a:cubicBezTo>
                      <a:cubicBezTo>
                        <a:pt x="652" y="26"/>
                        <a:pt x="650" y="26"/>
                        <a:pt x="649" y="26"/>
                      </a:cubicBezTo>
                      <a:cubicBezTo>
                        <a:pt x="646" y="26"/>
                        <a:pt x="646" y="26"/>
                        <a:pt x="646" y="29"/>
                      </a:cubicBezTo>
                      <a:cubicBezTo>
                        <a:pt x="646" y="45"/>
                        <a:pt x="646" y="61"/>
                        <a:pt x="646" y="77"/>
                      </a:cubicBezTo>
                      <a:cubicBezTo>
                        <a:pt x="646" y="77"/>
                        <a:pt x="646" y="77"/>
                        <a:pt x="646" y="78"/>
                      </a:cubicBezTo>
                      <a:cubicBezTo>
                        <a:pt x="646" y="79"/>
                        <a:pt x="646" y="79"/>
                        <a:pt x="647" y="79"/>
                      </a:cubicBezTo>
                      <a:cubicBezTo>
                        <a:pt x="649" y="79"/>
                        <a:pt x="651" y="79"/>
                        <a:pt x="653" y="79"/>
                      </a:cubicBezTo>
                      <a:cubicBezTo>
                        <a:pt x="654" y="79"/>
                        <a:pt x="654" y="79"/>
                        <a:pt x="655" y="78"/>
                      </a:cubicBezTo>
                      <a:cubicBezTo>
                        <a:pt x="655" y="77"/>
                        <a:pt x="655" y="76"/>
                        <a:pt x="655" y="76"/>
                      </a:cubicBezTo>
                      <a:cubicBezTo>
                        <a:pt x="655" y="67"/>
                        <a:pt x="655" y="59"/>
                        <a:pt x="655" y="51"/>
                      </a:cubicBezTo>
                      <a:cubicBezTo>
                        <a:pt x="655" y="49"/>
                        <a:pt x="655" y="47"/>
                        <a:pt x="655" y="45"/>
                      </a:cubicBezTo>
                      <a:cubicBezTo>
                        <a:pt x="655" y="42"/>
                        <a:pt x="657" y="38"/>
                        <a:pt x="659" y="36"/>
                      </a:cubicBezTo>
                      <a:cubicBezTo>
                        <a:pt x="664" y="30"/>
                        <a:pt x="676" y="31"/>
                        <a:pt x="678" y="40"/>
                      </a:cubicBezTo>
                      <a:cubicBezTo>
                        <a:pt x="679" y="43"/>
                        <a:pt x="679" y="45"/>
                        <a:pt x="679" y="48"/>
                      </a:cubicBezTo>
                      <a:cubicBezTo>
                        <a:pt x="679" y="57"/>
                        <a:pt x="679" y="67"/>
                        <a:pt x="679" y="76"/>
                      </a:cubicBezTo>
                      <a:cubicBezTo>
                        <a:pt x="679" y="77"/>
                        <a:pt x="679" y="78"/>
                        <a:pt x="679" y="78"/>
                      </a:cubicBezTo>
                      <a:cubicBezTo>
                        <a:pt x="679" y="79"/>
                        <a:pt x="680" y="79"/>
                        <a:pt x="680" y="79"/>
                      </a:cubicBezTo>
                      <a:cubicBezTo>
                        <a:pt x="682" y="79"/>
                        <a:pt x="683" y="79"/>
                        <a:pt x="685" y="79"/>
                      </a:cubicBezTo>
                      <a:cubicBezTo>
                        <a:pt x="688" y="79"/>
                        <a:pt x="688" y="79"/>
                        <a:pt x="688" y="77"/>
                      </a:cubicBezTo>
                      <a:cubicBezTo>
                        <a:pt x="688" y="68"/>
                        <a:pt x="688" y="59"/>
                        <a:pt x="688" y="50"/>
                      </a:cubicBezTo>
                      <a:cubicBezTo>
                        <a:pt x="688" y="49"/>
                        <a:pt x="688" y="47"/>
                        <a:pt x="688" y="45"/>
                      </a:cubicBezTo>
                      <a:cubicBezTo>
                        <a:pt x="689" y="41"/>
                        <a:pt x="690" y="38"/>
                        <a:pt x="693" y="36"/>
                      </a:cubicBezTo>
                      <a:cubicBezTo>
                        <a:pt x="695" y="33"/>
                        <a:pt x="698" y="32"/>
                        <a:pt x="701" y="32"/>
                      </a:cubicBezTo>
                      <a:cubicBezTo>
                        <a:pt x="708" y="33"/>
                        <a:pt x="711" y="36"/>
                        <a:pt x="712" y="41"/>
                      </a:cubicBezTo>
                      <a:cubicBezTo>
                        <a:pt x="712" y="44"/>
                        <a:pt x="712" y="46"/>
                        <a:pt x="712" y="49"/>
                      </a:cubicBezTo>
                      <a:cubicBezTo>
                        <a:pt x="712" y="58"/>
                        <a:pt x="712" y="67"/>
                        <a:pt x="712" y="76"/>
                      </a:cubicBezTo>
                      <a:cubicBezTo>
                        <a:pt x="712" y="76"/>
                        <a:pt x="712" y="77"/>
                        <a:pt x="712" y="78"/>
                      </a:cubicBezTo>
                      <a:cubicBezTo>
                        <a:pt x="712" y="79"/>
                        <a:pt x="713" y="79"/>
                        <a:pt x="714" y="79"/>
                      </a:cubicBezTo>
                      <a:cubicBezTo>
                        <a:pt x="716" y="79"/>
                        <a:pt x="718" y="79"/>
                        <a:pt x="720" y="79"/>
                      </a:cubicBezTo>
                      <a:cubicBezTo>
                        <a:pt x="720" y="79"/>
                        <a:pt x="721" y="79"/>
                        <a:pt x="721" y="78"/>
                      </a:cubicBezTo>
                      <a:cubicBezTo>
                        <a:pt x="721" y="78"/>
                        <a:pt x="721" y="77"/>
                        <a:pt x="721" y="76"/>
                      </a:cubicBezTo>
                      <a:cubicBezTo>
                        <a:pt x="721" y="66"/>
                        <a:pt x="721" y="56"/>
                        <a:pt x="721" y="46"/>
                      </a:cubicBezTo>
                      <a:cubicBezTo>
                        <a:pt x="721" y="45"/>
                        <a:pt x="721" y="44"/>
                        <a:pt x="721" y="43"/>
                      </a:cubicBezTo>
                      <a:cubicBezTo>
                        <a:pt x="721" y="40"/>
                        <a:pt x="720" y="37"/>
                        <a:pt x="719" y="34"/>
                      </a:cubicBezTo>
                      <a:cubicBezTo>
                        <a:pt x="717" y="30"/>
                        <a:pt x="714" y="27"/>
                        <a:pt x="710" y="26"/>
                      </a:cubicBezTo>
                      <a:cubicBezTo>
                        <a:pt x="706" y="25"/>
                        <a:pt x="703" y="25"/>
                        <a:pt x="700" y="25"/>
                      </a:cubicBezTo>
                      <a:cubicBezTo>
                        <a:pt x="695" y="26"/>
                        <a:pt x="691" y="29"/>
                        <a:pt x="688" y="33"/>
                      </a:cubicBezTo>
                      <a:cubicBezTo>
                        <a:pt x="687" y="34"/>
                        <a:pt x="687" y="35"/>
                        <a:pt x="686" y="36"/>
                      </a:cubicBezTo>
                      <a:cubicBezTo>
                        <a:pt x="683" y="29"/>
                        <a:pt x="678" y="25"/>
                        <a:pt x="671" y="25"/>
                      </a:cubicBezTo>
                      <a:cubicBezTo>
                        <a:pt x="664" y="25"/>
                        <a:pt x="659" y="28"/>
                        <a:pt x="655" y="34"/>
                      </a:cubicBezTo>
                      <a:cubicBezTo>
                        <a:pt x="654" y="34"/>
                        <a:pt x="655" y="33"/>
                        <a:pt x="655" y="33"/>
                      </a:cubicBezTo>
                      <a:close/>
                      <a:moveTo>
                        <a:pt x="1312" y="45"/>
                      </a:moveTo>
                      <a:cubicBezTo>
                        <a:pt x="1326" y="40"/>
                        <a:pt x="1328" y="27"/>
                        <a:pt x="1325" y="17"/>
                      </a:cubicBezTo>
                      <a:cubicBezTo>
                        <a:pt x="1323" y="12"/>
                        <a:pt x="1318" y="8"/>
                        <a:pt x="1313" y="7"/>
                      </a:cubicBezTo>
                      <a:cubicBezTo>
                        <a:pt x="1310" y="6"/>
                        <a:pt x="1306" y="5"/>
                        <a:pt x="1303" y="5"/>
                      </a:cubicBezTo>
                      <a:cubicBezTo>
                        <a:pt x="1296" y="5"/>
                        <a:pt x="1290" y="5"/>
                        <a:pt x="1284" y="5"/>
                      </a:cubicBezTo>
                      <a:cubicBezTo>
                        <a:pt x="1281" y="5"/>
                        <a:pt x="1282" y="5"/>
                        <a:pt x="1282" y="8"/>
                      </a:cubicBezTo>
                      <a:cubicBezTo>
                        <a:pt x="1282" y="29"/>
                        <a:pt x="1282" y="51"/>
                        <a:pt x="1282" y="72"/>
                      </a:cubicBezTo>
                      <a:cubicBezTo>
                        <a:pt x="1282" y="74"/>
                        <a:pt x="1281" y="77"/>
                        <a:pt x="1282" y="79"/>
                      </a:cubicBezTo>
                      <a:cubicBezTo>
                        <a:pt x="1284" y="79"/>
                        <a:pt x="1286" y="79"/>
                        <a:pt x="1289" y="79"/>
                      </a:cubicBezTo>
                      <a:cubicBezTo>
                        <a:pt x="1289" y="79"/>
                        <a:pt x="1289" y="79"/>
                        <a:pt x="1289" y="79"/>
                      </a:cubicBezTo>
                      <a:cubicBezTo>
                        <a:pt x="1290" y="79"/>
                        <a:pt x="1290" y="79"/>
                        <a:pt x="1290" y="78"/>
                      </a:cubicBezTo>
                      <a:cubicBezTo>
                        <a:pt x="1290" y="78"/>
                        <a:pt x="1290" y="77"/>
                        <a:pt x="1290" y="76"/>
                      </a:cubicBezTo>
                      <a:cubicBezTo>
                        <a:pt x="1290" y="68"/>
                        <a:pt x="1290" y="59"/>
                        <a:pt x="1290" y="51"/>
                      </a:cubicBezTo>
                      <a:cubicBezTo>
                        <a:pt x="1290" y="50"/>
                        <a:pt x="1290" y="49"/>
                        <a:pt x="1290" y="49"/>
                      </a:cubicBezTo>
                      <a:cubicBezTo>
                        <a:pt x="1290" y="48"/>
                        <a:pt x="1291" y="48"/>
                        <a:pt x="1291" y="48"/>
                      </a:cubicBezTo>
                      <a:cubicBezTo>
                        <a:pt x="1293" y="48"/>
                        <a:pt x="1295" y="48"/>
                        <a:pt x="1297" y="48"/>
                      </a:cubicBezTo>
                      <a:cubicBezTo>
                        <a:pt x="1301" y="48"/>
                        <a:pt x="1304" y="49"/>
                        <a:pt x="1306" y="52"/>
                      </a:cubicBezTo>
                      <a:cubicBezTo>
                        <a:pt x="1308" y="54"/>
                        <a:pt x="1309" y="56"/>
                        <a:pt x="1309" y="58"/>
                      </a:cubicBezTo>
                      <a:cubicBezTo>
                        <a:pt x="1312" y="64"/>
                        <a:pt x="1315" y="70"/>
                        <a:pt x="1318" y="77"/>
                      </a:cubicBezTo>
                      <a:cubicBezTo>
                        <a:pt x="1318" y="77"/>
                        <a:pt x="1318" y="78"/>
                        <a:pt x="1318" y="78"/>
                      </a:cubicBezTo>
                      <a:cubicBezTo>
                        <a:pt x="1319" y="79"/>
                        <a:pt x="1319" y="79"/>
                        <a:pt x="1319" y="79"/>
                      </a:cubicBezTo>
                      <a:cubicBezTo>
                        <a:pt x="1322" y="79"/>
                        <a:pt x="1325" y="79"/>
                        <a:pt x="1328" y="79"/>
                      </a:cubicBezTo>
                      <a:cubicBezTo>
                        <a:pt x="1329" y="79"/>
                        <a:pt x="1329" y="79"/>
                        <a:pt x="1329" y="78"/>
                      </a:cubicBezTo>
                      <a:cubicBezTo>
                        <a:pt x="1328" y="78"/>
                        <a:pt x="1328" y="77"/>
                        <a:pt x="1328" y="76"/>
                      </a:cubicBezTo>
                      <a:cubicBezTo>
                        <a:pt x="1324" y="69"/>
                        <a:pt x="1321" y="62"/>
                        <a:pt x="1318" y="55"/>
                      </a:cubicBezTo>
                      <a:cubicBezTo>
                        <a:pt x="1317" y="54"/>
                        <a:pt x="1317" y="53"/>
                        <a:pt x="1316" y="52"/>
                      </a:cubicBezTo>
                      <a:cubicBezTo>
                        <a:pt x="1315" y="50"/>
                        <a:pt x="1313" y="47"/>
                        <a:pt x="1310" y="46"/>
                      </a:cubicBezTo>
                      <a:cubicBezTo>
                        <a:pt x="1311" y="45"/>
                        <a:pt x="1311" y="45"/>
                        <a:pt x="1312" y="45"/>
                      </a:cubicBezTo>
                      <a:close/>
                      <a:moveTo>
                        <a:pt x="1111" y="49"/>
                      </a:moveTo>
                      <a:cubicBezTo>
                        <a:pt x="1111" y="53"/>
                        <a:pt x="1112" y="58"/>
                        <a:pt x="1113" y="62"/>
                      </a:cubicBezTo>
                      <a:cubicBezTo>
                        <a:pt x="1114" y="66"/>
                        <a:pt x="1116" y="70"/>
                        <a:pt x="1119" y="74"/>
                      </a:cubicBezTo>
                      <a:cubicBezTo>
                        <a:pt x="1121" y="77"/>
                        <a:pt x="1124" y="79"/>
                        <a:pt x="1128" y="80"/>
                      </a:cubicBezTo>
                      <a:cubicBezTo>
                        <a:pt x="1132" y="81"/>
                        <a:pt x="1136" y="81"/>
                        <a:pt x="1141" y="79"/>
                      </a:cubicBezTo>
                      <a:cubicBezTo>
                        <a:pt x="1145" y="78"/>
                        <a:pt x="1149" y="75"/>
                        <a:pt x="1152" y="71"/>
                      </a:cubicBezTo>
                      <a:cubicBezTo>
                        <a:pt x="1154" y="67"/>
                        <a:pt x="1156" y="63"/>
                        <a:pt x="1157" y="58"/>
                      </a:cubicBezTo>
                      <a:cubicBezTo>
                        <a:pt x="1159" y="51"/>
                        <a:pt x="1159" y="43"/>
                        <a:pt x="1158" y="36"/>
                      </a:cubicBezTo>
                      <a:cubicBezTo>
                        <a:pt x="1158" y="31"/>
                        <a:pt x="1158" y="27"/>
                        <a:pt x="1157" y="22"/>
                      </a:cubicBezTo>
                      <a:cubicBezTo>
                        <a:pt x="1155" y="19"/>
                        <a:pt x="1154" y="15"/>
                        <a:pt x="1152" y="12"/>
                      </a:cubicBezTo>
                      <a:cubicBezTo>
                        <a:pt x="1149" y="8"/>
                        <a:pt x="1145" y="6"/>
                        <a:pt x="1141" y="5"/>
                      </a:cubicBezTo>
                      <a:cubicBezTo>
                        <a:pt x="1137" y="4"/>
                        <a:pt x="1133" y="4"/>
                        <a:pt x="1130" y="5"/>
                      </a:cubicBezTo>
                      <a:cubicBezTo>
                        <a:pt x="1124" y="6"/>
                        <a:pt x="1120" y="9"/>
                        <a:pt x="1117" y="14"/>
                      </a:cubicBezTo>
                      <a:cubicBezTo>
                        <a:pt x="1115" y="17"/>
                        <a:pt x="1114" y="20"/>
                        <a:pt x="1113" y="24"/>
                      </a:cubicBezTo>
                      <a:cubicBezTo>
                        <a:pt x="1111" y="30"/>
                        <a:pt x="1111" y="37"/>
                        <a:pt x="1111" y="43"/>
                      </a:cubicBezTo>
                      <a:cubicBezTo>
                        <a:pt x="1111" y="45"/>
                        <a:pt x="1111" y="47"/>
                        <a:pt x="1111" y="49"/>
                      </a:cubicBezTo>
                      <a:close/>
                      <a:moveTo>
                        <a:pt x="55" y="174"/>
                      </a:moveTo>
                      <a:cubicBezTo>
                        <a:pt x="49" y="177"/>
                        <a:pt x="43" y="178"/>
                        <a:pt x="37" y="178"/>
                      </a:cubicBezTo>
                      <a:cubicBezTo>
                        <a:pt x="35" y="178"/>
                        <a:pt x="33" y="178"/>
                        <a:pt x="31" y="177"/>
                      </a:cubicBezTo>
                      <a:cubicBezTo>
                        <a:pt x="22" y="175"/>
                        <a:pt x="16" y="170"/>
                        <a:pt x="12" y="162"/>
                      </a:cubicBezTo>
                      <a:cubicBezTo>
                        <a:pt x="9" y="152"/>
                        <a:pt x="9" y="142"/>
                        <a:pt x="13" y="133"/>
                      </a:cubicBezTo>
                      <a:cubicBezTo>
                        <a:pt x="16" y="125"/>
                        <a:pt x="22" y="120"/>
                        <a:pt x="30" y="118"/>
                      </a:cubicBezTo>
                      <a:cubicBezTo>
                        <a:pt x="35" y="117"/>
                        <a:pt x="40" y="117"/>
                        <a:pt x="45" y="118"/>
                      </a:cubicBezTo>
                      <a:cubicBezTo>
                        <a:pt x="48" y="118"/>
                        <a:pt x="52" y="119"/>
                        <a:pt x="55" y="121"/>
                      </a:cubicBezTo>
                      <a:cubicBezTo>
                        <a:pt x="55" y="121"/>
                        <a:pt x="56" y="121"/>
                        <a:pt x="56" y="120"/>
                      </a:cubicBezTo>
                      <a:cubicBezTo>
                        <a:pt x="56" y="118"/>
                        <a:pt x="56" y="116"/>
                        <a:pt x="56" y="114"/>
                      </a:cubicBezTo>
                      <a:cubicBezTo>
                        <a:pt x="56" y="113"/>
                        <a:pt x="56" y="112"/>
                        <a:pt x="55" y="112"/>
                      </a:cubicBezTo>
                      <a:cubicBezTo>
                        <a:pt x="54" y="112"/>
                        <a:pt x="52" y="111"/>
                        <a:pt x="51" y="111"/>
                      </a:cubicBezTo>
                      <a:cubicBezTo>
                        <a:pt x="45" y="109"/>
                        <a:pt x="39" y="109"/>
                        <a:pt x="33" y="110"/>
                      </a:cubicBezTo>
                      <a:cubicBezTo>
                        <a:pt x="20" y="111"/>
                        <a:pt x="11" y="118"/>
                        <a:pt x="5" y="129"/>
                      </a:cubicBezTo>
                      <a:cubicBezTo>
                        <a:pt x="3" y="134"/>
                        <a:pt x="2" y="138"/>
                        <a:pt x="1" y="143"/>
                      </a:cubicBezTo>
                      <a:cubicBezTo>
                        <a:pt x="0" y="150"/>
                        <a:pt x="1" y="157"/>
                        <a:pt x="3" y="164"/>
                      </a:cubicBezTo>
                      <a:cubicBezTo>
                        <a:pt x="7" y="175"/>
                        <a:pt x="15" y="182"/>
                        <a:pt x="27" y="185"/>
                      </a:cubicBezTo>
                      <a:cubicBezTo>
                        <a:pt x="34" y="186"/>
                        <a:pt x="41" y="186"/>
                        <a:pt x="48" y="184"/>
                      </a:cubicBezTo>
                      <a:cubicBezTo>
                        <a:pt x="50" y="184"/>
                        <a:pt x="53" y="183"/>
                        <a:pt x="55" y="182"/>
                      </a:cubicBezTo>
                      <a:cubicBezTo>
                        <a:pt x="55" y="182"/>
                        <a:pt x="56" y="181"/>
                        <a:pt x="56" y="180"/>
                      </a:cubicBezTo>
                      <a:cubicBezTo>
                        <a:pt x="56" y="178"/>
                        <a:pt x="56" y="176"/>
                        <a:pt x="56" y="173"/>
                      </a:cubicBezTo>
                      <a:cubicBezTo>
                        <a:pt x="55" y="173"/>
                        <a:pt x="55" y="173"/>
                        <a:pt x="55" y="174"/>
                      </a:cubicBezTo>
                      <a:close/>
                      <a:moveTo>
                        <a:pt x="806" y="68"/>
                      </a:moveTo>
                      <a:cubicBezTo>
                        <a:pt x="805" y="68"/>
                        <a:pt x="805" y="68"/>
                        <a:pt x="805" y="68"/>
                      </a:cubicBezTo>
                      <a:cubicBezTo>
                        <a:pt x="800" y="71"/>
                        <a:pt x="795" y="72"/>
                        <a:pt x="789" y="72"/>
                      </a:cubicBezTo>
                      <a:cubicBezTo>
                        <a:pt x="785" y="73"/>
                        <a:pt x="782" y="72"/>
                        <a:pt x="778" y="71"/>
                      </a:cubicBezTo>
                      <a:cubicBezTo>
                        <a:pt x="770" y="69"/>
                        <a:pt x="765" y="63"/>
                        <a:pt x="762" y="55"/>
                      </a:cubicBezTo>
                      <a:cubicBezTo>
                        <a:pt x="760" y="50"/>
                        <a:pt x="760" y="45"/>
                        <a:pt x="760" y="40"/>
                      </a:cubicBezTo>
                      <a:cubicBezTo>
                        <a:pt x="760" y="35"/>
                        <a:pt x="761" y="31"/>
                        <a:pt x="763" y="27"/>
                      </a:cubicBezTo>
                      <a:cubicBezTo>
                        <a:pt x="768" y="18"/>
                        <a:pt x="776" y="13"/>
                        <a:pt x="786" y="12"/>
                      </a:cubicBezTo>
                      <a:cubicBezTo>
                        <a:pt x="792" y="12"/>
                        <a:pt x="798" y="13"/>
                        <a:pt x="804" y="15"/>
                      </a:cubicBezTo>
                      <a:cubicBezTo>
                        <a:pt x="805" y="16"/>
                        <a:pt x="805" y="16"/>
                        <a:pt x="806" y="16"/>
                      </a:cubicBezTo>
                      <a:cubicBezTo>
                        <a:pt x="806" y="16"/>
                        <a:pt x="806" y="16"/>
                        <a:pt x="806" y="16"/>
                      </a:cubicBezTo>
                      <a:cubicBezTo>
                        <a:pt x="806" y="14"/>
                        <a:pt x="806" y="12"/>
                        <a:pt x="806" y="10"/>
                      </a:cubicBezTo>
                      <a:cubicBezTo>
                        <a:pt x="806" y="7"/>
                        <a:pt x="807" y="7"/>
                        <a:pt x="803" y="6"/>
                      </a:cubicBezTo>
                      <a:cubicBezTo>
                        <a:pt x="797" y="4"/>
                        <a:pt x="791" y="4"/>
                        <a:pt x="784" y="4"/>
                      </a:cubicBezTo>
                      <a:cubicBezTo>
                        <a:pt x="770" y="6"/>
                        <a:pt x="760" y="13"/>
                        <a:pt x="754" y="26"/>
                      </a:cubicBezTo>
                      <a:cubicBezTo>
                        <a:pt x="750" y="37"/>
                        <a:pt x="750" y="47"/>
                        <a:pt x="753" y="58"/>
                      </a:cubicBezTo>
                      <a:cubicBezTo>
                        <a:pt x="756" y="67"/>
                        <a:pt x="762" y="73"/>
                        <a:pt x="770" y="77"/>
                      </a:cubicBezTo>
                      <a:cubicBezTo>
                        <a:pt x="774" y="79"/>
                        <a:pt x="779" y="80"/>
                        <a:pt x="783" y="80"/>
                      </a:cubicBezTo>
                      <a:cubicBezTo>
                        <a:pt x="787" y="80"/>
                        <a:pt x="791" y="80"/>
                        <a:pt x="794" y="80"/>
                      </a:cubicBezTo>
                      <a:cubicBezTo>
                        <a:pt x="798" y="79"/>
                        <a:pt x="801" y="78"/>
                        <a:pt x="805" y="77"/>
                      </a:cubicBezTo>
                      <a:cubicBezTo>
                        <a:pt x="806" y="76"/>
                        <a:pt x="806" y="76"/>
                        <a:pt x="806" y="75"/>
                      </a:cubicBezTo>
                      <a:cubicBezTo>
                        <a:pt x="806" y="73"/>
                        <a:pt x="806" y="70"/>
                        <a:pt x="806" y="68"/>
                      </a:cubicBezTo>
                      <a:cubicBezTo>
                        <a:pt x="806" y="68"/>
                        <a:pt x="806" y="68"/>
                        <a:pt x="806" y="68"/>
                      </a:cubicBezTo>
                      <a:close/>
                      <a:moveTo>
                        <a:pt x="631" y="69"/>
                      </a:moveTo>
                      <a:cubicBezTo>
                        <a:pt x="625" y="73"/>
                        <a:pt x="619" y="74"/>
                        <a:pt x="613" y="73"/>
                      </a:cubicBezTo>
                      <a:cubicBezTo>
                        <a:pt x="609" y="72"/>
                        <a:pt x="606" y="70"/>
                        <a:pt x="604" y="67"/>
                      </a:cubicBezTo>
                      <a:cubicBezTo>
                        <a:pt x="601" y="64"/>
                        <a:pt x="600" y="60"/>
                        <a:pt x="600" y="56"/>
                      </a:cubicBezTo>
                      <a:cubicBezTo>
                        <a:pt x="600" y="55"/>
                        <a:pt x="600" y="55"/>
                        <a:pt x="601" y="55"/>
                      </a:cubicBezTo>
                      <a:cubicBezTo>
                        <a:pt x="602" y="55"/>
                        <a:pt x="602" y="55"/>
                        <a:pt x="603" y="55"/>
                      </a:cubicBezTo>
                      <a:cubicBezTo>
                        <a:pt x="613" y="55"/>
                        <a:pt x="624" y="55"/>
                        <a:pt x="634" y="55"/>
                      </a:cubicBezTo>
                      <a:cubicBezTo>
                        <a:pt x="635" y="55"/>
                        <a:pt x="635" y="55"/>
                        <a:pt x="636" y="55"/>
                      </a:cubicBezTo>
                      <a:cubicBezTo>
                        <a:pt x="637" y="55"/>
                        <a:pt x="637" y="55"/>
                        <a:pt x="637" y="54"/>
                      </a:cubicBezTo>
                      <a:cubicBezTo>
                        <a:pt x="637" y="50"/>
                        <a:pt x="637" y="47"/>
                        <a:pt x="637" y="44"/>
                      </a:cubicBezTo>
                      <a:cubicBezTo>
                        <a:pt x="636" y="42"/>
                        <a:pt x="636" y="39"/>
                        <a:pt x="635" y="37"/>
                      </a:cubicBezTo>
                      <a:cubicBezTo>
                        <a:pt x="632" y="32"/>
                        <a:pt x="629" y="28"/>
                        <a:pt x="624" y="26"/>
                      </a:cubicBezTo>
                      <a:cubicBezTo>
                        <a:pt x="621" y="25"/>
                        <a:pt x="618" y="25"/>
                        <a:pt x="615" y="25"/>
                      </a:cubicBezTo>
                      <a:cubicBezTo>
                        <a:pt x="607" y="25"/>
                        <a:pt x="601" y="29"/>
                        <a:pt x="596" y="35"/>
                      </a:cubicBezTo>
                      <a:cubicBezTo>
                        <a:pt x="594" y="38"/>
                        <a:pt x="593" y="42"/>
                        <a:pt x="592" y="45"/>
                      </a:cubicBezTo>
                      <a:cubicBezTo>
                        <a:pt x="591" y="49"/>
                        <a:pt x="591" y="53"/>
                        <a:pt x="591" y="58"/>
                      </a:cubicBezTo>
                      <a:cubicBezTo>
                        <a:pt x="592" y="61"/>
                        <a:pt x="592" y="64"/>
                        <a:pt x="594" y="67"/>
                      </a:cubicBezTo>
                      <a:cubicBezTo>
                        <a:pt x="597" y="74"/>
                        <a:pt x="602" y="79"/>
                        <a:pt x="610" y="80"/>
                      </a:cubicBezTo>
                      <a:cubicBezTo>
                        <a:pt x="615" y="81"/>
                        <a:pt x="619" y="80"/>
                        <a:pt x="623" y="80"/>
                      </a:cubicBezTo>
                      <a:cubicBezTo>
                        <a:pt x="627" y="79"/>
                        <a:pt x="630" y="78"/>
                        <a:pt x="632" y="76"/>
                      </a:cubicBezTo>
                      <a:cubicBezTo>
                        <a:pt x="633" y="76"/>
                        <a:pt x="634" y="75"/>
                        <a:pt x="633" y="74"/>
                      </a:cubicBezTo>
                      <a:cubicBezTo>
                        <a:pt x="633" y="72"/>
                        <a:pt x="633" y="70"/>
                        <a:pt x="633" y="68"/>
                      </a:cubicBezTo>
                      <a:cubicBezTo>
                        <a:pt x="632" y="68"/>
                        <a:pt x="632" y="69"/>
                        <a:pt x="631" y="69"/>
                      </a:cubicBezTo>
                      <a:close/>
                      <a:moveTo>
                        <a:pt x="426" y="75"/>
                      </a:moveTo>
                      <a:cubicBezTo>
                        <a:pt x="426" y="76"/>
                        <a:pt x="427" y="77"/>
                        <a:pt x="428" y="77"/>
                      </a:cubicBezTo>
                      <a:cubicBezTo>
                        <a:pt x="429" y="77"/>
                        <a:pt x="430" y="78"/>
                        <a:pt x="431" y="78"/>
                      </a:cubicBezTo>
                      <a:cubicBezTo>
                        <a:pt x="433" y="79"/>
                        <a:pt x="436" y="80"/>
                        <a:pt x="439" y="80"/>
                      </a:cubicBezTo>
                      <a:cubicBezTo>
                        <a:pt x="445" y="81"/>
                        <a:pt x="450" y="80"/>
                        <a:pt x="456" y="78"/>
                      </a:cubicBezTo>
                      <a:cubicBezTo>
                        <a:pt x="462" y="75"/>
                        <a:pt x="466" y="70"/>
                        <a:pt x="467" y="63"/>
                      </a:cubicBezTo>
                      <a:cubicBezTo>
                        <a:pt x="468" y="57"/>
                        <a:pt x="466" y="53"/>
                        <a:pt x="463" y="48"/>
                      </a:cubicBezTo>
                      <a:cubicBezTo>
                        <a:pt x="461" y="47"/>
                        <a:pt x="460" y="46"/>
                        <a:pt x="459" y="45"/>
                      </a:cubicBezTo>
                      <a:cubicBezTo>
                        <a:pt x="456" y="43"/>
                        <a:pt x="453" y="41"/>
                        <a:pt x="450" y="39"/>
                      </a:cubicBezTo>
                      <a:cubicBezTo>
                        <a:pt x="448" y="38"/>
                        <a:pt x="445" y="36"/>
                        <a:pt x="443" y="35"/>
                      </a:cubicBezTo>
                      <a:cubicBezTo>
                        <a:pt x="441" y="34"/>
                        <a:pt x="440" y="33"/>
                        <a:pt x="438" y="31"/>
                      </a:cubicBezTo>
                      <a:cubicBezTo>
                        <a:pt x="437" y="30"/>
                        <a:pt x="437" y="29"/>
                        <a:pt x="436" y="28"/>
                      </a:cubicBezTo>
                      <a:cubicBezTo>
                        <a:pt x="434" y="21"/>
                        <a:pt x="436" y="15"/>
                        <a:pt x="443" y="13"/>
                      </a:cubicBezTo>
                      <a:cubicBezTo>
                        <a:pt x="444" y="13"/>
                        <a:pt x="445" y="12"/>
                        <a:pt x="446" y="12"/>
                      </a:cubicBezTo>
                      <a:cubicBezTo>
                        <a:pt x="452" y="12"/>
                        <a:pt x="457" y="12"/>
                        <a:pt x="463" y="15"/>
                      </a:cubicBezTo>
                      <a:cubicBezTo>
                        <a:pt x="463" y="16"/>
                        <a:pt x="463" y="16"/>
                        <a:pt x="464" y="16"/>
                      </a:cubicBezTo>
                      <a:cubicBezTo>
                        <a:pt x="464" y="14"/>
                        <a:pt x="464" y="12"/>
                        <a:pt x="464" y="10"/>
                      </a:cubicBezTo>
                      <a:cubicBezTo>
                        <a:pt x="464" y="6"/>
                        <a:pt x="464" y="6"/>
                        <a:pt x="461" y="5"/>
                      </a:cubicBezTo>
                      <a:cubicBezTo>
                        <a:pt x="460" y="5"/>
                        <a:pt x="460" y="5"/>
                        <a:pt x="459" y="5"/>
                      </a:cubicBezTo>
                      <a:cubicBezTo>
                        <a:pt x="454" y="4"/>
                        <a:pt x="449" y="4"/>
                        <a:pt x="444" y="5"/>
                      </a:cubicBezTo>
                      <a:cubicBezTo>
                        <a:pt x="440" y="5"/>
                        <a:pt x="436" y="7"/>
                        <a:pt x="433" y="10"/>
                      </a:cubicBezTo>
                      <a:cubicBezTo>
                        <a:pt x="430" y="12"/>
                        <a:pt x="428" y="16"/>
                        <a:pt x="427" y="19"/>
                      </a:cubicBezTo>
                      <a:cubicBezTo>
                        <a:pt x="426" y="21"/>
                        <a:pt x="426" y="24"/>
                        <a:pt x="426" y="26"/>
                      </a:cubicBezTo>
                      <a:cubicBezTo>
                        <a:pt x="427" y="30"/>
                        <a:pt x="428" y="34"/>
                        <a:pt x="431" y="37"/>
                      </a:cubicBezTo>
                      <a:cubicBezTo>
                        <a:pt x="433" y="38"/>
                        <a:pt x="434" y="39"/>
                        <a:pt x="436" y="40"/>
                      </a:cubicBezTo>
                      <a:cubicBezTo>
                        <a:pt x="438" y="42"/>
                        <a:pt x="441" y="44"/>
                        <a:pt x="443" y="45"/>
                      </a:cubicBezTo>
                      <a:cubicBezTo>
                        <a:pt x="446" y="47"/>
                        <a:pt x="450" y="49"/>
                        <a:pt x="453" y="51"/>
                      </a:cubicBezTo>
                      <a:cubicBezTo>
                        <a:pt x="454" y="52"/>
                        <a:pt x="455" y="54"/>
                        <a:pt x="456" y="55"/>
                      </a:cubicBezTo>
                      <a:cubicBezTo>
                        <a:pt x="461" y="62"/>
                        <a:pt x="457" y="70"/>
                        <a:pt x="449" y="72"/>
                      </a:cubicBezTo>
                      <a:cubicBezTo>
                        <a:pt x="449" y="72"/>
                        <a:pt x="449" y="72"/>
                        <a:pt x="449" y="72"/>
                      </a:cubicBezTo>
                      <a:cubicBezTo>
                        <a:pt x="445" y="73"/>
                        <a:pt x="441" y="73"/>
                        <a:pt x="436" y="71"/>
                      </a:cubicBezTo>
                      <a:cubicBezTo>
                        <a:pt x="433" y="70"/>
                        <a:pt x="430" y="69"/>
                        <a:pt x="426" y="66"/>
                      </a:cubicBezTo>
                      <a:cubicBezTo>
                        <a:pt x="426" y="69"/>
                        <a:pt x="426" y="72"/>
                        <a:pt x="426" y="75"/>
                      </a:cubicBezTo>
                      <a:close/>
                      <a:moveTo>
                        <a:pt x="854" y="68"/>
                      </a:moveTo>
                      <a:cubicBezTo>
                        <a:pt x="853" y="68"/>
                        <a:pt x="853" y="69"/>
                        <a:pt x="852" y="69"/>
                      </a:cubicBezTo>
                      <a:cubicBezTo>
                        <a:pt x="846" y="73"/>
                        <a:pt x="840" y="74"/>
                        <a:pt x="834" y="73"/>
                      </a:cubicBezTo>
                      <a:cubicBezTo>
                        <a:pt x="830" y="72"/>
                        <a:pt x="826" y="70"/>
                        <a:pt x="824" y="66"/>
                      </a:cubicBezTo>
                      <a:cubicBezTo>
                        <a:pt x="822" y="63"/>
                        <a:pt x="821" y="59"/>
                        <a:pt x="821" y="56"/>
                      </a:cubicBezTo>
                      <a:cubicBezTo>
                        <a:pt x="821" y="55"/>
                        <a:pt x="822" y="55"/>
                        <a:pt x="822" y="55"/>
                      </a:cubicBezTo>
                      <a:cubicBezTo>
                        <a:pt x="823" y="55"/>
                        <a:pt x="824" y="55"/>
                        <a:pt x="824" y="55"/>
                      </a:cubicBezTo>
                      <a:cubicBezTo>
                        <a:pt x="835" y="55"/>
                        <a:pt x="845" y="55"/>
                        <a:pt x="855" y="55"/>
                      </a:cubicBezTo>
                      <a:cubicBezTo>
                        <a:pt x="856" y="55"/>
                        <a:pt x="857" y="55"/>
                        <a:pt x="857" y="55"/>
                      </a:cubicBezTo>
                      <a:cubicBezTo>
                        <a:pt x="858" y="55"/>
                        <a:pt x="858" y="55"/>
                        <a:pt x="858" y="54"/>
                      </a:cubicBezTo>
                      <a:cubicBezTo>
                        <a:pt x="858" y="52"/>
                        <a:pt x="858" y="49"/>
                        <a:pt x="858" y="47"/>
                      </a:cubicBezTo>
                      <a:cubicBezTo>
                        <a:pt x="858" y="44"/>
                        <a:pt x="857" y="40"/>
                        <a:pt x="856" y="36"/>
                      </a:cubicBezTo>
                      <a:cubicBezTo>
                        <a:pt x="853" y="31"/>
                        <a:pt x="849" y="28"/>
                        <a:pt x="843" y="26"/>
                      </a:cubicBezTo>
                      <a:cubicBezTo>
                        <a:pt x="841" y="25"/>
                        <a:pt x="839" y="25"/>
                        <a:pt x="836" y="25"/>
                      </a:cubicBezTo>
                      <a:cubicBezTo>
                        <a:pt x="829" y="25"/>
                        <a:pt x="823" y="28"/>
                        <a:pt x="818" y="34"/>
                      </a:cubicBezTo>
                      <a:cubicBezTo>
                        <a:pt x="816" y="37"/>
                        <a:pt x="815" y="39"/>
                        <a:pt x="814" y="42"/>
                      </a:cubicBezTo>
                      <a:cubicBezTo>
                        <a:pt x="812" y="48"/>
                        <a:pt x="812" y="53"/>
                        <a:pt x="813" y="59"/>
                      </a:cubicBezTo>
                      <a:cubicBezTo>
                        <a:pt x="813" y="62"/>
                        <a:pt x="814" y="65"/>
                        <a:pt x="815" y="68"/>
                      </a:cubicBezTo>
                      <a:cubicBezTo>
                        <a:pt x="819" y="74"/>
                        <a:pt x="824" y="79"/>
                        <a:pt x="831" y="80"/>
                      </a:cubicBezTo>
                      <a:cubicBezTo>
                        <a:pt x="837" y="81"/>
                        <a:pt x="843" y="80"/>
                        <a:pt x="848" y="79"/>
                      </a:cubicBezTo>
                      <a:cubicBezTo>
                        <a:pt x="850" y="78"/>
                        <a:pt x="852" y="77"/>
                        <a:pt x="854" y="76"/>
                      </a:cubicBezTo>
                      <a:cubicBezTo>
                        <a:pt x="854" y="76"/>
                        <a:pt x="855" y="75"/>
                        <a:pt x="855" y="74"/>
                      </a:cubicBezTo>
                      <a:cubicBezTo>
                        <a:pt x="855" y="72"/>
                        <a:pt x="855" y="70"/>
                        <a:pt x="855" y="68"/>
                      </a:cubicBezTo>
                      <a:cubicBezTo>
                        <a:pt x="854" y="68"/>
                        <a:pt x="854" y="68"/>
                        <a:pt x="854" y="68"/>
                      </a:cubicBezTo>
                      <a:close/>
                      <a:moveTo>
                        <a:pt x="960" y="175"/>
                      </a:moveTo>
                      <a:cubicBezTo>
                        <a:pt x="955" y="177"/>
                        <a:pt x="951" y="179"/>
                        <a:pt x="946" y="178"/>
                      </a:cubicBezTo>
                      <a:cubicBezTo>
                        <a:pt x="936" y="178"/>
                        <a:pt x="932" y="173"/>
                        <a:pt x="930" y="166"/>
                      </a:cubicBezTo>
                      <a:cubicBezTo>
                        <a:pt x="929" y="165"/>
                        <a:pt x="929" y="163"/>
                        <a:pt x="929" y="161"/>
                      </a:cubicBezTo>
                      <a:cubicBezTo>
                        <a:pt x="929" y="161"/>
                        <a:pt x="929" y="160"/>
                        <a:pt x="930" y="160"/>
                      </a:cubicBezTo>
                      <a:cubicBezTo>
                        <a:pt x="930" y="160"/>
                        <a:pt x="931" y="160"/>
                        <a:pt x="932" y="160"/>
                      </a:cubicBezTo>
                      <a:cubicBezTo>
                        <a:pt x="942" y="160"/>
                        <a:pt x="952" y="160"/>
                        <a:pt x="963" y="160"/>
                      </a:cubicBezTo>
                      <a:cubicBezTo>
                        <a:pt x="963" y="160"/>
                        <a:pt x="964" y="160"/>
                        <a:pt x="965" y="160"/>
                      </a:cubicBezTo>
                      <a:cubicBezTo>
                        <a:pt x="966" y="160"/>
                        <a:pt x="966" y="160"/>
                        <a:pt x="966" y="159"/>
                      </a:cubicBezTo>
                      <a:cubicBezTo>
                        <a:pt x="966" y="157"/>
                        <a:pt x="966" y="154"/>
                        <a:pt x="966" y="152"/>
                      </a:cubicBezTo>
                      <a:cubicBezTo>
                        <a:pt x="966" y="148"/>
                        <a:pt x="965" y="144"/>
                        <a:pt x="963" y="141"/>
                      </a:cubicBezTo>
                      <a:cubicBezTo>
                        <a:pt x="960" y="136"/>
                        <a:pt x="956" y="132"/>
                        <a:pt x="950" y="131"/>
                      </a:cubicBezTo>
                      <a:cubicBezTo>
                        <a:pt x="948" y="131"/>
                        <a:pt x="946" y="130"/>
                        <a:pt x="944" y="130"/>
                      </a:cubicBezTo>
                      <a:cubicBezTo>
                        <a:pt x="937" y="131"/>
                        <a:pt x="931" y="134"/>
                        <a:pt x="926" y="139"/>
                      </a:cubicBezTo>
                      <a:cubicBezTo>
                        <a:pt x="924" y="142"/>
                        <a:pt x="923" y="144"/>
                        <a:pt x="922" y="148"/>
                      </a:cubicBezTo>
                      <a:cubicBezTo>
                        <a:pt x="920" y="153"/>
                        <a:pt x="920" y="158"/>
                        <a:pt x="920" y="164"/>
                      </a:cubicBezTo>
                      <a:cubicBezTo>
                        <a:pt x="921" y="167"/>
                        <a:pt x="922" y="171"/>
                        <a:pt x="923" y="174"/>
                      </a:cubicBezTo>
                      <a:cubicBezTo>
                        <a:pt x="927" y="180"/>
                        <a:pt x="931" y="184"/>
                        <a:pt x="938" y="185"/>
                      </a:cubicBezTo>
                      <a:cubicBezTo>
                        <a:pt x="944" y="186"/>
                        <a:pt x="951" y="186"/>
                        <a:pt x="957" y="183"/>
                      </a:cubicBezTo>
                      <a:cubicBezTo>
                        <a:pt x="959" y="183"/>
                        <a:pt x="960" y="182"/>
                        <a:pt x="962" y="181"/>
                      </a:cubicBezTo>
                      <a:cubicBezTo>
                        <a:pt x="962" y="181"/>
                        <a:pt x="962" y="181"/>
                        <a:pt x="962" y="180"/>
                      </a:cubicBezTo>
                      <a:cubicBezTo>
                        <a:pt x="962" y="178"/>
                        <a:pt x="962" y="176"/>
                        <a:pt x="962" y="173"/>
                      </a:cubicBezTo>
                      <a:cubicBezTo>
                        <a:pt x="961" y="174"/>
                        <a:pt x="960" y="174"/>
                        <a:pt x="960" y="175"/>
                      </a:cubicBezTo>
                      <a:close/>
                      <a:moveTo>
                        <a:pt x="992" y="69"/>
                      </a:moveTo>
                      <a:cubicBezTo>
                        <a:pt x="992" y="69"/>
                        <a:pt x="992" y="69"/>
                        <a:pt x="991" y="69"/>
                      </a:cubicBezTo>
                      <a:cubicBezTo>
                        <a:pt x="986" y="73"/>
                        <a:pt x="980" y="74"/>
                        <a:pt x="974" y="73"/>
                      </a:cubicBezTo>
                      <a:cubicBezTo>
                        <a:pt x="968" y="72"/>
                        <a:pt x="964" y="69"/>
                        <a:pt x="962" y="64"/>
                      </a:cubicBezTo>
                      <a:cubicBezTo>
                        <a:pt x="961" y="62"/>
                        <a:pt x="961" y="60"/>
                        <a:pt x="961" y="57"/>
                      </a:cubicBezTo>
                      <a:cubicBezTo>
                        <a:pt x="961" y="55"/>
                        <a:pt x="960" y="55"/>
                        <a:pt x="963" y="55"/>
                      </a:cubicBezTo>
                      <a:cubicBezTo>
                        <a:pt x="974" y="55"/>
                        <a:pt x="984" y="55"/>
                        <a:pt x="994" y="55"/>
                      </a:cubicBezTo>
                      <a:cubicBezTo>
                        <a:pt x="995" y="55"/>
                        <a:pt x="996" y="55"/>
                        <a:pt x="997" y="55"/>
                      </a:cubicBezTo>
                      <a:cubicBezTo>
                        <a:pt x="998" y="55"/>
                        <a:pt x="998" y="55"/>
                        <a:pt x="998" y="54"/>
                      </a:cubicBezTo>
                      <a:cubicBezTo>
                        <a:pt x="998" y="51"/>
                        <a:pt x="998" y="48"/>
                        <a:pt x="998" y="46"/>
                      </a:cubicBezTo>
                      <a:cubicBezTo>
                        <a:pt x="997" y="42"/>
                        <a:pt x="996" y="38"/>
                        <a:pt x="994" y="35"/>
                      </a:cubicBezTo>
                      <a:cubicBezTo>
                        <a:pt x="992" y="31"/>
                        <a:pt x="989" y="28"/>
                        <a:pt x="985" y="27"/>
                      </a:cubicBezTo>
                      <a:cubicBezTo>
                        <a:pt x="981" y="25"/>
                        <a:pt x="976" y="25"/>
                        <a:pt x="972" y="25"/>
                      </a:cubicBezTo>
                      <a:cubicBezTo>
                        <a:pt x="965" y="27"/>
                        <a:pt x="959" y="31"/>
                        <a:pt x="956" y="37"/>
                      </a:cubicBezTo>
                      <a:cubicBezTo>
                        <a:pt x="954" y="41"/>
                        <a:pt x="952" y="45"/>
                        <a:pt x="952" y="49"/>
                      </a:cubicBezTo>
                      <a:cubicBezTo>
                        <a:pt x="951" y="55"/>
                        <a:pt x="952" y="62"/>
                        <a:pt x="955" y="67"/>
                      </a:cubicBezTo>
                      <a:cubicBezTo>
                        <a:pt x="957" y="74"/>
                        <a:pt x="962" y="78"/>
                        <a:pt x="969" y="80"/>
                      </a:cubicBezTo>
                      <a:cubicBezTo>
                        <a:pt x="976" y="81"/>
                        <a:pt x="983" y="81"/>
                        <a:pt x="989" y="78"/>
                      </a:cubicBezTo>
                      <a:cubicBezTo>
                        <a:pt x="991" y="77"/>
                        <a:pt x="992" y="77"/>
                        <a:pt x="993" y="76"/>
                      </a:cubicBezTo>
                      <a:cubicBezTo>
                        <a:pt x="994" y="76"/>
                        <a:pt x="994" y="75"/>
                        <a:pt x="994" y="74"/>
                      </a:cubicBezTo>
                      <a:cubicBezTo>
                        <a:pt x="994" y="72"/>
                        <a:pt x="994" y="70"/>
                        <a:pt x="994" y="67"/>
                      </a:cubicBezTo>
                      <a:cubicBezTo>
                        <a:pt x="993" y="68"/>
                        <a:pt x="993" y="68"/>
                        <a:pt x="992" y="69"/>
                      </a:cubicBezTo>
                      <a:close/>
                      <a:moveTo>
                        <a:pt x="845" y="177"/>
                      </a:moveTo>
                      <a:cubicBezTo>
                        <a:pt x="845" y="177"/>
                        <a:pt x="845" y="178"/>
                        <a:pt x="845" y="178"/>
                      </a:cubicBezTo>
                      <a:cubicBezTo>
                        <a:pt x="845" y="180"/>
                        <a:pt x="844" y="182"/>
                        <a:pt x="845" y="184"/>
                      </a:cubicBezTo>
                      <a:cubicBezTo>
                        <a:pt x="847" y="185"/>
                        <a:pt x="849" y="184"/>
                        <a:pt x="851" y="184"/>
                      </a:cubicBezTo>
                      <a:cubicBezTo>
                        <a:pt x="852" y="184"/>
                        <a:pt x="852" y="184"/>
                        <a:pt x="853" y="184"/>
                      </a:cubicBezTo>
                      <a:cubicBezTo>
                        <a:pt x="853" y="184"/>
                        <a:pt x="853" y="184"/>
                        <a:pt x="853" y="183"/>
                      </a:cubicBezTo>
                      <a:cubicBezTo>
                        <a:pt x="853" y="183"/>
                        <a:pt x="853" y="183"/>
                        <a:pt x="853" y="183"/>
                      </a:cubicBezTo>
                      <a:cubicBezTo>
                        <a:pt x="853" y="172"/>
                        <a:pt x="853" y="161"/>
                        <a:pt x="853" y="150"/>
                      </a:cubicBezTo>
                      <a:cubicBezTo>
                        <a:pt x="853" y="147"/>
                        <a:pt x="853" y="144"/>
                        <a:pt x="852" y="141"/>
                      </a:cubicBezTo>
                      <a:cubicBezTo>
                        <a:pt x="850" y="136"/>
                        <a:pt x="847" y="133"/>
                        <a:pt x="842" y="131"/>
                      </a:cubicBezTo>
                      <a:cubicBezTo>
                        <a:pt x="841" y="131"/>
                        <a:pt x="839" y="131"/>
                        <a:pt x="838" y="131"/>
                      </a:cubicBezTo>
                      <a:cubicBezTo>
                        <a:pt x="831" y="130"/>
                        <a:pt x="825" y="132"/>
                        <a:pt x="819" y="134"/>
                      </a:cubicBezTo>
                      <a:cubicBezTo>
                        <a:pt x="818" y="135"/>
                        <a:pt x="817" y="136"/>
                        <a:pt x="817" y="138"/>
                      </a:cubicBezTo>
                      <a:cubicBezTo>
                        <a:pt x="817" y="139"/>
                        <a:pt x="817" y="141"/>
                        <a:pt x="817" y="142"/>
                      </a:cubicBezTo>
                      <a:cubicBezTo>
                        <a:pt x="817" y="143"/>
                        <a:pt x="817" y="143"/>
                        <a:pt x="817" y="143"/>
                      </a:cubicBezTo>
                      <a:cubicBezTo>
                        <a:pt x="817" y="144"/>
                        <a:pt x="817" y="144"/>
                        <a:pt x="817" y="144"/>
                      </a:cubicBezTo>
                      <a:cubicBezTo>
                        <a:pt x="818" y="143"/>
                        <a:pt x="819" y="143"/>
                        <a:pt x="819" y="142"/>
                      </a:cubicBezTo>
                      <a:cubicBezTo>
                        <a:pt x="824" y="139"/>
                        <a:pt x="829" y="137"/>
                        <a:pt x="835" y="138"/>
                      </a:cubicBezTo>
                      <a:cubicBezTo>
                        <a:pt x="838" y="138"/>
                        <a:pt x="841" y="139"/>
                        <a:pt x="843" y="142"/>
                      </a:cubicBezTo>
                      <a:cubicBezTo>
                        <a:pt x="844" y="144"/>
                        <a:pt x="845" y="147"/>
                        <a:pt x="845" y="150"/>
                      </a:cubicBezTo>
                      <a:cubicBezTo>
                        <a:pt x="845" y="151"/>
                        <a:pt x="844" y="151"/>
                        <a:pt x="844" y="151"/>
                      </a:cubicBezTo>
                      <a:cubicBezTo>
                        <a:pt x="844" y="151"/>
                        <a:pt x="843" y="151"/>
                        <a:pt x="843" y="151"/>
                      </a:cubicBezTo>
                      <a:cubicBezTo>
                        <a:pt x="838" y="152"/>
                        <a:pt x="833" y="153"/>
                        <a:pt x="828" y="153"/>
                      </a:cubicBezTo>
                      <a:cubicBezTo>
                        <a:pt x="825" y="154"/>
                        <a:pt x="822" y="155"/>
                        <a:pt x="819" y="156"/>
                      </a:cubicBezTo>
                      <a:cubicBezTo>
                        <a:pt x="816" y="158"/>
                        <a:pt x="813" y="161"/>
                        <a:pt x="812" y="166"/>
                      </a:cubicBezTo>
                      <a:cubicBezTo>
                        <a:pt x="812" y="167"/>
                        <a:pt x="812" y="169"/>
                        <a:pt x="812" y="171"/>
                      </a:cubicBezTo>
                      <a:cubicBezTo>
                        <a:pt x="812" y="179"/>
                        <a:pt x="817" y="184"/>
                        <a:pt x="824" y="185"/>
                      </a:cubicBezTo>
                      <a:cubicBezTo>
                        <a:pt x="826" y="186"/>
                        <a:pt x="828" y="186"/>
                        <a:pt x="830" y="186"/>
                      </a:cubicBezTo>
                      <a:cubicBezTo>
                        <a:pt x="835" y="185"/>
                        <a:pt x="839" y="183"/>
                        <a:pt x="843" y="179"/>
                      </a:cubicBezTo>
                      <a:cubicBezTo>
                        <a:pt x="843" y="178"/>
                        <a:pt x="844" y="178"/>
                        <a:pt x="844" y="177"/>
                      </a:cubicBezTo>
                      <a:cubicBezTo>
                        <a:pt x="845" y="177"/>
                        <a:pt x="845" y="177"/>
                        <a:pt x="845" y="177"/>
                      </a:cubicBezTo>
                      <a:close/>
                      <a:moveTo>
                        <a:pt x="241" y="42"/>
                      </a:moveTo>
                      <a:cubicBezTo>
                        <a:pt x="238" y="33"/>
                        <a:pt x="232" y="27"/>
                        <a:pt x="223" y="26"/>
                      </a:cubicBezTo>
                      <a:cubicBezTo>
                        <a:pt x="219" y="25"/>
                        <a:pt x="215" y="25"/>
                        <a:pt x="211" y="26"/>
                      </a:cubicBezTo>
                      <a:cubicBezTo>
                        <a:pt x="202" y="27"/>
                        <a:pt x="195" y="33"/>
                        <a:pt x="192" y="42"/>
                      </a:cubicBezTo>
                      <a:cubicBezTo>
                        <a:pt x="190" y="49"/>
                        <a:pt x="190" y="56"/>
                        <a:pt x="192" y="63"/>
                      </a:cubicBezTo>
                      <a:cubicBezTo>
                        <a:pt x="195" y="72"/>
                        <a:pt x="200" y="77"/>
                        <a:pt x="209" y="80"/>
                      </a:cubicBezTo>
                      <a:cubicBezTo>
                        <a:pt x="212" y="80"/>
                        <a:pt x="216" y="81"/>
                        <a:pt x="219" y="80"/>
                      </a:cubicBezTo>
                      <a:cubicBezTo>
                        <a:pt x="230" y="80"/>
                        <a:pt x="238" y="73"/>
                        <a:pt x="241" y="63"/>
                      </a:cubicBezTo>
                      <a:cubicBezTo>
                        <a:pt x="242" y="59"/>
                        <a:pt x="242" y="56"/>
                        <a:pt x="242" y="52"/>
                      </a:cubicBezTo>
                      <a:cubicBezTo>
                        <a:pt x="242" y="49"/>
                        <a:pt x="242" y="45"/>
                        <a:pt x="241" y="42"/>
                      </a:cubicBezTo>
                      <a:close/>
                      <a:moveTo>
                        <a:pt x="408" y="183"/>
                      </a:moveTo>
                      <a:cubicBezTo>
                        <a:pt x="408" y="184"/>
                        <a:pt x="409" y="184"/>
                        <a:pt x="410" y="184"/>
                      </a:cubicBezTo>
                      <a:cubicBezTo>
                        <a:pt x="411" y="184"/>
                        <a:pt x="413" y="184"/>
                        <a:pt x="415" y="184"/>
                      </a:cubicBezTo>
                      <a:cubicBezTo>
                        <a:pt x="417" y="184"/>
                        <a:pt x="417" y="184"/>
                        <a:pt x="417" y="182"/>
                      </a:cubicBezTo>
                      <a:cubicBezTo>
                        <a:pt x="417" y="182"/>
                        <a:pt x="417" y="182"/>
                        <a:pt x="417" y="181"/>
                      </a:cubicBezTo>
                      <a:cubicBezTo>
                        <a:pt x="417" y="171"/>
                        <a:pt x="417" y="161"/>
                        <a:pt x="417" y="151"/>
                      </a:cubicBezTo>
                      <a:cubicBezTo>
                        <a:pt x="417" y="150"/>
                        <a:pt x="417" y="149"/>
                        <a:pt x="417" y="147"/>
                      </a:cubicBezTo>
                      <a:cubicBezTo>
                        <a:pt x="417" y="145"/>
                        <a:pt x="416" y="142"/>
                        <a:pt x="415" y="140"/>
                      </a:cubicBezTo>
                      <a:cubicBezTo>
                        <a:pt x="413" y="136"/>
                        <a:pt x="411" y="133"/>
                        <a:pt x="406" y="132"/>
                      </a:cubicBezTo>
                      <a:cubicBezTo>
                        <a:pt x="405" y="131"/>
                        <a:pt x="403" y="131"/>
                        <a:pt x="401" y="131"/>
                      </a:cubicBezTo>
                      <a:cubicBezTo>
                        <a:pt x="395" y="130"/>
                        <a:pt x="389" y="132"/>
                        <a:pt x="383" y="134"/>
                      </a:cubicBezTo>
                      <a:cubicBezTo>
                        <a:pt x="382" y="134"/>
                        <a:pt x="382" y="135"/>
                        <a:pt x="381" y="135"/>
                      </a:cubicBezTo>
                      <a:cubicBezTo>
                        <a:pt x="381" y="135"/>
                        <a:pt x="380" y="136"/>
                        <a:pt x="380" y="136"/>
                      </a:cubicBezTo>
                      <a:cubicBezTo>
                        <a:pt x="380" y="138"/>
                        <a:pt x="380" y="139"/>
                        <a:pt x="380" y="140"/>
                      </a:cubicBezTo>
                      <a:cubicBezTo>
                        <a:pt x="380" y="141"/>
                        <a:pt x="380" y="142"/>
                        <a:pt x="381" y="143"/>
                      </a:cubicBezTo>
                      <a:cubicBezTo>
                        <a:pt x="382" y="144"/>
                        <a:pt x="382" y="142"/>
                        <a:pt x="383" y="142"/>
                      </a:cubicBezTo>
                      <a:cubicBezTo>
                        <a:pt x="388" y="139"/>
                        <a:pt x="393" y="138"/>
                        <a:pt x="398" y="138"/>
                      </a:cubicBezTo>
                      <a:cubicBezTo>
                        <a:pt x="403" y="138"/>
                        <a:pt x="406" y="140"/>
                        <a:pt x="408" y="145"/>
                      </a:cubicBezTo>
                      <a:cubicBezTo>
                        <a:pt x="408" y="147"/>
                        <a:pt x="408" y="148"/>
                        <a:pt x="408" y="150"/>
                      </a:cubicBezTo>
                      <a:cubicBezTo>
                        <a:pt x="408" y="151"/>
                        <a:pt x="408" y="151"/>
                        <a:pt x="407" y="151"/>
                      </a:cubicBezTo>
                      <a:cubicBezTo>
                        <a:pt x="407" y="151"/>
                        <a:pt x="407" y="151"/>
                        <a:pt x="406" y="151"/>
                      </a:cubicBezTo>
                      <a:cubicBezTo>
                        <a:pt x="401" y="152"/>
                        <a:pt x="396" y="153"/>
                        <a:pt x="391" y="153"/>
                      </a:cubicBezTo>
                      <a:cubicBezTo>
                        <a:pt x="388" y="154"/>
                        <a:pt x="385" y="155"/>
                        <a:pt x="383" y="156"/>
                      </a:cubicBezTo>
                      <a:cubicBezTo>
                        <a:pt x="379" y="158"/>
                        <a:pt x="377" y="162"/>
                        <a:pt x="376" y="166"/>
                      </a:cubicBezTo>
                      <a:cubicBezTo>
                        <a:pt x="375" y="168"/>
                        <a:pt x="375" y="170"/>
                        <a:pt x="375" y="172"/>
                      </a:cubicBezTo>
                      <a:cubicBezTo>
                        <a:pt x="376" y="177"/>
                        <a:pt x="378" y="181"/>
                        <a:pt x="383" y="184"/>
                      </a:cubicBezTo>
                      <a:cubicBezTo>
                        <a:pt x="385" y="185"/>
                        <a:pt x="387" y="185"/>
                        <a:pt x="389" y="185"/>
                      </a:cubicBezTo>
                      <a:cubicBezTo>
                        <a:pt x="396" y="186"/>
                        <a:pt x="402" y="184"/>
                        <a:pt x="407" y="178"/>
                      </a:cubicBezTo>
                      <a:cubicBezTo>
                        <a:pt x="407" y="178"/>
                        <a:pt x="407" y="177"/>
                        <a:pt x="408" y="177"/>
                      </a:cubicBezTo>
                      <a:cubicBezTo>
                        <a:pt x="408" y="179"/>
                        <a:pt x="408" y="181"/>
                        <a:pt x="408" y="183"/>
                      </a:cubicBezTo>
                      <a:close/>
                      <a:moveTo>
                        <a:pt x="64" y="168"/>
                      </a:moveTo>
                      <a:cubicBezTo>
                        <a:pt x="66" y="177"/>
                        <a:pt x="72" y="183"/>
                        <a:pt x="81" y="185"/>
                      </a:cubicBezTo>
                      <a:cubicBezTo>
                        <a:pt x="85" y="186"/>
                        <a:pt x="89" y="186"/>
                        <a:pt x="93" y="185"/>
                      </a:cubicBezTo>
                      <a:cubicBezTo>
                        <a:pt x="102" y="184"/>
                        <a:pt x="109" y="179"/>
                        <a:pt x="112" y="170"/>
                      </a:cubicBezTo>
                      <a:cubicBezTo>
                        <a:pt x="115" y="162"/>
                        <a:pt x="115" y="153"/>
                        <a:pt x="112" y="144"/>
                      </a:cubicBezTo>
                      <a:cubicBezTo>
                        <a:pt x="109" y="137"/>
                        <a:pt x="103" y="133"/>
                        <a:pt x="95" y="131"/>
                      </a:cubicBezTo>
                      <a:cubicBezTo>
                        <a:pt x="91" y="130"/>
                        <a:pt x="87" y="130"/>
                        <a:pt x="82" y="131"/>
                      </a:cubicBezTo>
                      <a:cubicBezTo>
                        <a:pt x="74" y="133"/>
                        <a:pt x="68" y="138"/>
                        <a:pt x="65" y="146"/>
                      </a:cubicBezTo>
                      <a:cubicBezTo>
                        <a:pt x="63" y="150"/>
                        <a:pt x="62" y="154"/>
                        <a:pt x="62" y="158"/>
                      </a:cubicBezTo>
                      <a:cubicBezTo>
                        <a:pt x="62" y="162"/>
                        <a:pt x="63" y="165"/>
                        <a:pt x="64" y="168"/>
                      </a:cubicBezTo>
                      <a:close/>
                      <a:moveTo>
                        <a:pt x="335" y="40"/>
                      </a:moveTo>
                      <a:cubicBezTo>
                        <a:pt x="332" y="32"/>
                        <a:pt x="327" y="27"/>
                        <a:pt x="318" y="26"/>
                      </a:cubicBezTo>
                      <a:cubicBezTo>
                        <a:pt x="314" y="25"/>
                        <a:pt x="310" y="25"/>
                        <a:pt x="306" y="26"/>
                      </a:cubicBezTo>
                      <a:cubicBezTo>
                        <a:pt x="297" y="27"/>
                        <a:pt x="290" y="33"/>
                        <a:pt x="287" y="42"/>
                      </a:cubicBezTo>
                      <a:cubicBezTo>
                        <a:pt x="285" y="49"/>
                        <a:pt x="285" y="56"/>
                        <a:pt x="287" y="62"/>
                      </a:cubicBezTo>
                      <a:cubicBezTo>
                        <a:pt x="289" y="71"/>
                        <a:pt x="295" y="77"/>
                        <a:pt x="304" y="80"/>
                      </a:cubicBezTo>
                      <a:cubicBezTo>
                        <a:pt x="307" y="80"/>
                        <a:pt x="311" y="81"/>
                        <a:pt x="314" y="80"/>
                      </a:cubicBezTo>
                      <a:cubicBezTo>
                        <a:pt x="325" y="80"/>
                        <a:pt x="333" y="73"/>
                        <a:pt x="336" y="63"/>
                      </a:cubicBezTo>
                      <a:cubicBezTo>
                        <a:pt x="337" y="60"/>
                        <a:pt x="338" y="56"/>
                        <a:pt x="338" y="52"/>
                      </a:cubicBezTo>
                      <a:cubicBezTo>
                        <a:pt x="338" y="48"/>
                        <a:pt x="337" y="44"/>
                        <a:pt x="335" y="40"/>
                      </a:cubicBezTo>
                      <a:close/>
                      <a:moveTo>
                        <a:pt x="1208" y="18"/>
                      </a:moveTo>
                      <a:cubicBezTo>
                        <a:pt x="1210" y="16"/>
                        <a:pt x="1213" y="14"/>
                        <a:pt x="1216" y="13"/>
                      </a:cubicBezTo>
                      <a:cubicBezTo>
                        <a:pt x="1219" y="11"/>
                        <a:pt x="1223" y="11"/>
                        <a:pt x="1227" y="12"/>
                      </a:cubicBezTo>
                      <a:cubicBezTo>
                        <a:pt x="1232" y="12"/>
                        <a:pt x="1235" y="15"/>
                        <a:pt x="1236" y="20"/>
                      </a:cubicBezTo>
                      <a:cubicBezTo>
                        <a:pt x="1237" y="23"/>
                        <a:pt x="1237" y="26"/>
                        <a:pt x="1237" y="29"/>
                      </a:cubicBezTo>
                      <a:cubicBezTo>
                        <a:pt x="1236" y="33"/>
                        <a:pt x="1234" y="36"/>
                        <a:pt x="1231" y="39"/>
                      </a:cubicBezTo>
                      <a:cubicBezTo>
                        <a:pt x="1229" y="42"/>
                        <a:pt x="1226" y="44"/>
                        <a:pt x="1224" y="46"/>
                      </a:cubicBezTo>
                      <a:cubicBezTo>
                        <a:pt x="1220" y="48"/>
                        <a:pt x="1217" y="51"/>
                        <a:pt x="1214" y="53"/>
                      </a:cubicBezTo>
                      <a:cubicBezTo>
                        <a:pt x="1212" y="55"/>
                        <a:pt x="1210" y="56"/>
                        <a:pt x="1209" y="58"/>
                      </a:cubicBezTo>
                      <a:cubicBezTo>
                        <a:pt x="1206" y="61"/>
                        <a:pt x="1205" y="64"/>
                        <a:pt x="1204" y="67"/>
                      </a:cubicBezTo>
                      <a:cubicBezTo>
                        <a:pt x="1203" y="71"/>
                        <a:pt x="1203" y="75"/>
                        <a:pt x="1203" y="78"/>
                      </a:cubicBezTo>
                      <a:cubicBezTo>
                        <a:pt x="1203" y="79"/>
                        <a:pt x="1203" y="79"/>
                        <a:pt x="1204" y="79"/>
                      </a:cubicBezTo>
                      <a:cubicBezTo>
                        <a:pt x="1204" y="79"/>
                        <a:pt x="1205" y="79"/>
                        <a:pt x="1205" y="79"/>
                      </a:cubicBezTo>
                      <a:cubicBezTo>
                        <a:pt x="1219" y="79"/>
                        <a:pt x="1232" y="79"/>
                        <a:pt x="1246" y="79"/>
                      </a:cubicBezTo>
                      <a:cubicBezTo>
                        <a:pt x="1246" y="79"/>
                        <a:pt x="1247" y="79"/>
                        <a:pt x="1247" y="79"/>
                      </a:cubicBezTo>
                      <a:cubicBezTo>
                        <a:pt x="1248" y="79"/>
                        <a:pt x="1248" y="79"/>
                        <a:pt x="1248" y="78"/>
                      </a:cubicBezTo>
                      <a:cubicBezTo>
                        <a:pt x="1248" y="76"/>
                        <a:pt x="1248" y="74"/>
                        <a:pt x="1248" y="72"/>
                      </a:cubicBezTo>
                      <a:cubicBezTo>
                        <a:pt x="1248" y="72"/>
                        <a:pt x="1248" y="72"/>
                        <a:pt x="1248" y="72"/>
                      </a:cubicBezTo>
                      <a:cubicBezTo>
                        <a:pt x="1247" y="72"/>
                        <a:pt x="1246" y="72"/>
                        <a:pt x="1245" y="72"/>
                      </a:cubicBezTo>
                      <a:cubicBezTo>
                        <a:pt x="1235" y="72"/>
                        <a:pt x="1225" y="72"/>
                        <a:pt x="1215" y="72"/>
                      </a:cubicBezTo>
                      <a:cubicBezTo>
                        <a:pt x="1214" y="72"/>
                        <a:pt x="1213" y="72"/>
                        <a:pt x="1213" y="72"/>
                      </a:cubicBezTo>
                      <a:cubicBezTo>
                        <a:pt x="1212" y="71"/>
                        <a:pt x="1212" y="71"/>
                        <a:pt x="1212" y="70"/>
                      </a:cubicBezTo>
                      <a:cubicBezTo>
                        <a:pt x="1212" y="67"/>
                        <a:pt x="1213" y="65"/>
                        <a:pt x="1215" y="63"/>
                      </a:cubicBezTo>
                      <a:cubicBezTo>
                        <a:pt x="1216" y="61"/>
                        <a:pt x="1218" y="59"/>
                        <a:pt x="1219" y="58"/>
                      </a:cubicBezTo>
                      <a:cubicBezTo>
                        <a:pt x="1223" y="55"/>
                        <a:pt x="1226" y="53"/>
                        <a:pt x="1229" y="51"/>
                      </a:cubicBezTo>
                      <a:cubicBezTo>
                        <a:pt x="1232" y="48"/>
                        <a:pt x="1236" y="45"/>
                        <a:pt x="1239" y="42"/>
                      </a:cubicBezTo>
                      <a:cubicBezTo>
                        <a:pt x="1242" y="39"/>
                        <a:pt x="1244" y="35"/>
                        <a:pt x="1245" y="31"/>
                      </a:cubicBezTo>
                      <a:cubicBezTo>
                        <a:pt x="1245" y="28"/>
                        <a:pt x="1246" y="25"/>
                        <a:pt x="1246" y="22"/>
                      </a:cubicBezTo>
                      <a:cubicBezTo>
                        <a:pt x="1245" y="14"/>
                        <a:pt x="1240" y="7"/>
                        <a:pt x="1232" y="5"/>
                      </a:cubicBezTo>
                      <a:cubicBezTo>
                        <a:pt x="1227" y="4"/>
                        <a:pt x="1222" y="4"/>
                        <a:pt x="1217" y="5"/>
                      </a:cubicBezTo>
                      <a:cubicBezTo>
                        <a:pt x="1213" y="6"/>
                        <a:pt x="1210" y="8"/>
                        <a:pt x="1207" y="10"/>
                      </a:cubicBezTo>
                      <a:cubicBezTo>
                        <a:pt x="1206" y="11"/>
                        <a:pt x="1206" y="11"/>
                        <a:pt x="1206" y="12"/>
                      </a:cubicBezTo>
                      <a:cubicBezTo>
                        <a:pt x="1206" y="15"/>
                        <a:pt x="1206" y="17"/>
                        <a:pt x="1206" y="20"/>
                      </a:cubicBezTo>
                      <a:cubicBezTo>
                        <a:pt x="1207" y="19"/>
                        <a:pt x="1207" y="19"/>
                        <a:pt x="1208" y="18"/>
                      </a:cubicBezTo>
                      <a:close/>
                      <a:moveTo>
                        <a:pt x="529" y="145"/>
                      </a:moveTo>
                      <a:cubicBezTo>
                        <a:pt x="526" y="137"/>
                        <a:pt x="521" y="133"/>
                        <a:pt x="513" y="131"/>
                      </a:cubicBezTo>
                      <a:cubicBezTo>
                        <a:pt x="508" y="130"/>
                        <a:pt x="504" y="130"/>
                        <a:pt x="500" y="131"/>
                      </a:cubicBezTo>
                      <a:cubicBezTo>
                        <a:pt x="491" y="133"/>
                        <a:pt x="486" y="138"/>
                        <a:pt x="482" y="146"/>
                      </a:cubicBezTo>
                      <a:cubicBezTo>
                        <a:pt x="480" y="150"/>
                        <a:pt x="480" y="155"/>
                        <a:pt x="480" y="160"/>
                      </a:cubicBezTo>
                      <a:cubicBezTo>
                        <a:pt x="480" y="163"/>
                        <a:pt x="480" y="166"/>
                        <a:pt x="481" y="169"/>
                      </a:cubicBezTo>
                      <a:cubicBezTo>
                        <a:pt x="484" y="177"/>
                        <a:pt x="490" y="183"/>
                        <a:pt x="499" y="185"/>
                      </a:cubicBezTo>
                      <a:cubicBezTo>
                        <a:pt x="502" y="186"/>
                        <a:pt x="506" y="186"/>
                        <a:pt x="510" y="185"/>
                      </a:cubicBezTo>
                      <a:cubicBezTo>
                        <a:pt x="520" y="184"/>
                        <a:pt x="526" y="178"/>
                        <a:pt x="530" y="169"/>
                      </a:cubicBezTo>
                      <a:cubicBezTo>
                        <a:pt x="531" y="166"/>
                        <a:pt x="532" y="162"/>
                        <a:pt x="532" y="158"/>
                      </a:cubicBezTo>
                      <a:cubicBezTo>
                        <a:pt x="532" y="153"/>
                        <a:pt x="531" y="149"/>
                        <a:pt x="529" y="145"/>
                      </a:cubicBezTo>
                      <a:close/>
                      <a:moveTo>
                        <a:pt x="1064" y="18"/>
                      </a:moveTo>
                      <a:cubicBezTo>
                        <a:pt x="1066" y="16"/>
                        <a:pt x="1068" y="14"/>
                        <a:pt x="1071" y="13"/>
                      </a:cubicBezTo>
                      <a:cubicBezTo>
                        <a:pt x="1075" y="11"/>
                        <a:pt x="1078" y="11"/>
                        <a:pt x="1082" y="12"/>
                      </a:cubicBezTo>
                      <a:cubicBezTo>
                        <a:pt x="1087" y="12"/>
                        <a:pt x="1091" y="16"/>
                        <a:pt x="1092" y="21"/>
                      </a:cubicBezTo>
                      <a:cubicBezTo>
                        <a:pt x="1093" y="24"/>
                        <a:pt x="1092" y="28"/>
                        <a:pt x="1092" y="31"/>
                      </a:cubicBezTo>
                      <a:cubicBezTo>
                        <a:pt x="1091" y="34"/>
                        <a:pt x="1089" y="36"/>
                        <a:pt x="1087" y="38"/>
                      </a:cubicBezTo>
                      <a:cubicBezTo>
                        <a:pt x="1085" y="41"/>
                        <a:pt x="1082" y="44"/>
                        <a:pt x="1079" y="46"/>
                      </a:cubicBezTo>
                      <a:cubicBezTo>
                        <a:pt x="1075" y="49"/>
                        <a:pt x="1072" y="51"/>
                        <a:pt x="1068" y="54"/>
                      </a:cubicBezTo>
                      <a:cubicBezTo>
                        <a:pt x="1066" y="56"/>
                        <a:pt x="1064" y="58"/>
                        <a:pt x="1063" y="60"/>
                      </a:cubicBezTo>
                      <a:cubicBezTo>
                        <a:pt x="1061" y="63"/>
                        <a:pt x="1059" y="67"/>
                        <a:pt x="1059" y="70"/>
                      </a:cubicBezTo>
                      <a:cubicBezTo>
                        <a:pt x="1058" y="73"/>
                        <a:pt x="1058" y="75"/>
                        <a:pt x="1058" y="77"/>
                      </a:cubicBezTo>
                      <a:cubicBezTo>
                        <a:pt x="1058" y="79"/>
                        <a:pt x="1058" y="79"/>
                        <a:pt x="1061" y="79"/>
                      </a:cubicBezTo>
                      <a:cubicBezTo>
                        <a:pt x="1074" y="79"/>
                        <a:pt x="1088" y="79"/>
                        <a:pt x="1102" y="79"/>
                      </a:cubicBezTo>
                      <a:cubicBezTo>
                        <a:pt x="1102" y="79"/>
                        <a:pt x="1102" y="79"/>
                        <a:pt x="1102" y="79"/>
                      </a:cubicBezTo>
                      <a:cubicBezTo>
                        <a:pt x="1104" y="79"/>
                        <a:pt x="1104" y="79"/>
                        <a:pt x="1104" y="78"/>
                      </a:cubicBezTo>
                      <a:cubicBezTo>
                        <a:pt x="1104" y="76"/>
                        <a:pt x="1104" y="75"/>
                        <a:pt x="1104" y="73"/>
                      </a:cubicBezTo>
                      <a:cubicBezTo>
                        <a:pt x="1104" y="72"/>
                        <a:pt x="1104" y="72"/>
                        <a:pt x="1102" y="72"/>
                      </a:cubicBezTo>
                      <a:cubicBezTo>
                        <a:pt x="1102" y="72"/>
                        <a:pt x="1101" y="72"/>
                        <a:pt x="1101" y="72"/>
                      </a:cubicBezTo>
                      <a:cubicBezTo>
                        <a:pt x="1091" y="72"/>
                        <a:pt x="1080" y="72"/>
                        <a:pt x="1070" y="72"/>
                      </a:cubicBezTo>
                      <a:cubicBezTo>
                        <a:pt x="1070" y="72"/>
                        <a:pt x="1069" y="72"/>
                        <a:pt x="1068" y="72"/>
                      </a:cubicBezTo>
                      <a:cubicBezTo>
                        <a:pt x="1067" y="71"/>
                        <a:pt x="1067" y="71"/>
                        <a:pt x="1067" y="70"/>
                      </a:cubicBezTo>
                      <a:cubicBezTo>
                        <a:pt x="1067" y="67"/>
                        <a:pt x="1069" y="64"/>
                        <a:pt x="1071" y="62"/>
                      </a:cubicBezTo>
                      <a:cubicBezTo>
                        <a:pt x="1072" y="60"/>
                        <a:pt x="1073" y="59"/>
                        <a:pt x="1075" y="58"/>
                      </a:cubicBezTo>
                      <a:cubicBezTo>
                        <a:pt x="1078" y="56"/>
                        <a:pt x="1081" y="53"/>
                        <a:pt x="1084" y="51"/>
                      </a:cubicBezTo>
                      <a:cubicBezTo>
                        <a:pt x="1087" y="48"/>
                        <a:pt x="1090" y="46"/>
                        <a:pt x="1093" y="43"/>
                      </a:cubicBezTo>
                      <a:cubicBezTo>
                        <a:pt x="1099" y="37"/>
                        <a:pt x="1102" y="30"/>
                        <a:pt x="1101" y="22"/>
                      </a:cubicBezTo>
                      <a:cubicBezTo>
                        <a:pt x="1100" y="13"/>
                        <a:pt x="1094" y="7"/>
                        <a:pt x="1087" y="5"/>
                      </a:cubicBezTo>
                      <a:cubicBezTo>
                        <a:pt x="1082" y="4"/>
                        <a:pt x="1076" y="4"/>
                        <a:pt x="1071" y="5"/>
                      </a:cubicBezTo>
                      <a:cubicBezTo>
                        <a:pt x="1068" y="6"/>
                        <a:pt x="1065" y="8"/>
                        <a:pt x="1062" y="10"/>
                      </a:cubicBezTo>
                      <a:cubicBezTo>
                        <a:pt x="1062" y="11"/>
                        <a:pt x="1061" y="11"/>
                        <a:pt x="1061" y="12"/>
                      </a:cubicBezTo>
                      <a:cubicBezTo>
                        <a:pt x="1061" y="15"/>
                        <a:pt x="1061" y="17"/>
                        <a:pt x="1061" y="20"/>
                      </a:cubicBezTo>
                      <a:cubicBezTo>
                        <a:pt x="1062" y="19"/>
                        <a:pt x="1063" y="19"/>
                        <a:pt x="1064" y="18"/>
                      </a:cubicBezTo>
                      <a:close/>
                      <a:moveTo>
                        <a:pt x="1340" y="18"/>
                      </a:moveTo>
                      <a:cubicBezTo>
                        <a:pt x="1342" y="16"/>
                        <a:pt x="1345" y="14"/>
                        <a:pt x="1347" y="13"/>
                      </a:cubicBezTo>
                      <a:cubicBezTo>
                        <a:pt x="1351" y="11"/>
                        <a:pt x="1355" y="11"/>
                        <a:pt x="1358" y="12"/>
                      </a:cubicBezTo>
                      <a:cubicBezTo>
                        <a:pt x="1363" y="12"/>
                        <a:pt x="1367" y="15"/>
                        <a:pt x="1368" y="20"/>
                      </a:cubicBezTo>
                      <a:cubicBezTo>
                        <a:pt x="1369" y="22"/>
                        <a:pt x="1369" y="25"/>
                        <a:pt x="1369" y="27"/>
                      </a:cubicBezTo>
                      <a:cubicBezTo>
                        <a:pt x="1368" y="32"/>
                        <a:pt x="1366" y="36"/>
                        <a:pt x="1363" y="39"/>
                      </a:cubicBezTo>
                      <a:cubicBezTo>
                        <a:pt x="1361" y="42"/>
                        <a:pt x="1358" y="44"/>
                        <a:pt x="1355" y="46"/>
                      </a:cubicBezTo>
                      <a:cubicBezTo>
                        <a:pt x="1352" y="49"/>
                        <a:pt x="1348" y="51"/>
                        <a:pt x="1345" y="54"/>
                      </a:cubicBezTo>
                      <a:cubicBezTo>
                        <a:pt x="1343" y="56"/>
                        <a:pt x="1341" y="58"/>
                        <a:pt x="1339" y="60"/>
                      </a:cubicBezTo>
                      <a:cubicBezTo>
                        <a:pt x="1337" y="63"/>
                        <a:pt x="1336" y="66"/>
                        <a:pt x="1335" y="70"/>
                      </a:cubicBezTo>
                      <a:cubicBezTo>
                        <a:pt x="1335" y="72"/>
                        <a:pt x="1335" y="74"/>
                        <a:pt x="1335" y="77"/>
                      </a:cubicBezTo>
                      <a:cubicBezTo>
                        <a:pt x="1335" y="79"/>
                        <a:pt x="1335" y="79"/>
                        <a:pt x="1337" y="79"/>
                      </a:cubicBezTo>
                      <a:cubicBezTo>
                        <a:pt x="1350" y="79"/>
                        <a:pt x="1363" y="79"/>
                        <a:pt x="1376" y="79"/>
                      </a:cubicBezTo>
                      <a:cubicBezTo>
                        <a:pt x="1377" y="79"/>
                        <a:pt x="1379" y="79"/>
                        <a:pt x="1380" y="79"/>
                      </a:cubicBezTo>
                      <a:cubicBezTo>
                        <a:pt x="1381" y="78"/>
                        <a:pt x="1380" y="76"/>
                        <a:pt x="1380" y="75"/>
                      </a:cubicBezTo>
                      <a:cubicBezTo>
                        <a:pt x="1380" y="71"/>
                        <a:pt x="1381" y="72"/>
                        <a:pt x="1377" y="72"/>
                      </a:cubicBezTo>
                      <a:cubicBezTo>
                        <a:pt x="1367" y="72"/>
                        <a:pt x="1357" y="72"/>
                        <a:pt x="1346" y="72"/>
                      </a:cubicBezTo>
                      <a:cubicBezTo>
                        <a:pt x="1346" y="72"/>
                        <a:pt x="1345" y="72"/>
                        <a:pt x="1344" y="71"/>
                      </a:cubicBezTo>
                      <a:cubicBezTo>
                        <a:pt x="1343" y="68"/>
                        <a:pt x="1344" y="65"/>
                        <a:pt x="1346" y="63"/>
                      </a:cubicBezTo>
                      <a:cubicBezTo>
                        <a:pt x="1347" y="61"/>
                        <a:pt x="1349" y="60"/>
                        <a:pt x="1351" y="58"/>
                      </a:cubicBezTo>
                      <a:cubicBezTo>
                        <a:pt x="1354" y="55"/>
                        <a:pt x="1358" y="53"/>
                        <a:pt x="1361" y="50"/>
                      </a:cubicBezTo>
                      <a:cubicBezTo>
                        <a:pt x="1365" y="48"/>
                        <a:pt x="1368" y="45"/>
                        <a:pt x="1370" y="42"/>
                      </a:cubicBezTo>
                      <a:cubicBezTo>
                        <a:pt x="1376" y="36"/>
                        <a:pt x="1378" y="29"/>
                        <a:pt x="1377" y="21"/>
                      </a:cubicBezTo>
                      <a:cubicBezTo>
                        <a:pt x="1376" y="12"/>
                        <a:pt x="1370" y="7"/>
                        <a:pt x="1363" y="5"/>
                      </a:cubicBezTo>
                      <a:cubicBezTo>
                        <a:pt x="1358" y="4"/>
                        <a:pt x="1353" y="4"/>
                        <a:pt x="1348" y="5"/>
                      </a:cubicBezTo>
                      <a:cubicBezTo>
                        <a:pt x="1344" y="6"/>
                        <a:pt x="1341" y="8"/>
                        <a:pt x="1338" y="10"/>
                      </a:cubicBezTo>
                      <a:cubicBezTo>
                        <a:pt x="1338" y="11"/>
                        <a:pt x="1338" y="11"/>
                        <a:pt x="1338" y="12"/>
                      </a:cubicBezTo>
                      <a:cubicBezTo>
                        <a:pt x="1338" y="14"/>
                        <a:pt x="1338" y="16"/>
                        <a:pt x="1338" y="17"/>
                      </a:cubicBezTo>
                      <a:cubicBezTo>
                        <a:pt x="1338" y="18"/>
                        <a:pt x="1337" y="19"/>
                        <a:pt x="1338" y="20"/>
                      </a:cubicBezTo>
                      <a:cubicBezTo>
                        <a:pt x="1339" y="19"/>
                        <a:pt x="1339" y="18"/>
                        <a:pt x="1340" y="18"/>
                      </a:cubicBezTo>
                      <a:close/>
                      <a:moveTo>
                        <a:pt x="714" y="142"/>
                      </a:moveTo>
                      <a:cubicBezTo>
                        <a:pt x="718" y="139"/>
                        <a:pt x="723" y="137"/>
                        <a:pt x="729" y="138"/>
                      </a:cubicBezTo>
                      <a:cubicBezTo>
                        <a:pt x="734" y="138"/>
                        <a:pt x="737" y="140"/>
                        <a:pt x="738" y="145"/>
                      </a:cubicBezTo>
                      <a:cubicBezTo>
                        <a:pt x="739" y="147"/>
                        <a:pt x="739" y="148"/>
                        <a:pt x="739" y="150"/>
                      </a:cubicBezTo>
                      <a:cubicBezTo>
                        <a:pt x="739" y="151"/>
                        <a:pt x="739" y="151"/>
                        <a:pt x="738" y="151"/>
                      </a:cubicBezTo>
                      <a:cubicBezTo>
                        <a:pt x="736" y="151"/>
                        <a:pt x="735" y="152"/>
                        <a:pt x="733" y="152"/>
                      </a:cubicBezTo>
                      <a:cubicBezTo>
                        <a:pt x="729" y="152"/>
                        <a:pt x="725" y="153"/>
                        <a:pt x="721" y="153"/>
                      </a:cubicBezTo>
                      <a:cubicBezTo>
                        <a:pt x="718" y="154"/>
                        <a:pt x="716" y="155"/>
                        <a:pt x="713" y="156"/>
                      </a:cubicBezTo>
                      <a:cubicBezTo>
                        <a:pt x="710" y="158"/>
                        <a:pt x="707" y="161"/>
                        <a:pt x="706" y="165"/>
                      </a:cubicBezTo>
                      <a:cubicBezTo>
                        <a:pt x="706" y="167"/>
                        <a:pt x="705" y="170"/>
                        <a:pt x="706" y="172"/>
                      </a:cubicBezTo>
                      <a:cubicBezTo>
                        <a:pt x="706" y="178"/>
                        <a:pt x="709" y="182"/>
                        <a:pt x="715" y="184"/>
                      </a:cubicBezTo>
                      <a:cubicBezTo>
                        <a:pt x="719" y="186"/>
                        <a:pt x="724" y="186"/>
                        <a:pt x="728" y="185"/>
                      </a:cubicBezTo>
                      <a:cubicBezTo>
                        <a:pt x="732" y="184"/>
                        <a:pt x="735" y="182"/>
                        <a:pt x="737" y="179"/>
                      </a:cubicBezTo>
                      <a:cubicBezTo>
                        <a:pt x="737" y="178"/>
                        <a:pt x="738" y="178"/>
                        <a:pt x="738" y="178"/>
                      </a:cubicBezTo>
                      <a:cubicBezTo>
                        <a:pt x="738" y="177"/>
                        <a:pt x="738" y="177"/>
                        <a:pt x="739" y="177"/>
                      </a:cubicBezTo>
                      <a:cubicBezTo>
                        <a:pt x="739" y="178"/>
                        <a:pt x="739" y="179"/>
                        <a:pt x="739" y="180"/>
                      </a:cubicBezTo>
                      <a:cubicBezTo>
                        <a:pt x="739" y="181"/>
                        <a:pt x="739" y="182"/>
                        <a:pt x="739" y="183"/>
                      </a:cubicBezTo>
                      <a:cubicBezTo>
                        <a:pt x="739" y="184"/>
                        <a:pt x="739" y="184"/>
                        <a:pt x="740" y="184"/>
                      </a:cubicBezTo>
                      <a:cubicBezTo>
                        <a:pt x="742" y="184"/>
                        <a:pt x="744" y="184"/>
                        <a:pt x="746" y="184"/>
                      </a:cubicBezTo>
                      <a:cubicBezTo>
                        <a:pt x="747" y="184"/>
                        <a:pt x="747" y="184"/>
                        <a:pt x="747" y="183"/>
                      </a:cubicBezTo>
                      <a:cubicBezTo>
                        <a:pt x="747" y="183"/>
                        <a:pt x="747" y="182"/>
                        <a:pt x="747" y="182"/>
                      </a:cubicBezTo>
                      <a:cubicBezTo>
                        <a:pt x="747" y="171"/>
                        <a:pt x="747" y="161"/>
                        <a:pt x="747" y="150"/>
                      </a:cubicBezTo>
                      <a:cubicBezTo>
                        <a:pt x="747" y="149"/>
                        <a:pt x="747" y="148"/>
                        <a:pt x="747" y="146"/>
                      </a:cubicBezTo>
                      <a:cubicBezTo>
                        <a:pt x="747" y="144"/>
                        <a:pt x="746" y="142"/>
                        <a:pt x="745" y="140"/>
                      </a:cubicBezTo>
                      <a:cubicBezTo>
                        <a:pt x="744" y="136"/>
                        <a:pt x="741" y="133"/>
                        <a:pt x="737" y="132"/>
                      </a:cubicBezTo>
                      <a:cubicBezTo>
                        <a:pt x="736" y="131"/>
                        <a:pt x="734" y="131"/>
                        <a:pt x="732" y="131"/>
                      </a:cubicBezTo>
                      <a:cubicBezTo>
                        <a:pt x="725" y="130"/>
                        <a:pt x="719" y="131"/>
                        <a:pt x="713" y="134"/>
                      </a:cubicBezTo>
                      <a:cubicBezTo>
                        <a:pt x="713" y="134"/>
                        <a:pt x="712" y="135"/>
                        <a:pt x="712" y="135"/>
                      </a:cubicBezTo>
                      <a:cubicBezTo>
                        <a:pt x="711" y="135"/>
                        <a:pt x="711" y="136"/>
                        <a:pt x="711" y="136"/>
                      </a:cubicBezTo>
                      <a:cubicBezTo>
                        <a:pt x="711" y="139"/>
                        <a:pt x="711" y="141"/>
                        <a:pt x="711" y="144"/>
                      </a:cubicBezTo>
                      <a:cubicBezTo>
                        <a:pt x="712" y="143"/>
                        <a:pt x="713" y="143"/>
                        <a:pt x="714" y="142"/>
                      </a:cubicBezTo>
                      <a:close/>
                      <a:moveTo>
                        <a:pt x="471" y="29"/>
                      </a:moveTo>
                      <a:cubicBezTo>
                        <a:pt x="473" y="36"/>
                        <a:pt x="476" y="43"/>
                        <a:pt x="479" y="49"/>
                      </a:cubicBezTo>
                      <a:cubicBezTo>
                        <a:pt x="482" y="59"/>
                        <a:pt x="486" y="68"/>
                        <a:pt x="490" y="77"/>
                      </a:cubicBezTo>
                      <a:cubicBezTo>
                        <a:pt x="490" y="78"/>
                        <a:pt x="490" y="79"/>
                        <a:pt x="490" y="81"/>
                      </a:cubicBezTo>
                      <a:cubicBezTo>
                        <a:pt x="488" y="83"/>
                        <a:pt x="487" y="86"/>
                        <a:pt x="486" y="89"/>
                      </a:cubicBezTo>
                      <a:cubicBezTo>
                        <a:pt x="486" y="90"/>
                        <a:pt x="485" y="91"/>
                        <a:pt x="484" y="92"/>
                      </a:cubicBezTo>
                      <a:cubicBezTo>
                        <a:pt x="482" y="96"/>
                        <a:pt x="479" y="97"/>
                        <a:pt x="475" y="96"/>
                      </a:cubicBezTo>
                      <a:cubicBezTo>
                        <a:pt x="474" y="96"/>
                        <a:pt x="472" y="95"/>
                        <a:pt x="472" y="96"/>
                      </a:cubicBezTo>
                      <a:cubicBezTo>
                        <a:pt x="471" y="97"/>
                        <a:pt x="472" y="98"/>
                        <a:pt x="472" y="99"/>
                      </a:cubicBezTo>
                      <a:cubicBezTo>
                        <a:pt x="471" y="100"/>
                        <a:pt x="471" y="101"/>
                        <a:pt x="472" y="102"/>
                      </a:cubicBezTo>
                      <a:cubicBezTo>
                        <a:pt x="472" y="103"/>
                        <a:pt x="472" y="103"/>
                        <a:pt x="473" y="103"/>
                      </a:cubicBezTo>
                      <a:cubicBezTo>
                        <a:pt x="478" y="104"/>
                        <a:pt x="483" y="104"/>
                        <a:pt x="487" y="100"/>
                      </a:cubicBezTo>
                      <a:cubicBezTo>
                        <a:pt x="489" y="98"/>
                        <a:pt x="490" y="97"/>
                        <a:pt x="492" y="95"/>
                      </a:cubicBezTo>
                      <a:cubicBezTo>
                        <a:pt x="493" y="92"/>
                        <a:pt x="494" y="90"/>
                        <a:pt x="495" y="87"/>
                      </a:cubicBezTo>
                      <a:cubicBezTo>
                        <a:pt x="499" y="79"/>
                        <a:pt x="502" y="70"/>
                        <a:pt x="506" y="62"/>
                      </a:cubicBezTo>
                      <a:cubicBezTo>
                        <a:pt x="510" y="51"/>
                        <a:pt x="514" y="40"/>
                        <a:pt x="519" y="29"/>
                      </a:cubicBezTo>
                      <a:cubicBezTo>
                        <a:pt x="519" y="28"/>
                        <a:pt x="519" y="27"/>
                        <a:pt x="519" y="26"/>
                      </a:cubicBezTo>
                      <a:cubicBezTo>
                        <a:pt x="516" y="26"/>
                        <a:pt x="514" y="26"/>
                        <a:pt x="511" y="26"/>
                      </a:cubicBezTo>
                      <a:cubicBezTo>
                        <a:pt x="508" y="34"/>
                        <a:pt x="505" y="41"/>
                        <a:pt x="503" y="48"/>
                      </a:cubicBezTo>
                      <a:cubicBezTo>
                        <a:pt x="500" y="55"/>
                        <a:pt x="498" y="63"/>
                        <a:pt x="495" y="70"/>
                      </a:cubicBezTo>
                      <a:cubicBezTo>
                        <a:pt x="494" y="69"/>
                        <a:pt x="494" y="68"/>
                        <a:pt x="493" y="67"/>
                      </a:cubicBezTo>
                      <a:cubicBezTo>
                        <a:pt x="489" y="54"/>
                        <a:pt x="485" y="42"/>
                        <a:pt x="480" y="30"/>
                      </a:cubicBezTo>
                      <a:cubicBezTo>
                        <a:pt x="479" y="26"/>
                        <a:pt x="480" y="26"/>
                        <a:pt x="475" y="26"/>
                      </a:cubicBezTo>
                      <a:cubicBezTo>
                        <a:pt x="474" y="26"/>
                        <a:pt x="472" y="26"/>
                        <a:pt x="470" y="26"/>
                      </a:cubicBezTo>
                      <a:cubicBezTo>
                        <a:pt x="470" y="26"/>
                        <a:pt x="470" y="27"/>
                        <a:pt x="470" y="27"/>
                      </a:cubicBezTo>
                      <a:cubicBezTo>
                        <a:pt x="470" y="27"/>
                        <a:pt x="470" y="28"/>
                        <a:pt x="471" y="29"/>
                      </a:cubicBezTo>
                      <a:close/>
                      <a:moveTo>
                        <a:pt x="132" y="140"/>
                      </a:moveTo>
                      <a:cubicBezTo>
                        <a:pt x="132" y="139"/>
                        <a:pt x="132" y="138"/>
                        <a:pt x="132" y="137"/>
                      </a:cubicBezTo>
                      <a:cubicBezTo>
                        <a:pt x="132" y="136"/>
                        <a:pt x="132" y="134"/>
                        <a:pt x="132" y="133"/>
                      </a:cubicBezTo>
                      <a:cubicBezTo>
                        <a:pt x="132" y="132"/>
                        <a:pt x="132" y="132"/>
                        <a:pt x="131" y="132"/>
                      </a:cubicBezTo>
                      <a:cubicBezTo>
                        <a:pt x="129" y="132"/>
                        <a:pt x="127" y="132"/>
                        <a:pt x="125" y="132"/>
                      </a:cubicBezTo>
                      <a:cubicBezTo>
                        <a:pt x="124" y="132"/>
                        <a:pt x="124" y="132"/>
                        <a:pt x="124" y="133"/>
                      </a:cubicBezTo>
                      <a:cubicBezTo>
                        <a:pt x="124" y="133"/>
                        <a:pt x="124" y="133"/>
                        <a:pt x="124" y="134"/>
                      </a:cubicBezTo>
                      <a:cubicBezTo>
                        <a:pt x="124" y="150"/>
                        <a:pt x="124" y="166"/>
                        <a:pt x="124" y="182"/>
                      </a:cubicBezTo>
                      <a:cubicBezTo>
                        <a:pt x="124" y="184"/>
                        <a:pt x="124" y="184"/>
                        <a:pt x="126" y="184"/>
                      </a:cubicBezTo>
                      <a:cubicBezTo>
                        <a:pt x="127" y="184"/>
                        <a:pt x="129" y="184"/>
                        <a:pt x="130" y="184"/>
                      </a:cubicBezTo>
                      <a:cubicBezTo>
                        <a:pt x="131" y="184"/>
                        <a:pt x="131" y="184"/>
                        <a:pt x="131" y="184"/>
                      </a:cubicBezTo>
                      <a:cubicBezTo>
                        <a:pt x="132" y="184"/>
                        <a:pt x="132" y="184"/>
                        <a:pt x="132" y="183"/>
                      </a:cubicBezTo>
                      <a:cubicBezTo>
                        <a:pt x="132" y="183"/>
                        <a:pt x="132" y="182"/>
                        <a:pt x="132" y="181"/>
                      </a:cubicBezTo>
                      <a:cubicBezTo>
                        <a:pt x="132" y="173"/>
                        <a:pt x="132" y="164"/>
                        <a:pt x="132" y="156"/>
                      </a:cubicBezTo>
                      <a:cubicBezTo>
                        <a:pt x="132" y="155"/>
                        <a:pt x="132" y="154"/>
                        <a:pt x="132" y="153"/>
                      </a:cubicBezTo>
                      <a:cubicBezTo>
                        <a:pt x="132" y="150"/>
                        <a:pt x="133" y="148"/>
                        <a:pt x="134" y="146"/>
                      </a:cubicBezTo>
                      <a:cubicBezTo>
                        <a:pt x="137" y="140"/>
                        <a:pt x="142" y="137"/>
                        <a:pt x="148" y="138"/>
                      </a:cubicBezTo>
                      <a:cubicBezTo>
                        <a:pt x="152" y="138"/>
                        <a:pt x="155" y="140"/>
                        <a:pt x="157" y="144"/>
                      </a:cubicBezTo>
                      <a:cubicBezTo>
                        <a:pt x="158" y="145"/>
                        <a:pt x="158" y="145"/>
                        <a:pt x="158" y="146"/>
                      </a:cubicBezTo>
                      <a:cubicBezTo>
                        <a:pt x="159" y="149"/>
                        <a:pt x="159" y="152"/>
                        <a:pt x="159" y="155"/>
                      </a:cubicBezTo>
                      <a:cubicBezTo>
                        <a:pt x="159" y="164"/>
                        <a:pt x="159" y="172"/>
                        <a:pt x="159" y="181"/>
                      </a:cubicBezTo>
                      <a:cubicBezTo>
                        <a:pt x="159" y="182"/>
                        <a:pt x="159" y="183"/>
                        <a:pt x="159" y="183"/>
                      </a:cubicBezTo>
                      <a:cubicBezTo>
                        <a:pt x="159" y="184"/>
                        <a:pt x="159" y="184"/>
                        <a:pt x="160" y="184"/>
                      </a:cubicBezTo>
                      <a:cubicBezTo>
                        <a:pt x="162" y="184"/>
                        <a:pt x="164" y="184"/>
                        <a:pt x="167" y="184"/>
                      </a:cubicBezTo>
                      <a:cubicBezTo>
                        <a:pt x="167" y="184"/>
                        <a:pt x="167" y="184"/>
                        <a:pt x="167" y="184"/>
                      </a:cubicBezTo>
                      <a:cubicBezTo>
                        <a:pt x="168" y="183"/>
                        <a:pt x="167" y="182"/>
                        <a:pt x="167" y="182"/>
                      </a:cubicBezTo>
                      <a:cubicBezTo>
                        <a:pt x="167" y="172"/>
                        <a:pt x="168" y="163"/>
                        <a:pt x="167" y="153"/>
                      </a:cubicBezTo>
                      <a:cubicBezTo>
                        <a:pt x="167" y="151"/>
                        <a:pt x="167" y="150"/>
                        <a:pt x="167" y="148"/>
                      </a:cubicBezTo>
                      <a:cubicBezTo>
                        <a:pt x="167" y="145"/>
                        <a:pt x="166" y="142"/>
                        <a:pt x="165" y="139"/>
                      </a:cubicBezTo>
                      <a:cubicBezTo>
                        <a:pt x="162" y="135"/>
                        <a:pt x="159" y="132"/>
                        <a:pt x="155" y="131"/>
                      </a:cubicBezTo>
                      <a:cubicBezTo>
                        <a:pt x="153" y="130"/>
                        <a:pt x="151" y="130"/>
                        <a:pt x="149" y="130"/>
                      </a:cubicBezTo>
                      <a:cubicBezTo>
                        <a:pt x="143" y="131"/>
                        <a:pt x="138" y="133"/>
                        <a:pt x="134" y="138"/>
                      </a:cubicBezTo>
                      <a:cubicBezTo>
                        <a:pt x="134" y="138"/>
                        <a:pt x="133" y="139"/>
                        <a:pt x="133" y="140"/>
                      </a:cubicBezTo>
                      <a:cubicBezTo>
                        <a:pt x="133" y="140"/>
                        <a:pt x="132" y="140"/>
                        <a:pt x="132" y="140"/>
                      </a:cubicBezTo>
                      <a:close/>
                      <a:moveTo>
                        <a:pt x="768" y="140"/>
                      </a:moveTo>
                      <a:cubicBezTo>
                        <a:pt x="768" y="139"/>
                        <a:pt x="768" y="139"/>
                        <a:pt x="768" y="138"/>
                      </a:cubicBezTo>
                      <a:cubicBezTo>
                        <a:pt x="768" y="136"/>
                        <a:pt x="768" y="135"/>
                        <a:pt x="768" y="133"/>
                      </a:cubicBezTo>
                      <a:cubicBezTo>
                        <a:pt x="768" y="132"/>
                        <a:pt x="768" y="132"/>
                        <a:pt x="767" y="132"/>
                      </a:cubicBezTo>
                      <a:cubicBezTo>
                        <a:pt x="765" y="132"/>
                        <a:pt x="763" y="132"/>
                        <a:pt x="761" y="132"/>
                      </a:cubicBezTo>
                      <a:cubicBezTo>
                        <a:pt x="760" y="132"/>
                        <a:pt x="760" y="132"/>
                        <a:pt x="760" y="133"/>
                      </a:cubicBezTo>
                      <a:cubicBezTo>
                        <a:pt x="760" y="133"/>
                        <a:pt x="760" y="134"/>
                        <a:pt x="760" y="134"/>
                      </a:cubicBezTo>
                      <a:cubicBezTo>
                        <a:pt x="760" y="150"/>
                        <a:pt x="760" y="166"/>
                        <a:pt x="760" y="182"/>
                      </a:cubicBezTo>
                      <a:cubicBezTo>
                        <a:pt x="760" y="183"/>
                        <a:pt x="760" y="183"/>
                        <a:pt x="760" y="184"/>
                      </a:cubicBezTo>
                      <a:cubicBezTo>
                        <a:pt x="760" y="184"/>
                        <a:pt x="760" y="184"/>
                        <a:pt x="761" y="184"/>
                      </a:cubicBezTo>
                      <a:cubicBezTo>
                        <a:pt x="761" y="184"/>
                        <a:pt x="762" y="184"/>
                        <a:pt x="763" y="184"/>
                      </a:cubicBezTo>
                      <a:cubicBezTo>
                        <a:pt x="764" y="184"/>
                        <a:pt x="766" y="184"/>
                        <a:pt x="767" y="184"/>
                      </a:cubicBezTo>
                      <a:cubicBezTo>
                        <a:pt x="768" y="184"/>
                        <a:pt x="768" y="184"/>
                        <a:pt x="768" y="183"/>
                      </a:cubicBezTo>
                      <a:cubicBezTo>
                        <a:pt x="768" y="183"/>
                        <a:pt x="768" y="182"/>
                        <a:pt x="768" y="182"/>
                      </a:cubicBezTo>
                      <a:cubicBezTo>
                        <a:pt x="768" y="173"/>
                        <a:pt x="768" y="165"/>
                        <a:pt x="768" y="156"/>
                      </a:cubicBezTo>
                      <a:cubicBezTo>
                        <a:pt x="768" y="155"/>
                        <a:pt x="768" y="153"/>
                        <a:pt x="768" y="152"/>
                      </a:cubicBezTo>
                      <a:cubicBezTo>
                        <a:pt x="769" y="150"/>
                        <a:pt x="769" y="147"/>
                        <a:pt x="771" y="145"/>
                      </a:cubicBezTo>
                      <a:cubicBezTo>
                        <a:pt x="774" y="140"/>
                        <a:pt x="778" y="137"/>
                        <a:pt x="784" y="138"/>
                      </a:cubicBezTo>
                      <a:cubicBezTo>
                        <a:pt x="788" y="138"/>
                        <a:pt x="791" y="140"/>
                        <a:pt x="793" y="143"/>
                      </a:cubicBezTo>
                      <a:cubicBezTo>
                        <a:pt x="793" y="144"/>
                        <a:pt x="794" y="145"/>
                        <a:pt x="794" y="146"/>
                      </a:cubicBezTo>
                      <a:cubicBezTo>
                        <a:pt x="795" y="149"/>
                        <a:pt x="795" y="152"/>
                        <a:pt x="795" y="154"/>
                      </a:cubicBezTo>
                      <a:cubicBezTo>
                        <a:pt x="795" y="163"/>
                        <a:pt x="795" y="172"/>
                        <a:pt x="795" y="181"/>
                      </a:cubicBezTo>
                      <a:cubicBezTo>
                        <a:pt x="795" y="182"/>
                        <a:pt x="795" y="183"/>
                        <a:pt x="795" y="184"/>
                      </a:cubicBezTo>
                      <a:cubicBezTo>
                        <a:pt x="795" y="184"/>
                        <a:pt x="795" y="184"/>
                        <a:pt x="796" y="184"/>
                      </a:cubicBezTo>
                      <a:cubicBezTo>
                        <a:pt x="798" y="184"/>
                        <a:pt x="800" y="184"/>
                        <a:pt x="803" y="184"/>
                      </a:cubicBezTo>
                      <a:cubicBezTo>
                        <a:pt x="803" y="184"/>
                        <a:pt x="803" y="184"/>
                        <a:pt x="803" y="184"/>
                      </a:cubicBezTo>
                      <a:cubicBezTo>
                        <a:pt x="804" y="183"/>
                        <a:pt x="804" y="182"/>
                        <a:pt x="804" y="182"/>
                      </a:cubicBezTo>
                      <a:cubicBezTo>
                        <a:pt x="804" y="172"/>
                        <a:pt x="804" y="162"/>
                        <a:pt x="804" y="152"/>
                      </a:cubicBezTo>
                      <a:cubicBezTo>
                        <a:pt x="804" y="151"/>
                        <a:pt x="803" y="149"/>
                        <a:pt x="803" y="148"/>
                      </a:cubicBezTo>
                      <a:cubicBezTo>
                        <a:pt x="803" y="144"/>
                        <a:pt x="802" y="141"/>
                        <a:pt x="801" y="138"/>
                      </a:cubicBezTo>
                      <a:cubicBezTo>
                        <a:pt x="798" y="135"/>
                        <a:pt x="795" y="132"/>
                        <a:pt x="791" y="131"/>
                      </a:cubicBezTo>
                      <a:cubicBezTo>
                        <a:pt x="789" y="131"/>
                        <a:pt x="787" y="130"/>
                        <a:pt x="785" y="130"/>
                      </a:cubicBezTo>
                      <a:cubicBezTo>
                        <a:pt x="779" y="131"/>
                        <a:pt x="774" y="133"/>
                        <a:pt x="770" y="138"/>
                      </a:cubicBezTo>
                      <a:cubicBezTo>
                        <a:pt x="770" y="139"/>
                        <a:pt x="769" y="139"/>
                        <a:pt x="769" y="140"/>
                      </a:cubicBezTo>
                      <a:cubicBezTo>
                        <a:pt x="769" y="140"/>
                        <a:pt x="768" y="140"/>
                        <a:pt x="768" y="140"/>
                      </a:cubicBezTo>
                      <a:close/>
                      <a:moveTo>
                        <a:pt x="876" y="33"/>
                      </a:moveTo>
                      <a:cubicBezTo>
                        <a:pt x="876" y="31"/>
                        <a:pt x="876" y="29"/>
                        <a:pt x="876" y="28"/>
                      </a:cubicBezTo>
                      <a:cubicBezTo>
                        <a:pt x="876" y="26"/>
                        <a:pt x="876" y="26"/>
                        <a:pt x="874" y="26"/>
                      </a:cubicBezTo>
                      <a:cubicBezTo>
                        <a:pt x="873" y="26"/>
                        <a:pt x="871" y="26"/>
                        <a:pt x="870" y="26"/>
                      </a:cubicBezTo>
                      <a:cubicBezTo>
                        <a:pt x="867" y="26"/>
                        <a:pt x="867" y="26"/>
                        <a:pt x="867" y="29"/>
                      </a:cubicBezTo>
                      <a:cubicBezTo>
                        <a:pt x="867" y="45"/>
                        <a:pt x="867" y="61"/>
                        <a:pt x="867" y="77"/>
                      </a:cubicBezTo>
                      <a:cubicBezTo>
                        <a:pt x="867" y="77"/>
                        <a:pt x="867" y="78"/>
                        <a:pt x="867" y="78"/>
                      </a:cubicBezTo>
                      <a:cubicBezTo>
                        <a:pt x="867" y="79"/>
                        <a:pt x="868" y="79"/>
                        <a:pt x="868" y="79"/>
                      </a:cubicBezTo>
                      <a:cubicBezTo>
                        <a:pt x="870" y="79"/>
                        <a:pt x="873" y="79"/>
                        <a:pt x="875" y="79"/>
                      </a:cubicBezTo>
                      <a:cubicBezTo>
                        <a:pt x="876" y="79"/>
                        <a:pt x="876" y="79"/>
                        <a:pt x="876" y="78"/>
                      </a:cubicBezTo>
                      <a:cubicBezTo>
                        <a:pt x="876" y="77"/>
                        <a:pt x="876" y="77"/>
                        <a:pt x="876" y="76"/>
                      </a:cubicBezTo>
                      <a:cubicBezTo>
                        <a:pt x="876" y="68"/>
                        <a:pt x="876" y="59"/>
                        <a:pt x="876" y="51"/>
                      </a:cubicBezTo>
                      <a:cubicBezTo>
                        <a:pt x="876" y="50"/>
                        <a:pt x="876" y="48"/>
                        <a:pt x="876" y="47"/>
                      </a:cubicBezTo>
                      <a:cubicBezTo>
                        <a:pt x="876" y="44"/>
                        <a:pt x="877" y="41"/>
                        <a:pt x="879" y="39"/>
                      </a:cubicBezTo>
                      <a:cubicBezTo>
                        <a:pt x="882" y="34"/>
                        <a:pt x="886" y="32"/>
                        <a:pt x="892" y="32"/>
                      </a:cubicBezTo>
                      <a:cubicBezTo>
                        <a:pt x="896" y="33"/>
                        <a:pt x="899" y="35"/>
                        <a:pt x="901" y="39"/>
                      </a:cubicBezTo>
                      <a:cubicBezTo>
                        <a:pt x="901" y="40"/>
                        <a:pt x="901" y="40"/>
                        <a:pt x="902" y="41"/>
                      </a:cubicBezTo>
                      <a:cubicBezTo>
                        <a:pt x="902" y="44"/>
                        <a:pt x="903" y="47"/>
                        <a:pt x="903" y="49"/>
                      </a:cubicBezTo>
                      <a:cubicBezTo>
                        <a:pt x="903" y="58"/>
                        <a:pt x="903" y="67"/>
                        <a:pt x="903" y="76"/>
                      </a:cubicBezTo>
                      <a:cubicBezTo>
                        <a:pt x="903" y="76"/>
                        <a:pt x="903" y="77"/>
                        <a:pt x="903" y="78"/>
                      </a:cubicBezTo>
                      <a:cubicBezTo>
                        <a:pt x="903" y="79"/>
                        <a:pt x="903" y="79"/>
                        <a:pt x="904" y="79"/>
                      </a:cubicBezTo>
                      <a:cubicBezTo>
                        <a:pt x="906" y="79"/>
                        <a:pt x="907" y="79"/>
                        <a:pt x="909" y="79"/>
                      </a:cubicBezTo>
                      <a:cubicBezTo>
                        <a:pt x="911" y="79"/>
                        <a:pt x="911" y="79"/>
                        <a:pt x="911" y="77"/>
                      </a:cubicBezTo>
                      <a:cubicBezTo>
                        <a:pt x="911" y="77"/>
                        <a:pt x="911" y="77"/>
                        <a:pt x="911" y="76"/>
                      </a:cubicBezTo>
                      <a:cubicBezTo>
                        <a:pt x="911" y="67"/>
                        <a:pt x="911" y="57"/>
                        <a:pt x="911" y="47"/>
                      </a:cubicBezTo>
                      <a:cubicBezTo>
                        <a:pt x="911" y="46"/>
                        <a:pt x="911" y="44"/>
                        <a:pt x="911" y="43"/>
                      </a:cubicBezTo>
                      <a:cubicBezTo>
                        <a:pt x="911" y="39"/>
                        <a:pt x="910" y="36"/>
                        <a:pt x="908" y="33"/>
                      </a:cubicBezTo>
                      <a:cubicBezTo>
                        <a:pt x="906" y="29"/>
                        <a:pt x="903" y="27"/>
                        <a:pt x="898" y="26"/>
                      </a:cubicBezTo>
                      <a:cubicBezTo>
                        <a:pt x="896" y="25"/>
                        <a:pt x="894" y="25"/>
                        <a:pt x="892" y="25"/>
                      </a:cubicBezTo>
                      <a:cubicBezTo>
                        <a:pt x="886" y="25"/>
                        <a:pt x="882" y="28"/>
                        <a:pt x="878" y="32"/>
                      </a:cubicBezTo>
                      <a:cubicBezTo>
                        <a:pt x="877" y="33"/>
                        <a:pt x="877" y="34"/>
                        <a:pt x="876" y="35"/>
                      </a:cubicBezTo>
                      <a:cubicBezTo>
                        <a:pt x="876" y="34"/>
                        <a:pt x="876" y="33"/>
                        <a:pt x="876" y="33"/>
                      </a:cubicBezTo>
                      <a:close/>
                      <a:moveTo>
                        <a:pt x="324" y="179"/>
                      </a:moveTo>
                      <a:cubicBezTo>
                        <a:pt x="324" y="181"/>
                        <a:pt x="324" y="182"/>
                        <a:pt x="324" y="183"/>
                      </a:cubicBezTo>
                      <a:cubicBezTo>
                        <a:pt x="324" y="184"/>
                        <a:pt x="324" y="184"/>
                        <a:pt x="325" y="184"/>
                      </a:cubicBezTo>
                      <a:cubicBezTo>
                        <a:pt x="327" y="184"/>
                        <a:pt x="328" y="184"/>
                        <a:pt x="330" y="184"/>
                      </a:cubicBezTo>
                      <a:cubicBezTo>
                        <a:pt x="333" y="184"/>
                        <a:pt x="333" y="185"/>
                        <a:pt x="333" y="181"/>
                      </a:cubicBezTo>
                      <a:cubicBezTo>
                        <a:pt x="333" y="166"/>
                        <a:pt x="333" y="150"/>
                        <a:pt x="333" y="135"/>
                      </a:cubicBezTo>
                      <a:cubicBezTo>
                        <a:pt x="333" y="131"/>
                        <a:pt x="333" y="132"/>
                        <a:pt x="329" y="132"/>
                      </a:cubicBezTo>
                      <a:cubicBezTo>
                        <a:pt x="328" y="132"/>
                        <a:pt x="326" y="132"/>
                        <a:pt x="325" y="132"/>
                      </a:cubicBezTo>
                      <a:cubicBezTo>
                        <a:pt x="324" y="132"/>
                        <a:pt x="324" y="132"/>
                        <a:pt x="324" y="132"/>
                      </a:cubicBezTo>
                      <a:cubicBezTo>
                        <a:pt x="324" y="133"/>
                        <a:pt x="324" y="134"/>
                        <a:pt x="324" y="135"/>
                      </a:cubicBezTo>
                      <a:cubicBezTo>
                        <a:pt x="324" y="143"/>
                        <a:pt x="324" y="151"/>
                        <a:pt x="324" y="160"/>
                      </a:cubicBezTo>
                      <a:cubicBezTo>
                        <a:pt x="324" y="161"/>
                        <a:pt x="324" y="163"/>
                        <a:pt x="324" y="164"/>
                      </a:cubicBezTo>
                      <a:cubicBezTo>
                        <a:pt x="324" y="166"/>
                        <a:pt x="323" y="169"/>
                        <a:pt x="322" y="171"/>
                      </a:cubicBezTo>
                      <a:cubicBezTo>
                        <a:pt x="319" y="178"/>
                        <a:pt x="312" y="180"/>
                        <a:pt x="306" y="178"/>
                      </a:cubicBezTo>
                      <a:cubicBezTo>
                        <a:pt x="303" y="177"/>
                        <a:pt x="301" y="176"/>
                        <a:pt x="300" y="173"/>
                      </a:cubicBezTo>
                      <a:cubicBezTo>
                        <a:pt x="299" y="172"/>
                        <a:pt x="299" y="171"/>
                        <a:pt x="298" y="170"/>
                      </a:cubicBezTo>
                      <a:cubicBezTo>
                        <a:pt x="298" y="167"/>
                        <a:pt x="297" y="165"/>
                        <a:pt x="297" y="162"/>
                      </a:cubicBezTo>
                      <a:cubicBezTo>
                        <a:pt x="297" y="153"/>
                        <a:pt x="297" y="144"/>
                        <a:pt x="297" y="135"/>
                      </a:cubicBezTo>
                      <a:cubicBezTo>
                        <a:pt x="297" y="134"/>
                        <a:pt x="297" y="133"/>
                        <a:pt x="297" y="132"/>
                      </a:cubicBezTo>
                      <a:cubicBezTo>
                        <a:pt x="297" y="132"/>
                        <a:pt x="297" y="132"/>
                        <a:pt x="297" y="132"/>
                      </a:cubicBezTo>
                      <a:cubicBezTo>
                        <a:pt x="296" y="132"/>
                        <a:pt x="296" y="132"/>
                        <a:pt x="296" y="132"/>
                      </a:cubicBezTo>
                      <a:cubicBezTo>
                        <a:pt x="294" y="132"/>
                        <a:pt x="292" y="132"/>
                        <a:pt x="290" y="132"/>
                      </a:cubicBezTo>
                      <a:cubicBezTo>
                        <a:pt x="289" y="132"/>
                        <a:pt x="289" y="132"/>
                        <a:pt x="289" y="133"/>
                      </a:cubicBezTo>
                      <a:cubicBezTo>
                        <a:pt x="289" y="133"/>
                        <a:pt x="289" y="134"/>
                        <a:pt x="289" y="134"/>
                      </a:cubicBezTo>
                      <a:cubicBezTo>
                        <a:pt x="289" y="144"/>
                        <a:pt x="289" y="154"/>
                        <a:pt x="289" y="163"/>
                      </a:cubicBezTo>
                      <a:cubicBezTo>
                        <a:pt x="289" y="165"/>
                        <a:pt x="289" y="166"/>
                        <a:pt x="289" y="168"/>
                      </a:cubicBezTo>
                      <a:cubicBezTo>
                        <a:pt x="289" y="171"/>
                        <a:pt x="290" y="174"/>
                        <a:pt x="291" y="176"/>
                      </a:cubicBezTo>
                      <a:cubicBezTo>
                        <a:pt x="293" y="181"/>
                        <a:pt x="296" y="183"/>
                        <a:pt x="301" y="185"/>
                      </a:cubicBezTo>
                      <a:cubicBezTo>
                        <a:pt x="304" y="186"/>
                        <a:pt x="307" y="186"/>
                        <a:pt x="310" y="186"/>
                      </a:cubicBezTo>
                      <a:cubicBezTo>
                        <a:pt x="315" y="185"/>
                        <a:pt x="319" y="183"/>
                        <a:pt x="322" y="178"/>
                      </a:cubicBezTo>
                      <a:cubicBezTo>
                        <a:pt x="323" y="178"/>
                        <a:pt x="323" y="177"/>
                        <a:pt x="324" y="177"/>
                      </a:cubicBezTo>
                      <a:cubicBezTo>
                        <a:pt x="324" y="178"/>
                        <a:pt x="324" y="178"/>
                        <a:pt x="324" y="179"/>
                      </a:cubicBezTo>
                      <a:close/>
                      <a:moveTo>
                        <a:pt x="550" y="140"/>
                      </a:moveTo>
                      <a:cubicBezTo>
                        <a:pt x="550" y="139"/>
                        <a:pt x="550" y="138"/>
                        <a:pt x="550" y="137"/>
                      </a:cubicBezTo>
                      <a:cubicBezTo>
                        <a:pt x="550" y="136"/>
                        <a:pt x="550" y="134"/>
                        <a:pt x="550" y="133"/>
                      </a:cubicBezTo>
                      <a:cubicBezTo>
                        <a:pt x="550" y="132"/>
                        <a:pt x="550" y="132"/>
                        <a:pt x="549" y="132"/>
                      </a:cubicBezTo>
                      <a:cubicBezTo>
                        <a:pt x="547" y="132"/>
                        <a:pt x="545" y="132"/>
                        <a:pt x="543" y="132"/>
                      </a:cubicBezTo>
                      <a:cubicBezTo>
                        <a:pt x="541" y="132"/>
                        <a:pt x="541" y="132"/>
                        <a:pt x="541" y="133"/>
                      </a:cubicBezTo>
                      <a:cubicBezTo>
                        <a:pt x="541" y="133"/>
                        <a:pt x="541" y="134"/>
                        <a:pt x="541" y="135"/>
                      </a:cubicBezTo>
                      <a:cubicBezTo>
                        <a:pt x="541" y="150"/>
                        <a:pt x="541" y="166"/>
                        <a:pt x="541" y="182"/>
                      </a:cubicBezTo>
                      <a:cubicBezTo>
                        <a:pt x="541" y="182"/>
                        <a:pt x="541" y="183"/>
                        <a:pt x="541" y="183"/>
                      </a:cubicBezTo>
                      <a:cubicBezTo>
                        <a:pt x="541" y="184"/>
                        <a:pt x="542" y="184"/>
                        <a:pt x="542" y="184"/>
                      </a:cubicBezTo>
                      <a:cubicBezTo>
                        <a:pt x="544" y="184"/>
                        <a:pt x="545" y="184"/>
                        <a:pt x="547" y="184"/>
                      </a:cubicBezTo>
                      <a:cubicBezTo>
                        <a:pt x="550" y="184"/>
                        <a:pt x="550" y="185"/>
                        <a:pt x="550" y="181"/>
                      </a:cubicBezTo>
                      <a:cubicBezTo>
                        <a:pt x="550" y="173"/>
                        <a:pt x="550" y="164"/>
                        <a:pt x="550" y="155"/>
                      </a:cubicBezTo>
                      <a:cubicBezTo>
                        <a:pt x="550" y="153"/>
                        <a:pt x="550" y="151"/>
                        <a:pt x="551" y="148"/>
                      </a:cubicBezTo>
                      <a:cubicBezTo>
                        <a:pt x="552" y="143"/>
                        <a:pt x="557" y="137"/>
                        <a:pt x="566" y="138"/>
                      </a:cubicBezTo>
                      <a:cubicBezTo>
                        <a:pt x="570" y="138"/>
                        <a:pt x="573" y="140"/>
                        <a:pt x="575" y="144"/>
                      </a:cubicBezTo>
                      <a:cubicBezTo>
                        <a:pt x="575" y="145"/>
                        <a:pt x="575" y="146"/>
                        <a:pt x="576" y="146"/>
                      </a:cubicBezTo>
                      <a:cubicBezTo>
                        <a:pt x="576" y="149"/>
                        <a:pt x="577" y="152"/>
                        <a:pt x="577" y="155"/>
                      </a:cubicBezTo>
                      <a:cubicBezTo>
                        <a:pt x="577" y="163"/>
                        <a:pt x="577" y="172"/>
                        <a:pt x="577" y="181"/>
                      </a:cubicBezTo>
                      <a:cubicBezTo>
                        <a:pt x="577" y="182"/>
                        <a:pt x="577" y="182"/>
                        <a:pt x="577" y="183"/>
                      </a:cubicBezTo>
                      <a:cubicBezTo>
                        <a:pt x="577" y="184"/>
                        <a:pt x="577" y="184"/>
                        <a:pt x="578" y="184"/>
                      </a:cubicBezTo>
                      <a:cubicBezTo>
                        <a:pt x="579" y="184"/>
                        <a:pt x="581" y="184"/>
                        <a:pt x="583" y="184"/>
                      </a:cubicBezTo>
                      <a:cubicBezTo>
                        <a:pt x="585" y="184"/>
                        <a:pt x="585" y="184"/>
                        <a:pt x="585" y="182"/>
                      </a:cubicBezTo>
                      <a:cubicBezTo>
                        <a:pt x="585" y="172"/>
                        <a:pt x="585" y="162"/>
                        <a:pt x="585" y="151"/>
                      </a:cubicBezTo>
                      <a:cubicBezTo>
                        <a:pt x="585" y="150"/>
                        <a:pt x="585" y="149"/>
                        <a:pt x="585" y="148"/>
                      </a:cubicBezTo>
                      <a:cubicBezTo>
                        <a:pt x="585" y="145"/>
                        <a:pt x="584" y="142"/>
                        <a:pt x="582" y="139"/>
                      </a:cubicBezTo>
                      <a:cubicBezTo>
                        <a:pt x="580" y="135"/>
                        <a:pt x="577" y="132"/>
                        <a:pt x="572" y="131"/>
                      </a:cubicBezTo>
                      <a:cubicBezTo>
                        <a:pt x="570" y="130"/>
                        <a:pt x="568" y="130"/>
                        <a:pt x="566" y="130"/>
                      </a:cubicBezTo>
                      <a:cubicBezTo>
                        <a:pt x="560" y="131"/>
                        <a:pt x="555" y="133"/>
                        <a:pt x="552" y="138"/>
                      </a:cubicBezTo>
                      <a:cubicBezTo>
                        <a:pt x="551" y="138"/>
                        <a:pt x="551" y="139"/>
                        <a:pt x="550" y="140"/>
                      </a:cubicBezTo>
                      <a:cubicBezTo>
                        <a:pt x="550" y="140"/>
                        <a:pt x="550" y="140"/>
                        <a:pt x="550" y="140"/>
                      </a:cubicBezTo>
                      <a:close/>
                      <a:moveTo>
                        <a:pt x="206" y="107"/>
                      </a:moveTo>
                      <a:cubicBezTo>
                        <a:pt x="206" y="106"/>
                        <a:pt x="206" y="106"/>
                        <a:pt x="205" y="106"/>
                      </a:cubicBezTo>
                      <a:cubicBezTo>
                        <a:pt x="203" y="105"/>
                        <a:pt x="201" y="105"/>
                        <a:pt x="199" y="105"/>
                      </a:cubicBezTo>
                      <a:cubicBezTo>
                        <a:pt x="192" y="106"/>
                        <a:pt x="188" y="109"/>
                        <a:pt x="185" y="115"/>
                      </a:cubicBezTo>
                      <a:cubicBezTo>
                        <a:pt x="184" y="117"/>
                        <a:pt x="183" y="120"/>
                        <a:pt x="183" y="122"/>
                      </a:cubicBezTo>
                      <a:cubicBezTo>
                        <a:pt x="183" y="124"/>
                        <a:pt x="183" y="126"/>
                        <a:pt x="183" y="128"/>
                      </a:cubicBezTo>
                      <a:cubicBezTo>
                        <a:pt x="183" y="129"/>
                        <a:pt x="183" y="130"/>
                        <a:pt x="183" y="130"/>
                      </a:cubicBezTo>
                      <a:cubicBezTo>
                        <a:pt x="183" y="132"/>
                        <a:pt x="183" y="132"/>
                        <a:pt x="182" y="132"/>
                      </a:cubicBezTo>
                      <a:cubicBezTo>
                        <a:pt x="181" y="132"/>
                        <a:pt x="181" y="132"/>
                        <a:pt x="181" y="132"/>
                      </a:cubicBezTo>
                      <a:cubicBezTo>
                        <a:pt x="179" y="132"/>
                        <a:pt x="177" y="132"/>
                        <a:pt x="175" y="132"/>
                      </a:cubicBezTo>
                      <a:cubicBezTo>
                        <a:pt x="175" y="132"/>
                        <a:pt x="174" y="132"/>
                        <a:pt x="174" y="133"/>
                      </a:cubicBezTo>
                      <a:cubicBezTo>
                        <a:pt x="174" y="134"/>
                        <a:pt x="174" y="136"/>
                        <a:pt x="174" y="138"/>
                      </a:cubicBezTo>
                      <a:cubicBezTo>
                        <a:pt x="174" y="139"/>
                        <a:pt x="175" y="139"/>
                        <a:pt x="175" y="139"/>
                      </a:cubicBezTo>
                      <a:cubicBezTo>
                        <a:pt x="175" y="139"/>
                        <a:pt x="176" y="139"/>
                        <a:pt x="176" y="139"/>
                      </a:cubicBezTo>
                      <a:cubicBezTo>
                        <a:pt x="178" y="139"/>
                        <a:pt x="180" y="139"/>
                        <a:pt x="182" y="139"/>
                      </a:cubicBezTo>
                      <a:cubicBezTo>
                        <a:pt x="183" y="139"/>
                        <a:pt x="183" y="139"/>
                        <a:pt x="183" y="140"/>
                      </a:cubicBezTo>
                      <a:cubicBezTo>
                        <a:pt x="183" y="141"/>
                        <a:pt x="183" y="141"/>
                        <a:pt x="183" y="142"/>
                      </a:cubicBezTo>
                      <a:cubicBezTo>
                        <a:pt x="183" y="155"/>
                        <a:pt x="183" y="168"/>
                        <a:pt x="183" y="181"/>
                      </a:cubicBezTo>
                      <a:cubicBezTo>
                        <a:pt x="183" y="182"/>
                        <a:pt x="183" y="183"/>
                        <a:pt x="183" y="183"/>
                      </a:cubicBezTo>
                      <a:cubicBezTo>
                        <a:pt x="183" y="184"/>
                        <a:pt x="183" y="184"/>
                        <a:pt x="184" y="184"/>
                      </a:cubicBezTo>
                      <a:cubicBezTo>
                        <a:pt x="186" y="184"/>
                        <a:pt x="188" y="184"/>
                        <a:pt x="191" y="184"/>
                      </a:cubicBezTo>
                      <a:cubicBezTo>
                        <a:pt x="191" y="184"/>
                        <a:pt x="192" y="184"/>
                        <a:pt x="192" y="184"/>
                      </a:cubicBezTo>
                      <a:cubicBezTo>
                        <a:pt x="192" y="183"/>
                        <a:pt x="192" y="182"/>
                        <a:pt x="192" y="181"/>
                      </a:cubicBezTo>
                      <a:cubicBezTo>
                        <a:pt x="192" y="168"/>
                        <a:pt x="192" y="155"/>
                        <a:pt x="192" y="142"/>
                      </a:cubicBezTo>
                      <a:cubicBezTo>
                        <a:pt x="192" y="141"/>
                        <a:pt x="192" y="141"/>
                        <a:pt x="192" y="140"/>
                      </a:cubicBezTo>
                      <a:cubicBezTo>
                        <a:pt x="192" y="139"/>
                        <a:pt x="192" y="139"/>
                        <a:pt x="193" y="139"/>
                      </a:cubicBezTo>
                      <a:cubicBezTo>
                        <a:pt x="195" y="139"/>
                        <a:pt x="198" y="139"/>
                        <a:pt x="200" y="139"/>
                      </a:cubicBezTo>
                      <a:cubicBezTo>
                        <a:pt x="201" y="139"/>
                        <a:pt x="203" y="139"/>
                        <a:pt x="204" y="139"/>
                      </a:cubicBezTo>
                      <a:cubicBezTo>
                        <a:pt x="204" y="137"/>
                        <a:pt x="204" y="136"/>
                        <a:pt x="204" y="135"/>
                      </a:cubicBezTo>
                      <a:cubicBezTo>
                        <a:pt x="204" y="131"/>
                        <a:pt x="204" y="132"/>
                        <a:pt x="201" y="132"/>
                      </a:cubicBezTo>
                      <a:cubicBezTo>
                        <a:pt x="198" y="132"/>
                        <a:pt x="195" y="132"/>
                        <a:pt x="193" y="132"/>
                      </a:cubicBezTo>
                      <a:cubicBezTo>
                        <a:pt x="192" y="132"/>
                        <a:pt x="192" y="131"/>
                        <a:pt x="192" y="131"/>
                      </a:cubicBezTo>
                      <a:cubicBezTo>
                        <a:pt x="192" y="128"/>
                        <a:pt x="192" y="125"/>
                        <a:pt x="192" y="122"/>
                      </a:cubicBezTo>
                      <a:cubicBezTo>
                        <a:pt x="192" y="121"/>
                        <a:pt x="192" y="120"/>
                        <a:pt x="192" y="118"/>
                      </a:cubicBezTo>
                      <a:cubicBezTo>
                        <a:pt x="194" y="115"/>
                        <a:pt x="196" y="113"/>
                        <a:pt x="200" y="112"/>
                      </a:cubicBezTo>
                      <a:cubicBezTo>
                        <a:pt x="202" y="112"/>
                        <a:pt x="204" y="113"/>
                        <a:pt x="206" y="114"/>
                      </a:cubicBezTo>
                      <a:cubicBezTo>
                        <a:pt x="206" y="111"/>
                        <a:pt x="206" y="109"/>
                        <a:pt x="206" y="107"/>
                      </a:cubicBezTo>
                      <a:close/>
                      <a:moveTo>
                        <a:pt x="522" y="69"/>
                      </a:moveTo>
                      <a:cubicBezTo>
                        <a:pt x="522" y="71"/>
                        <a:pt x="522" y="74"/>
                        <a:pt x="522" y="76"/>
                      </a:cubicBezTo>
                      <a:cubicBezTo>
                        <a:pt x="522" y="77"/>
                        <a:pt x="522" y="77"/>
                        <a:pt x="523" y="78"/>
                      </a:cubicBezTo>
                      <a:cubicBezTo>
                        <a:pt x="523" y="78"/>
                        <a:pt x="524" y="78"/>
                        <a:pt x="525" y="79"/>
                      </a:cubicBezTo>
                      <a:cubicBezTo>
                        <a:pt x="530" y="80"/>
                        <a:pt x="534" y="81"/>
                        <a:pt x="539" y="80"/>
                      </a:cubicBezTo>
                      <a:cubicBezTo>
                        <a:pt x="541" y="80"/>
                        <a:pt x="543" y="79"/>
                        <a:pt x="545" y="78"/>
                      </a:cubicBezTo>
                      <a:cubicBezTo>
                        <a:pt x="551" y="75"/>
                        <a:pt x="554" y="70"/>
                        <a:pt x="554" y="64"/>
                      </a:cubicBezTo>
                      <a:cubicBezTo>
                        <a:pt x="554" y="60"/>
                        <a:pt x="552" y="57"/>
                        <a:pt x="550" y="55"/>
                      </a:cubicBezTo>
                      <a:cubicBezTo>
                        <a:pt x="549" y="54"/>
                        <a:pt x="547" y="53"/>
                        <a:pt x="546" y="52"/>
                      </a:cubicBezTo>
                      <a:cubicBezTo>
                        <a:pt x="544" y="51"/>
                        <a:pt x="542" y="50"/>
                        <a:pt x="540" y="49"/>
                      </a:cubicBezTo>
                      <a:cubicBezTo>
                        <a:pt x="537" y="48"/>
                        <a:pt x="535" y="47"/>
                        <a:pt x="533" y="46"/>
                      </a:cubicBezTo>
                      <a:cubicBezTo>
                        <a:pt x="530" y="44"/>
                        <a:pt x="529" y="37"/>
                        <a:pt x="534" y="34"/>
                      </a:cubicBezTo>
                      <a:cubicBezTo>
                        <a:pt x="535" y="33"/>
                        <a:pt x="535" y="33"/>
                        <a:pt x="536" y="33"/>
                      </a:cubicBezTo>
                      <a:cubicBezTo>
                        <a:pt x="540" y="32"/>
                        <a:pt x="544" y="33"/>
                        <a:pt x="548" y="34"/>
                      </a:cubicBezTo>
                      <a:cubicBezTo>
                        <a:pt x="549" y="34"/>
                        <a:pt x="550" y="35"/>
                        <a:pt x="551" y="36"/>
                      </a:cubicBezTo>
                      <a:cubicBezTo>
                        <a:pt x="552" y="34"/>
                        <a:pt x="551" y="33"/>
                        <a:pt x="552" y="32"/>
                      </a:cubicBezTo>
                      <a:cubicBezTo>
                        <a:pt x="552" y="31"/>
                        <a:pt x="551" y="30"/>
                        <a:pt x="552" y="29"/>
                      </a:cubicBezTo>
                      <a:cubicBezTo>
                        <a:pt x="552" y="28"/>
                        <a:pt x="551" y="27"/>
                        <a:pt x="550" y="27"/>
                      </a:cubicBezTo>
                      <a:cubicBezTo>
                        <a:pt x="544" y="25"/>
                        <a:pt x="539" y="24"/>
                        <a:pt x="533" y="26"/>
                      </a:cubicBezTo>
                      <a:cubicBezTo>
                        <a:pt x="530" y="27"/>
                        <a:pt x="527" y="29"/>
                        <a:pt x="525" y="31"/>
                      </a:cubicBezTo>
                      <a:cubicBezTo>
                        <a:pt x="520" y="37"/>
                        <a:pt x="520" y="47"/>
                        <a:pt x="527" y="52"/>
                      </a:cubicBezTo>
                      <a:cubicBezTo>
                        <a:pt x="529" y="53"/>
                        <a:pt x="532" y="55"/>
                        <a:pt x="534" y="56"/>
                      </a:cubicBezTo>
                      <a:cubicBezTo>
                        <a:pt x="536" y="57"/>
                        <a:pt x="538" y="58"/>
                        <a:pt x="540" y="59"/>
                      </a:cubicBezTo>
                      <a:cubicBezTo>
                        <a:pt x="541" y="60"/>
                        <a:pt x="542" y="60"/>
                        <a:pt x="543" y="61"/>
                      </a:cubicBezTo>
                      <a:cubicBezTo>
                        <a:pt x="546" y="63"/>
                        <a:pt x="546" y="70"/>
                        <a:pt x="541" y="72"/>
                      </a:cubicBezTo>
                      <a:cubicBezTo>
                        <a:pt x="541" y="72"/>
                        <a:pt x="540" y="73"/>
                        <a:pt x="539" y="73"/>
                      </a:cubicBezTo>
                      <a:cubicBezTo>
                        <a:pt x="534" y="74"/>
                        <a:pt x="529" y="73"/>
                        <a:pt x="524" y="70"/>
                      </a:cubicBezTo>
                      <a:cubicBezTo>
                        <a:pt x="523" y="69"/>
                        <a:pt x="523" y="69"/>
                        <a:pt x="522" y="68"/>
                      </a:cubicBezTo>
                      <a:cubicBezTo>
                        <a:pt x="522" y="69"/>
                        <a:pt x="522" y="69"/>
                        <a:pt x="522" y="69"/>
                      </a:cubicBezTo>
                      <a:close/>
                      <a:moveTo>
                        <a:pt x="249" y="76"/>
                      </a:moveTo>
                      <a:cubicBezTo>
                        <a:pt x="249" y="77"/>
                        <a:pt x="249" y="77"/>
                        <a:pt x="250" y="78"/>
                      </a:cubicBezTo>
                      <a:cubicBezTo>
                        <a:pt x="250" y="78"/>
                        <a:pt x="251" y="78"/>
                        <a:pt x="252" y="79"/>
                      </a:cubicBezTo>
                      <a:cubicBezTo>
                        <a:pt x="256" y="80"/>
                        <a:pt x="261" y="81"/>
                        <a:pt x="266" y="80"/>
                      </a:cubicBezTo>
                      <a:cubicBezTo>
                        <a:pt x="269" y="80"/>
                        <a:pt x="272" y="79"/>
                        <a:pt x="274" y="77"/>
                      </a:cubicBezTo>
                      <a:cubicBezTo>
                        <a:pt x="278" y="75"/>
                        <a:pt x="280" y="72"/>
                        <a:pt x="281" y="68"/>
                      </a:cubicBezTo>
                      <a:cubicBezTo>
                        <a:pt x="282" y="62"/>
                        <a:pt x="280" y="57"/>
                        <a:pt x="275" y="54"/>
                      </a:cubicBezTo>
                      <a:cubicBezTo>
                        <a:pt x="274" y="53"/>
                        <a:pt x="273" y="52"/>
                        <a:pt x="272" y="52"/>
                      </a:cubicBezTo>
                      <a:cubicBezTo>
                        <a:pt x="270" y="51"/>
                        <a:pt x="268" y="50"/>
                        <a:pt x="267" y="49"/>
                      </a:cubicBezTo>
                      <a:cubicBezTo>
                        <a:pt x="264" y="48"/>
                        <a:pt x="262" y="47"/>
                        <a:pt x="260" y="46"/>
                      </a:cubicBezTo>
                      <a:cubicBezTo>
                        <a:pt x="257" y="43"/>
                        <a:pt x="256" y="37"/>
                        <a:pt x="260" y="34"/>
                      </a:cubicBezTo>
                      <a:cubicBezTo>
                        <a:pt x="261" y="33"/>
                        <a:pt x="262" y="33"/>
                        <a:pt x="263" y="33"/>
                      </a:cubicBezTo>
                      <a:cubicBezTo>
                        <a:pt x="265" y="32"/>
                        <a:pt x="267" y="32"/>
                        <a:pt x="269" y="33"/>
                      </a:cubicBezTo>
                      <a:cubicBezTo>
                        <a:pt x="272" y="33"/>
                        <a:pt x="275" y="34"/>
                        <a:pt x="277" y="35"/>
                      </a:cubicBezTo>
                      <a:cubicBezTo>
                        <a:pt x="278" y="36"/>
                        <a:pt x="278" y="36"/>
                        <a:pt x="278" y="35"/>
                      </a:cubicBezTo>
                      <a:cubicBezTo>
                        <a:pt x="278" y="33"/>
                        <a:pt x="278" y="31"/>
                        <a:pt x="278" y="29"/>
                      </a:cubicBezTo>
                      <a:cubicBezTo>
                        <a:pt x="279" y="28"/>
                        <a:pt x="278" y="27"/>
                        <a:pt x="277" y="27"/>
                      </a:cubicBezTo>
                      <a:cubicBezTo>
                        <a:pt x="272" y="25"/>
                        <a:pt x="268" y="25"/>
                        <a:pt x="263" y="25"/>
                      </a:cubicBezTo>
                      <a:cubicBezTo>
                        <a:pt x="260" y="26"/>
                        <a:pt x="258" y="27"/>
                        <a:pt x="256" y="28"/>
                      </a:cubicBezTo>
                      <a:cubicBezTo>
                        <a:pt x="251" y="31"/>
                        <a:pt x="248" y="36"/>
                        <a:pt x="249" y="42"/>
                      </a:cubicBezTo>
                      <a:cubicBezTo>
                        <a:pt x="249" y="46"/>
                        <a:pt x="250" y="49"/>
                        <a:pt x="254" y="52"/>
                      </a:cubicBezTo>
                      <a:cubicBezTo>
                        <a:pt x="256" y="53"/>
                        <a:pt x="258" y="54"/>
                        <a:pt x="260" y="55"/>
                      </a:cubicBezTo>
                      <a:cubicBezTo>
                        <a:pt x="262" y="56"/>
                        <a:pt x="264" y="57"/>
                        <a:pt x="267" y="59"/>
                      </a:cubicBezTo>
                      <a:cubicBezTo>
                        <a:pt x="268" y="59"/>
                        <a:pt x="269" y="60"/>
                        <a:pt x="270" y="60"/>
                      </a:cubicBezTo>
                      <a:cubicBezTo>
                        <a:pt x="272" y="62"/>
                        <a:pt x="272" y="65"/>
                        <a:pt x="272" y="67"/>
                      </a:cubicBezTo>
                      <a:cubicBezTo>
                        <a:pt x="272" y="70"/>
                        <a:pt x="270" y="71"/>
                        <a:pt x="268" y="72"/>
                      </a:cubicBezTo>
                      <a:cubicBezTo>
                        <a:pt x="267" y="72"/>
                        <a:pt x="267" y="73"/>
                        <a:pt x="266" y="73"/>
                      </a:cubicBezTo>
                      <a:cubicBezTo>
                        <a:pt x="261" y="74"/>
                        <a:pt x="256" y="73"/>
                        <a:pt x="251" y="70"/>
                      </a:cubicBezTo>
                      <a:cubicBezTo>
                        <a:pt x="250" y="70"/>
                        <a:pt x="250" y="69"/>
                        <a:pt x="249" y="68"/>
                      </a:cubicBezTo>
                      <a:cubicBezTo>
                        <a:pt x="249" y="71"/>
                        <a:pt x="249" y="74"/>
                        <a:pt x="249" y="76"/>
                      </a:cubicBezTo>
                      <a:close/>
                      <a:moveTo>
                        <a:pt x="934" y="11"/>
                      </a:moveTo>
                      <a:cubicBezTo>
                        <a:pt x="932" y="12"/>
                        <a:pt x="930" y="13"/>
                        <a:pt x="927" y="13"/>
                      </a:cubicBezTo>
                      <a:cubicBezTo>
                        <a:pt x="927" y="13"/>
                        <a:pt x="926" y="14"/>
                        <a:pt x="926" y="15"/>
                      </a:cubicBezTo>
                      <a:cubicBezTo>
                        <a:pt x="926" y="18"/>
                        <a:pt x="926" y="20"/>
                        <a:pt x="926" y="23"/>
                      </a:cubicBezTo>
                      <a:cubicBezTo>
                        <a:pt x="926" y="27"/>
                        <a:pt x="927" y="26"/>
                        <a:pt x="923" y="26"/>
                      </a:cubicBezTo>
                      <a:cubicBezTo>
                        <a:pt x="921" y="26"/>
                        <a:pt x="919" y="26"/>
                        <a:pt x="917" y="27"/>
                      </a:cubicBezTo>
                      <a:cubicBezTo>
                        <a:pt x="917" y="29"/>
                        <a:pt x="917" y="30"/>
                        <a:pt x="917" y="32"/>
                      </a:cubicBezTo>
                      <a:cubicBezTo>
                        <a:pt x="917" y="33"/>
                        <a:pt x="917" y="34"/>
                        <a:pt x="918" y="34"/>
                      </a:cubicBezTo>
                      <a:cubicBezTo>
                        <a:pt x="921" y="34"/>
                        <a:pt x="923" y="34"/>
                        <a:pt x="925" y="34"/>
                      </a:cubicBezTo>
                      <a:cubicBezTo>
                        <a:pt x="926" y="34"/>
                        <a:pt x="926" y="34"/>
                        <a:pt x="926" y="35"/>
                      </a:cubicBezTo>
                      <a:cubicBezTo>
                        <a:pt x="926" y="35"/>
                        <a:pt x="926" y="36"/>
                        <a:pt x="926" y="37"/>
                      </a:cubicBezTo>
                      <a:cubicBezTo>
                        <a:pt x="926" y="46"/>
                        <a:pt x="926" y="55"/>
                        <a:pt x="926" y="64"/>
                      </a:cubicBezTo>
                      <a:cubicBezTo>
                        <a:pt x="926" y="66"/>
                        <a:pt x="926" y="68"/>
                        <a:pt x="927" y="70"/>
                      </a:cubicBezTo>
                      <a:cubicBezTo>
                        <a:pt x="928" y="74"/>
                        <a:pt x="930" y="78"/>
                        <a:pt x="935" y="79"/>
                      </a:cubicBezTo>
                      <a:cubicBezTo>
                        <a:pt x="938" y="81"/>
                        <a:pt x="942" y="81"/>
                        <a:pt x="946" y="79"/>
                      </a:cubicBezTo>
                      <a:cubicBezTo>
                        <a:pt x="947" y="79"/>
                        <a:pt x="947" y="79"/>
                        <a:pt x="947" y="79"/>
                      </a:cubicBezTo>
                      <a:cubicBezTo>
                        <a:pt x="948" y="79"/>
                        <a:pt x="948" y="78"/>
                        <a:pt x="948" y="78"/>
                      </a:cubicBezTo>
                      <a:cubicBezTo>
                        <a:pt x="948" y="76"/>
                        <a:pt x="948" y="74"/>
                        <a:pt x="948" y="72"/>
                      </a:cubicBezTo>
                      <a:cubicBezTo>
                        <a:pt x="947" y="72"/>
                        <a:pt x="947" y="72"/>
                        <a:pt x="946" y="72"/>
                      </a:cubicBezTo>
                      <a:cubicBezTo>
                        <a:pt x="944" y="73"/>
                        <a:pt x="942" y="73"/>
                        <a:pt x="940" y="73"/>
                      </a:cubicBezTo>
                      <a:cubicBezTo>
                        <a:pt x="938" y="72"/>
                        <a:pt x="936" y="71"/>
                        <a:pt x="935" y="68"/>
                      </a:cubicBezTo>
                      <a:cubicBezTo>
                        <a:pt x="935" y="66"/>
                        <a:pt x="935" y="64"/>
                        <a:pt x="935" y="62"/>
                      </a:cubicBezTo>
                      <a:cubicBezTo>
                        <a:pt x="935" y="54"/>
                        <a:pt x="935" y="45"/>
                        <a:pt x="935" y="36"/>
                      </a:cubicBezTo>
                      <a:cubicBezTo>
                        <a:pt x="935" y="33"/>
                        <a:pt x="935" y="34"/>
                        <a:pt x="938" y="34"/>
                      </a:cubicBezTo>
                      <a:cubicBezTo>
                        <a:pt x="941" y="34"/>
                        <a:pt x="944" y="34"/>
                        <a:pt x="947" y="34"/>
                      </a:cubicBezTo>
                      <a:cubicBezTo>
                        <a:pt x="948" y="34"/>
                        <a:pt x="948" y="33"/>
                        <a:pt x="948" y="32"/>
                      </a:cubicBezTo>
                      <a:cubicBezTo>
                        <a:pt x="948" y="31"/>
                        <a:pt x="948" y="29"/>
                        <a:pt x="948" y="28"/>
                      </a:cubicBezTo>
                      <a:cubicBezTo>
                        <a:pt x="948" y="27"/>
                        <a:pt x="948" y="26"/>
                        <a:pt x="947" y="26"/>
                      </a:cubicBezTo>
                      <a:cubicBezTo>
                        <a:pt x="944" y="26"/>
                        <a:pt x="940" y="26"/>
                        <a:pt x="937" y="26"/>
                      </a:cubicBezTo>
                      <a:cubicBezTo>
                        <a:pt x="937" y="26"/>
                        <a:pt x="936" y="26"/>
                        <a:pt x="935" y="26"/>
                      </a:cubicBezTo>
                      <a:cubicBezTo>
                        <a:pt x="935" y="26"/>
                        <a:pt x="935" y="26"/>
                        <a:pt x="935" y="26"/>
                      </a:cubicBezTo>
                      <a:cubicBezTo>
                        <a:pt x="935" y="25"/>
                        <a:pt x="935" y="24"/>
                        <a:pt x="935" y="23"/>
                      </a:cubicBezTo>
                      <a:cubicBezTo>
                        <a:pt x="935" y="19"/>
                        <a:pt x="935" y="15"/>
                        <a:pt x="935" y="11"/>
                      </a:cubicBezTo>
                      <a:cubicBezTo>
                        <a:pt x="934" y="11"/>
                        <a:pt x="934" y="11"/>
                        <a:pt x="934" y="11"/>
                      </a:cubicBezTo>
                      <a:close/>
                      <a:moveTo>
                        <a:pt x="452" y="177"/>
                      </a:moveTo>
                      <a:cubicBezTo>
                        <a:pt x="450" y="178"/>
                        <a:pt x="448" y="178"/>
                        <a:pt x="446" y="178"/>
                      </a:cubicBezTo>
                      <a:cubicBezTo>
                        <a:pt x="444" y="178"/>
                        <a:pt x="442" y="176"/>
                        <a:pt x="441" y="174"/>
                      </a:cubicBezTo>
                      <a:cubicBezTo>
                        <a:pt x="441" y="174"/>
                        <a:pt x="441" y="173"/>
                        <a:pt x="441" y="172"/>
                      </a:cubicBezTo>
                      <a:cubicBezTo>
                        <a:pt x="441" y="170"/>
                        <a:pt x="441" y="169"/>
                        <a:pt x="441" y="167"/>
                      </a:cubicBezTo>
                      <a:cubicBezTo>
                        <a:pt x="441" y="159"/>
                        <a:pt x="441" y="150"/>
                        <a:pt x="441" y="142"/>
                      </a:cubicBezTo>
                      <a:cubicBezTo>
                        <a:pt x="441" y="141"/>
                        <a:pt x="441" y="140"/>
                        <a:pt x="441" y="140"/>
                      </a:cubicBezTo>
                      <a:cubicBezTo>
                        <a:pt x="441" y="139"/>
                        <a:pt x="441" y="139"/>
                        <a:pt x="442" y="139"/>
                      </a:cubicBezTo>
                      <a:cubicBezTo>
                        <a:pt x="444" y="139"/>
                        <a:pt x="446" y="139"/>
                        <a:pt x="448" y="139"/>
                      </a:cubicBezTo>
                      <a:cubicBezTo>
                        <a:pt x="450" y="139"/>
                        <a:pt x="452" y="139"/>
                        <a:pt x="454" y="139"/>
                      </a:cubicBezTo>
                      <a:cubicBezTo>
                        <a:pt x="454" y="137"/>
                        <a:pt x="454" y="135"/>
                        <a:pt x="454" y="133"/>
                      </a:cubicBezTo>
                      <a:cubicBezTo>
                        <a:pt x="454" y="132"/>
                        <a:pt x="454" y="132"/>
                        <a:pt x="452" y="132"/>
                      </a:cubicBezTo>
                      <a:cubicBezTo>
                        <a:pt x="449" y="132"/>
                        <a:pt x="446" y="132"/>
                        <a:pt x="443" y="132"/>
                      </a:cubicBezTo>
                      <a:cubicBezTo>
                        <a:pt x="442" y="132"/>
                        <a:pt x="442" y="132"/>
                        <a:pt x="441" y="132"/>
                      </a:cubicBezTo>
                      <a:cubicBezTo>
                        <a:pt x="441" y="132"/>
                        <a:pt x="441" y="131"/>
                        <a:pt x="441" y="131"/>
                      </a:cubicBezTo>
                      <a:cubicBezTo>
                        <a:pt x="441" y="131"/>
                        <a:pt x="441" y="130"/>
                        <a:pt x="441" y="129"/>
                      </a:cubicBezTo>
                      <a:cubicBezTo>
                        <a:pt x="441" y="126"/>
                        <a:pt x="441" y="122"/>
                        <a:pt x="441" y="119"/>
                      </a:cubicBezTo>
                      <a:cubicBezTo>
                        <a:pt x="441" y="118"/>
                        <a:pt x="441" y="117"/>
                        <a:pt x="440" y="116"/>
                      </a:cubicBezTo>
                      <a:cubicBezTo>
                        <a:pt x="438" y="117"/>
                        <a:pt x="436" y="118"/>
                        <a:pt x="433" y="118"/>
                      </a:cubicBezTo>
                      <a:cubicBezTo>
                        <a:pt x="432" y="119"/>
                        <a:pt x="432" y="119"/>
                        <a:pt x="432" y="120"/>
                      </a:cubicBezTo>
                      <a:cubicBezTo>
                        <a:pt x="432" y="124"/>
                        <a:pt x="432" y="127"/>
                        <a:pt x="432" y="130"/>
                      </a:cubicBezTo>
                      <a:cubicBezTo>
                        <a:pt x="432" y="132"/>
                        <a:pt x="432" y="132"/>
                        <a:pt x="431" y="132"/>
                      </a:cubicBezTo>
                      <a:cubicBezTo>
                        <a:pt x="429" y="132"/>
                        <a:pt x="426" y="132"/>
                        <a:pt x="424" y="132"/>
                      </a:cubicBezTo>
                      <a:cubicBezTo>
                        <a:pt x="423" y="132"/>
                        <a:pt x="423" y="132"/>
                        <a:pt x="423" y="133"/>
                      </a:cubicBezTo>
                      <a:cubicBezTo>
                        <a:pt x="423" y="135"/>
                        <a:pt x="423" y="136"/>
                        <a:pt x="423" y="138"/>
                      </a:cubicBezTo>
                      <a:cubicBezTo>
                        <a:pt x="423" y="139"/>
                        <a:pt x="423" y="139"/>
                        <a:pt x="424" y="139"/>
                      </a:cubicBezTo>
                      <a:cubicBezTo>
                        <a:pt x="426" y="139"/>
                        <a:pt x="428" y="139"/>
                        <a:pt x="430" y="139"/>
                      </a:cubicBezTo>
                      <a:cubicBezTo>
                        <a:pt x="432" y="139"/>
                        <a:pt x="432" y="139"/>
                        <a:pt x="432" y="141"/>
                      </a:cubicBezTo>
                      <a:cubicBezTo>
                        <a:pt x="432" y="151"/>
                        <a:pt x="432" y="160"/>
                        <a:pt x="432" y="169"/>
                      </a:cubicBezTo>
                      <a:cubicBezTo>
                        <a:pt x="432" y="171"/>
                        <a:pt x="432" y="173"/>
                        <a:pt x="432" y="175"/>
                      </a:cubicBezTo>
                      <a:cubicBezTo>
                        <a:pt x="434" y="181"/>
                        <a:pt x="437" y="185"/>
                        <a:pt x="444" y="185"/>
                      </a:cubicBezTo>
                      <a:cubicBezTo>
                        <a:pt x="447" y="186"/>
                        <a:pt x="450" y="186"/>
                        <a:pt x="453" y="184"/>
                      </a:cubicBezTo>
                      <a:cubicBezTo>
                        <a:pt x="454" y="184"/>
                        <a:pt x="454" y="184"/>
                        <a:pt x="454" y="183"/>
                      </a:cubicBezTo>
                      <a:cubicBezTo>
                        <a:pt x="454" y="181"/>
                        <a:pt x="454" y="179"/>
                        <a:pt x="454" y="177"/>
                      </a:cubicBezTo>
                      <a:cubicBezTo>
                        <a:pt x="453" y="177"/>
                        <a:pt x="453" y="177"/>
                        <a:pt x="452" y="177"/>
                      </a:cubicBezTo>
                      <a:close/>
                      <a:moveTo>
                        <a:pt x="151" y="70"/>
                      </a:moveTo>
                      <a:cubicBezTo>
                        <a:pt x="149" y="72"/>
                        <a:pt x="146" y="73"/>
                        <a:pt x="143" y="73"/>
                      </a:cubicBezTo>
                      <a:cubicBezTo>
                        <a:pt x="134" y="74"/>
                        <a:pt x="126" y="70"/>
                        <a:pt x="123" y="60"/>
                      </a:cubicBezTo>
                      <a:cubicBezTo>
                        <a:pt x="122" y="57"/>
                        <a:pt x="122" y="53"/>
                        <a:pt x="123" y="49"/>
                      </a:cubicBezTo>
                      <a:cubicBezTo>
                        <a:pt x="123" y="45"/>
                        <a:pt x="125" y="41"/>
                        <a:pt x="128" y="38"/>
                      </a:cubicBezTo>
                      <a:cubicBezTo>
                        <a:pt x="130" y="35"/>
                        <a:pt x="133" y="33"/>
                        <a:pt x="137" y="33"/>
                      </a:cubicBezTo>
                      <a:cubicBezTo>
                        <a:pt x="142" y="32"/>
                        <a:pt x="146" y="33"/>
                        <a:pt x="151" y="35"/>
                      </a:cubicBezTo>
                      <a:cubicBezTo>
                        <a:pt x="151" y="35"/>
                        <a:pt x="152" y="36"/>
                        <a:pt x="153" y="36"/>
                      </a:cubicBezTo>
                      <a:cubicBezTo>
                        <a:pt x="153" y="36"/>
                        <a:pt x="153" y="35"/>
                        <a:pt x="153" y="35"/>
                      </a:cubicBezTo>
                      <a:cubicBezTo>
                        <a:pt x="153" y="33"/>
                        <a:pt x="153" y="31"/>
                        <a:pt x="153" y="30"/>
                      </a:cubicBezTo>
                      <a:cubicBezTo>
                        <a:pt x="154" y="28"/>
                        <a:pt x="153" y="27"/>
                        <a:pt x="152" y="27"/>
                      </a:cubicBezTo>
                      <a:cubicBezTo>
                        <a:pt x="151" y="27"/>
                        <a:pt x="150" y="26"/>
                        <a:pt x="150" y="26"/>
                      </a:cubicBezTo>
                      <a:cubicBezTo>
                        <a:pt x="145" y="25"/>
                        <a:pt x="140" y="25"/>
                        <a:pt x="135" y="26"/>
                      </a:cubicBezTo>
                      <a:cubicBezTo>
                        <a:pt x="126" y="27"/>
                        <a:pt x="120" y="33"/>
                        <a:pt x="116" y="41"/>
                      </a:cubicBezTo>
                      <a:cubicBezTo>
                        <a:pt x="113" y="48"/>
                        <a:pt x="113" y="55"/>
                        <a:pt x="115" y="63"/>
                      </a:cubicBezTo>
                      <a:cubicBezTo>
                        <a:pt x="117" y="71"/>
                        <a:pt x="122" y="76"/>
                        <a:pt x="130" y="79"/>
                      </a:cubicBezTo>
                      <a:cubicBezTo>
                        <a:pt x="135" y="81"/>
                        <a:pt x="139" y="81"/>
                        <a:pt x="143" y="80"/>
                      </a:cubicBezTo>
                      <a:cubicBezTo>
                        <a:pt x="146" y="80"/>
                        <a:pt x="149" y="79"/>
                        <a:pt x="152" y="77"/>
                      </a:cubicBezTo>
                      <a:cubicBezTo>
                        <a:pt x="153" y="77"/>
                        <a:pt x="153" y="77"/>
                        <a:pt x="153" y="76"/>
                      </a:cubicBezTo>
                      <a:cubicBezTo>
                        <a:pt x="153" y="74"/>
                        <a:pt x="153" y="71"/>
                        <a:pt x="153" y="69"/>
                      </a:cubicBezTo>
                      <a:cubicBezTo>
                        <a:pt x="152" y="69"/>
                        <a:pt x="152" y="70"/>
                        <a:pt x="151" y="70"/>
                      </a:cubicBezTo>
                      <a:close/>
                      <a:moveTo>
                        <a:pt x="586" y="72"/>
                      </a:moveTo>
                      <a:cubicBezTo>
                        <a:pt x="584" y="73"/>
                        <a:pt x="582" y="73"/>
                        <a:pt x="580" y="73"/>
                      </a:cubicBezTo>
                      <a:cubicBezTo>
                        <a:pt x="577" y="72"/>
                        <a:pt x="575" y="71"/>
                        <a:pt x="575" y="68"/>
                      </a:cubicBezTo>
                      <a:cubicBezTo>
                        <a:pt x="574" y="66"/>
                        <a:pt x="574" y="65"/>
                        <a:pt x="574" y="63"/>
                      </a:cubicBezTo>
                      <a:cubicBezTo>
                        <a:pt x="574" y="55"/>
                        <a:pt x="574" y="47"/>
                        <a:pt x="574" y="39"/>
                      </a:cubicBezTo>
                      <a:cubicBezTo>
                        <a:pt x="574" y="38"/>
                        <a:pt x="574" y="37"/>
                        <a:pt x="574" y="35"/>
                      </a:cubicBezTo>
                      <a:cubicBezTo>
                        <a:pt x="574" y="34"/>
                        <a:pt x="574" y="34"/>
                        <a:pt x="576" y="34"/>
                      </a:cubicBezTo>
                      <a:cubicBezTo>
                        <a:pt x="578" y="34"/>
                        <a:pt x="581" y="34"/>
                        <a:pt x="583" y="34"/>
                      </a:cubicBezTo>
                      <a:cubicBezTo>
                        <a:pt x="584" y="34"/>
                        <a:pt x="585" y="34"/>
                        <a:pt x="586" y="34"/>
                      </a:cubicBezTo>
                      <a:cubicBezTo>
                        <a:pt x="587" y="34"/>
                        <a:pt x="587" y="33"/>
                        <a:pt x="587" y="33"/>
                      </a:cubicBezTo>
                      <a:cubicBezTo>
                        <a:pt x="587" y="31"/>
                        <a:pt x="587" y="29"/>
                        <a:pt x="587" y="28"/>
                      </a:cubicBezTo>
                      <a:cubicBezTo>
                        <a:pt x="587" y="27"/>
                        <a:pt x="587" y="26"/>
                        <a:pt x="586" y="26"/>
                      </a:cubicBezTo>
                      <a:cubicBezTo>
                        <a:pt x="582" y="26"/>
                        <a:pt x="579" y="26"/>
                        <a:pt x="575" y="26"/>
                      </a:cubicBezTo>
                      <a:cubicBezTo>
                        <a:pt x="574" y="26"/>
                        <a:pt x="574" y="26"/>
                        <a:pt x="574" y="25"/>
                      </a:cubicBezTo>
                      <a:cubicBezTo>
                        <a:pt x="574" y="21"/>
                        <a:pt x="574" y="17"/>
                        <a:pt x="574" y="13"/>
                      </a:cubicBezTo>
                      <a:cubicBezTo>
                        <a:pt x="574" y="12"/>
                        <a:pt x="574" y="11"/>
                        <a:pt x="574" y="11"/>
                      </a:cubicBezTo>
                      <a:cubicBezTo>
                        <a:pt x="571" y="12"/>
                        <a:pt x="569" y="12"/>
                        <a:pt x="567" y="13"/>
                      </a:cubicBezTo>
                      <a:cubicBezTo>
                        <a:pt x="566" y="14"/>
                        <a:pt x="566" y="14"/>
                        <a:pt x="566" y="15"/>
                      </a:cubicBezTo>
                      <a:cubicBezTo>
                        <a:pt x="566" y="18"/>
                        <a:pt x="566" y="20"/>
                        <a:pt x="566" y="23"/>
                      </a:cubicBezTo>
                      <a:cubicBezTo>
                        <a:pt x="566" y="27"/>
                        <a:pt x="566" y="26"/>
                        <a:pt x="562" y="26"/>
                      </a:cubicBezTo>
                      <a:cubicBezTo>
                        <a:pt x="560" y="26"/>
                        <a:pt x="559" y="26"/>
                        <a:pt x="557" y="27"/>
                      </a:cubicBezTo>
                      <a:cubicBezTo>
                        <a:pt x="556" y="29"/>
                        <a:pt x="557" y="31"/>
                        <a:pt x="557" y="32"/>
                      </a:cubicBezTo>
                      <a:cubicBezTo>
                        <a:pt x="557" y="33"/>
                        <a:pt x="557" y="34"/>
                        <a:pt x="558" y="34"/>
                      </a:cubicBezTo>
                      <a:cubicBezTo>
                        <a:pt x="560" y="34"/>
                        <a:pt x="562" y="34"/>
                        <a:pt x="564" y="34"/>
                      </a:cubicBezTo>
                      <a:cubicBezTo>
                        <a:pt x="566" y="34"/>
                        <a:pt x="566" y="34"/>
                        <a:pt x="566" y="36"/>
                      </a:cubicBezTo>
                      <a:cubicBezTo>
                        <a:pt x="566" y="36"/>
                        <a:pt x="566" y="37"/>
                        <a:pt x="566" y="37"/>
                      </a:cubicBezTo>
                      <a:cubicBezTo>
                        <a:pt x="566" y="46"/>
                        <a:pt x="566" y="54"/>
                        <a:pt x="566" y="63"/>
                      </a:cubicBezTo>
                      <a:cubicBezTo>
                        <a:pt x="566" y="65"/>
                        <a:pt x="566" y="66"/>
                        <a:pt x="566" y="68"/>
                      </a:cubicBezTo>
                      <a:cubicBezTo>
                        <a:pt x="566" y="70"/>
                        <a:pt x="566" y="72"/>
                        <a:pt x="567" y="74"/>
                      </a:cubicBezTo>
                      <a:cubicBezTo>
                        <a:pt x="569" y="76"/>
                        <a:pt x="571" y="78"/>
                        <a:pt x="573" y="79"/>
                      </a:cubicBezTo>
                      <a:cubicBezTo>
                        <a:pt x="574" y="80"/>
                        <a:pt x="576" y="80"/>
                        <a:pt x="577" y="80"/>
                      </a:cubicBezTo>
                      <a:cubicBezTo>
                        <a:pt x="580" y="81"/>
                        <a:pt x="583" y="80"/>
                        <a:pt x="586" y="79"/>
                      </a:cubicBezTo>
                      <a:cubicBezTo>
                        <a:pt x="587" y="79"/>
                        <a:pt x="587" y="78"/>
                        <a:pt x="587" y="77"/>
                      </a:cubicBezTo>
                      <a:cubicBezTo>
                        <a:pt x="587" y="76"/>
                        <a:pt x="587" y="74"/>
                        <a:pt x="587" y="72"/>
                      </a:cubicBezTo>
                      <a:cubicBezTo>
                        <a:pt x="587" y="72"/>
                        <a:pt x="586" y="72"/>
                        <a:pt x="586" y="72"/>
                      </a:cubicBezTo>
                      <a:close/>
                      <a:moveTo>
                        <a:pt x="1189" y="7"/>
                      </a:moveTo>
                      <a:cubicBezTo>
                        <a:pt x="1189" y="6"/>
                        <a:pt x="1189" y="5"/>
                        <a:pt x="1189" y="4"/>
                      </a:cubicBezTo>
                      <a:cubicBezTo>
                        <a:pt x="1189" y="4"/>
                        <a:pt x="1189" y="4"/>
                        <a:pt x="1189" y="4"/>
                      </a:cubicBezTo>
                      <a:cubicBezTo>
                        <a:pt x="1187" y="4"/>
                        <a:pt x="1186" y="4"/>
                        <a:pt x="1185" y="5"/>
                      </a:cubicBezTo>
                      <a:cubicBezTo>
                        <a:pt x="1184" y="6"/>
                        <a:pt x="1182" y="7"/>
                        <a:pt x="1181" y="8"/>
                      </a:cubicBezTo>
                      <a:cubicBezTo>
                        <a:pt x="1176" y="11"/>
                        <a:pt x="1171" y="13"/>
                        <a:pt x="1165" y="15"/>
                      </a:cubicBezTo>
                      <a:cubicBezTo>
                        <a:pt x="1164" y="15"/>
                        <a:pt x="1164" y="16"/>
                        <a:pt x="1164" y="17"/>
                      </a:cubicBezTo>
                      <a:cubicBezTo>
                        <a:pt x="1164" y="19"/>
                        <a:pt x="1164" y="21"/>
                        <a:pt x="1164" y="23"/>
                      </a:cubicBezTo>
                      <a:cubicBezTo>
                        <a:pt x="1164" y="24"/>
                        <a:pt x="1164" y="24"/>
                        <a:pt x="1165" y="24"/>
                      </a:cubicBezTo>
                      <a:cubicBezTo>
                        <a:pt x="1170" y="22"/>
                        <a:pt x="1175" y="20"/>
                        <a:pt x="1180" y="17"/>
                      </a:cubicBezTo>
                      <a:cubicBezTo>
                        <a:pt x="1180" y="16"/>
                        <a:pt x="1180" y="16"/>
                        <a:pt x="1181" y="16"/>
                      </a:cubicBezTo>
                      <a:cubicBezTo>
                        <a:pt x="1181" y="16"/>
                        <a:pt x="1181" y="17"/>
                        <a:pt x="1181" y="17"/>
                      </a:cubicBezTo>
                      <a:cubicBezTo>
                        <a:pt x="1181" y="18"/>
                        <a:pt x="1181" y="18"/>
                        <a:pt x="1181" y="19"/>
                      </a:cubicBezTo>
                      <a:cubicBezTo>
                        <a:pt x="1181" y="38"/>
                        <a:pt x="1181" y="57"/>
                        <a:pt x="1181" y="76"/>
                      </a:cubicBezTo>
                      <a:cubicBezTo>
                        <a:pt x="1181" y="76"/>
                        <a:pt x="1181" y="77"/>
                        <a:pt x="1181" y="78"/>
                      </a:cubicBezTo>
                      <a:cubicBezTo>
                        <a:pt x="1181" y="79"/>
                        <a:pt x="1181" y="79"/>
                        <a:pt x="1182" y="79"/>
                      </a:cubicBezTo>
                      <a:cubicBezTo>
                        <a:pt x="1184" y="79"/>
                        <a:pt x="1185" y="79"/>
                        <a:pt x="1187" y="79"/>
                      </a:cubicBezTo>
                      <a:cubicBezTo>
                        <a:pt x="1189" y="79"/>
                        <a:pt x="1189" y="79"/>
                        <a:pt x="1189" y="77"/>
                      </a:cubicBezTo>
                      <a:cubicBezTo>
                        <a:pt x="1189" y="65"/>
                        <a:pt x="1189" y="53"/>
                        <a:pt x="1189" y="41"/>
                      </a:cubicBezTo>
                      <a:cubicBezTo>
                        <a:pt x="1189" y="30"/>
                        <a:pt x="1189" y="18"/>
                        <a:pt x="1189" y="7"/>
                      </a:cubicBezTo>
                      <a:close/>
                      <a:moveTo>
                        <a:pt x="983" y="141"/>
                      </a:moveTo>
                      <a:cubicBezTo>
                        <a:pt x="983" y="139"/>
                        <a:pt x="983" y="137"/>
                        <a:pt x="983" y="135"/>
                      </a:cubicBezTo>
                      <a:cubicBezTo>
                        <a:pt x="983" y="134"/>
                        <a:pt x="983" y="133"/>
                        <a:pt x="983" y="133"/>
                      </a:cubicBezTo>
                      <a:cubicBezTo>
                        <a:pt x="983" y="132"/>
                        <a:pt x="983" y="132"/>
                        <a:pt x="982" y="132"/>
                      </a:cubicBezTo>
                      <a:cubicBezTo>
                        <a:pt x="981" y="132"/>
                        <a:pt x="979" y="132"/>
                        <a:pt x="978" y="132"/>
                      </a:cubicBezTo>
                      <a:cubicBezTo>
                        <a:pt x="975" y="132"/>
                        <a:pt x="975" y="131"/>
                        <a:pt x="975" y="134"/>
                      </a:cubicBezTo>
                      <a:cubicBezTo>
                        <a:pt x="975" y="150"/>
                        <a:pt x="975" y="166"/>
                        <a:pt x="975" y="182"/>
                      </a:cubicBezTo>
                      <a:cubicBezTo>
                        <a:pt x="975" y="182"/>
                        <a:pt x="975" y="183"/>
                        <a:pt x="975" y="183"/>
                      </a:cubicBezTo>
                      <a:cubicBezTo>
                        <a:pt x="975" y="184"/>
                        <a:pt x="975" y="184"/>
                        <a:pt x="976" y="184"/>
                      </a:cubicBezTo>
                      <a:cubicBezTo>
                        <a:pt x="978" y="184"/>
                        <a:pt x="980" y="184"/>
                        <a:pt x="983" y="184"/>
                      </a:cubicBezTo>
                      <a:cubicBezTo>
                        <a:pt x="983" y="184"/>
                        <a:pt x="983" y="184"/>
                        <a:pt x="983" y="183"/>
                      </a:cubicBezTo>
                      <a:cubicBezTo>
                        <a:pt x="983" y="183"/>
                        <a:pt x="983" y="182"/>
                        <a:pt x="983" y="181"/>
                      </a:cubicBezTo>
                      <a:cubicBezTo>
                        <a:pt x="983" y="174"/>
                        <a:pt x="983" y="166"/>
                        <a:pt x="983" y="159"/>
                      </a:cubicBezTo>
                      <a:cubicBezTo>
                        <a:pt x="983" y="156"/>
                        <a:pt x="984" y="154"/>
                        <a:pt x="984" y="151"/>
                      </a:cubicBezTo>
                      <a:cubicBezTo>
                        <a:pt x="985" y="148"/>
                        <a:pt x="986" y="145"/>
                        <a:pt x="988" y="142"/>
                      </a:cubicBezTo>
                      <a:cubicBezTo>
                        <a:pt x="990" y="140"/>
                        <a:pt x="992" y="139"/>
                        <a:pt x="994" y="139"/>
                      </a:cubicBezTo>
                      <a:cubicBezTo>
                        <a:pt x="997" y="138"/>
                        <a:pt x="999" y="139"/>
                        <a:pt x="1001" y="139"/>
                      </a:cubicBezTo>
                      <a:cubicBezTo>
                        <a:pt x="1002" y="140"/>
                        <a:pt x="1002" y="140"/>
                        <a:pt x="1002" y="140"/>
                      </a:cubicBezTo>
                      <a:cubicBezTo>
                        <a:pt x="1002" y="137"/>
                        <a:pt x="1002" y="135"/>
                        <a:pt x="1002" y="132"/>
                      </a:cubicBezTo>
                      <a:cubicBezTo>
                        <a:pt x="1002" y="132"/>
                        <a:pt x="1002" y="131"/>
                        <a:pt x="1002" y="131"/>
                      </a:cubicBezTo>
                      <a:cubicBezTo>
                        <a:pt x="996" y="130"/>
                        <a:pt x="992" y="131"/>
                        <a:pt x="988" y="135"/>
                      </a:cubicBezTo>
                      <a:cubicBezTo>
                        <a:pt x="987" y="136"/>
                        <a:pt x="986" y="138"/>
                        <a:pt x="985" y="139"/>
                      </a:cubicBezTo>
                      <a:cubicBezTo>
                        <a:pt x="985" y="140"/>
                        <a:pt x="984" y="141"/>
                        <a:pt x="984" y="141"/>
                      </a:cubicBezTo>
                      <a:cubicBezTo>
                        <a:pt x="984" y="141"/>
                        <a:pt x="984" y="141"/>
                        <a:pt x="983" y="141"/>
                      </a:cubicBezTo>
                      <a:close/>
                      <a:moveTo>
                        <a:pt x="163" y="29"/>
                      </a:moveTo>
                      <a:cubicBezTo>
                        <a:pt x="163" y="45"/>
                        <a:pt x="163" y="61"/>
                        <a:pt x="163" y="76"/>
                      </a:cubicBezTo>
                      <a:cubicBezTo>
                        <a:pt x="163" y="77"/>
                        <a:pt x="163" y="77"/>
                        <a:pt x="163" y="78"/>
                      </a:cubicBezTo>
                      <a:cubicBezTo>
                        <a:pt x="163" y="79"/>
                        <a:pt x="163" y="79"/>
                        <a:pt x="164" y="79"/>
                      </a:cubicBezTo>
                      <a:cubicBezTo>
                        <a:pt x="166" y="79"/>
                        <a:pt x="168" y="79"/>
                        <a:pt x="170" y="79"/>
                      </a:cubicBezTo>
                      <a:cubicBezTo>
                        <a:pt x="171" y="79"/>
                        <a:pt x="171" y="79"/>
                        <a:pt x="171" y="78"/>
                      </a:cubicBezTo>
                      <a:cubicBezTo>
                        <a:pt x="171" y="77"/>
                        <a:pt x="171" y="77"/>
                        <a:pt x="171" y="76"/>
                      </a:cubicBezTo>
                      <a:cubicBezTo>
                        <a:pt x="171" y="68"/>
                        <a:pt x="171" y="60"/>
                        <a:pt x="171" y="52"/>
                      </a:cubicBezTo>
                      <a:cubicBezTo>
                        <a:pt x="171" y="50"/>
                        <a:pt x="171" y="48"/>
                        <a:pt x="172" y="46"/>
                      </a:cubicBezTo>
                      <a:cubicBezTo>
                        <a:pt x="172" y="43"/>
                        <a:pt x="174" y="40"/>
                        <a:pt x="176" y="37"/>
                      </a:cubicBezTo>
                      <a:cubicBezTo>
                        <a:pt x="178" y="35"/>
                        <a:pt x="180" y="34"/>
                        <a:pt x="182" y="33"/>
                      </a:cubicBezTo>
                      <a:cubicBezTo>
                        <a:pt x="185" y="33"/>
                        <a:pt x="187" y="33"/>
                        <a:pt x="189" y="34"/>
                      </a:cubicBezTo>
                      <a:cubicBezTo>
                        <a:pt x="189" y="34"/>
                        <a:pt x="190" y="35"/>
                        <a:pt x="190" y="34"/>
                      </a:cubicBezTo>
                      <a:cubicBezTo>
                        <a:pt x="190" y="32"/>
                        <a:pt x="190" y="30"/>
                        <a:pt x="190" y="28"/>
                      </a:cubicBezTo>
                      <a:cubicBezTo>
                        <a:pt x="190" y="26"/>
                        <a:pt x="190" y="26"/>
                        <a:pt x="188" y="26"/>
                      </a:cubicBezTo>
                      <a:cubicBezTo>
                        <a:pt x="187" y="26"/>
                        <a:pt x="187" y="26"/>
                        <a:pt x="186" y="26"/>
                      </a:cubicBezTo>
                      <a:cubicBezTo>
                        <a:pt x="182" y="25"/>
                        <a:pt x="178" y="27"/>
                        <a:pt x="175" y="30"/>
                      </a:cubicBezTo>
                      <a:cubicBezTo>
                        <a:pt x="174" y="31"/>
                        <a:pt x="173" y="33"/>
                        <a:pt x="172" y="35"/>
                      </a:cubicBezTo>
                      <a:cubicBezTo>
                        <a:pt x="172" y="36"/>
                        <a:pt x="172" y="36"/>
                        <a:pt x="171" y="36"/>
                      </a:cubicBezTo>
                      <a:cubicBezTo>
                        <a:pt x="171" y="35"/>
                        <a:pt x="171" y="34"/>
                        <a:pt x="171" y="33"/>
                      </a:cubicBezTo>
                      <a:cubicBezTo>
                        <a:pt x="171" y="31"/>
                        <a:pt x="171" y="29"/>
                        <a:pt x="171" y="27"/>
                      </a:cubicBezTo>
                      <a:cubicBezTo>
                        <a:pt x="171" y="27"/>
                        <a:pt x="171" y="26"/>
                        <a:pt x="170" y="26"/>
                      </a:cubicBezTo>
                      <a:cubicBezTo>
                        <a:pt x="168" y="26"/>
                        <a:pt x="165" y="26"/>
                        <a:pt x="163" y="26"/>
                      </a:cubicBezTo>
                      <a:cubicBezTo>
                        <a:pt x="162" y="27"/>
                        <a:pt x="163" y="28"/>
                        <a:pt x="163" y="29"/>
                      </a:cubicBezTo>
                      <a:close/>
                      <a:moveTo>
                        <a:pt x="355" y="133"/>
                      </a:moveTo>
                      <a:cubicBezTo>
                        <a:pt x="355" y="132"/>
                        <a:pt x="354" y="132"/>
                        <a:pt x="354" y="132"/>
                      </a:cubicBezTo>
                      <a:cubicBezTo>
                        <a:pt x="352" y="132"/>
                        <a:pt x="350" y="132"/>
                        <a:pt x="348" y="132"/>
                      </a:cubicBezTo>
                      <a:cubicBezTo>
                        <a:pt x="346" y="132"/>
                        <a:pt x="346" y="132"/>
                        <a:pt x="346" y="133"/>
                      </a:cubicBezTo>
                      <a:cubicBezTo>
                        <a:pt x="346" y="133"/>
                        <a:pt x="346" y="134"/>
                        <a:pt x="346" y="134"/>
                      </a:cubicBezTo>
                      <a:cubicBezTo>
                        <a:pt x="346" y="150"/>
                        <a:pt x="346" y="166"/>
                        <a:pt x="346" y="182"/>
                      </a:cubicBezTo>
                      <a:cubicBezTo>
                        <a:pt x="346" y="183"/>
                        <a:pt x="346" y="183"/>
                        <a:pt x="346" y="184"/>
                      </a:cubicBezTo>
                      <a:cubicBezTo>
                        <a:pt x="346" y="184"/>
                        <a:pt x="347" y="184"/>
                        <a:pt x="347" y="184"/>
                      </a:cubicBezTo>
                      <a:cubicBezTo>
                        <a:pt x="349" y="184"/>
                        <a:pt x="352" y="184"/>
                        <a:pt x="354" y="184"/>
                      </a:cubicBezTo>
                      <a:cubicBezTo>
                        <a:pt x="354" y="184"/>
                        <a:pt x="355" y="184"/>
                        <a:pt x="355" y="183"/>
                      </a:cubicBezTo>
                      <a:cubicBezTo>
                        <a:pt x="355" y="183"/>
                        <a:pt x="355" y="182"/>
                        <a:pt x="355" y="181"/>
                      </a:cubicBezTo>
                      <a:cubicBezTo>
                        <a:pt x="355" y="174"/>
                        <a:pt x="355" y="166"/>
                        <a:pt x="355" y="158"/>
                      </a:cubicBezTo>
                      <a:cubicBezTo>
                        <a:pt x="355" y="156"/>
                        <a:pt x="355" y="154"/>
                        <a:pt x="355" y="152"/>
                      </a:cubicBezTo>
                      <a:cubicBezTo>
                        <a:pt x="356" y="149"/>
                        <a:pt x="357" y="145"/>
                        <a:pt x="359" y="143"/>
                      </a:cubicBezTo>
                      <a:cubicBezTo>
                        <a:pt x="361" y="140"/>
                        <a:pt x="364" y="138"/>
                        <a:pt x="368" y="139"/>
                      </a:cubicBezTo>
                      <a:cubicBezTo>
                        <a:pt x="369" y="139"/>
                        <a:pt x="371" y="139"/>
                        <a:pt x="372" y="139"/>
                      </a:cubicBezTo>
                      <a:cubicBezTo>
                        <a:pt x="373" y="140"/>
                        <a:pt x="373" y="140"/>
                        <a:pt x="374" y="140"/>
                      </a:cubicBezTo>
                      <a:cubicBezTo>
                        <a:pt x="374" y="137"/>
                        <a:pt x="374" y="135"/>
                        <a:pt x="374" y="132"/>
                      </a:cubicBezTo>
                      <a:cubicBezTo>
                        <a:pt x="374" y="132"/>
                        <a:pt x="373" y="131"/>
                        <a:pt x="373" y="131"/>
                      </a:cubicBezTo>
                      <a:cubicBezTo>
                        <a:pt x="367" y="130"/>
                        <a:pt x="362" y="131"/>
                        <a:pt x="358" y="136"/>
                      </a:cubicBezTo>
                      <a:cubicBezTo>
                        <a:pt x="357" y="137"/>
                        <a:pt x="356" y="139"/>
                        <a:pt x="356" y="140"/>
                      </a:cubicBezTo>
                      <a:cubicBezTo>
                        <a:pt x="356" y="141"/>
                        <a:pt x="355" y="141"/>
                        <a:pt x="355" y="141"/>
                      </a:cubicBezTo>
                      <a:cubicBezTo>
                        <a:pt x="355" y="138"/>
                        <a:pt x="355" y="136"/>
                        <a:pt x="355" y="133"/>
                      </a:cubicBezTo>
                      <a:close/>
                      <a:moveTo>
                        <a:pt x="1015" y="33"/>
                      </a:moveTo>
                      <a:cubicBezTo>
                        <a:pt x="1015" y="31"/>
                        <a:pt x="1015" y="29"/>
                        <a:pt x="1015" y="27"/>
                      </a:cubicBezTo>
                      <a:cubicBezTo>
                        <a:pt x="1015" y="27"/>
                        <a:pt x="1015" y="26"/>
                        <a:pt x="1014" y="26"/>
                      </a:cubicBezTo>
                      <a:cubicBezTo>
                        <a:pt x="1013" y="26"/>
                        <a:pt x="1011" y="26"/>
                        <a:pt x="1009" y="26"/>
                      </a:cubicBezTo>
                      <a:cubicBezTo>
                        <a:pt x="1007" y="26"/>
                        <a:pt x="1007" y="26"/>
                        <a:pt x="1007" y="29"/>
                      </a:cubicBezTo>
                      <a:cubicBezTo>
                        <a:pt x="1007" y="45"/>
                        <a:pt x="1007" y="61"/>
                        <a:pt x="1007" y="77"/>
                      </a:cubicBezTo>
                      <a:cubicBezTo>
                        <a:pt x="1007" y="77"/>
                        <a:pt x="1007" y="78"/>
                        <a:pt x="1007" y="78"/>
                      </a:cubicBezTo>
                      <a:cubicBezTo>
                        <a:pt x="1007" y="79"/>
                        <a:pt x="1007" y="79"/>
                        <a:pt x="1008" y="79"/>
                      </a:cubicBezTo>
                      <a:cubicBezTo>
                        <a:pt x="1010" y="79"/>
                        <a:pt x="1012" y="79"/>
                        <a:pt x="1014" y="79"/>
                      </a:cubicBezTo>
                      <a:cubicBezTo>
                        <a:pt x="1015" y="79"/>
                        <a:pt x="1015" y="79"/>
                        <a:pt x="1015" y="78"/>
                      </a:cubicBezTo>
                      <a:cubicBezTo>
                        <a:pt x="1015" y="77"/>
                        <a:pt x="1015" y="77"/>
                        <a:pt x="1015" y="76"/>
                      </a:cubicBezTo>
                      <a:cubicBezTo>
                        <a:pt x="1015" y="69"/>
                        <a:pt x="1015" y="61"/>
                        <a:pt x="1015" y="54"/>
                      </a:cubicBezTo>
                      <a:cubicBezTo>
                        <a:pt x="1015" y="51"/>
                        <a:pt x="1015" y="49"/>
                        <a:pt x="1016" y="47"/>
                      </a:cubicBezTo>
                      <a:cubicBezTo>
                        <a:pt x="1016" y="43"/>
                        <a:pt x="1017" y="40"/>
                        <a:pt x="1020" y="37"/>
                      </a:cubicBezTo>
                      <a:cubicBezTo>
                        <a:pt x="1021" y="35"/>
                        <a:pt x="1023" y="34"/>
                        <a:pt x="1026" y="33"/>
                      </a:cubicBezTo>
                      <a:cubicBezTo>
                        <a:pt x="1028" y="33"/>
                        <a:pt x="1031" y="33"/>
                        <a:pt x="1033" y="34"/>
                      </a:cubicBezTo>
                      <a:cubicBezTo>
                        <a:pt x="1033" y="34"/>
                        <a:pt x="1034" y="35"/>
                        <a:pt x="1034" y="34"/>
                      </a:cubicBezTo>
                      <a:cubicBezTo>
                        <a:pt x="1034" y="32"/>
                        <a:pt x="1034" y="30"/>
                        <a:pt x="1034" y="27"/>
                      </a:cubicBezTo>
                      <a:cubicBezTo>
                        <a:pt x="1034" y="26"/>
                        <a:pt x="1034" y="26"/>
                        <a:pt x="1033" y="26"/>
                      </a:cubicBezTo>
                      <a:cubicBezTo>
                        <a:pt x="1028" y="25"/>
                        <a:pt x="1023" y="26"/>
                        <a:pt x="1019" y="31"/>
                      </a:cubicBezTo>
                      <a:cubicBezTo>
                        <a:pt x="1018" y="32"/>
                        <a:pt x="1017" y="33"/>
                        <a:pt x="1016" y="35"/>
                      </a:cubicBezTo>
                      <a:cubicBezTo>
                        <a:pt x="1016" y="35"/>
                        <a:pt x="1016" y="36"/>
                        <a:pt x="1015" y="36"/>
                      </a:cubicBezTo>
                      <a:cubicBezTo>
                        <a:pt x="1015" y="35"/>
                        <a:pt x="1015" y="34"/>
                        <a:pt x="1015" y="33"/>
                      </a:cubicBezTo>
                      <a:close/>
                      <a:moveTo>
                        <a:pt x="462" y="178"/>
                      </a:moveTo>
                      <a:cubicBezTo>
                        <a:pt x="462" y="180"/>
                        <a:pt x="461" y="182"/>
                        <a:pt x="462" y="184"/>
                      </a:cubicBezTo>
                      <a:cubicBezTo>
                        <a:pt x="464" y="185"/>
                        <a:pt x="466" y="184"/>
                        <a:pt x="469" y="184"/>
                      </a:cubicBezTo>
                      <a:cubicBezTo>
                        <a:pt x="469" y="184"/>
                        <a:pt x="469" y="184"/>
                        <a:pt x="469" y="184"/>
                      </a:cubicBezTo>
                      <a:cubicBezTo>
                        <a:pt x="470" y="184"/>
                        <a:pt x="470" y="184"/>
                        <a:pt x="470" y="183"/>
                      </a:cubicBezTo>
                      <a:cubicBezTo>
                        <a:pt x="470" y="183"/>
                        <a:pt x="470" y="182"/>
                        <a:pt x="470" y="181"/>
                      </a:cubicBezTo>
                      <a:cubicBezTo>
                        <a:pt x="470" y="167"/>
                        <a:pt x="470" y="153"/>
                        <a:pt x="470" y="139"/>
                      </a:cubicBezTo>
                      <a:cubicBezTo>
                        <a:pt x="470" y="136"/>
                        <a:pt x="471" y="134"/>
                        <a:pt x="470" y="132"/>
                      </a:cubicBezTo>
                      <a:cubicBezTo>
                        <a:pt x="467" y="131"/>
                        <a:pt x="465" y="132"/>
                        <a:pt x="463" y="132"/>
                      </a:cubicBezTo>
                      <a:cubicBezTo>
                        <a:pt x="463" y="132"/>
                        <a:pt x="463" y="132"/>
                        <a:pt x="463" y="132"/>
                      </a:cubicBezTo>
                      <a:cubicBezTo>
                        <a:pt x="462" y="132"/>
                        <a:pt x="462" y="132"/>
                        <a:pt x="462" y="133"/>
                      </a:cubicBezTo>
                      <a:cubicBezTo>
                        <a:pt x="462" y="133"/>
                        <a:pt x="462" y="134"/>
                        <a:pt x="462" y="135"/>
                      </a:cubicBezTo>
                      <a:cubicBezTo>
                        <a:pt x="462" y="143"/>
                        <a:pt x="462" y="150"/>
                        <a:pt x="462" y="158"/>
                      </a:cubicBezTo>
                      <a:cubicBezTo>
                        <a:pt x="462" y="165"/>
                        <a:pt x="462" y="171"/>
                        <a:pt x="462" y="178"/>
                      </a:cubicBezTo>
                      <a:close/>
                      <a:moveTo>
                        <a:pt x="210" y="135"/>
                      </a:moveTo>
                      <a:cubicBezTo>
                        <a:pt x="210" y="149"/>
                        <a:pt x="210" y="164"/>
                        <a:pt x="210" y="178"/>
                      </a:cubicBezTo>
                      <a:cubicBezTo>
                        <a:pt x="210" y="180"/>
                        <a:pt x="210" y="181"/>
                        <a:pt x="210" y="183"/>
                      </a:cubicBezTo>
                      <a:cubicBezTo>
                        <a:pt x="210" y="184"/>
                        <a:pt x="210" y="184"/>
                        <a:pt x="211" y="184"/>
                      </a:cubicBezTo>
                      <a:cubicBezTo>
                        <a:pt x="213" y="184"/>
                        <a:pt x="214" y="184"/>
                        <a:pt x="216" y="184"/>
                      </a:cubicBezTo>
                      <a:cubicBezTo>
                        <a:pt x="218" y="184"/>
                        <a:pt x="218" y="184"/>
                        <a:pt x="218" y="182"/>
                      </a:cubicBezTo>
                      <a:cubicBezTo>
                        <a:pt x="218" y="166"/>
                        <a:pt x="218" y="150"/>
                        <a:pt x="218" y="134"/>
                      </a:cubicBezTo>
                      <a:cubicBezTo>
                        <a:pt x="218" y="133"/>
                        <a:pt x="218" y="133"/>
                        <a:pt x="218" y="133"/>
                      </a:cubicBezTo>
                      <a:cubicBezTo>
                        <a:pt x="218" y="132"/>
                        <a:pt x="218" y="132"/>
                        <a:pt x="217" y="132"/>
                      </a:cubicBezTo>
                      <a:cubicBezTo>
                        <a:pt x="215" y="132"/>
                        <a:pt x="212" y="132"/>
                        <a:pt x="210" y="132"/>
                      </a:cubicBezTo>
                      <a:cubicBezTo>
                        <a:pt x="209" y="133"/>
                        <a:pt x="210" y="134"/>
                        <a:pt x="210" y="135"/>
                      </a:cubicBezTo>
                      <a:close/>
                      <a:moveTo>
                        <a:pt x="96" y="76"/>
                      </a:moveTo>
                      <a:cubicBezTo>
                        <a:pt x="96" y="77"/>
                        <a:pt x="96" y="78"/>
                        <a:pt x="96" y="78"/>
                      </a:cubicBezTo>
                      <a:cubicBezTo>
                        <a:pt x="96" y="79"/>
                        <a:pt x="96" y="79"/>
                        <a:pt x="96" y="79"/>
                      </a:cubicBezTo>
                      <a:cubicBezTo>
                        <a:pt x="99" y="79"/>
                        <a:pt x="101" y="79"/>
                        <a:pt x="103" y="79"/>
                      </a:cubicBezTo>
                      <a:cubicBezTo>
                        <a:pt x="104" y="79"/>
                        <a:pt x="104" y="79"/>
                        <a:pt x="104" y="78"/>
                      </a:cubicBezTo>
                      <a:cubicBezTo>
                        <a:pt x="104" y="77"/>
                        <a:pt x="104" y="77"/>
                        <a:pt x="104" y="76"/>
                      </a:cubicBezTo>
                      <a:cubicBezTo>
                        <a:pt x="104" y="62"/>
                        <a:pt x="104" y="47"/>
                        <a:pt x="104" y="33"/>
                      </a:cubicBezTo>
                      <a:cubicBezTo>
                        <a:pt x="104" y="31"/>
                        <a:pt x="104" y="29"/>
                        <a:pt x="104" y="27"/>
                      </a:cubicBezTo>
                      <a:cubicBezTo>
                        <a:pt x="102" y="26"/>
                        <a:pt x="99" y="27"/>
                        <a:pt x="97" y="26"/>
                      </a:cubicBezTo>
                      <a:cubicBezTo>
                        <a:pt x="97" y="26"/>
                        <a:pt x="97" y="26"/>
                        <a:pt x="96" y="26"/>
                      </a:cubicBezTo>
                      <a:cubicBezTo>
                        <a:pt x="96" y="26"/>
                        <a:pt x="96" y="27"/>
                        <a:pt x="96" y="27"/>
                      </a:cubicBezTo>
                      <a:cubicBezTo>
                        <a:pt x="96" y="28"/>
                        <a:pt x="96" y="29"/>
                        <a:pt x="96" y="29"/>
                      </a:cubicBezTo>
                      <a:cubicBezTo>
                        <a:pt x="96" y="37"/>
                        <a:pt x="96" y="45"/>
                        <a:pt x="96" y="52"/>
                      </a:cubicBezTo>
                      <a:cubicBezTo>
                        <a:pt x="96" y="60"/>
                        <a:pt x="96" y="68"/>
                        <a:pt x="96" y="76"/>
                      </a:cubicBezTo>
                      <a:close/>
                      <a:moveTo>
                        <a:pt x="94" y="8"/>
                      </a:moveTo>
                      <a:cubicBezTo>
                        <a:pt x="94" y="11"/>
                        <a:pt x="97" y="13"/>
                        <a:pt x="100" y="13"/>
                      </a:cubicBezTo>
                      <a:cubicBezTo>
                        <a:pt x="103" y="13"/>
                        <a:pt x="105" y="11"/>
                        <a:pt x="106" y="8"/>
                      </a:cubicBezTo>
                      <a:cubicBezTo>
                        <a:pt x="106" y="5"/>
                        <a:pt x="103" y="2"/>
                        <a:pt x="100" y="2"/>
                      </a:cubicBezTo>
                      <a:cubicBezTo>
                        <a:pt x="97" y="2"/>
                        <a:pt x="94" y="5"/>
                        <a:pt x="94" y="8"/>
                      </a:cubicBezTo>
                      <a:close/>
                      <a:moveTo>
                        <a:pt x="208" y="113"/>
                      </a:moveTo>
                      <a:cubicBezTo>
                        <a:pt x="208" y="116"/>
                        <a:pt x="211" y="118"/>
                        <a:pt x="214" y="118"/>
                      </a:cubicBezTo>
                      <a:cubicBezTo>
                        <a:pt x="217" y="119"/>
                        <a:pt x="220" y="116"/>
                        <a:pt x="220" y="113"/>
                      </a:cubicBezTo>
                      <a:cubicBezTo>
                        <a:pt x="220" y="110"/>
                        <a:pt x="217" y="107"/>
                        <a:pt x="214" y="107"/>
                      </a:cubicBezTo>
                      <a:cubicBezTo>
                        <a:pt x="211" y="107"/>
                        <a:pt x="208" y="110"/>
                        <a:pt x="208" y="113"/>
                      </a:cubicBezTo>
                      <a:close/>
                      <a:moveTo>
                        <a:pt x="466" y="107"/>
                      </a:moveTo>
                      <a:cubicBezTo>
                        <a:pt x="463" y="107"/>
                        <a:pt x="460" y="110"/>
                        <a:pt x="460" y="113"/>
                      </a:cubicBezTo>
                      <a:cubicBezTo>
                        <a:pt x="460" y="116"/>
                        <a:pt x="463" y="118"/>
                        <a:pt x="466" y="118"/>
                      </a:cubicBezTo>
                      <a:cubicBezTo>
                        <a:pt x="469" y="118"/>
                        <a:pt x="472" y="116"/>
                        <a:pt x="472" y="113"/>
                      </a:cubicBezTo>
                      <a:cubicBezTo>
                        <a:pt x="472" y="110"/>
                        <a:pt x="469" y="107"/>
                        <a:pt x="466" y="107"/>
                      </a:cubicBezTo>
                      <a:close/>
                      <a:moveTo>
                        <a:pt x="268" y="157"/>
                      </a:moveTo>
                      <a:cubicBezTo>
                        <a:pt x="268" y="156"/>
                        <a:pt x="268" y="154"/>
                        <a:pt x="268" y="152"/>
                      </a:cubicBezTo>
                      <a:cubicBezTo>
                        <a:pt x="268" y="151"/>
                        <a:pt x="268" y="150"/>
                        <a:pt x="267" y="149"/>
                      </a:cubicBezTo>
                      <a:cubicBezTo>
                        <a:pt x="266" y="143"/>
                        <a:pt x="261" y="139"/>
                        <a:pt x="255" y="138"/>
                      </a:cubicBezTo>
                      <a:cubicBezTo>
                        <a:pt x="249" y="137"/>
                        <a:pt x="244" y="139"/>
                        <a:pt x="240" y="144"/>
                      </a:cubicBezTo>
                      <a:cubicBezTo>
                        <a:pt x="239" y="146"/>
                        <a:pt x="238" y="148"/>
                        <a:pt x="238" y="149"/>
                      </a:cubicBezTo>
                      <a:cubicBezTo>
                        <a:pt x="236" y="154"/>
                        <a:pt x="236" y="159"/>
                        <a:pt x="237" y="164"/>
                      </a:cubicBezTo>
                      <a:cubicBezTo>
                        <a:pt x="237" y="167"/>
                        <a:pt x="238" y="169"/>
                        <a:pt x="239" y="171"/>
                      </a:cubicBezTo>
                      <a:cubicBezTo>
                        <a:pt x="245" y="181"/>
                        <a:pt x="257" y="180"/>
                        <a:pt x="262" y="175"/>
                      </a:cubicBezTo>
                      <a:cubicBezTo>
                        <a:pt x="266" y="171"/>
                        <a:pt x="267" y="167"/>
                        <a:pt x="268" y="163"/>
                      </a:cubicBezTo>
                      <a:cubicBezTo>
                        <a:pt x="268" y="161"/>
                        <a:pt x="268" y="159"/>
                        <a:pt x="268" y="157"/>
                      </a:cubicBezTo>
                      <a:cubicBezTo>
                        <a:pt x="268" y="157"/>
                        <a:pt x="268" y="157"/>
                        <a:pt x="268" y="157"/>
                      </a:cubicBezTo>
                      <a:close/>
                      <a:moveTo>
                        <a:pt x="902" y="150"/>
                      </a:moveTo>
                      <a:cubicBezTo>
                        <a:pt x="900" y="144"/>
                        <a:pt x="897" y="140"/>
                        <a:pt x="891" y="138"/>
                      </a:cubicBezTo>
                      <a:cubicBezTo>
                        <a:pt x="884" y="136"/>
                        <a:pt x="877" y="139"/>
                        <a:pt x="873" y="146"/>
                      </a:cubicBezTo>
                      <a:cubicBezTo>
                        <a:pt x="873" y="147"/>
                        <a:pt x="872" y="149"/>
                        <a:pt x="872" y="150"/>
                      </a:cubicBezTo>
                      <a:cubicBezTo>
                        <a:pt x="871" y="154"/>
                        <a:pt x="870" y="158"/>
                        <a:pt x="871" y="162"/>
                      </a:cubicBezTo>
                      <a:cubicBezTo>
                        <a:pt x="871" y="166"/>
                        <a:pt x="872" y="169"/>
                        <a:pt x="874" y="172"/>
                      </a:cubicBezTo>
                      <a:cubicBezTo>
                        <a:pt x="876" y="175"/>
                        <a:pt x="878" y="177"/>
                        <a:pt x="881" y="178"/>
                      </a:cubicBezTo>
                      <a:cubicBezTo>
                        <a:pt x="887" y="180"/>
                        <a:pt x="894" y="178"/>
                        <a:pt x="898" y="173"/>
                      </a:cubicBezTo>
                      <a:cubicBezTo>
                        <a:pt x="900" y="170"/>
                        <a:pt x="901" y="168"/>
                        <a:pt x="902" y="165"/>
                      </a:cubicBezTo>
                      <a:cubicBezTo>
                        <a:pt x="902" y="162"/>
                        <a:pt x="902" y="160"/>
                        <a:pt x="902" y="157"/>
                      </a:cubicBezTo>
                      <a:cubicBezTo>
                        <a:pt x="902" y="155"/>
                        <a:pt x="902" y="152"/>
                        <a:pt x="902" y="150"/>
                      </a:cubicBezTo>
                      <a:close/>
                      <a:moveTo>
                        <a:pt x="1298" y="13"/>
                      </a:moveTo>
                      <a:cubicBezTo>
                        <a:pt x="1296" y="13"/>
                        <a:pt x="1294" y="13"/>
                        <a:pt x="1292" y="13"/>
                      </a:cubicBezTo>
                      <a:cubicBezTo>
                        <a:pt x="1290" y="13"/>
                        <a:pt x="1290" y="13"/>
                        <a:pt x="1290" y="15"/>
                      </a:cubicBezTo>
                      <a:cubicBezTo>
                        <a:pt x="1290" y="17"/>
                        <a:pt x="1290" y="19"/>
                        <a:pt x="1290" y="22"/>
                      </a:cubicBezTo>
                      <a:cubicBezTo>
                        <a:pt x="1290" y="27"/>
                        <a:pt x="1290" y="33"/>
                        <a:pt x="1290" y="39"/>
                      </a:cubicBezTo>
                      <a:cubicBezTo>
                        <a:pt x="1290" y="40"/>
                        <a:pt x="1290" y="40"/>
                        <a:pt x="1291" y="40"/>
                      </a:cubicBezTo>
                      <a:cubicBezTo>
                        <a:pt x="1295" y="40"/>
                        <a:pt x="1299" y="40"/>
                        <a:pt x="1303" y="40"/>
                      </a:cubicBezTo>
                      <a:cubicBezTo>
                        <a:pt x="1304" y="40"/>
                        <a:pt x="1305" y="40"/>
                        <a:pt x="1306" y="39"/>
                      </a:cubicBezTo>
                      <a:cubicBezTo>
                        <a:pt x="1312" y="38"/>
                        <a:pt x="1318" y="33"/>
                        <a:pt x="1317" y="24"/>
                      </a:cubicBezTo>
                      <a:cubicBezTo>
                        <a:pt x="1316" y="19"/>
                        <a:pt x="1314" y="16"/>
                        <a:pt x="1309" y="14"/>
                      </a:cubicBezTo>
                      <a:cubicBezTo>
                        <a:pt x="1307" y="14"/>
                        <a:pt x="1305" y="13"/>
                        <a:pt x="1304" y="13"/>
                      </a:cubicBezTo>
                      <a:cubicBezTo>
                        <a:pt x="1302" y="13"/>
                        <a:pt x="1300" y="13"/>
                        <a:pt x="1298" y="13"/>
                      </a:cubicBezTo>
                      <a:cubicBezTo>
                        <a:pt x="1298" y="13"/>
                        <a:pt x="1298" y="13"/>
                        <a:pt x="1298" y="13"/>
                      </a:cubicBezTo>
                      <a:close/>
                      <a:moveTo>
                        <a:pt x="1150" y="38"/>
                      </a:moveTo>
                      <a:cubicBezTo>
                        <a:pt x="1150" y="33"/>
                        <a:pt x="1149" y="28"/>
                        <a:pt x="1148" y="23"/>
                      </a:cubicBezTo>
                      <a:cubicBezTo>
                        <a:pt x="1147" y="21"/>
                        <a:pt x="1146" y="19"/>
                        <a:pt x="1145" y="17"/>
                      </a:cubicBezTo>
                      <a:cubicBezTo>
                        <a:pt x="1140" y="9"/>
                        <a:pt x="1130" y="10"/>
                        <a:pt x="1125" y="16"/>
                      </a:cubicBezTo>
                      <a:cubicBezTo>
                        <a:pt x="1124" y="17"/>
                        <a:pt x="1123" y="19"/>
                        <a:pt x="1123" y="21"/>
                      </a:cubicBezTo>
                      <a:cubicBezTo>
                        <a:pt x="1121" y="24"/>
                        <a:pt x="1120" y="28"/>
                        <a:pt x="1120" y="31"/>
                      </a:cubicBezTo>
                      <a:cubicBezTo>
                        <a:pt x="1119" y="37"/>
                        <a:pt x="1119" y="43"/>
                        <a:pt x="1119" y="49"/>
                      </a:cubicBezTo>
                      <a:cubicBezTo>
                        <a:pt x="1120" y="54"/>
                        <a:pt x="1120" y="58"/>
                        <a:pt x="1122" y="62"/>
                      </a:cubicBezTo>
                      <a:cubicBezTo>
                        <a:pt x="1122" y="64"/>
                        <a:pt x="1123" y="66"/>
                        <a:pt x="1125" y="68"/>
                      </a:cubicBezTo>
                      <a:cubicBezTo>
                        <a:pt x="1126" y="70"/>
                        <a:pt x="1129" y="72"/>
                        <a:pt x="1131" y="73"/>
                      </a:cubicBezTo>
                      <a:cubicBezTo>
                        <a:pt x="1137" y="74"/>
                        <a:pt x="1142" y="72"/>
                        <a:pt x="1145" y="67"/>
                      </a:cubicBezTo>
                      <a:cubicBezTo>
                        <a:pt x="1147" y="64"/>
                        <a:pt x="1148" y="62"/>
                        <a:pt x="1148" y="59"/>
                      </a:cubicBezTo>
                      <a:cubicBezTo>
                        <a:pt x="1150" y="54"/>
                        <a:pt x="1150" y="48"/>
                        <a:pt x="1150" y="42"/>
                      </a:cubicBezTo>
                      <a:cubicBezTo>
                        <a:pt x="1150" y="41"/>
                        <a:pt x="1150" y="40"/>
                        <a:pt x="1150" y="38"/>
                      </a:cubicBezTo>
                      <a:close/>
                      <a:moveTo>
                        <a:pt x="627" y="40"/>
                      </a:moveTo>
                      <a:cubicBezTo>
                        <a:pt x="625" y="36"/>
                        <a:pt x="623" y="34"/>
                        <a:pt x="620" y="33"/>
                      </a:cubicBezTo>
                      <a:cubicBezTo>
                        <a:pt x="614" y="31"/>
                        <a:pt x="609" y="33"/>
                        <a:pt x="605" y="37"/>
                      </a:cubicBezTo>
                      <a:cubicBezTo>
                        <a:pt x="603" y="39"/>
                        <a:pt x="601" y="43"/>
                        <a:pt x="600" y="46"/>
                      </a:cubicBezTo>
                      <a:cubicBezTo>
                        <a:pt x="600" y="46"/>
                        <a:pt x="600" y="47"/>
                        <a:pt x="600" y="47"/>
                      </a:cubicBezTo>
                      <a:cubicBezTo>
                        <a:pt x="603" y="48"/>
                        <a:pt x="626" y="48"/>
                        <a:pt x="628" y="47"/>
                      </a:cubicBezTo>
                      <a:cubicBezTo>
                        <a:pt x="628" y="45"/>
                        <a:pt x="628" y="42"/>
                        <a:pt x="627" y="40"/>
                      </a:cubicBezTo>
                      <a:close/>
                      <a:moveTo>
                        <a:pt x="848" y="39"/>
                      </a:moveTo>
                      <a:cubicBezTo>
                        <a:pt x="846" y="36"/>
                        <a:pt x="844" y="34"/>
                        <a:pt x="842" y="33"/>
                      </a:cubicBezTo>
                      <a:cubicBezTo>
                        <a:pt x="836" y="31"/>
                        <a:pt x="832" y="32"/>
                        <a:pt x="827" y="36"/>
                      </a:cubicBezTo>
                      <a:cubicBezTo>
                        <a:pt x="825" y="38"/>
                        <a:pt x="823" y="41"/>
                        <a:pt x="822" y="44"/>
                      </a:cubicBezTo>
                      <a:cubicBezTo>
                        <a:pt x="822" y="45"/>
                        <a:pt x="821" y="46"/>
                        <a:pt x="821" y="47"/>
                      </a:cubicBezTo>
                      <a:cubicBezTo>
                        <a:pt x="824" y="48"/>
                        <a:pt x="847" y="48"/>
                        <a:pt x="850" y="47"/>
                      </a:cubicBezTo>
                      <a:cubicBezTo>
                        <a:pt x="850" y="44"/>
                        <a:pt x="849" y="41"/>
                        <a:pt x="848" y="39"/>
                      </a:cubicBezTo>
                      <a:close/>
                      <a:moveTo>
                        <a:pt x="956" y="144"/>
                      </a:moveTo>
                      <a:cubicBezTo>
                        <a:pt x="954" y="142"/>
                        <a:pt x="952" y="140"/>
                        <a:pt x="950" y="139"/>
                      </a:cubicBezTo>
                      <a:cubicBezTo>
                        <a:pt x="945" y="137"/>
                        <a:pt x="941" y="137"/>
                        <a:pt x="936" y="140"/>
                      </a:cubicBezTo>
                      <a:cubicBezTo>
                        <a:pt x="932" y="143"/>
                        <a:pt x="930" y="148"/>
                        <a:pt x="929" y="153"/>
                      </a:cubicBezTo>
                      <a:cubicBezTo>
                        <a:pt x="938" y="153"/>
                        <a:pt x="948" y="153"/>
                        <a:pt x="957" y="153"/>
                      </a:cubicBezTo>
                      <a:cubicBezTo>
                        <a:pt x="957" y="150"/>
                        <a:pt x="957" y="147"/>
                        <a:pt x="956" y="144"/>
                      </a:cubicBezTo>
                      <a:close/>
                      <a:moveTo>
                        <a:pt x="986" y="37"/>
                      </a:moveTo>
                      <a:cubicBezTo>
                        <a:pt x="985" y="35"/>
                        <a:pt x="983" y="34"/>
                        <a:pt x="980" y="33"/>
                      </a:cubicBezTo>
                      <a:cubicBezTo>
                        <a:pt x="975" y="31"/>
                        <a:pt x="969" y="33"/>
                        <a:pt x="965" y="37"/>
                      </a:cubicBezTo>
                      <a:cubicBezTo>
                        <a:pt x="963" y="40"/>
                        <a:pt x="962" y="43"/>
                        <a:pt x="961" y="46"/>
                      </a:cubicBezTo>
                      <a:cubicBezTo>
                        <a:pt x="961" y="46"/>
                        <a:pt x="961" y="47"/>
                        <a:pt x="961" y="47"/>
                      </a:cubicBezTo>
                      <a:cubicBezTo>
                        <a:pt x="965" y="48"/>
                        <a:pt x="987" y="48"/>
                        <a:pt x="989" y="47"/>
                      </a:cubicBezTo>
                      <a:cubicBezTo>
                        <a:pt x="989" y="44"/>
                        <a:pt x="988" y="40"/>
                        <a:pt x="986" y="37"/>
                      </a:cubicBezTo>
                      <a:close/>
                      <a:moveTo>
                        <a:pt x="844" y="158"/>
                      </a:moveTo>
                      <a:cubicBezTo>
                        <a:pt x="840" y="158"/>
                        <a:pt x="835" y="159"/>
                        <a:pt x="831" y="160"/>
                      </a:cubicBezTo>
                      <a:cubicBezTo>
                        <a:pt x="830" y="160"/>
                        <a:pt x="828" y="160"/>
                        <a:pt x="826" y="161"/>
                      </a:cubicBezTo>
                      <a:cubicBezTo>
                        <a:pt x="823" y="162"/>
                        <a:pt x="821" y="164"/>
                        <a:pt x="820" y="168"/>
                      </a:cubicBezTo>
                      <a:cubicBezTo>
                        <a:pt x="820" y="173"/>
                        <a:pt x="823" y="177"/>
                        <a:pt x="827" y="178"/>
                      </a:cubicBezTo>
                      <a:cubicBezTo>
                        <a:pt x="835" y="180"/>
                        <a:pt x="842" y="176"/>
                        <a:pt x="844" y="168"/>
                      </a:cubicBezTo>
                      <a:cubicBezTo>
                        <a:pt x="845" y="166"/>
                        <a:pt x="845" y="161"/>
                        <a:pt x="845" y="158"/>
                      </a:cubicBezTo>
                      <a:cubicBezTo>
                        <a:pt x="844" y="158"/>
                        <a:pt x="844" y="158"/>
                        <a:pt x="844" y="158"/>
                      </a:cubicBezTo>
                      <a:close/>
                      <a:moveTo>
                        <a:pt x="200" y="61"/>
                      </a:moveTo>
                      <a:cubicBezTo>
                        <a:pt x="202" y="67"/>
                        <a:pt x="206" y="71"/>
                        <a:pt x="212" y="73"/>
                      </a:cubicBezTo>
                      <a:cubicBezTo>
                        <a:pt x="215" y="73"/>
                        <a:pt x="219" y="73"/>
                        <a:pt x="222" y="73"/>
                      </a:cubicBezTo>
                      <a:cubicBezTo>
                        <a:pt x="226" y="71"/>
                        <a:pt x="229" y="69"/>
                        <a:pt x="231" y="66"/>
                      </a:cubicBezTo>
                      <a:cubicBezTo>
                        <a:pt x="232" y="64"/>
                        <a:pt x="232" y="62"/>
                        <a:pt x="233" y="61"/>
                      </a:cubicBezTo>
                      <a:cubicBezTo>
                        <a:pt x="234" y="56"/>
                        <a:pt x="234" y="51"/>
                        <a:pt x="233" y="46"/>
                      </a:cubicBezTo>
                      <a:cubicBezTo>
                        <a:pt x="233" y="44"/>
                        <a:pt x="232" y="42"/>
                        <a:pt x="231" y="40"/>
                      </a:cubicBezTo>
                      <a:cubicBezTo>
                        <a:pt x="229" y="37"/>
                        <a:pt x="226" y="34"/>
                        <a:pt x="223" y="33"/>
                      </a:cubicBezTo>
                      <a:cubicBezTo>
                        <a:pt x="219" y="32"/>
                        <a:pt x="215" y="32"/>
                        <a:pt x="211" y="33"/>
                      </a:cubicBezTo>
                      <a:cubicBezTo>
                        <a:pt x="206" y="35"/>
                        <a:pt x="202" y="39"/>
                        <a:pt x="201" y="44"/>
                      </a:cubicBezTo>
                      <a:cubicBezTo>
                        <a:pt x="200" y="47"/>
                        <a:pt x="199" y="50"/>
                        <a:pt x="199" y="53"/>
                      </a:cubicBezTo>
                      <a:cubicBezTo>
                        <a:pt x="199" y="55"/>
                        <a:pt x="199" y="58"/>
                        <a:pt x="200" y="61"/>
                      </a:cubicBezTo>
                      <a:close/>
                      <a:moveTo>
                        <a:pt x="408" y="159"/>
                      </a:moveTo>
                      <a:cubicBezTo>
                        <a:pt x="408" y="158"/>
                        <a:pt x="408" y="158"/>
                        <a:pt x="408" y="158"/>
                      </a:cubicBezTo>
                      <a:cubicBezTo>
                        <a:pt x="407" y="158"/>
                        <a:pt x="407" y="158"/>
                        <a:pt x="407" y="158"/>
                      </a:cubicBezTo>
                      <a:cubicBezTo>
                        <a:pt x="403" y="159"/>
                        <a:pt x="399" y="159"/>
                        <a:pt x="395" y="160"/>
                      </a:cubicBezTo>
                      <a:cubicBezTo>
                        <a:pt x="393" y="160"/>
                        <a:pt x="391" y="160"/>
                        <a:pt x="389" y="161"/>
                      </a:cubicBezTo>
                      <a:cubicBezTo>
                        <a:pt x="387" y="162"/>
                        <a:pt x="386" y="163"/>
                        <a:pt x="385" y="164"/>
                      </a:cubicBezTo>
                      <a:cubicBezTo>
                        <a:pt x="384" y="167"/>
                        <a:pt x="383" y="171"/>
                        <a:pt x="385" y="174"/>
                      </a:cubicBezTo>
                      <a:cubicBezTo>
                        <a:pt x="386" y="176"/>
                        <a:pt x="388" y="178"/>
                        <a:pt x="391" y="178"/>
                      </a:cubicBezTo>
                      <a:cubicBezTo>
                        <a:pt x="398" y="180"/>
                        <a:pt x="405" y="176"/>
                        <a:pt x="407" y="169"/>
                      </a:cubicBezTo>
                      <a:cubicBezTo>
                        <a:pt x="408" y="166"/>
                        <a:pt x="408" y="164"/>
                        <a:pt x="408" y="161"/>
                      </a:cubicBezTo>
                      <a:cubicBezTo>
                        <a:pt x="408" y="160"/>
                        <a:pt x="408" y="160"/>
                        <a:pt x="408" y="159"/>
                      </a:cubicBezTo>
                      <a:close/>
                      <a:moveTo>
                        <a:pt x="71" y="163"/>
                      </a:moveTo>
                      <a:cubicBezTo>
                        <a:pt x="71" y="164"/>
                        <a:pt x="72" y="165"/>
                        <a:pt x="72" y="166"/>
                      </a:cubicBezTo>
                      <a:cubicBezTo>
                        <a:pt x="74" y="172"/>
                        <a:pt x="77" y="176"/>
                        <a:pt x="83" y="178"/>
                      </a:cubicBezTo>
                      <a:cubicBezTo>
                        <a:pt x="87" y="179"/>
                        <a:pt x="90" y="179"/>
                        <a:pt x="94" y="178"/>
                      </a:cubicBezTo>
                      <a:cubicBezTo>
                        <a:pt x="97" y="177"/>
                        <a:pt x="100" y="175"/>
                        <a:pt x="102" y="171"/>
                      </a:cubicBezTo>
                      <a:cubicBezTo>
                        <a:pt x="103" y="170"/>
                        <a:pt x="104" y="168"/>
                        <a:pt x="104" y="166"/>
                      </a:cubicBezTo>
                      <a:cubicBezTo>
                        <a:pt x="106" y="161"/>
                        <a:pt x="106" y="157"/>
                        <a:pt x="105" y="152"/>
                      </a:cubicBezTo>
                      <a:cubicBezTo>
                        <a:pt x="105" y="150"/>
                        <a:pt x="104" y="148"/>
                        <a:pt x="103" y="146"/>
                      </a:cubicBezTo>
                      <a:cubicBezTo>
                        <a:pt x="101" y="142"/>
                        <a:pt x="97" y="139"/>
                        <a:pt x="93" y="138"/>
                      </a:cubicBezTo>
                      <a:cubicBezTo>
                        <a:pt x="91" y="138"/>
                        <a:pt x="90" y="138"/>
                        <a:pt x="88" y="138"/>
                      </a:cubicBezTo>
                      <a:cubicBezTo>
                        <a:pt x="80" y="138"/>
                        <a:pt x="75" y="142"/>
                        <a:pt x="72" y="149"/>
                      </a:cubicBezTo>
                      <a:cubicBezTo>
                        <a:pt x="71" y="152"/>
                        <a:pt x="71" y="155"/>
                        <a:pt x="71" y="159"/>
                      </a:cubicBezTo>
                      <a:cubicBezTo>
                        <a:pt x="71" y="160"/>
                        <a:pt x="71" y="162"/>
                        <a:pt x="71" y="163"/>
                      </a:cubicBezTo>
                      <a:close/>
                      <a:moveTo>
                        <a:pt x="329" y="49"/>
                      </a:moveTo>
                      <a:cubicBezTo>
                        <a:pt x="329" y="47"/>
                        <a:pt x="328" y="44"/>
                        <a:pt x="327" y="41"/>
                      </a:cubicBezTo>
                      <a:cubicBezTo>
                        <a:pt x="325" y="37"/>
                        <a:pt x="322" y="34"/>
                        <a:pt x="318" y="33"/>
                      </a:cubicBezTo>
                      <a:cubicBezTo>
                        <a:pt x="314" y="32"/>
                        <a:pt x="310" y="32"/>
                        <a:pt x="306" y="33"/>
                      </a:cubicBezTo>
                      <a:cubicBezTo>
                        <a:pt x="301" y="35"/>
                        <a:pt x="297" y="39"/>
                        <a:pt x="296" y="44"/>
                      </a:cubicBezTo>
                      <a:cubicBezTo>
                        <a:pt x="294" y="48"/>
                        <a:pt x="294" y="53"/>
                        <a:pt x="295" y="57"/>
                      </a:cubicBezTo>
                      <a:cubicBezTo>
                        <a:pt x="295" y="59"/>
                        <a:pt x="295" y="61"/>
                        <a:pt x="296" y="63"/>
                      </a:cubicBezTo>
                      <a:cubicBezTo>
                        <a:pt x="298" y="67"/>
                        <a:pt x="301" y="71"/>
                        <a:pt x="306" y="72"/>
                      </a:cubicBezTo>
                      <a:cubicBezTo>
                        <a:pt x="310" y="74"/>
                        <a:pt x="314" y="74"/>
                        <a:pt x="318" y="72"/>
                      </a:cubicBezTo>
                      <a:cubicBezTo>
                        <a:pt x="321" y="71"/>
                        <a:pt x="324" y="69"/>
                        <a:pt x="325" y="67"/>
                      </a:cubicBezTo>
                      <a:cubicBezTo>
                        <a:pt x="327" y="65"/>
                        <a:pt x="327" y="63"/>
                        <a:pt x="328" y="62"/>
                      </a:cubicBezTo>
                      <a:cubicBezTo>
                        <a:pt x="329" y="59"/>
                        <a:pt x="329" y="56"/>
                        <a:pt x="329" y="53"/>
                      </a:cubicBezTo>
                      <a:cubicBezTo>
                        <a:pt x="329" y="52"/>
                        <a:pt x="329" y="51"/>
                        <a:pt x="329" y="49"/>
                      </a:cubicBezTo>
                      <a:close/>
                      <a:moveTo>
                        <a:pt x="523" y="152"/>
                      </a:moveTo>
                      <a:cubicBezTo>
                        <a:pt x="522" y="150"/>
                        <a:pt x="522" y="148"/>
                        <a:pt x="520" y="146"/>
                      </a:cubicBezTo>
                      <a:cubicBezTo>
                        <a:pt x="518" y="142"/>
                        <a:pt x="515" y="139"/>
                        <a:pt x="510" y="138"/>
                      </a:cubicBezTo>
                      <a:cubicBezTo>
                        <a:pt x="509" y="138"/>
                        <a:pt x="507" y="138"/>
                        <a:pt x="505" y="138"/>
                      </a:cubicBezTo>
                      <a:cubicBezTo>
                        <a:pt x="498" y="138"/>
                        <a:pt x="492" y="142"/>
                        <a:pt x="490" y="149"/>
                      </a:cubicBezTo>
                      <a:cubicBezTo>
                        <a:pt x="488" y="154"/>
                        <a:pt x="488" y="159"/>
                        <a:pt x="489" y="165"/>
                      </a:cubicBezTo>
                      <a:cubicBezTo>
                        <a:pt x="489" y="166"/>
                        <a:pt x="490" y="167"/>
                        <a:pt x="490" y="169"/>
                      </a:cubicBezTo>
                      <a:cubicBezTo>
                        <a:pt x="493" y="175"/>
                        <a:pt x="498" y="178"/>
                        <a:pt x="505" y="178"/>
                      </a:cubicBezTo>
                      <a:cubicBezTo>
                        <a:pt x="514" y="179"/>
                        <a:pt x="520" y="175"/>
                        <a:pt x="522" y="166"/>
                      </a:cubicBezTo>
                      <a:cubicBezTo>
                        <a:pt x="523" y="164"/>
                        <a:pt x="523" y="161"/>
                        <a:pt x="523" y="159"/>
                      </a:cubicBezTo>
                      <a:cubicBezTo>
                        <a:pt x="523" y="157"/>
                        <a:pt x="523" y="155"/>
                        <a:pt x="523" y="152"/>
                      </a:cubicBezTo>
                      <a:close/>
                      <a:moveTo>
                        <a:pt x="739" y="159"/>
                      </a:moveTo>
                      <a:cubicBezTo>
                        <a:pt x="739" y="158"/>
                        <a:pt x="738" y="158"/>
                        <a:pt x="738" y="158"/>
                      </a:cubicBezTo>
                      <a:cubicBezTo>
                        <a:pt x="738" y="158"/>
                        <a:pt x="737" y="158"/>
                        <a:pt x="737" y="158"/>
                      </a:cubicBezTo>
                      <a:cubicBezTo>
                        <a:pt x="733" y="158"/>
                        <a:pt x="730" y="159"/>
                        <a:pt x="726" y="160"/>
                      </a:cubicBezTo>
                      <a:cubicBezTo>
                        <a:pt x="723" y="160"/>
                        <a:pt x="721" y="160"/>
                        <a:pt x="719" y="162"/>
                      </a:cubicBezTo>
                      <a:cubicBezTo>
                        <a:pt x="717" y="163"/>
                        <a:pt x="715" y="164"/>
                        <a:pt x="715" y="166"/>
                      </a:cubicBezTo>
                      <a:cubicBezTo>
                        <a:pt x="714" y="167"/>
                        <a:pt x="714" y="169"/>
                        <a:pt x="714" y="170"/>
                      </a:cubicBezTo>
                      <a:cubicBezTo>
                        <a:pt x="714" y="173"/>
                        <a:pt x="716" y="176"/>
                        <a:pt x="719" y="177"/>
                      </a:cubicBezTo>
                      <a:cubicBezTo>
                        <a:pt x="721" y="178"/>
                        <a:pt x="724" y="179"/>
                        <a:pt x="726" y="178"/>
                      </a:cubicBezTo>
                      <a:cubicBezTo>
                        <a:pt x="732" y="178"/>
                        <a:pt x="737" y="173"/>
                        <a:pt x="738" y="167"/>
                      </a:cubicBezTo>
                      <a:cubicBezTo>
                        <a:pt x="739" y="165"/>
                        <a:pt x="739" y="164"/>
                        <a:pt x="739" y="162"/>
                      </a:cubicBezTo>
                      <a:cubicBezTo>
                        <a:pt x="739" y="161"/>
                        <a:pt x="739" y="160"/>
                        <a:pt x="739" y="159"/>
                      </a:cubicBezTo>
                      <a:close/>
                    </a:path>
                  </a:pathLst>
                </a:custGeom>
                <a:solidFill>
                  <a:srgbClr val="EFEFEF"/>
                </a:solidFill>
                <a:ln>
                  <a:noFill/>
                </a:ln>
              </p:spPr>
              <p:txBody>
                <a:bodyPr vert="horz" wrap="square" lIns="89619" tIns="44810" rIns="89619" bIns="44810"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smtClean="0">
                    <a:ln>
                      <a:noFill/>
                    </a:ln>
                    <a:solidFill>
                      <a:srgbClr val="505050"/>
                    </a:solidFill>
                    <a:effectLst/>
                    <a:uLnTx/>
                    <a:uFillTx/>
                  </a:endParaRPr>
                </a:p>
              </p:txBody>
            </p:sp>
          </p:grpSp>
          <p:grpSp>
            <p:nvGrpSpPr>
              <p:cNvPr id="192" name="Group 191"/>
              <p:cNvGrpSpPr/>
              <p:nvPr/>
            </p:nvGrpSpPr>
            <p:grpSpPr>
              <a:xfrm>
                <a:off x="3974847" y="1644675"/>
                <a:ext cx="1855844" cy="951272"/>
                <a:chOff x="7004794" y="2304690"/>
                <a:chExt cx="1855844" cy="951272"/>
              </a:xfrm>
            </p:grpSpPr>
            <p:sp>
              <p:nvSpPr>
                <p:cNvPr id="194" name="Freeform 193"/>
                <p:cNvSpPr>
                  <a:spLocks/>
                </p:cNvSpPr>
                <p:nvPr/>
              </p:nvSpPr>
              <p:spPr bwMode="auto">
                <a:xfrm>
                  <a:off x="7004794" y="2304690"/>
                  <a:ext cx="1855844" cy="951272"/>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rgbClr val="EFEFEF"/>
                  </a:solid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marL="0" marR="0" lvl="0" indent="0" algn="l" defTabSz="1142398" rtl="0" eaLnBrk="1" fontAlgn="base" latinLnBrk="0" hangingPunct="1">
                    <a:lnSpc>
                      <a:spcPct val="100000"/>
                    </a:lnSpc>
                    <a:spcBef>
                      <a:spcPct val="0"/>
                    </a:spcBef>
                    <a:spcAft>
                      <a:spcPct val="0"/>
                    </a:spcAft>
                    <a:buClrTx/>
                    <a:buSzTx/>
                    <a:buFontTx/>
                    <a:buNone/>
                    <a:tabLst/>
                    <a:defRPr/>
                  </a:pPr>
                  <a:endParaRPr kumimoji="0" lang="en-US" sz="1938" b="1" i="0" u="none" strike="noStrike" kern="0" cap="none" spc="0" normalizeH="0" baseline="0" noProof="0" dirty="0">
                    <a:ln>
                      <a:noFill/>
                    </a:ln>
                    <a:solidFill>
                      <a:srgbClr val="505050"/>
                    </a:solidFill>
                    <a:effectLst/>
                    <a:uLnTx/>
                    <a:uFillTx/>
                    <a:latin typeface="Segoe" pitchFamily="34" charset="0"/>
                  </a:endParaRPr>
                </a:p>
              </p:txBody>
            </p:sp>
            <p:sp>
              <p:nvSpPr>
                <p:cNvPr id="195" name="Freeform 10"/>
                <p:cNvSpPr>
                  <a:spLocks noChangeAspect="1" noEditPoints="1"/>
                </p:cNvSpPr>
                <p:nvPr/>
              </p:nvSpPr>
              <p:spPr bwMode="auto">
                <a:xfrm>
                  <a:off x="7200682" y="2836035"/>
                  <a:ext cx="1484461" cy="153633"/>
                </a:xfrm>
                <a:custGeom>
                  <a:avLst/>
                  <a:gdLst>
                    <a:gd name="T0" fmla="*/ 215 w 954"/>
                    <a:gd name="T1" fmla="*/ 82 h 96"/>
                    <a:gd name="T2" fmla="*/ 165 w 954"/>
                    <a:gd name="T3" fmla="*/ 73 h 96"/>
                    <a:gd name="T4" fmla="*/ 131 w 954"/>
                    <a:gd name="T5" fmla="*/ 5 h 96"/>
                    <a:gd name="T6" fmla="*/ 189 w 954"/>
                    <a:gd name="T7" fmla="*/ 20 h 96"/>
                    <a:gd name="T8" fmla="*/ 266 w 954"/>
                    <a:gd name="T9" fmla="*/ 7 h 96"/>
                    <a:gd name="T10" fmla="*/ 254 w 954"/>
                    <a:gd name="T11" fmla="*/ 12 h 96"/>
                    <a:gd name="T12" fmla="*/ 264 w 954"/>
                    <a:gd name="T13" fmla="*/ 94 h 96"/>
                    <a:gd name="T14" fmla="*/ 332 w 954"/>
                    <a:gd name="T15" fmla="*/ 94 h 96"/>
                    <a:gd name="T16" fmla="*/ 289 w 954"/>
                    <a:gd name="T17" fmla="*/ 41 h 96"/>
                    <a:gd name="T18" fmla="*/ 289 w 954"/>
                    <a:gd name="T19" fmla="*/ 94 h 96"/>
                    <a:gd name="T20" fmla="*/ 322 w 954"/>
                    <a:gd name="T21" fmla="*/ 94 h 96"/>
                    <a:gd name="T22" fmla="*/ 390 w 954"/>
                    <a:gd name="T23" fmla="*/ 0 h 96"/>
                    <a:gd name="T24" fmla="*/ 341 w 954"/>
                    <a:gd name="T25" fmla="*/ 63 h 96"/>
                    <a:gd name="T26" fmla="*/ 390 w 954"/>
                    <a:gd name="T27" fmla="*/ 94 h 96"/>
                    <a:gd name="T28" fmla="*/ 357 w 954"/>
                    <a:gd name="T29" fmla="*/ 81 h 96"/>
                    <a:gd name="T30" fmla="*/ 390 w 954"/>
                    <a:gd name="T31" fmla="*/ 56 h 96"/>
                    <a:gd name="T32" fmla="*/ 420 w 954"/>
                    <a:gd name="T33" fmla="*/ 37 h 96"/>
                    <a:gd name="T34" fmla="*/ 474 w 954"/>
                    <a:gd name="T35" fmla="*/ 62 h 96"/>
                    <a:gd name="T36" fmla="*/ 421 w 954"/>
                    <a:gd name="T37" fmla="*/ 63 h 96"/>
                    <a:gd name="T38" fmla="*/ 565 w 954"/>
                    <a:gd name="T39" fmla="*/ 30 h 96"/>
                    <a:gd name="T40" fmla="*/ 540 w 954"/>
                    <a:gd name="T41" fmla="*/ 84 h 96"/>
                    <a:gd name="T42" fmla="*/ 500 w 954"/>
                    <a:gd name="T43" fmla="*/ 84 h 96"/>
                    <a:gd name="T44" fmla="*/ 495 w 954"/>
                    <a:gd name="T45" fmla="*/ 94 h 96"/>
                    <a:gd name="T46" fmla="*/ 522 w 954"/>
                    <a:gd name="T47" fmla="*/ 49 h 96"/>
                    <a:gd name="T48" fmla="*/ 602 w 954"/>
                    <a:gd name="T49" fmla="*/ 65 h 96"/>
                    <a:gd name="T50" fmla="*/ 589 w 954"/>
                    <a:gd name="T51" fmla="*/ 37 h 96"/>
                    <a:gd name="T52" fmla="*/ 567 w 954"/>
                    <a:gd name="T53" fmla="*/ 47 h 96"/>
                    <a:gd name="T54" fmla="*/ 584 w 954"/>
                    <a:gd name="T55" fmla="*/ 87 h 96"/>
                    <a:gd name="T56" fmla="*/ 606 w 954"/>
                    <a:gd name="T57" fmla="*/ 77 h 96"/>
                    <a:gd name="T58" fmla="*/ 636 w 954"/>
                    <a:gd name="T59" fmla="*/ 5 h 96"/>
                    <a:gd name="T60" fmla="*/ 695 w 954"/>
                    <a:gd name="T61" fmla="*/ 29 h 96"/>
                    <a:gd name="T62" fmla="*/ 664 w 954"/>
                    <a:gd name="T63" fmla="*/ 94 h 96"/>
                    <a:gd name="T64" fmla="*/ 706 w 954"/>
                    <a:gd name="T65" fmla="*/ 58 h 96"/>
                    <a:gd name="T66" fmla="*/ 760 w 954"/>
                    <a:gd name="T67" fmla="*/ 85 h 96"/>
                    <a:gd name="T68" fmla="*/ 760 w 954"/>
                    <a:gd name="T69" fmla="*/ 39 h 96"/>
                    <a:gd name="T70" fmla="*/ 734 w 954"/>
                    <a:gd name="T71" fmla="*/ 30 h 96"/>
                    <a:gd name="T72" fmla="*/ 751 w 954"/>
                    <a:gd name="T73" fmla="*/ 95 h 96"/>
                    <a:gd name="T74" fmla="*/ 810 w 954"/>
                    <a:gd name="T75" fmla="*/ 30 h 96"/>
                    <a:gd name="T76" fmla="*/ 778 w 954"/>
                    <a:gd name="T77" fmla="*/ 30 h 96"/>
                    <a:gd name="T78" fmla="*/ 810 w 954"/>
                    <a:gd name="T79" fmla="*/ 84 h 96"/>
                    <a:gd name="T80" fmla="*/ 889 w 954"/>
                    <a:gd name="T81" fmla="*/ 55 h 96"/>
                    <a:gd name="T82" fmla="*/ 846 w 954"/>
                    <a:gd name="T83" fmla="*/ 30 h 96"/>
                    <a:gd name="T84" fmla="*/ 851 w 954"/>
                    <a:gd name="T85" fmla="*/ 43 h 96"/>
                    <a:gd name="T86" fmla="*/ 954 w 954"/>
                    <a:gd name="T87" fmla="*/ 65 h 96"/>
                    <a:gd name="T88" fmla="*/ 907 w 954"/>
                    <a:gd name="T89" fmla="*/ 37 h 96"/>
                    <a:gd name="T90" fmla="*/ 949 w 954"/>
                    <a:gd name="T91" fmla="*/ 80 h 96"/>
                    <a:gd name="T92" fmla="*/ 943 w 954"/>
                    <a:gd name="T93" fmla="*/ 56 h 96"/>
                    <a:gd name="T94" fmla="*/ 939 w 954"/>
                    <a:gd name="T95" fmla="*/ 42 h 96"/>
                    <a:gd name="T96" fmla="*/ 95 w 954"/>
                    <a:gd name="T97" fmla="*/ 46 h 96"/>
                    <a:gd name="T98" fmla="*/ 0 w 954"/>
                    <a:gd name="T99" fmla="*/ 46 h 96"/>
                    <a:gd name="T100" fmla="*/ 0 w 954"/>
                    <a:gd name="T101" fmla="*/ 82 h 96"/>
                    <a:gd name="T102" fmla="*/ 43 w 954"/>
                    <a:gd name="T103" fmla="*/ 88 h 96"/>
                    <a:gd name="T104" fmla="*/ 43 w 954"/>
                    <a:gd name="T105"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4" h="96">
                      <a:moveTo>
                        <a:pt x="246" y="5"/>
                      </a:moveTo>
                      <a:cubicBezTo>
                        <a:pt x="246" y="5"/>
                        <a:pt x="246" y="5"/>
                        <a:pt x="246" y="5"/>
                      </a:cubicBezTo>
                      <a:cubicBezTo>
                        <a:pt x="235" y="5"/>
                        <a:pt x="235" y="5"/>
                        <a:pt x="235" y="5"/>
                      </a:cubicBezTo>
                      <a:cubicBezTo>
                        <a:pt x="235" y="5"/>
                        <a:pt x="235" y="5"/>
                        <a:pt x="217" y="73"/>
                      </a:cubicBezTo>
                      <a:cubicBezTo>
                        <a:pt x="216" y="77"/>
                        <a:pt x="215" y="80"/>
                        <a:pt x="215" y="82"/>
                      </a:cubicBezTo>
                      <a:cubicBezTo>
                        <a:pt x="215" y="82"/>
                        <a:pt x="215" y="82"/>
                        <a:pt x="215" y="82"/>
                      </a:cubicBezTo>
                      <a:cubicBezTo>
                        <a:pt x="215" y="79"/>
                        <a:pt x="214" y="76"/>
                        <a:pt x="214" y="74"/>
                      </a:cubicBezTo>
                      <a:cubicBezTo>
                        <a:pt x="214" y="74"/>
                        <a:pt x="214" y="74"/>
                        <a:pt x="195" y="5"/>
                      </a:cubicBezTo>
                      <a:cubicBezTo>
                        <a:pt x="195" y="5"/>
                        <a:pt x="195" y="5"/>
                        <a:pt x="185" y="5"/>
                      </a:cubicBezTo>
                      <a:cubicBezTo>
                        <a:pt x="185" y="5"/>
                        <a:pt x="185" y="5"/>
                        <a:pt x="165" y="73"/>
                      </a:cubicBezTo>
                      <a:cubicBezTo>
                        <a:pt x="164" y="77"/>
                        <a:pt x="163" y="80"/>
                        <a:pt x="163" y="82"/>
                      </a:cubicBezTo>
                      <a:cubicBezTo>
                        <a:pt x="163" y="82"/>
                        <a:pt x="163" y="82"/>
                        <a:pt x="163" y="82"/>
                      </a:cubicBezTo>
                      <a:cubicBezTo>
                        <a:pt x="162" y="79"/>
                        <a:pt x="162" y="76"/>
                        <a:pt x="161" y="73"/>
                      </a:cubicBezTo>
                      <a:cubicBezTo>
                        <a:pt x="161" y="73"/>
                        <a:pt x="161" y="73"/>
                        <a:pt x="142" y="5"/>
                      </a:cubicBezTo>
                      <a:cubicBezTo>
                        <a:pt x="142" y="5"/>
                        <a:pt x="142" y="5"/>
                        <a:pt x="131" y="5"/>
                      </a:cubicBezTo>
                      <a:cubicBezTo>
                        <a:pt x="131" y="5"/>
                        <a:pt x="131" y="5"/>
                        <a:pt x="157" y="94"/>
                      </a:cubicBezTo>
                      <a:cubicBezTo>
                        <a:pt x="157" y="94"/>
                        <a:pt x="157" y="94"/>
                        <a:pt x="169" y="94"/>
                      </a:cubicBezTo>
                      <a:cubicBezTo>
                        <a:pt x="169" y="94"/>
                        <a:pt x="169" y="94"/>
                        <a:pt x="188" y="29"/>
                      </a:cubicBezTo>
                      <a:cubicBezTo>
                        <a:pt x="188" y="26"/>
                        <a:pt x="189" y="23"/>
                        <a:pt x="189" y="20"/>
                      </a:cubicBezTo>
                      <a:cubicBezTo>
                        <a:pt x="189" y="20"/>
                        <a:pt x="189" y="20"/>
                        <a:pt x="189" y="20"/>
                      </a:cubicBezTo>
                      <a:cubicBezTo>
                        <a:pt x="189" y="23"/>
                        <a:pt x="190" y="26"/>
                        <a:pt x="191" y="29"/>
                      </a:cubicBezTo>
                      <a:cubicBezTo>
                        <a:pt x="191" y="29"/>
                        <a:pt x="191" y="29"/>
                        <a:pt x="209" y="94"/>
                      </a:cubicBezTo>
                      <a:cubicBezTo>
                        <a:pt x="209" y="94"/>
                        <a:pt x="209" y="94"/>
                        <a:pt x="221" y="94"/>
                      </a:cubicBezTo>
                      <a:cubicBezTo>
                        <a:pt x="221" y="94"/>
                        <a:pt x="221" y="94"/>
                        <a:pt x="246" y="5"/>
                      </a:cubicBezTo>
                      <a:close/>
                      <a:moveTo>
                        <a:pt x="266" y="7"/>
                      </a:moveTo>
                      <a:cubicBezTo>
                        <a:pt x="266" y="6"/>
                        <a:pt x="265" y="4"/>
                        <a:pt x="263" y="3"/>
                      </a:cubicBezTo>
                      <a:cubicBezTo>
                        <a:pt x="262" y="2"/>
                        <a:pt x="261" y="1"/>
                        <a:pt x="258" y="1"/>
                      </a:cubicBezTo>
                      <a:cubicBezTo>
                        <a:pt x="257" y="1"/>
                        <a:pt x="255" y="2"/>
                        <a:pt x="254" y="3"/>
                      </a:cubicBezTo>
                      <a:cubicBezTo>
                        <a:pt x="253" y="4"/>
                        <a:pt x="252" y="6"/>
                        <a:pt x="252" y="7"/>
                      </a:cubicBezTo>
                      <a:cubicBezTo>
                        <a:pt x="252" y="10"/>
                        <a:pt x="253" y="11"/>
                        <a:pt x="254" y="12"/>
                      </a:cubicBezTo>
                      <a:cubicBezTo>
                        <a:pt x="255" y="14"/>
                        <a:pt x="257" y="14"/>
                        <a:pt x="258" y="14"/>
                      </a:cubicBezTo>
                      <a:cubicBezTo>
                        <a:pt x="261" y="14"/>
                        <a:pt x="262" y="14"/>
                        <a:pt x="263" y="12"/>
                      </a:cubicBezTo>
                      <a:cubicBezTo>
                        <a:pt x="265" y="11"/>
                        <a:pt x="266" y="9"/>
                        <a:pt x="266" y="7"/>
                      </a:cubicBezTo>
                      <a:close/>
                      <a:moveTo>
                        <a:pt x="264" y="94"/>
                      </a:moveTo>
                      <a:cubicBezTo>
                        <a:pt x="264" y="94"/>
                        <a:pt x="264" y="94"/>
                        <a:pt x="264" y="94"/>
                      </a:cubicBezTo>
                      <a:cubicBezTo>
                        <a:pt x="264" y="30"/>
                        <a:pt x="264" y="30"/>
                        <a:pt x="264" y="30"/>
                      </a:cubicBezTo>
                      <a:cubicBezTo>
                        <a:pt x="264" y="30"/>
                        <a:pt x="264" y="30"/>
                        <a:pt x="253" y="30"/>
                      </a:cubicBezTo>
                      <a:cubicBezTo>
                        <a:pt x="253" y="30"/>
                        <a:pt x="253" y="30"/>
                        <a:pt x="253" y="94"/>
                      </a:cubicBezTo>
                      <a:cubicBezTo>
                        <a:pt x="253" y="94"/>
                        <a:pt x="253" y="94"/>
                        <a:pt x="264" y="94"/>
                      </a:cubicBezTo>
                      <a:close/>
                      <a:moveTo>
                        <a:pt x="332" y="94"/>
                      </a:moveTo>
                      <a:cubicBezTo>
                        <a:pt x="332" y="94"/>
                        <a:pt x="332" y="94"/>
                        <a:pt x="332" y="94"/>
                      </a:cubicBezTo>
                      <a:cubicBezTo>
                        <a:pt x="332" y="55"/>
                        <a:pt x="332" y="55"/>
                        <a:pt x="332" y="55"/>
                      </a:cubicBezTo>
                      <a:cubicBezTo>
                        <a:pt x="332" y="47"/>
                        <a:pt x="330" y="40"/>
                        <a:pt x="327" y="36"/>
                      </a:cubicBezTo>
                      <a:cubicBezTo>
                        <a:pt x="323" y="31"/>
                        <a:pt x="318" y="29"/>
                        <a:pt x="311" y="29"/>
                      </a:cubicBezTo>
                      <a:cubicBezTo>
                        <a:pt x="301" y="29"/>
                        <a:pt x="294" y="33"/>
                        <a:pt x="289" y="41"/>
                      </a:cubicBezTo>
                      <a:cubicBezTo>
                        <a:pt x="289" y="41"/>
                        <a:pt x="289" y="41"/>
                        <a:pt x="289" y="41"/>
                      </a:cubicBezTo>
                      <a:cubicBezTo>
                        <a:pt x="289" y="41"/>
                        <a:pt x="289" y="41"/>
                        <a:pt x="289" y="30"/>
                      </a:cubicBezTo>
                      <a:cubicBezTo>
                        <a:pt x="289" y="30"/>
                        <a:pt x="289" y="30"/>
                        <a:pt x="279" y="30"/>
                      </a:cubicBezTo>
                      <a:cubicBezTo>
                        <a:pt x="279" y="30"/>
                        <a:pt x="279" y="30"/>
                        <a:pt x="279" y="94"/>
                      </a:cubicBezTo>
                      <a:cubicBezTo>
                        <a:pt x="279" y="94"/>
                        <a:pt x="279" y="94"/>
                        <a:pt x="289" y="94"/>
                      </a:cubicBezTo>
                      <a:cubicBezTo>
                        <a:pt x="289" y="94"/>
                        <a:pt x="289" y="94"/>
                        <a:pt x="289" y="58"/>
                      </a:cubicBezTo>
                      <a:cubicBezTo>
                        <a:pt x="289" y="52"/>
                        <a:pt x="291" y="47"/>
                        <a:pt x="294" y="43"/>
                      </a:cubicBezTo>
                      <a:cubicBezTo>
                        <a:pt x="298" y="39"/>
                        <a:pt x="302" y="37"/>
                        <a:pt x="307" y="37"/>
                      </a:cubicBezTo>
                      <a:cubicBezTo>
                        <a:pt x="317" y="37"/>
                        <a:pt x="322" y="44"/>
                        <a:pt x="322" y="58"/>
                      </a:cubicBezTo>
                      <a:cubicBezTo>
                        <a:pt x="322" y="58"/>
                        <a:pt x="322" y="58"/>
                        <a:pt x="322" y="94"/>
                      </a:cubicBezTo>
                      <a:cubicBezTo>
                        <a:pt x="322" y="94"/>
                        <a:pt x="322" y="94"/>
                        <a:pt x="332" y="94"/>
                      </a:cubicBezTo>
                      <a:close/>
                      <a:moveTo>
                        <a:pt x="400" y="94"/>
                      </a:moveTo>
                      <a:cubicBezTo>
                        <a:pt x="400" y="94"/>
                        <a:pt x="400" y="94"/>
                        <a:pt x="400" y="94"/>
                      </a:cubicBezTo>
                      <a:cubicBezTo>
                        <a:pt x="400" y="0"/>
                        <a:pt x="400" y="0"/>
                        <a:pt x="400" y="0"/>
                      </a:cubicBezTo>
                      <a:cubicBezTo>
                        <a:pt x="400" y="0"/>
                        <a:pt x="400" y="0"/>
                        <a:pt x="390" y="0"/>
                      </a:cubicBezTo>
                      <a:cubicBezTo>
                        <a:pt x="390" y="0"/>
                        <a:pt x="390" y="0"/>
                        <a:pt x="390" y="39"/>
                      </a:cubicBezTo>
                      <a:cubicBezTo>
                        <a:pt x="390" y="39"/>
                        <a:pt x="390" y="39"/>
                        <a:pt x="389" y="39"/>
                      </a:cubicBezTo>
                      <a:cubicBezTo>
                        <a:pt x="385" y="32"/>
                        <a:pt x="379" y="29"/>
                        <a:pt x="370" y="29"/>
                      </a:cubicBezTo>
                      <a:cubicBezTo>
                        <a:pt x="361" y="29"/>
                        <a:pt x="354" y="32"/>
                        <a:pt x="349" y="38"/>
                      </a:cubicBezTo>
                      <a:cubicBezTo>
                        <a:pt x="344" y="44"/>
                        <a:pt x="341" y="53"/>
                        <a:pt x="341" y="63"/>
                      </a:cubicBezTo>
                      <a:cubicBezTo>
                        <a:pt x="341" y="74"/>
                        <a:pt x="344" y="82"/>
                        <a:pt x="349" y="87"/>
                      </a:cubicBezTo>
                      <a:cubicBezTo>
                        <a:pt x="353" y="93"/>
                        <a:pt x="360" y="95"/>
                        <a:pt x="368" y="95"/>
                      </a:cubicBezTo>
                      <a:cubicBezTo>
                        <a:pt x="377" y="95"/>
                        <a:pt x="385" y="91"/>
                        <a:pt x="389" y="83"/>
                      </a:cubicBezTo>
                      <a:cubicBezTo>
                        <a:pt x="389" y="83"/>
                        <a:pt x="389" y="83"/>
                        <a:pt x="390" y="83"/>
                      </a:cubicBezTo>
                      <a:cubicBezTo>
                        <a:pt x="390" y="83"/>
                        <a:pt x="390" y="83"/>
                        <a:pt x="390" y="94"/>
                      </a:cubicBezTo>
                      <a:cubicBezTo>
                        <a:pt x="390" y="94"/>
                        <a:pt x="390" y="94"/>
                        <a:pt x="400" y="94"/>
                      </a:cubicBezTo>
                      <a:close/>
                      <a:moveTo>
                        <a:pt x="390" y="65"/>
                      </a:moveTo>
                      <a:cubicBezTo>
                        <a:pt x="390" y="71"/>
                        <a:pt x="388" y="76"/>
                        <a:pt x="385" y="80"/>
                      </a:cubicBezTo>
                      <a:cubicBezTo>
                        <a:pt x="381" y="85"/>
                        <a:pt x="377" y="87"/>
                        <a:pt x="371" y="87"/>
                      </a:cubicBezTo>
                      <a:cubicBezTo>
                        <a:pt x="365" y="87"/>
                        <a:pt x="361" y="85"/>
                        <a:pt x="357" y="81"/>
                      </a:cubicBezTo>
                      <a:cubicBezTo>
                        <a:pt x="353" y="77"/>
                        <a:pt x="352" y="70"/>
                        <a:pt x="352" y="63"/>
                      </a:cubicBezTo>
                      <a:cubicBezTo>
                        <a:pt x="352" y="55"/>
                        <a:pt x="353" y="49"/>
                        <a:pt x="357" y="44"/>
                      </a:cubicBezTo>
                      <a:cubicBezTo>
                        <a:pt x="361" y="40"/>
                        <a:pt x="365" y="37"/>
                        <a:pt x="372" y="37"/>
                      </a:cubicBezTo>
                      <a:cubicBezTo>
                        <a:pt x="377" y="37"/>
                        <a:pt x="381" y="39"/>
                        <a:pt x="385" y="43"/>
                      </a:cubicBezTo>
                      <a:cubicBezTo>
                        <a:pt x="388" y="46"/>
                        <a:pt x="390" y="51"/>
                        <a:pt x="390" y="56"/>
                      </a:cubicBezTo>
                      <a:cubicBezTo>
                        <a:pt x="390" y="56"/>
                        <a:pt x="390" y="56"/>
                        <a:pt x="390" y="65"/>
                      </a:cubicBezTo>
                      <a:close/>
                      <a:moveTo>
                        <a:pt x="474" y="62"/>
                      </a:moveTo>
                      <a:cubicBezTo>
                        <a:pt x="474" y="52"/>
                        <a:pt x="471" y="44"/>
                        <a:pt x="466" y="37"/>
                      </a:cubicBezTo>
                      <a:cubicBezTo>
                        <a:pt x="460" y="32"/>
                        <a:pt x="453" y="29"/>
                        <a:pt x="443" y="29"/>
                      </a:cubicBezTo>
                      <a:cubicBezTo>
                        <a:pt x="434" y="29"/>
                        <a:pt x="426" y="32"/>
                        <a:pt x="420" y="37"/>
                      </a:cubicBezTo>
                      <a:cubicBezTo>
                        <a:pt x="414" y="43"/>
                        <a:pt x="411" y="52"/>
                        <a:pt x="411" y="63"/>
                      </a:cubicBezTo>
                      <a:cubicBezTo>
                        <a:pt x="411" y="72"/>
                        <a:pt x="413" y="80"/>
                        <a:pt x="419" y="86"/>
                      </a:cubicBezTo>
                      <a:cubicBezTo>
                        <a:pt x="424" y="92"/>
                        <a:pt x="432" y="95"/>
                        <a:pt x="442" y="95"/>
                      </a:cubicBezTo>
                      <a:cubicBezTo>
                        <a:pt x="452" y="95"/>
                        <a:pt x="459" y="92"/>
                        <a:pt x="465" y="86"/>
                      </a:cubicBezTo>
                      <a:cubicBezTo>
                        <a:pt x="471" y="80"/>
                        <a:pt x="474" y="72"/>
                        <a:pt x="474" y="62"/>
                      </a:cubicBezTo>
                      <a:close/>
                      <a:moveTo>
                        <a:pt x="463" y="62"/>
                      </a:moveTo>
                      <a:cubicBezTo>
                        <a:pt x="463" y="70"/>
                        <a:pt x="461" y="76"/>
                        <a:pt x="458" y="80"/>
                      </a:cubicBezTo>
                      <a:cubicBezTo>
                        <a:pt x="455" y="85"/>
                        <a:pt x="449" y="87"/>
                        <a:pt x="443" y="87"/>
                      </a:cubicBezTo>
                      <a:cubicBezTo>
                        <a:pt x="436" y="87"/>
                        <a:pt x="431" y="85"/>
                        <a:pt x="427" y="80"/>
                      </a:cubicBezTo>
                      <a:cubicBezTo>
                        <a:pt x="423" y="76"/>
                        <a:pt x="421" y="70"/>
                        <a:pt x="421" y="63"/>
                      </a:cubicBezTo>
                      <a:cubicBezTo>
                        <a:pt x="421" y="54"/>
                        <a:pt x="423" y="48"/>
                        <a:pt x="427" y="44"/>
                      </a:cubicBezTo>
                      <a:cubicBezTo>
                        <a:pt x="431" y="40"/>
                        <a:pt x="436" y="37"/>
                        <a:pt x="443" y="37"/>
                      </a:cubicBezTo>
                      <a:cubicBezTo>
                        <a:pt x="449" y="37"/>
                        <a:pt x="454" y="40"/>
                        <a:pt x="458" y="44"/>
                      </a:cubicBezTo>
                      <a:cubicBezTo>
                        <a:pt x="461" y="48"/>
                        <a:pt x="463" y="54"/>
                        <a:pt x="463" y="62"/>
                      </a:cubicBezTo>
                      <a:close/>
                      <a:moveTo>
                        <a:pt x="565" y="30"/>
                      </a:moveTo>
                      <a:cubicBezTo>
                        <a:pt x="565" y="30"/>
                        <a:pt x="565" y="30"/>
                        <a:pt x="565" y="30"/>
                      </a:cubicBezTo>
                      <a:cubicBezTo>
                        <a:pt x="554" y="30"/>
                        <a:pt x="554" y="30"/>
                        <a:pt x="554" y="30"/>
                      </a:cubicBezTo>
                      <a:cubicBezTo>
                        <a:pt x="554" y="30"/>
                        <a:pt x="554" y="30"/>
                        <a:pt x="541" y="78"/>
                      </a:cubicBezTo>
                      <a:cubicBezTo>
                        <a:pt x="541" y="80"/>
                        <a:pt x="540" y="83"/>
                        <a:pt x="540" y="84"/>
                      </a:cubicBezTo>
                      <a:cubicBezTo>
                        <a:pt x="540" y="84"/>
                        <a:pt x="540" y="84"/>
                        <a:pt x="540" y="84"/>
                      </a:cubicBezTo>
                      <a:cubicBezTo>
                        <a:pt x="540" y="82"/>
                        <a:pt x="539" y="80"/>
                        <a:pt x="539" y="78"/>
                      </a:cubicBezTo>
                      <a:cubicBezTo>
                        <a:pt x="539" y="78"/>
                        <a:pt x="539" y="78"/>
                        <a:pt x="526" y="30"/>
                      </a:cubicBezTo>
                      <a:cubicBezTo>
                        <a:pt x="526" y="30"/>
                        <a:pt x="526" y="30"/>
                        <a:pt x="516" y="30"/>
                      </a:cubicBezTo>
                      <a:cubicBezTo>
                        <a:pt x="516" y="30"/>
                        <a:pt x="516" y="30"/>
                        <a:pt x="502" y="78"/>
                      </a:cubicBezTo>
                      <a:cubicBezTo>
                        <a:pt x="501" y="80"/>
                        <a:pt x="501" y="82"/>
                        <a:pt x="500" y="84"/>
                      </a:cubicBezTo>
                      <a:cubicBezTo>
                        <a:pt x="500" y="84"/>
                        <a:pt x="500" y="84"/>
                        <a:pt x="500" y="84"/>
                      </a:cubicBezTo>
                      <a:cubicBezTo>
                        <a:pt x="500" y="82"/>
                        <a:pt x="500" y="80"/>
                        <a:pt x="499" y="78"/>
                      </a:cubicBezTo>
                      <a:cubicBezTo>
                        <a:pt x="499" y="78"/>
                        <a:pt x="499" y="78"/>
                        <a:pt x="486" y="30"/>
                      </a:cubicBezTo>
                      <a:cubicBezTo>
                        <a:pt x="486" y="30"/>
                        <a:pt x="486" y="30"/>
                        <a:pt x="475" y="30"/>
                      </a:cubicBezTo>
                      <a:cubicBezTo>
                        <a:pt x="475" y="30"/>
                        <a:pt x="475" y="30"/>
                        <a:pt x="495" y="94"/>
                      </a:cubicBezTo>
                      <a:cubicBezTo>
                        <a:pt x="495" y="94"/>
                        <a:pt x="495" y="94"/>
                        <a:pt x="505" y="94"/>
                      </a:cubicBezTo>
                      <a:cubicBezTo>
                        <a:pt x="505" y="94"/>
                        <a:pt x="505" y="94"/>
                        <a:pt x="519" y="48"/>
                      </a:cubicBezTo>
                      <a:cubicBezTo>
                        <a:pt x="520" y="46"/>
                        <a:pt x="520" y="44"/>
                        <a:pt x="520" y="43"/>
                      </a:cubicBezTo>
                      <a:cubicBezTo>
                        <a:pt x="520" y="43"/>
                        <a:pt x="520" y="43"/>
                        <a:pt x="521" y="43"/>
                      </a:cubicBezTo>
                      <a:cubicBezTo>
                        <a:pt x="521" y="45"/>
                        <a:pt x="521" y="47"/>
                        <a:pt x="522" y="49"/>
                      </a:cubicBezTo>
                      <a:cubicBezTo>
                        <a:pt x="522" y="49"/>
                        <a:pt x="522" y="49"/>
                        <a:pt x="535" y="94"/>
                      </a:cubicBezTo>
                      <a:cubicBezTo>
                        <a:pt x="535" y="94"/>
                        <a:pt x="535" y="94"/>
                        <a:pt x="545" y="94"/>
                      </a:cubicBezTo>
                      <a:cubicBezTo>
                        <a:pt x="545" y="94"/>
                        <a:pt x="545" y="94"/>
                        <a:pt x="565" y="30"/>
                      </a:cubicBezTo>
                      <a:close/>
                      <a:moveTo>
                        <a:pt x="606" y="77"/>
                      </a:moveTo>
                      <a:cubicBezTo>
                        <a:pt x="606" y="72"/>
                        <a:pt x="605" y="68"/>
                        <a:pt x="602" y="65"/>
                      </a:cubicBezTo>
                      <a:cubicBezTo>
                        <a:pt x="599" y="63"/>
                        <a:pt x="595" y="60"/>
                        <a:pt x="590" y="58"/>
                      </a:cubicBezTo>
                      <a:cubicBezTo>
                        <a:pt x="585" y="56"/>
                        <a:pt x="582" y="54"/>
                        <a:pt x="580" y="53"/>
                      </a:cubicBezTo>
                      <a:cubicBezTo>
                        <a:pt x="579" y="51"/>
                        <a:pt x="578" y="49"/>
                        <a:pt x="578" y="46"/>
                      </a:cubicBezTo>
                      <a:cubicBezTo>
                        <a:pt x="578" y="44"/>
                        <a:pt x="579" y="41"/>
                        <a:pt x="581" y="40"/>
                      </a:cubicBezTo>
                      <a:cubicBezTo>
                        <a:pt x="583" y="38"/>
                        <a:pt x="586" y="37"/>
                        <a:pt x="589" y="37"/>
                      </a:cubicBezTo>
                      <a:cubicBezTo>
                        <a:pt x="594" y="37"/>
                        <a:pt x="599" y="39"/>
                        <a:pt x="603" y="42"/>
                      </a:cubicBezTo>
                      <a:cubicBezTo>
                        <a:pt x="603" y="42"/>
                        <a:pt x="603" y="42"/>
                        <a:pt x="603" y="32"/>
                      </a:cubicBezTo>
                      <a:cubicBezTo>
                        <a:pt x="599" y="30"/>
                        <a:pt x="595" y="29"/>
                        <a:pt x="590" y="29"/>
                      </a:cubicBezTo>
                      <a:cubicBezTo>
                        <a:pt x="583" y="29"/>
                        <a:pt x="578" y="30"/>
                        <a:pt x="574" y="34"/>
                      </a:cubicBezTo>
                      <a:cubicBezTo>
                        <a:pt x="569" y="37"/>
                        <a:pt x="567" y="42"/>
                        <a:pt x="567" y="47"/>
                      </a:cubicBezTo>
                      <a:cubicBezTo>
                        <a:pt x="567" y="52"/>
                        <a:pt x="568" y="56"/>
                        <a:pt x="572" y="59"/>
                      </a:cubicBezTo>
                      <a:cubicBezTo>
                        <a:pt x="574" y="61"/>
                        <a:pt x="577" y="63"/>
                        <a:pt x="583" y="66"/>
                      </a:cubicBezTo>
                      <a:cubicBezTo>
                        <a:pt x="588" y="68"/>
                        <a:pt x="591" y="70"/>
                        <a:pt x="593" y="72"/>
                      </a:cubicBezTo>
                      <a:cubicBezTo>
                        <a:pt x="595" y="73"/>
                        <a:pt x="596" y="75"/>
                        <a:pt x="596" y="78"/>
                      </a:cubicBezTo>
                      <a:cubicBezTo>
                        <a:pt x="596" y="84"/>
                        <a:pt x="592" y="87"/>
                        <a:pt x="584" y="87"/>
                      </a:cubicBezTo>
                      <a:cubicBezTo>
                        <a:pt x="578" y="87"/>
                        <a:pt x="572" y="85"/>
                        <a:pt x="567" y="81"/>
                      </a:cubicBezTo>
                      <a:cubicBezTo>
                        <a:pt x="567" y="81"/>
                        <a:pt x="567" y="81"/>
                        <a:pt x="567" y="92"/>
                      </a:cubicBezTo>
                      <a:cubicBezTo>
                        <a:pt x="572" y="94"/>
                        <a:pt x="577" y="95"/>
                        <a:pt x="583" y="95"/>
                      </a:cubicBezTo>
                      <a:cubicBezTo>
                        <a:pt x="590" y="95"/>
                        <a:pt x="596" y="94"/>
                        <a:pt x="600" y="90"/>
                      </a:cubicBezTo>
                      <a:cubicBezTo>
                        <a:pt x="604" y="86"/>
                        <a:pt x="606" y="82"/>
                        <a:pt x="606" y="77"/>
                      </a:cubicBezTo>
                      <a:close/>
                      <a:moveTo>
                        <a:pt x="636" y="5"/>
                      </a:moveTo>
                      <a:cubicBezTo>
                        <a:pt x="636" y="94"/>
                        <a:pt x="636" y="94"/>
                        <a:pt x="636" y="94"/>
                      </a:cubicBezTo>
                      <a:cubicBezTo>
                        <a:pt x="647" y="94"/>
                        <a:pt x="647" y="94"/>
                        <a:pt x="647" y="94"/>
                      </a:cubicBezTo>
                      <a:cubicBezTo>
                        <a:pt x="647" y="5"/>
                        <a:pt x="647" y="5"/>
                        <a:pt x="647" y="5"/>
                      </a:cubicBezTo>
                      <a:cubicBezTo>
                        <a:pt x="636" y="5"/>
                        <a:pt x="636" y="5"/>
                        <a:pt x="636" y="5"/>
                      </a:cubicBezTo>
                      <a:close/>
                      <a:moveTo>
                        <a:pt x="716" y="94"/>
                      </a:moveTo>
                      <a:cubicBezTo>
                        <a:pt x="716" y="94"/>
                        <a:pt x="716" y="94"/>
                        <a:pt x="716" y="94"/>
                      </a:cubicBezTo>
                      <a:cubicBezTo>
                        <a:pt x="716" y="55"/>
                        <a:pt x="716" y="55"/>
                        <a:pt x="716" y="55"/>
                      </a:cubicBezTo>
                      <a:cubicBezTo>
                        <a:pt x="716" y="47"/>
                        <a:pt x="715" y="40"/>
                        <a:pt x="711" y="36"/>
                      </a:cubicBezTo>
                      <a:cubicBezTo>
                        <a:pt x="708" y="31"/>
                        <a:pt x="702" y="29"/>
                        <a:pt x="695" y="29"/>
                      </a:cubicBezTo>
                      <a:cubicBezTo>
                        <a:pt x="686" y="29"/>
                        <a:pt x="679" y="33"/>
                        <a:pt x="674" y="41"/>
                      </a:cubicBezTo>
                      <a:cubicBezTo>
                        <a:pt x="674" y="41"/>
                        <a:pt x="674" y="41"/>
                        <a:pt x="674" y="41"/>
                      </a:cubicBezTo>
                      <a:cubicBezTo>
                        <a:pt x="674" y="41"/>
                        <a:pt x="674" y="41"/>
                        <a:pt x="674" y="30"/>
                      </a:cubicBezTo>
                      <a:cubicBezTo>
                        <a:pt x="674" y="30"/>
                        <a:pt x="674" y="30"/>
                        <a:pt x="664" y="30"/>
                      </a:cubicBezTo>
                      <a:cubicBezTo>
                        <a:pt x="664" y="30"/>
                        <a:pt x="664" y="30"/>
                        <a:pt x="664" y="94"/>
                      </a:cubicBezTo>
                      <a:cubicBezTo>
                        <a:pt x="664" y="94"/>
                        <a:pt x="664" y="94"/>
                        <a:pt x="674" y="94"/>
                      </a:cubicBezTo>
                      <a:cubicBezTo>
                        <a:pt x="674" y="94"/>
                        <a:pt x="674" y="94"/>
                        <a:pt x="674" y="58"/>
                      </a:cubicBezTo>
                      <a:cubicBezTo>
                        <a:pt x="674" y="52"/>
                        <a:pt x="676" y="47"/>
                        <a:pt x="679" y="43"/>
                      </a:cubicBezTo>
                      <a:cubicBezTo>
                        <a:pt x="682" y="39"/>
                        <a:pt x="686" y="37"/>
                        <a:pt x="692" y="37"/>
                      </a:cubicBezTo>
                      <a:cubicBezTo>
                        <a:pt x="701" y="37"/>
                        <a:pt x="706" y="44"/>
                        <a:pt x="706" y="58"/>
                      </a:cubicBezTo>
                      <a:cubicBezTo>
                        <a:pt x="706" y="58"/>
                        <a:pt x="706" y="58"/>
                        <a:pt x="706" y="94"/>
                      </a:cubicBezTo>
                      <a:cubicBezTo>
                        <a:pt x="706" y="94"/>
                        <a:pt x="706" y="94"/>
                        <a:pt x="716" y="94"/>
                      </a:cubicBezTo>
                      <a:close/>
                      <a:moveTo>
                        <a:pt x="760" y="93"/>
                      </a:moveTo>
                      <a:cubicBezTo>
                        <a:pt x="760" y="93"/>
                        <a:pt x="760" y="93"/>
                        <a:pt x="760" y="93"/>
                      </a:cubicBezTo>
                      <a:cubicBezTo>
                        <a:pt x="760" y="85"/>
                        <a:pt x="760" y="85"/>
                        <a:pt x="760" y="85"/>
                      </a:cubicBezTo>
                      <a:cubicBezTo>
                        <a:pt x="759" y="86"/>
                        <a:pt x="756" y="86"/>
                        <a:pt x="754" y="86"/>
                      </a:cubicBezTo>
                      <a:cubicBezTo>
                        <a:pt x="750" y="86"/>
                        <a:pt x="748" y="86"/>
                        <a:pt x="747" y="84"/>
                      </a:cubicBezTo>
                      <a:cubicBezTo>
                        <a:pt x="745" y="82"/>
                        <a:pt x="745" y="79"/>
                        <a:pt x="745" y="75"/>
                      </a:cubicBezTo>
                      <a:cubicBezTo>
                        <a:pt x="745" y="75"/>
                        <a:pt x="745" y="75"/>
                        <a:pt x="745" y="39"/>
                      </a:cubicBezTo>
                      <a:cubicBezTo>
                        <a:pt x="745" y="39"/>
                        <a:pt x="745" y="39"/>
                        <a:pt x="760" y="39"/>
                      </a:cubicBezTo>
                      <a:cubicBezTo>
                        <a:pt x="760" y="39"/>
                        <a:pt x="760" y="39"/>
                        <a:pt x="760" y="30"/>
                      </a:cubicBezTo>
                      <a:cubicBezTo>
                        <a:pt x="760" y="30"/>
                        <a:pt x="760" y="30"/>
                        <a:pt x="745" y="30"/>
                      </a:cubicBezTo>
                      <a:cubicBezTo>
                        <a:pt x="745" y="30"/>
                        <a:pt x="745" y="30"/>
                        <a:pt x="745" y="11"/>
                      </a:cubicBezTo>
                      <a:cubicBezTo>
                        <a:pt x="741" y="12"/>
                        <a:pt x="737" y="13"/>
                        <a:pt x="734" y="15"/>
                      </a:cubicBezTo>
                      <a:cubicBezTo>
                        <a:pt x="734" y="15"/>
                        <a:pt x="734" y="15"/>
                        <a:pt x="734" y="30"/>
                      </a:cubicBezTo>
                      <a:cubicBezTo>
                        <a:pt x="734" y="30"/>
                        <a:pt x="734" y="30"/>
                        <a:pt x="723" y="30"/>
                      </a:cubicBezTo>
                      <a:cubicBezTo>
                        <a:pt x="723" y="30"/>
                        <a:pt x="723" y="30"/>
                        <a:pt x="723" y="39"/>
                      </a:cubicBezTo>
                      <a:cubicBezTo>
                        <a:pt x="723" y="39"/>
                        <a:pt x="723" y="39"/>
                        <a:pt x="734" y="39"/>
                      </a:cubicBezTo>
                      <a:cubicBezTo>
                        <a:pt x="734" y="39"/>
                        <a:pt x="734" y="39"/>
                        <a:pt x="734" y="77"/>
                      </a:cubicBezTo>
                      <a:cubicBezTo>
                        <a:pt x="734" y="89"/>
                        <a:pt x="740" y="95"/>
                        <a:pt x="751" y="95"/>
                      </a:cubicBezTo>
                      <a:cubicBezTo>
                        <a:pt x="755" y="95"/>
                        <a:pt x="758" y="95"/>
                        <a:pt x="760" y="93"/>
                      </a:cubicBezTo>
                      <a:close/>
                      <a:moveTo>
                        <a:pt x="820" y="94"/>
                      </a:moveTo>
                      <a:cubicBezTo>
                        <a:pt x="820" y="94"/>
                        <a:pt x="820" y="94"/>
                        <a:pt x="820" y="94"/>
                      </a:cubicBezTo>
                      <a:cubicBezTo>
                        <a:pt x="820" y="30"/>
                        <a:pt x="820" y="30"/>
                        <a:pt x="820" y="30"/>
                      </a:cubicBezTo>
                      <a:cubicBezTo>
                        <a:pt x="820" y="30"/>
                        <a:pt x="820" y="30"/>
                        <a:pt x="810" y="30"/>
                      </a:cubicBezTo>
                      <a:cubicBezTo>
                        <a:pt x="810" y="30"/>
                        <a:pt x="810" y="30"/>
                        <a:pt x="810" y="67"/>
                      </a:cubicBezTo>
                      <a:cubicBezTo>
                        <a:pt x="810" y="73"/>
                        <a:pt x="809" y="78"/>
                        <a:pt x="805" y="81"/>
                      </a:cubicBezTo>
                      <a:cubicBezTo>
                        <a:pt x="802" y="85"/>
                        <a:pt x="798" y="87"/>
                        <a:pt x="793" y="87"/>
                      </a:cubicBezTo>
                      <a:cubicBezTo>
                        <a:pt x="783" y="87"/>
                        <a:pt x="778" y="80"/>
                        <a:pt x="778" y="67"/>
                      </a:cubicBezTo>
                      <a:cubicBezTo>
                        <a:pt x="778" y="67"/>
                        <a:pt x="778" y="67"/>
                        <a:pt x="778" y="30"/>
                      </a:cubicBezTo>
                      <a:cubicBezTo>
                        <a:pt x="778" y="30"/>
                        <a:pt x="778" y="30"/>
                        <a:pt x="768" y="30"/>
                      </a:cubicBezTo>
                      <a:cubicBezTo>
                        <a:pt x="768" y="30"/>
                        <a:pt x="768" y="30"/>
                        <a:pt x="768" y="68"/>
                      </a:cubicBezTo>
                      <a:cubicBezTo>
                        <a:pt x="768" y="86"/>
                        <a:pt x="775" y="95"/>
                        <a:pt x="790" y="95"/>
                      </a:cubicBezTo>
                      <a:cubicBezTo>
                        <a:pt x="799" y="95"/>
                        <a:pt x="805" y="92"/>
                        <a:pt x="810" y="84"/>
                      </a:cubicBezTo>
                      <a:cubicBezTo>
                        <a:pt x="810" y="84"/>
                        <a:pt x="810" y="84"/>
                        <a:pt x="810" y="84"/>
                      </a:cubicBezTo>
                      <a:cubicBezTo>
                        <a:pt x="810" y="84"/>
                        <a:pt x="810" y="84"/>
                        <a:pt x="810" y="94"/>
                      </a:cubicBezTo>
                      <a:cubicBezTo>
                        <a:pt x="810" y="94"/>
                        <a:pt x="810" y="94"/>
                        <a:pt x="820" y="94"/>
                      </a:cubicBezTo>
                      <a:close/>
                      <a:moveTo>
                        <a:pt x="889" y="94"/>
                      </a:moveTo>
                      <a:cubicBezTo>
                        <a:pt x="889" y="94"/>
                        <a:pt x="889" y="94"/>
                        <a:pt x="889" y="94"/>
                      </a:cubicBezTo>
                      <a:cubicBezTo>
                        <a:pt x="889" y="55"/>
                        <a:pt x="889" y="55"/>
                        <a:pt x="889" y="55"/>
                      </a:cubicBezTo>
                      <a:cubicBezTo>
                        <a:pt x="889" y="47"/>
                        <a:pt x="887" y="40"/>
                        <a:pt x="883" y="36"/>
                      </a:cubicBezTo>
                      <a:cubicBezTo>
                        <a:pt x="880" y="31"/>
                        <a:pt x="875" y="29"/>
                        <a:pt x="868" y="29"/>
                      </a:cubicBezTo>
                      <a:cubicBezTo>
                        <a:pt x="858" y="29"/>
                        <a:pt x="851" y="33"/>
                        <a:pt x="846" y="41"/>
                      </a:cubicBezTo>
                      <a:cubicBezTo>
                        <a:pt x="846" y="41"/>
                        <a:pt x="846" y="41"/>
                        <a:pt x="846" y="41"/>
                      </a:cubicBezTo>
                      <a:cubicBezTo>
                        <a:pt x="846" y="41"/>
                        <a:pt x="846" y="41"/>
                        <a:pt x="846" y="30"/>
                      </a:cubicBezTo>
                      <a:cubicBezTo>
                        <a:pt x="846" y="30"/>
                        <a:pt x="846" y="30"/>
                        <a:pt x="836" y="30"/>
                      </a:cubicBezTo>
                      <a:cubicBezTo>
                        <a:pt x="836" y="30"/>
                        <a:pt x="836" y="30"/>
                        <a:pt x="836" y="94"/>
                      </a:cubicBezTo>
                      <a:cubicBezTo>
                        <a:pt x="836" y="94"/>
                        <a:pt x="836" y="94"/>
                        <a:pt x="846" y="94"/>
                      </a:cubicBezTo>
                      <a:cubicBezTo>
                        <a:pt x="846" y="94"/>
                        <a:pt x="846" y="94"/>
                        <a:pt x="846" y="58"/>
                      </a:cubicBezTo>
                      <a:cubicBezTo>
                        <a:pt x="846" y="52"/>
                        <a:pt x="848" y="47"/>
                        <a:pt x="851" y="43"/>
                      </a:cubicBezTo>
                      <a:cubicBezTo>
                        <a:pt x="855" y="39"/>
                        <a:pt x="859" y="37"/>
                        <a:pt x="864" y="37"/>
                      </a:cubicBezTo>
                      <a:cubicBezTo>
                        <a:pt x="874" y="37"/>
                        <a:pt x="879" y="44"/>
                        <a:pt x="879" y="58"/>
                      </a:cubicBezTo>
                      <a:cubicBezTo>
                        <a:pt x="879" y="58"/>
                        <a:pt x="879" y="58"/>
                        <a:pt x="879" y="94"/>
                      </a:cubicBezTo>
                      <a:cubicBezTo>
                        <a:pt x="879" y="94"/>
                        <a:pt x="879" y="94"/>
                        <a:pt x="889" y="94"/>
                      </a:cubicBezTo>
                      <a:close/>
                      <a:moveTo>
                        <a:pt x="954" y="65"/>
                      </a:moveTo>
                      <a:cubicBezTo>
                        <a:pt x="954" y="65"/>
                        <a:pt x="954" y="65"/>
                        <a:pt x="954" y="65"/>
                      </a:cubicBezTo>
                      <a:cubicBezTo>
                        <a:pt x="954" y="59"/>
                        <a:pt x="954" y="59"/>
                        <a:pt x="954" y="59"/>
                      </a:cubicBezTo>
                      <a:cubicBezTo>
                        <a:pt x="954" y="50"/>
                        <a:pt x="951" y="43"/>
                        <a:pt x="947" y="37"/>
                      </a:cubicBezTo>
                      <a:cubicBezTo>
                        <a:pt x="943" y="32"/>
                        <a:pt x="936" y="29"/>
                        <a:pt x="928" y="29"/>
                      </a:cubicBezTo>
                      <a:cubicBezTo>
                        <a:pt x="919" y="29"/>
                        <a:pt x="913" y="32"/>
                        <a:pt x="907" y="37"/>
                      </a:cubicBezTo>
                      <a:cubicBezTo>
                        <a:pt x="901" y="44"/>
                        <a:pt x="898" y="52"/>
                        <a:pt x="898" y="62"/>
                      </a:cubicBezTo>
                      <a:cubicBezTo>
                        <a:pt x="898" y="73"/>
                        <a:pt x="901" y="82"/>
                        <a:pt x="906" y="87"/>
                      </a:cubicBezTo>
                      <a:cubicBezTo>
                        <a:pt x="911" y="93"/>
                        <a:pt x="918" y="95"/>
                        <a:pt x="927" y="95"/>
                      </a:cubicBezTo>
                      <a:cubicBezTo>
                        <a:pt x="936" y="95"/>
                        <a:pt x="944" y="94"/>
                        <a:pt x="949" y="89"/>
                      </a:cubicBezTo>
                      <a:cubicBezTo>
                        <a:pt x="949" y="89"/>
                        <a:pt x="949" y="89"/>
                        <a:pt x="949" y="80"/>
                      </a:cubicBezTo>
                      <a:cubicBezTo>
                        <a:pt x="943" y="84"/>
                        <a:pt x="936" y="87"/>
                        <a:pt x="929" y="87"/>
                      </a:cubicBezTo>
                      <a:cubicBezTo>
                        <a:pt x="923" y="87"/>
                        <a:pt x="918" y="85"/>
                        <a:pt x="914" y="81"/>
                      </a:cubicBezTo>
                      <a:cubicBezTo>
                        <a:pt x="911" y="77"/>
                        <a:pt x="909" y="72"/>
                        <a:pt x="909" y="65"/>
                      </a:cubicBezTo>
                      <a:cubicBezTo>
                        <a:pt x="909" y="65"/>
                        <a:pt x="909" y="65"/>
                        <a:pt x="954" y="65"/>
                      </a:cubicBezTo>
                      <a:close/>
                      <a:moveTo>
                        <a:pt x="943" y="56"/>
                      </a:moveTo>
                      <a:cubicBezTo>
                        <a:pt x="943" y="56"/>
                        <a:pt x="943" y="56"/>
                        <a:pt x="943" y="56"/>
                      </a:cubicBezTo>
                      <a:cubicBezTo>
                        <a:pt x="909" y="56"/>
                        <a:pt x="909" y="56"/>
                        <a:pt x="909" y="56"/>
                      </a:cubicBezTo>
                      <a:cubicBezTo>
                        <a:pt x="910" y="50"/>
                        <a:pt x="912" y="46"/>
                        <a:pt x="915" y="43"/>
                      </a:cubicBezTo>
                      <a:cubicBezTo>
                        <a:pt x="918" y="39"/>
                        <a:pt x="922" y="37"/>
                        <a:pt x="927" y="37"/>
                      </a:cubicBezTo>
                      <a:cubicBezTo>
                        <a:pt x="933" y="37"/>
                        <a:pt x="936" y="39"/>
                        <a:pt x="939" y="42"/>
                      </a:cubicBezTo>
                      <a:cubicBezTo>
                        <a:pt x="942" y="46"/>
                        <a:pt x="943" y="50"/>
                        <a:pt x="943" y="56"/>
                      </a:cubicBezTo>
                      <a:close/>
                      <a:moveTo>
                        <a:pt x="43" y="46"/>
                      </a:moveTo>
                      <a:cubicBezTo>
                        <a:pt x="43" y="7"/>
                        <a:pt x="43" y="7"/>
                        <a:pt x="43" y="7"/>
                      </a:cubicBezTo>
                      <a:cubicBezTo>
                        <a:pt x="95" y="0"/>
                        <a:pt x="95" y="0"/>
                        <a:pt x="95" y="0"/>
                      </a:cubicBezTo>
                      <a:cubicBezTo>
                        <a:pt x="95" y="46"/>
                        <a:pt x="95" y="46"/>
                        <a:pt x="95" y="46"/>
                      </a:cubicBezTo>
                      <a:cubicBezTo>
                        <a:pt x="43" y="46"/>
                        <a:pt x="43" y="46"/>
                        <a:pt x="43" y="46"/>
                      </a:cubicBezTo>
                      <a:cubicBezTo>
                        <a:pt x="43" y="46"/>
                        <a:pt x="43" y="46"/>
                        <a:pt x="43" y="46"/>
                      </a:cubicBezTo>
                      <a:close/>
                      <a:moveTo>
                        <a:pt x="39" y="8"/>
                      </a:moveTo>
                      <a:cubicBezTo>
                        <a:pt x="0" y="14"/>
                        <a:pt x="0" y="14"/>
                        <a:pt x="0" y="14"/>
                      </a:cubicBezTo>
                      <a:cubicBezTo>
                        <a:pt x="0" y="46"/>
                        <a:pt x="0" y="46"/>
                        <a:pt x="0" y="46"/>
                      </a:cubicBezTo>
                      <a:cubicBezTo>
                        <a:pt x="39" y="46"/>
                        <a:pt x="39" y="46"/>
                        <a:pt x="39" y="46"/>
                      </a:cubicBezTo>
                      <a:cubicBezTo>
                        <a:pt x="39" y="8"/>
                        <a:pt x="39" y="8"/>
                        <a:pt x="39" y="8"/>
                      </a:cubicBezTo>
                      <a:cubicBezTo>
                        <a:pt x="39" y="8"/>
                        <a:pt x="39" y="8"/>
                        <a:pt x="39" y="8"/>
                      </a:cubicBezTo>
                      <a:close/>
                      <a:moveTo>
                        <a:pt x="0" y="49"/>
                      </a:moveTo>
                      <a:cubicBezTo>
                        <a:pt x="0" y="82"/>
                        <a:pt x="0" y="82"/>
                        <a:pt x="0" y="82"/>
                      </a:cubicBezTo>
                      <a:cubicBezTo>
                        <a:pt x="39" y="88"/>
                        <a:pt x="39" y="88"/>
                        <a:pt x="39" y="88"/>
                      </a:cubicBezTo>
                      <a:cubicBezTo>
                        <a:pt x="39" y="49"/>
                        <a:pt x="39" y="49"/>
                        <a:pt x="39" y="49"/>
                      </a:cubicBezTo>
                      <a:cubicBezTo>
                        <a:pt x="0" y="49"/>
                        <a:pt x="0" y="49"/>
                        <a:pt x="0" y="49"/>
                      </a:cubicBezTo>
                      <a:cubicBezTo>
                        <a:pt x="0" y="49"/>
                        <a:pt x="0" y="49"/>
                        <a:pt x="0" y="49"/>
                      </a:cubicBezTo>
                      <a:close/>
                      <a:moveTo>
                        <a:pt x="43" y="88"/>
                      </a:moveTo>
                      <a:cubicBezTo>
                        <a:pt x="95" y="96"/>
                        <a:pt x="95" y="96"/>
                        <a:pt x="95" y="96"/>
                      </a:cubicBezTo>
                      <a:cubicBezTo>
                        <a:pt x="95" y="49"/>
                        <a:pt x="95" y="49"/>
                        <a:pt x="95" y="49"/>
                      </a:cubicBezTo>
                      <a:cubicBezTo>
                        <a:pt x="43" y="49"/>
                        <a:pt x="43" y="49"/>
                        <a:pt x="43" y="49"/>
                      </a:cubicBezTo>
                      <a:cubicBezTo>
                        <a:pt x="43" y="88"/>
                        <a:pt x="43" y="88"/>
                        <a:pt x="43" y="88"/>
                      </a:cubicBezTo>
                      <a:cubicBezTo>
                        <a:pt x="43" y="88"/>
                        <a:pt x="43" y="88"/>
                        <a:pt x="43" y="88"/>
                      </a:cubicBezTo>
                      <a:close/>
                    </a:path>
                  </a:pathLst>
                </a:custGeom>
                <a:solidFill>
                  <a:srgbClr val="EFEFE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grpSp>
          <p:sp>
            <p:nvSpPr>
              <p:cNvPr id="193" name="Freeform 9"/>
              <p:cNvSpPr>
                <a:spLocks noEditPoints="1"/>
              </p:cNvSpPr>
              <p:nvPr/>
            </p:nvSpPr>
            <p:spPr bwMode="auto">
              <a:xfrm>
                <a:off x="3302644" y="1149896"/>
                <a:ext cx="300917" cy="575992"/>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FFFFFF"/>
              </a:solidFill>
              <a:ln w="1905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grpSp>
      <p:grpSp>
        <p:nvGrpSpPr>
          <p:cNvPr id="6" name="Group 5"/>
          <p:cNvGrpSpPr/>
          <p:nvPr/>
        </p:nvGrpSpPr>
        <p:grpSpPr>
          <a:xfrm>
            <a:off x="441176" y="1948645"/>
            <a:ext cx="4098546" cy="4842594"/>
            <a:chOff x="441176" y="1948645"/>
            <a:chExt cx="4098546" cy="4842594"/>
          </a:xfrm>
        </p:grpSpPr>
        <p:cxnSp>
          <p:nvCxnSpPr>
            <p:cNvPr id="163" name="Straight Connector 162"/>
            <p:cNvCxnSpPr/>
            <p:nvPr/>
          </p:nvCxnSpPr>
          <p:spPr>
            <a:xfrm>
              <a:off x="1733550" y="3827379"/>
              <a:ext cx="513458" cy="0"/>
            </a:xfrm>
            <a:prstGeom prst="line">
              <a:avLst/>
            </a:prstGeom>
            <a:noFill/>
            <a:ln w="19050" cap="rnd" cmpd="sng" algn="ctr">
              <a:solidFill>
                <a:srgbClr val="0070C0"/>
              </a:solidFill>
              <a:prstDash val="sysDot"/>
              <a:headEnd type="triangle" w="med" len="med"/>
              <a:tailEnd type="triangle" w="med" len="med"/>
            </a:ln>
            <a:effectLst/>
          </p:spPr>
        </p:cxnSp>
        <p:cxnSp>
          <p:nvCxnSpPr>
            <p:cNvPr id="164" name="Straight Connector 163"/>
            <p:cNvCxnSpPr/>
            <p:nvPr/>
          </p:nvCxnSpPr>
          <p:spPr>
            <a:xfrm>
              <a:off x="3593404" y="4862022"/>
              <a:ext cx="0" cy="389299"/>
            </a:xfrm>
            <a:prstGeom prst="line">
              <a:avLst/>
            </a:prstGeom>
            <a:noFill/>
            <a:ln w="19050" cap="rnd" cmpd="sng" algn="ctr">
              <a:solidFill>
                <a:srgbClr val="0070C0"/>
              </a:solidFill>
              <a:prstDash val="sysDot"/>
              <a:headEnd type="triangle" w="med" len="med"/>
              <a:tailEnd type="triangle" w="med" len="med"/>
            </a:ln>
            <a:effectLst/>
          </p:spPr>
        </p:cxnSp>
        <p:grpSp>
          <p:nvGrpSpPr>
            <p:cNvPr id="4" name="Group 3"/>
            <p:cNvGrpSpPr/>
            <p:nvPr/>
          </p:nvGrpSpPr>
          <p:grpSpPr>
            <a:xfrm>
              <a:off x="441176" y="1948645"/>
              <a:ext cx="4098546" cy="4842594"/>
              <a:chOff x="441176" y="1948645"/>
              <a:chExt cx="4098546" cy="4842594"/>
            </a:xfrm>
          </p:grpSpPr>
          <p:grpSp>
            <p:nvGrpSpPr>
              <p:cNvPr id="155" name="Group 154"/>
              <p:cNvGrpSpPr/>
              <p:nvPr/>
            </p:nvGrpSpPr>
            <p:grpSpPr>
              <a:xfrm>
                <a:off x="2231643" y="3247919"/>
                <a:ext cx="2029280" cy="1796882"/>
                <a:chOff x="4610988" y="1953172"/>
                <a:chExt cx="2029280" cy="1796882"/>
              </a:xfrm>
            </p:grpSpPr>
            <p:grpSp>
              <p:nvGrpSpPr>
                <p:cNvPr id="156" name="Group 155"/>
                <p:cNvGrpSpPr/>
                <p:nvPr/>
              </p:nvGrpSpPr>
              <p:grpSpPr>
                <a:xfrm>
                  <a:off x="4610988" y="1953172"/>
                  <a:ext cx="2029280" cy="1796882"/>
                  <a:chOff x="3482578" y="3115154"/>
                  <a:chExt cx="1660345" cy="1470197"/>
                </a:xfrm>
              </p:grpSpPr>
              <p:pic>
                <p:nvPicPr>
                  <p:cNvPr id="158" name="Picture 15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82578" y="3876832"/>
                    <a:ext cx="1061011" cy="708519"/>
                  </a:xfrm>
                  <a:prstGeom prst="rect">
                    <a:avLst/>
                  </a:prstGeom>
                </p:spPr>
              </p:pic>
              <p:pic>
                <p:nvPicPr>
                  <p:cNvPr id="159" name="Picture 15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45349" y="3878001"/>
                    <a:ext cx="351089" cy="648811"/>
                  </a:xfrm>
                  <a:prstGeom prst="rect">
                    <a:avLst/>
                  </a:prstGeom>
                </p:spPr>
              </p:pic>
              <p:pic>
                <p:nvPicPr>
                  <p:cNvPr id="160" name="Picture 15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698507" y="3115154"/>
                    <a:ext cx="444416" cy="664847"/>
                  </a:xfrm>
                  <a:prstGeom prst="rect">
                    <a:avLst/>
                  </a:prstGeom>
                </p:spPr>
              </p:pic>
            </p:grpSp>
            <p:pic>
              <p:nvPicPr>
                <p:cNvPr id="157" name="Picture 15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912965" y="1962709"/>
                  <a:ext cx="941216" cy="802914"/>
                </a:xfrm>
                <a:prstGeom prst="rect">
                  <a:avLst/>
                </a:prstGeom>
              </p:spPr>
            </p:pic>
          </p:grpSp>
          <p:sp>
            <p:nvSpPr>
              <p:cNvPr id="167" name="Rectangle 166"/>
              <p:cNvSpPr/>
              <p:nvPr/>
            </p:nvSpPr>
            <p:spPr bwMode="auto">
              <a:xfrm>
                <a:off x="441176" y="1948645"/>
                <a:ext cx="1813419" cy="1107996"/>
              </a:xfrm>
              <a:prstGeom prst="rect">
                <a:avLst/>
              </a:prstGeom>
              <a:ln>
                <a:noFill/>
              </a:ln>
            </p:spPr>
            <p:txBody>
              <a:bodyPr vert="horz" wrap="square" lIns="0" tIns="0" rIns="0" bIns="0" rtlCol="0">
                <a:spAutoFit/>
              </a:bodyPr>
              <a:lstStyle/>
              <a:p>
                <a:pPr marL="0" marR="0" lvl="0" indent="0" defTabSz="914400" eaLnBrk="1" fontAlgn="auto" latinLnBrk="0" hangingPunct="1">
                  <a:lnSpc>
                    <a:spcPct val="90000"/>
                  </a:lnSpc>
                  <a:spcBef>
                    <a:spcPts val="1200"/>
                  </a:spcBef>
                  <a:spcAft>
                    <a:spcPts val="0"/>
                  </a:spcAft>
                  <a:buClrTx/>
                  <a:buSzTx/>
                  <a:buFontTx/>
                  <a:buNone/>
                  <a:tabLst/>
                  <a:defRPr/>
                </a:pPr>
                <a:r>
                  <a:rPr kumimoji="0" lang="en-US" sz="1600" b="0" i="0" u="none" strike="noStrike" kern="0" cap="none" spc="-30" normalizeH="0" baseline="0" noProof="0" dirty="0" smtClean="0">
                    <a:ln>
                      <a:noFill/>
                    </a:ln>
                    <a:solidFill>
                      <a:srgbClr val="969696">
                        <a:lumMod val="50000"/>
                      </a:srgbClr>
                    </a:solidFill>
                    <a:effectLst/>
                    <a:uLnTx/>
                    <a:uFillTx/>
                  </a:rPr>
                  <a:t>Users can </a:t>
                </a:r>
                <a:r>
                  <a:rPr kumimoji="0" lang="en-US" sz="1600" b="1" i="0" u="none" strike="noStrike" kern="0" cap="none" spc="-30" normalizeH="0" baseline="0" noProof="0" dirty="0" smtClean="0">
                    <a:ln>
                      <a:noFill/>
                    </a:ln>
                    <a:solidFill>
                      <a:srgbClr val="969696">
                        <a:lumMod val="50000"/>
                      </a:srgbClr>
                    </a:solidFill>
                    <a:effectLst/>
                    <a:uLnTx/>
                    <a:uFillTx/>
                  </a:rPr>
                  <a:t>work from anywhere </a:t>
                </a:r>
                <a:r>
                  <a:rPr kumimoji="0" lang="en-US" sz="1600" b="0" i="0" u="none" strike="noStrike" kern="0" cap="none" spc="-30" normalizeH="0" baseline="0" noProof="0" dirty="0" smtClean="0">
                    <a:ln>
                      <a:noFill/>
                    </a:ln>
                    <a:solidFill>
                      <a:srgbClr val="969696">
                        <a:lumMod val="50000"/>
                      </a:srgbClr>
                    </a:solidFill>
                    <a:effectLst/>
                    <a:uLnTx/>
                    <a:uFillTx/>
                  </a:rPr>
                  <a:t>on their devices with access to their corporate resources. </a:t>
                </a:r>
                <a:endParaRPr kumimoji="0" lang="en-US" sz="1600" b="1" i="0" u="none" strike="noStrike" kern="0" cap="none" spc="-30" normalizeH="0" baseline="0" noProof="0" dirty="0" smtClean="0">
                  <a:ln>
                    <a:noFill/>
                  </a:ln>
                  <a:solidFill>
                    <a:srgbClr val="969696">
                      <a:lumMod val="50000"/>
                    </a:srgbClr>
                  </a:solidFill>
                  <a:effectLst/>
                  <a:uLnTx/>
                  <a:uFillTx/>
                </a:endParaRPr>
              </a:p>
            </p:txBody>
          </p:sp>
          <p:sp>
            <p:nvSpPr>
              <p:cNvPr id="168" name="Rectangle 167"/>
              <p:cNvSpPr/>
              <p:nvPr/>
            </p:nvSpPr>
            <p:spPr bwMode="auto">
              <a:xfrm>
                <a:off x="610778" y="5554640"/>
                <a:ext cx="1916017" cy="1107996"/>
              </a:xfrm>
              <a:prstGeom prst="rect">
                <a:avLst/>
              </a:prstGeom>
              <a:ln>
                <a:noFill/>
              </a:ln>
            </p:spPr>
            <p:txBody>
              <a:bodyPr vert="horz" wrap="square" lIns="0" tIns="0" rIns="0" bIns="0" rtlCol="0">
                <a:spAutoFit/>
              </a:bodyPr>
              <a:lstStyle/>
              <a:p>
                <a:pPr marL="0" marR="0" lvl="0" indent="0" defTabSz="914400" eaLnBrk="1" fontAlgn="auto" latinLnBrk="0" hangingPunct="1">
                  <a:lnSpc>
                    <a:spcPct val="90000"/>
                  </a:lnSpc>
                  <a:spcBef>
                    <a:spcPts val="1200"/>
                  </a:spcBef>
                  <a:spcAft>
                    <a:spcPts val="0"/>
                  </a:spcAft>
                  <a:buClrTx/>
                  <a:buSzTx/>
                  <a:buFontTx/>
                  <a:buNone/>
                  <a:tabLst/>
                  <a:defRPr/>
                </a:pPr>
                <a:r>
                  <a:rPr kumimoji="0" lang="en-US" sz="1600" b="0" i="0" u="none" strike="noStrike" kern="0" cap="none" spc="-30" normalizeH="0" baseline="0" noProof="0" dirty="0" smtClean="0">
                    <a:ln>
                      <a:noFill/>
                    </a:ln>
                    <a:solidFill>
                      <a:srgbClr val="969696">
                        <a:lumMod val="50000"/>
                      </a:srgbClr>
                    </a:solidFill>
                    <a:effectLst/>
                    <a:uLnTx/>
                    <a:uFillTx/>
                  </a:rPr>
                  <a:t>Users can register devices for </a:t>
                </a:r>
                <a:r>
                  <a:rPr kumimoji="0" lang="en-US" sz="1600" b="1" i="0" u="none" strike="noStrike" kern="0" cap="none" spc="-30" normalizeH="0" baseline="0" noProof="0" dirty="0" smtClean="0">
                    <a:ln>
                      <a:noFill/>
                    </a:ln>
                    <a:solidFill>
                      <a:srgbClr val="969696">
                        <a:lumMod val="50000"/>
                      </a:srgbClr>
                    </a:solidFill>
                    <a:effectLst/>
                    <a:uLnTx/>
                    <a:uFillTx/>
                  </a:rPr>
                  <a:t>single sign-on </a:t>
                </a:r>
                <a:r>
                  <a:rPr kumimoji="0" lang="en-US" sz="1600" b="0" i="0" u="none" strike="noStrike" kern="0" cap="none" spc="-30" normalizeH="0" baseline="0" noProof="0" dirty="0" smtClean="0">
                    <a:ln>
                      <a:noFill/>
                    </a:ln>
                    <a:solidFill>
                      <a:srgbClr val="969696">
                        <a:lumMod val="50000"/>
                      </a:srgbClr>
                    </a:solidFill>
                    <a:effectLst/>
                    <a:uLnTx/>
                    <a:uFillTx/>
                  </a:rPr>
                  <a:t>and access to corporate data with </a:t>
                </a:r>
                <a:r>
                  <a:rPr kumimoji="0" lang="en-US" sz="1600" b="1" i="0" u="none" strike="noStrike" kern="0" cap="none" spc="-30" normalizeH="0" baseline="0" noProof="0" dirty="0" smtClean="0">
                    <a:ln>
                      <a:noFill/>
                    </a:ln>
                    <a:solidFill>
                      <a:srgbClr val="969696">
                        <a:lumMod val="50000"/>
                      </a:srgbClr>
                    </a:solidFill>
                    <a:effectLst/>
                    <a:uLnTx/>
                    <a:uFillTx/>
                  </a:rPr>
                  <a:t>Workplace Join</a:t>
                </a:r>
                <a:r>
                  <a:rPr kumimoji="0" lang="en-US" sz="1600" b="0" i="0" u="none" strike="noStrike" kern="0" cap="none" spc="-30" normalizeH="0" baseline="0" noProof="0" dirty="0" smtClean="0">
                    <a:ln>
                      <a:noFill/>
                    </a:ln>
                    <a:solidFill>
                      <a:srgbClr val="969696">
                        <a:lumMod val="50000"/>
                      </a:srgbClr>
                    </a:solidFill>
                    <a:effectLst/>
                    <a:uLnTx/>
                    <a:uFillTx/>
                  </a:rPr>
                  <a:t>.</a:t>
                </a:r>
              </a:p>
            </p:txBody>
          </p:sp>
          <p:sp>
            <p:nvSpPr>
              <p:cNvPr id="185" name="Freeform 184"/>
              <p:cNvSpPr>
                <a:spLocks noEditPoints="1"/>
              </p:cNvSpPr>
              <p:nvPr/>
            </p:nvSpPr>
            <p:spPr bwMode="auto">
              <a:xfrm>
                <a:off x="557213" y="3162300"/>
                <a:ext cx="1195388" cy="1793875"/>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rgbClr val="00188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nvGrpSpPr>
              <p:cNvPr id="198" name="Group 197"/>
              <p:cNvGrpSpPr/>
              <p:nvPr/>
            </p:nvGrpSpPr>
            <p:grpSpPr>
              <a:xfrm>
                <a:off x="2596062" y="5314108"/>
                <a:ext cx="1943660" cy="1477131"/>
                <a:chOff x="2596062" y="5196124"/>
                <a:chExt cx="1943660" cy="1477131"/>
              </a:xfrm>
            </p:grpSpPr>
            <p:grpSp>
              <p:nvGrpSpPr>
                <p:cNvPr id="199" name="Group 198"/>
                <p:cNvGrpSpPr/>
                <p:nvPr/>
              </p:nvGrpSpPr>
              <p:grpSpPr>
                <a:xfrm>
                  <a:off x="2596062" y="5196124"/>
                  <a:ext cx="1943660" cy="1477131"/>
                  <a:chOff x="3435182" y="5080973"/>
                  <a:chExt cx="1943660" cy="1477131"/>
                </a:xfrm>
              </p:grpSpPr>
              <p:sp>
                <p:nvSpPr>
                  <p:cNvPr id="205" name="Oval 204"/>
                  <p:cNvSpPr/>
                  <p:nvPr>
                    <p:custDataLst>
                      <p:tags r:id="rId2"/>
                    </p:custDataLst>
                  </p:nvPr>
                </p:nvSpPr>
                <p:spPr bwMode="auto">
                  <a:xfrm>
                    <a:off x="3435182" y="5080973"/>
                    <a:ext cx="1943660" cy="1477131"/>
                  </a:xfrm>
                  <a:prstGeom prst="ellipse">
                    <a:avLst/>
                  </a:prstGeom>
                  <a:solidFill>
                    <a:srgbClr val="0070C0"/>
                  </a:solidFill>
                  <a:ln w="19050" cap="flat" cmpd="sng" algn="ctr">
                    <a:solidFill>
                      <a:srgbClr val="0070C0"/>
                    </a:solidFill>
                    <a:prstDash val="solid"/>
                    <a:headEnd type="none" w="med" len="med"/>
                    <a:tailEnd type="none" w="med" len="med"/>
                  </a:ln>
                  <a:effectLst/>
                </p:spPr>
                <p:txBody>
                  <a:bodyPr vert="horz" wrap="square" lIns="114143" tIns="57071" rIns="114143" bIns="57071" numCol="1" rtlCol="0" anchor="ctr" anchorCtr="0" compatLnSpc="1">
                    <a:prstTxWarp prst="textNoShape">
                      <a:avLst/>
                    </a:prstTxWarp>
                  </a:bodyPr>
                  <a:lstStyle/>
                  <a:p>
                    <a:pPr marL="0" marR="0" lvl="0" indent="0" algn="ctr" defTabSz="1141187" eaLnBrk="1" fontAlgn="base" latinLnBrk="0" hangingPunct="1">
                      <a:lnSpc>
                        <a:spcPct val="100000"/>
                      </a:lnSpc>
                      <a:spcBef>
                        <a:spcPct val="0"/>
                      </a:spcBef>
                      <a:spcAft>
                        <a:spcPct val="0"/>
                      </a:spcAft>
                      <a:buClrTx/>
                      <a:buSzTx/>
                      <a:buFontTx/>
                      <a:buNone/>
                      <a:tabLst/>
                      <a:defRPr/>
                    </a:pPr>
                    <a:endParaRPr kumimoji="0" lang="en-US" sz="2809" b="0" i="0" u="none" strike="noStrike" kern="0" cap="none" spc="0" normalizeH="0" baseline="0" noProof="0" dirty="0">
                      <a:ln>
                        <a:noFill/>
                      </a:ln>
                      <a:solidFill>
                        <a:srgbClr val="00188F">
                          <a:lumMod val="60000"/>
                          <a:lumOff val="40000"/>
                        </a:srgbClr>
                      </a:solidFill>
                      <a:effectLst/>
                      <a:uLnTx/>
                      <a:uFillTx/>
                    </a:endParaRPr>
                  </a:p>
                </p:txBody>
              </p:sp>
              <p:pic>
                <p:nvPicPr>
                  <p:cNvPr id="206" name="Picture 20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525916" y="5852815"/>
                    <a:ext cx="1756138" cy="446655"/>
                  </a:xfrm>
                  <a:prstGeom prst="rect">
                    <a:avLst/>
                  </a:prstGeom>
                </p:spPr>
              </p:pic>
              <p:sp>
                <p:nvSpPr>
                  <p:cNvPr id="207" name="Rectangle 206"/>
                  <p:cNvSpPr/>
                  <p:nvPr/>
                </p:nvSpPr>
                <p:spPr>
                  <a:xfrm>
                    <a:off x="3785998" y="6137677"/>
                    <a:ext cx="1313366" cy="184666"/>
                  </a:xfrm>
                  <a:prstGeom prst="rect">
                    <a:avLst/>
                  </a:prstGeom>
                  <a:ln>
                    <a:noFill/>
                  </a:ln>
                </p:spPr>
                <p:txBody>
                  <a:bodyPr wrap="square" lIns="0" tIns="0" rIns="0" bIns="0" anchor="ctr">
                    <a:spAutoFit/>
                  </a:bodyPr>
                  <a:lstStyle/>
                  <a:p>
                    <a:pPr marL="0" marR="0" lvl="0" indent="0" algn="ctr" defTabSz="1140797" eaLnBrk="1" fontAlgn="base" latinLnBrk="0" hangingPunct="1">
                      <a:lnSpc>
                        <a:spcPct val="100000"/>
                      </a:lnSpc>
                      <a:spcBef>
                        <a:spcPts val="1498"/>
                      </a:spcBef>
                      <a:spcAft>
                        <a:spcPct val="0"/>
                      </a:spcAft>
                      <a:buClrTx/>
                      <a:buSzTx/>
                      <a:buFontTx/>
                      <a:buNone/>
                      <a:tabLst/>
                      <a:defRPr/>
                    </a:pPr>
                    <a:r>
                      <a:rPr kumimoji="0" lang="en-US" sz="1200" b="0" i="0" u="none" strike="noStrike" kern="0" cap="none" spc="0" normalizeH="0" baseline="0" noProof="0" dirty="0" smtClean="0">
                        <a:ln>
                          <a:solidFill>
                            <a:srgbClr val="FFFFFF">
                              <a:alpha val="0"/>
                            </a:srgbClr>
                          </a:solidFill>
                        </a:ln>
                        <a:solidFill>
                          <a:srgbClr val="FFFFFF"/>
                        </a:solidFill>
                        <a:effectLst/>
                        <a:uLnTx/>
                        <a:uFillTx/>
                        <a:latin typeface="Segoe"/>
                      </a:rPr>
                      <a:t>Active Directory</a:t>
                    </a:r>
                  </a:p>
                </p:txBody>
              </p:sp>
            </p:grpSp>
            <p:grpSp>
              <p:nvGrpSpPr>
                <p:cNvPr id="200" name="Group 4"/>
                <p:cNvGrpSpPr>
                  <a:grpSpLocks noChangeAspect="1"/>
                </p:cNvGrpSpPr>
                <p:nvPr/>
              </p:nvGrpSpPr>
              <p:grpSpPr bwMode="auto">
                <a:xfrm>
                  <a:off x="2969103" y="5257800"/>
                  <a:ext cx="1204912" cy="795338"/>
                  <a:chOff x="1879" y="3282"/>
                  <a:chExt cx="759" cy="501"/>
                </a:xfrm>
              </p:grpSpPr>
              <p:sp>
                <p:nvSpPr>
                  <p:cNvPr id="201" name="AutoShape 3"/>
                  <p:cNvSpPr>
                    <a:spLocks noChangeAspect="1" noChangeArrowheads="1" noTextEdit="1"/>
                  </p:cNvSpPr>
                  <p:nvPr/>
                </p:nvSpPr>
                <p:spPr bwMode="auto">
                  <a:xfrm>
                    <a:off x="1879" y="3282"/>
                    <a:ext cx="759" cy="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202" name="Freeform 5"/>
                  <p:cNvSpPr>
                    <a:spLocks noEditPoints="1"/>
                  </p:cNvSpPr>
                  <p:nvPr/>
                </p:nvSpPr>
                <p:spPr bwMode="auto">
                  <a:xfrm>
                    <a:off x="1883" y="3287"/>
                    <a:ext cx="752" cy="495"/>
                  </a:xfrm>
                  <a:custGeom>
                    <a:avLst/>
                    <a:gdLst>
                      <a:gd name="T0" fmla="*/ 375 w 752"/>
                      <a:gd name="T1" fmla="*/ 0 h 495"/>
                      <a:gd name="T2" fmla="*/ 375 w 752"/>
                      <a:gd name="T3" fmla="*/ 0 h 495"/>
                      <a:gd name="T4" fmla="*/ 374 w 752"/>
                      <a:gd name="T5" fmla="*/ 495 h 495"/>
                      <a:gd name="T6" fmla="*/ 0 w 752"/>
                      <a:gd name="T7" fmla="*/ 434 h 495"/>
                      <a:gd name="T8" fmla="*/ 375 w 752"/>
                      <a:gd name="T9" fmla="*/ 0 h 495"/>
                      <a:gd name="T10" fmla="*/ 375 w 752"/>
                      <a:gd name="T11" fmla="*/ 0 h 495"/>
                      <a:gd name="T12" fmla="*/ 378 w 752"/>
                      <a:gd name="T13" fmla="*/ 495 h 495"/>
                      <a:gd name="T14" fmla="*/ 752 w 752"/>
                      <a:gd name="T15" fmla="*/ 434 h 495"/>
                      <a:gd name="T16" fmla="*/ 378 w 752"/>
                      <a:gd name="T17" fmla="*/ 0 h 495"/>
                      <a:gd name="T18" fmla="*/ 378 w 752"/>
                      <a:gd name="T19" fmla="*/ 495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2" h="495">
                        <a:moveTo>
                          <a:pt x="375" y="0"/>
                        </a:moveTo>
                        <a:lnTo>
                          <a:pt x="375" y="0"/>
                        </a:lnTo>
                        <a:lnTo>
                          <a:pt x="374" y="495"/>
                        </a:lnTo>
                        <a:lnTo>
                          <a:pt x="0" y="434"/>
                        </a:lnTo>
                        <a:lnTo>
                          <a:pt x="375" y="0"/>
                        </a:lnTo>
                        <a:lnTo>
                          <a:pt x="375" y="0"/>
                        </a:lnTo>
                        <a:close/>
                        <a:moveTo>
                          <a:pt x="378" y="495"/>
                        </a:moveTo>
                        <a:lnTo>
                          <a:pt x="752" y="434"/>
                        </a:lnTo>
                        <a:lnTo>
                          <a:pt x="378" y="0"/>
                        </a:lnTo>
                        <a:lnTo>
                          <a:pt x="378" y="495"/>
                        </a:lnTo>
                        <a:close/>
                      </a:path>
                    </a:pathLst>
                  </a:custGeom>
                  <a:solidFill>
                    <a:srgbClr val="FFFFFF"/>
                  </a:solidFill>
                  <a:ln w="4" cap="flat">
                    <a:solidFill>
                      <a:srgbClr val="0071B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203" name="Freeform 6"/>
                  <p:cNvSpPr>
                    <a:spLocks noEditPoints="1"/>
                  </p:cNvSpPr>
                  <p:nvPr/>
                </p:nvSpPr>
                <p:spPr bwMode="auto">
                  <a:xfrm>
                    <a:off x="1970" y="3426"/>
                    <a:ext cx="578" cy="303"/>
                  </a:xfrm>
                  <a:custGeom>
                    <a:avLst/>
                    <a:gdLst>
                      <a:gd name="T0" fmla="*/ 205 w 610"/>
                      <a:gd name="T1" fmla="*/ 34 h 319"/>
                      <a:gd name="T2" fmla="*/ 242 w 610"/>
                      <a:gd name="T3" fmla="*/ 0 h 319"/>
                      <a:gd name="T4" fmla="*/ 280 w 610"/>
                      <a:gd name="T5" fmla="*/ 34 h 319"/>
                      <a:gd name="T6" fmla="*/ 242 w 610"/>
                      <a:gd name="T7" fmla="*/ 69 h 319"/>
                      <a:gd name="T8" fmla="*/ 205 w 610"/>
                      <a:gd name="T9" fmla="*/ 34 h 319"/>
                      <a:gd name="T10" fmla="*/ 403 w 610"/>
                      <a:gd name="T11" fmla="*/ 34 h 319"/>
                      <a:gd name="T12" fmla="*/ 365 w 610"/>
                      <a:gd name="T13" fmla="*/ 0 h 319"/>
                      <a:gd name="T14" fmla="*/ 327 w 610"/>
                      <a:gd name="T15" fmla="*/ 34 h 319"/>
                      <a:gd name="T16" fmla="*/ 365 w 610"/>
                      <a:gd name="T17" fmla="*/ 69 h 319"/>
                      <a:gd name="T18" fmla="*/ 403 w 610"/>
                      <a:gd name="T19" fmla="*/ 34 h 319"/>
                      <a:gd name="T20" fmla="*/ 205 w 610"/>
                      <a:gd name="T21" fmla="*/ 284 h 319"/>
                      <a:gd name="T22" fmla="*/ 242 w 610"/>
                      <a:gd name="T23" fmla="*/ 319 h 319"/>
                      <a:gd name="T24" fmla="*/ 280 w 610"/>
                      <a:gd name="T25" fmla="*/ 284 h 319"/>
                      <a:gd name="T26" fmla="*/ 242 w 610"/>
                      <a:gd name="T27" fmla="*/ 250 h 319"/>
                      <a:gd name="T28" fmla="*/ 205 w 610"/>
                      <a:gd name="T29" fmla="*/ 284 h 319"/>
                      <a:gd name="T30" fmla="*/ 403 w 610"/>
                      <a:gd name="T31" fmla="*/ 284 h 319"/>
                      <a:gd name="T32" fmla="*/ 365 w 610"/>
                      <a:gd name="T33" fmla="*/ 250 h 319"/>
                      <a:gd name="T34" fmla="*/ 327 w 610"/>
                      <a:gd name="T35" fmla="*/ 284 h 319"/>
                      <a:gd name="T36" fmla="*/ 365 w 610"/>
                      <a:gd name="T37" fmla="*/ 319 h 319"/>
                      <a:gd name="T38" fmla="*/ 403 w 610"/>
                      <a:gd name="T39" fmla="*/ 284 h 319"/>
                      <a:gd name="T40" fmla="*/ 506 w 610"/>
                      <a:gd name="T41" fmla="*/ 266 h 319"/>
                      <a:gd name="T42" fmla="*/ 468 w 610"/>
                      <a:gd name="T43" fmla="*/ 232 h 319"/>
                      <a:gd name="T44" fmla="*/ 430 w 610"/>
                      <a:gd name="T45" fmla="*/ 266 h 319"/>
                      <a:gd name="T46" fmla="*/ 468 w 610"/>
                      <a:gd name="T47" fmla="*/ 301 h 319"/>
                      <a:gd name="T48" fmla="*/ 506 w 610"/>
                      <a:gd name="T49" fmla="*/ 266 h 319"/>
                      <a:gd name="T50" fmla="*/ 104 w 610"/>
                      <a:gd name="T51" fmla="*/ 266 h 319"/>
                      <a:gd name="T52" fmla="*/ 141 w 610"/>
                      <a:gd name="T53" fmla="*/ 301 h 319"/>
                      <a:gd name="T54" fmla="*/ 178 w 610"/>
                      <a:gd name="T55" fmla="*/ 266 h 319"/>
                      <a:gd name="T56" fmla="*/ 141 w 610"/>
                      <a:gd name="T57" fmla="*/ 232 h 319"/>
                      <a:gd name="T58" fmla="*/ 104 w 610"/>
                      <a:gd name="T59" fmla="*/ 266 h 319"/>
                      <a:gd name="T60" fmla="*/ 610 w 610"/>
                      <a:gd name="T61" fmla="*/ 255 h 319"/>
                      <a:gd name="T62" fmla="*/ 572 w 610"/>
                      <a:gd name="T63" fmla="*/ 219 h 319"/>
                      <a:gd name="T64" fmla="*/ 533 w 610"/>
                      <a:gd name="T65" fmla="*/ 255 h 319"/>
                      <a:gd name="T66" fmla="*/ 572 w 610"/>
                      <a:gd name="T67" fmla="*/ 290 h 319"/>
                      <a:gd name="T68" fmla="*/ 610 w 610"/>
                      <a:gd name="T69" fmla="*/ 255 h 319"/>
                      <a:gd name="T70" fmla="*/ 77 w 610"/>
                      <a:gd name="T71" fmla="*/ 255 h 319"/>
                      <a:gd name="T72" fmla="*/ 39 w 610"/>
                      <a:gd name="T73" fmla="*/ 219 h 319"/>
                      <a:gd name="T74" fmla="*/ 0 w 610"/>
                      <a:gd name="T75" fmla="*/ 255 h 319"/>
                      <a:gd name="T76" fmla="*/ 39 w 610"/>
                      <a:gd name="T77" fmla="*/ 290 h 319"/>
                      <a:gd name="T78" fmla="*/ 77 w 610"/>
                      <a:gd name="T79" fmla="*/ 255 h 319"/>
                      <a:gd name="T80" fmla="*/ 205 w 610"/>
                      <a:gd name="T81" fmla="*/ 150 h 319"/>
                      <a:gd name="T82" fmla="*/ 242 w 610"/>
                      <a:gd name="T83" fmla="*/ 185 h 319"/>
                      <a:gd name="T84" fmla="*/ 280 w 610"/>
                      <a:gd name="T85" fmla="*/ 150 h 319"/>
                      <a:gd name="T86" fmla="*/ 242 w 610"/>
                      <a:gd name="T87" fmla="*/ 116 h 319"/>
                      <a:gd name="T88" fmla="*/ 205 w 610"/>
                      <a:gd name="T89" fmla="*/ 150 h 319"/>
                      <a:gd name="T90" fmla="*/ 403 w 610"/>
                      <a:gd name="T91" fmla="*/ 150 h 319"/>
                      <a:gd name="T92" fmla="*/ 365 w 610"/>
                      <a:gd name="T93" fmla="*/ 116 h 319"/>
                      <a:gd name="T94" fmla="*/ 327 w 610"/>
                      <a:gd name="T95" fmla="*/ 150 h 319"/>
                      <a:gd name="T96" fmla="*/ 365 w 610"/>
                      <a:gd name="T97" fmla="*/ 185 h 319"/>
                      <a:gd name="T98" fmla="*/ 403 w 610"/>
                      <a:gd name="T99" fmla="*/ 150 h 319"/>
                      <a:gd name="T100" fmla="*/ 506 w 610"/>
                      <a:gd name="T101" fmla="*/ 145 h 319"/>
                      <a:gd name="T102" fmla="*/ 468 w 610"/>
                      <a:gd name="T103" fmla="*/ 110 h 319"/>
                      <a:gd name="T104" fmla="*/ 430 w 610"/>
                      <a:gd name="T105" fmla="*/ 145 h 319"/>
                      <a:gd name="T106" fmla="*/ 468 w 610"/>
                      <a:gd name="T107" fmla="*/ 179 h 319"/>
                      <a:gd name="T108" fmla="*/ 506 w 610"/>
                      <a:gd name="T109" fmla="*/ 145 h 319"/>
                      <a:gd name="T110" fmla="*/ 99 w 610"/>
                      <a:gd name="T111" fmla="*/ 145 h 319"/>
                      <a:gd name="T112" fmla="*/ 137 w 610"/>
                      <a:gd name="T113" fmla="*/ 179 h 319"/>
                      <a:gd name="T114" fmla="*/ 174 w 610"/>
                      <a:gd name="T115" fmla="*/ 145 h 319"/>
                      <a:gd name="T116" fmla="*/ 137 w 610"/>
                      <a:gd name="T117" fmla="*/ 110 h 319"/>
                      <a:gd name="T118" fmla="*/ 99 w 610"/>
                      <a:gd name="T119" fmla="*/ 1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0" h="319">
                        <a:moveTo>
                          <a:pt x="205" y="34"/>
                        </a:moveTo>
                        <a:cubicBezTo>
                          <a:pt x="205" y="15"/>
                          <a:pt x="222" y="0"/>
                          <a:pt x="242" y="0"/>
                        </a:cubicBezTo>
                        <a:cubicBezTo>
                          <a:pt x="263" y="0"/>
                          <a:pt x="280" y="15"/>
                          <a:pt x="280" y="34"/>
                        </a:cubicBezTo>
                        <a:cubicBezTo>
                          <a:pt x="280" y="53"/>
                          <a:pt x="263" y="69"/>
                          <a:pt x="242" y="69"/>
                        </a:cubicBezTo>
                        <a:cubicBezTo>
                          <a:pt x="222" y="69"/>
                          <a:pt x="205" y="53"/>
                          <a:pt x="205" y="34"/>
                        </a:cubicBezTo>
                        <a:close/>
                        <a:moveTo>
                          <a:pt x="403" y="34"/>
                        </a:moveTo>
                        <a:cubicBezTo>
                          <a:pt x="403" y="15"/>
                          <a:pt x="386" y="0"/>
                          <a:pt x="365" y="0"/>
                        </a:cubicBezTo>
                        <a:cubicBezTo>
                          <a:pt x="344" y="0"/>
                          <a:pt x="327" y="15"/>
                          <a:pt x="327" y="34"/>
                        </a:cubicBezTo>
                        <a:cubicBezTo>
                          <a:pt x="327" y="53"/>
                          <a:pt x="344" y="69"/>
                          <a:pt x="365" y="69"/>
                        </a:cubicBezTo>
                        <a:cubicBezTo>
                          <a:pt x="386" y="69"/>
                          <a:pt x="403" y="53"/>
                          <a:pt x="403" y="34"/>
                        </a:cubicBezTo>
                        <a:close/>
                        <a:moveTo>
                          <a:pt x="205" y="284"/>
                        </a:moveTo>
                        <a:cubicBezTo>
                          <a:pt x="205" y="303"/>
                          <a:pt x="222" y="319"/>
                          <a:pt x="242" y="319"/>
                        </a:cubicBezTo>
                        <a:cubicBezTo>
                          <a:pt x="263" y="319"/>
                          <a:pt x="280" y="303"/>
                          <a:pt x="280" y="284"/>
                        </a:cubicBezTo>
                        <a:cubicBezTo>
                          <a:pt x="280" y="265"/>
                          <a:pt x="263" y="250"/>
                          <a:pt x="242" y="250"/>
                        </a:cubicBezTo>
                        <a:cubicBezTo>
                          <a:pt x="222" y="250"/>
                          <a:pt x="205" y="265"/>
                          <a:pt x="205" y="284"/>
                        </a:cubicBezTo>
                        <a:close/>
                        <a:moveTo>
                          <a:pt x="403" y="284"/>
                        </a:moveTo>
                        <a:cubicBezTo>
                          <a:pt x="403" y="265"/>
                          <a:pt x="386" y="250"/>
                          <a:pt x="365" y="250"/>
                        </a:cubicBezTo>
                        <a:cubicBezTo>
                          <a:pt x="344" y="250"/>
                          <a:pt x="327" y="265"/>
                          <a:pt x="327" y="284"/>
                        </a:cubicBezTo>
                        <a:cubicBezTo>
                          <a:pt x="327" y="303"/>
                          <a:pt x="344" y="319"/>
                          <a:pt x="365" y="319"/>
                        </a:cubicBezTo>
                        <a:cubicBezTo>
                          <a:pt x="386" y="319"/>
                          <a:pt x="403" y="303"/>
                          <a:pt x="403" y="284"/>
                        </a:cubicBezTo>
                        <a:close/>
                        <a:moveTo>
                          <a:pt x="506" y="266"/>
                        </a:moveTo>
                        <a:cubicBezTo>
                          <a:pt x="506" y="247"/>
                          <a:pt x="489" y="232"/>
                          <a:pt x="468" y="232"/>
                        </a:cubicBezTo>
                        <a:cubicBezTo>
                          <a:pt x="447" y="232"/>
                          <a:pt x="430" y="247"/>
                          <a:pt x="430" y="266"/>
                        </a:cubicBezTo>
                        <a:cubicBezTo>
                          <a:pt x="430" y="285"/>
                          <a:pt x="447" y="301"/>
                          <a:pt x="468" y="301"/>
                        </a:cubicBezTo>
                        <a:cubicBezTo>
                          <a:pt x="489" y="301"/>
                          <a:pt x="506" y="285"/>
                          <a:pt x="506" y="266"/>
                        </a:cubicBezTo>
                        <a:close/>
                        <a:moveTo>
                          <a:pt x="104" y="266"/>
                        </a:moveTo>
                        <a:cubicBezTo>
                          <a:pt x="104" y="285"/>
                          <a:pt x="120" y="301"/>
                          <a:pt x="141" y="301"/>
                        </a:cubicBezTo>
                        <a:cubicBezTo>
                          <a:pt x="161" y="301"/>
                          <a:pt x="178" y="285"/>
                          <a:pt x="178" y="266"/>
                        </a:cubicBezTo>
                        <a:cubicBezTo>
                          <a:pt x="178" y="247"/>
                          <a:pt x="161" y="232"/>
                          <a:pt x="141" y="232"/>
                        </a:cubicBezTo>
                        <a:cubicBezTo>
                          <a:pt x="120" y="232"/>
                          <a:pt x="104" y="247"/>
                          <a:pt x="104" y="266"/>
                        </a:cubicBezTo>
                        <a:close/>
                        <a:moveTo>
                          <a:pt x="610" y="255"/>
                        </a:moveTo>
                        <a:cubicBezTo>
                          <a:pt x="610" y="235"/>
                          <a:pt x="593" y="219"/>
                          <a:pt x="572" y="219"/>
                        </a:cubicBezTo>
                        <a:cubicBezTo>
                          <a:pt x="551" y="219"/>
                          <a:pt x="533" y="235"/>
                          <a:pt x="533" y="255"/>
                        </a:cubicBezTo>
                        <a:cubicBezTo>
                          <a:pt x="533" y="274"/>
                          <a:pt x="551" y="290"/>
                          <a:pt x="572" y="290"/>
                        </a:cubicBezTo>
                        <a:cubicBezTo>
                          <a:pt x="593" y="290"/>
                          <a:pt x="610" y="274"/>
                          <a:pt x="610" y="255"/>
                        </a:cubicBezTo>
                        <a:close/>
                        <a:moveTo>
                          <a:pt x="77" y="255"/>
                        </a:moveTo>
                        <a:cubicBezTo>
                          <a:pt x="77" y="235"/>
                          <a:pt x="60" y="219"/>
                          <a:pt x="39" y="219"/>
                        </a:cubicBezTo>
                        <a:cubicBezTo>
                          <a:pt x="18" y="219"/>
                          <a:pt x="0" y="235"/>
                          <a:pt x="0" y="255"/>
                        </a:cubicBezTo>
                        <a:cubicBezTo>
                          <a:pt x="0" y="274"/>
                          <a:pt x="18" y="290"/>
                          <a:pt x="39" y="290"/>
                        </a:cubicBezTo>
                        <a:cubicBezTo>
                          <a:pt x="60" y="290"/>
                          <a:pt x="77" y="274"/>
                          <a:pt x="77" y="255"/>
                        </a:cubicBezTo>
                        <a:close/>
                        <a:moveTo>
                          <a:pt x="205" y="150"/>
                        </a:moveTo>
                        <a:cubicBezTo>
                          <a:pt x="205" y="169"/>
                          <a:pt x="222" y="185"/>
                          <a:pt x="242" y="185"/>
                        </a:cubicBezTo>
                        <a:cubicBezTo>
                          <a:pt x="263" y="185"/>
                          <a:pt x="280" y="169"/>
                          <a:pt x="280" y="150"/>
                        </a:cubicBezTo>
                        <a:cubicBezTo>
                          <a:pt x="280" y="131"/>
                          <a:pt x="263" y="116"/>
                          <a:pt x="242" y="116"/>
                        </a:cubicBezTo>
                        <a:cubicBezTo>
                          <a:pt x="222" y="116"/>
                          <a:pt x="205" y="131"/>
                          <a:pt x="205" y="150"/>
                        </a:cubicBezTo>
                        <a:close/>
                        <a:moveTo>
                          <a:pt x="403" y="150"/>
                        </a:moveTo>
                        <a:cubicBezTo>
                          <a:pt x="403" y="131"/>
                          <a:pt x="386" y="116"/>
                          <a:pt x="365" y="116"/>
                        </a:cubicBezTo>
                        <a:cubicBezTo>
                          <a:pt x="344" y="116"/>
                          <a:pt x="327" y="131"/>
                          <a:pt x="327" y="150"/>
                        </a:cubicBezTo>
                        <a:cubicBezTo>
                          <a:pt x="327" y="169"/>
                          <a:pt x="344" y="185"/>
                          <a:pt x="365" y="185"/>
                        </a:cubicBezTo>
                        <a:cubicBezTo>
                          <a:pt x="386" y="185"/>
                          <a:pt x="403" y="169"/>
                          <a:pt x="403" y="150"/>
                        </a:cubicBezTo>
                        <a:close/>
                        <a:moveTo>
                          <a:pt x="506" y="145"/>
                        </a:moveTo>
                        <a:cubicBezTo>
                          <a:pt x="506" y="126"/>
                          <a:pt x="489" y="110"/>
                          <a:pt x="468" y="110"/>
                        </a:cubicBezTo>
                        <a:cubicBezTo>
                          <a:pt x="447" y="110"/>
                          <a:pt x="430" y="126"/>
                          <a:pt x="430" y="145"/>
                        </a:cubicBezTo>
                        <a:cubicBezTo>
                          <a:pt x="430" y="164"/>
                          <a:pt x="447" y="179"/>
                          <a:pt x="468" y="179"/>
                        </a:cubicBezTo>
                        <a:cubicBezTo>
                          <a:pt x="489" y="179"/>
                          <a:pt x="506" y="164"/>
                          <a:pt x="506" y="145"/>
                        </a:cubicBezTo>
                        <a:close/>
                        <a:moveTo>
                          <a:pt x="99" y="145"/>
                        </a:moveTo>
                        <a:cubicBezTo>
                          <a:pt x="99" y="164"/>
                          <a:pt x="116" y="179"/>
                          <a:pt x="137" y="179"/>
                        </a:cubicBezTo>
                        <a:cubicBezTo>
                          <a:pt x="157" y="179"/>
                          <a:pt x="174" y="164"/>
                          <a:pt x="174" y="145"/>
                        </a:cubicBezTo>
                        <a:cubicBezTo>
                          <a:pt x="174" y="126"/>
                          <a:pt x="157" y="110"/>
                          <a:pt x="137" y="110"/>
                        </a:cubicBezTo>
                        <a:cubicBezTo>
                          <a:pt x="116" y="110"/>
                          <a:pt x="99" y="126"/>
                          <a:pt x="99" y="14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204" name="Freeform 7"/>
                  <p:cNvSpPr>
                    <a:spLocks noEditPoints="1"/>
                  </p:cNvSpPr>
                  <p:nvPr/>
                </p:nvSpPr>
                <p:spPr bwMode="auto">
                  <a:xfrm>
                    <a:off x="2026" y="3462"/>
                    <a:ext cx="461" cy="222"/>
                  </a:xfrm>
                  <a:custGeom>
                    <a:avLst/>
                    <a:gdLst>
                      <a:gd name="T0" fmla="*/ 285 w 487"/>
                      <a:gd name="T1" fmla="*/ 232 h 234"/>
                      <a:gd name="T2" fmla="*/ 265 w 487"/>
                      <a:gd name="T3" fmla="*/ 233 h 234"/>
                      <a:gd name="T4" fmla="*/ 195 w 487"/>
                      <a:gd name="T5" fmla="*/ 140 h 234"/>
                      <a:gd name="T6" fmla="*/ 178 w 487"/>
                      <a:gd name="T7" fmla="*/ 25 h 234"/>
                      <a:gd name="T8" fmla="*/ 178 w 487"/>
                      <a:gd name="T9" fmla="*/ 222 h 234"/>
                      <a:gd name="T10" fmla="*/ 331 w 487"/>
                      <a:gd name="T11" fmla="*/ 14 h 234"/>
                      <a:gd name="T12" fmla="*/ 487 w 487"/>
                      <a:gd name="T13" fmla="*/ 195 h 234"/>
                      <a:gd name="T14" fmla="*/ 153 w 487"/>
                      <a:gd name="T15" fmla="*/ 14 h 234"/>
                      <a:gd name="T16" fmla="*/ 0 w 487"/>
                      <a:gd name="T17" fmla="*/ 195 h 234"/>
                      <a:gd name="T18" fmla="*/ 156 w 487"/>
                      <a:gd name="T19" fmla="*/ 132 h 234"/>
                      <a:gd name="T20" fmla="*/ 103 w 487"/>
                      <a:gd name="T21" fmla="*/ 209 h 234"/>
                      <a:gd name="T22" fmla="*/ 325 w 487"/>
                      <a:gd name="T23" fmla="*/ 132 h 234"/>
                      <a:gd name="T24" fmla="*/ 382 w 487"/>
                      <a:gd name="T25" fmla="*/ 209 h 234"/>
                      <a:gd name="T26" fmla="*/ 191 w 487"/>
                      <a:gd name="T27" fmla="*/ 8 h 234"/>
                      <a:gd name="T28" fmla="*/ 282 w 487"/>
                      <a:gd name="T29" fmla="*/ 0 h 234"/>
                      <a:gd name="T30" fmla="*/ 203 w 487"/>
                      <a:gd name="T31" fmla="*/ 231 h 234"/>
                      <a:gd name="T32" fmla="*/ 222 w 487"/>
                      <a:gd name="T33" fmla="*/ 231 h 234"/>
                      <a:gd name="T34" fmla="*/ 290 w 487"/>
                      <a:gd name="T35" fmla="*/ 138 h 234"/>
                      <a:gd name="T36" fmla="*/ 304 w 487"/>
                      <a:gd name="T37" fmla="*/ 19 h 234"/>
                      <a:gd name="T38" fmla="*/ 304 w 487"/>
                      <a:gd name="T39" fmla="*/ 2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7" h="234">
                        <a:moveTo>
                          <a:pt x="285" y="232"/>
                        </a:moveTo>
                        <a:cubicBezTo>
                          <a:pt x="278" y="233"/>
                          <a:pt x="272" y="234"/>
                          <a:pt x="265" y="233"/>
                        </a:cubicBezTo>
                        <a:cubicBezTo>
                          <a:pt x="221" y="228"/>
                          <a:pt x="190" y="186"/>
                          <a:pt x="195" y="140"/>
                        </a:cubicBezTo>
                        <a:moveTo>
                          <a:pt x="178" y="25"/>
                        </a:moveTo>
                        <a:cubicBezTo>
                          <a:pt x="178" y="222"/>
                          <a:pt x="178" y="222"/>
                          <a:pt x="178" y="222"/>
                        </a:cubicBezTo>
                        <a:moveTo>
                          <a:pt x="331" y="14"/>
                        </a:moveTo>
                        <a:cubicBezTo>
                          <a:pt x="487" y="195"/>
                          <a:pt x="487" y="195"/>
                          <a:pt x="487" y="195"/>
                        </a:cubicBezTo>
                        <a:moveTo>
                          <a:pt x="153" y="14"/>
                        </a:moveTo>
                        <a:cubicBezTo>
                          <a:pt x="0" y="195"/>
                          <a:pt x="0" y="195"/>
                          <a:pt x="0" y="195"/>
                        </a:cubicBezTo>
                        <a:moveTo>
                          <a:pt x="156" y="132"/>
                        </a:moveTo>
                        <a:cubicBezTo>
                          <a:pt x="103" y="209"/>
                          <a:pt x="103" y="209"/>
                          <a:pt x="103" y="209"/>
                        </a:cubicBezTo>
                        <a:moveTo>
                          <a:pt x="325" y="132"/>
                        </a:moveTo>
                        <a:cubicBezTo>
                          <a:pt x="382" y="209"/>
                          <a:pt x="382" y="209"/>
                          <a:pt x="382" y="209"/>
                        </a:cubicBezTo>
                        <a:moveTo>
                          <a:pt x="191" y="8"/>
                        </a:moveTo>
                        <a:cubicBezTo>
                          <a:pt x="224" y="32"/>
                          <a:pt x="264" y="28"/>
                          <a:pt x="282" y="0"/>
                        </a:cubicBezTo>
                        <a:moveTo>
                          <a:pt x="203" y="231"/>
                        </a:moveTo>
                        <a:cubicBezTo>
                          <a:pt x="209" y="232"/>
                          <a:pt x="215" y="232"/>
                          <a:pt x="222" y="231"/>
                        </a:cubicBezTo>
                        <a:cubicBezTo>
                          <a:pt x="264" y="226"/>
                          <a:pt x="295" y="184"/>
                          <a:pt x="290" y="138"/>
                        </a:cubicBezTo>
                        <a:moveTo>
                          <a:pt x="304" y="19"/>
                        </a:moveTo>
                        <a:cubicBezTo>
                          <a:pt x="304" y="228"/>
                          <a:pt x="304" y="228"/>
                          <a:pt x="304" y="228"/>
                        </a:cubicBezTo>
                      </a:path>
                    </a:pathLst>
                  </a:custGeom>
                  <a:noFill/>
                  <a:ln w="8" cap="flat">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grpSp>
        </p:grpSp>
      </p:grpSp>
      <p:grpSp>
        <p:nvGrpSpPr>
          <p:cNvPr id="5" name="Group 4"/>
          <p:cNvGrpSpPr/>
          <p:nvPr/>
        </p:nvGrpSpPr>
        <p:grpSpPr>
          <a:xfrm>
            <a:off x="4825739" y="1547283"/>
            <a:ext cx="7224282" cy="5211838"/>
            <a:chOff x="4825739" y="1547283"/>
            <a:chExt cx="7224282" cy="5211838"/>
          </a:xfrm>
        </p:grpSpPr>
        <p:sp>
          <p:nvSpPr>
            <p:cNvPr id="161" name="Rectangle 160"/>
            <p:cNvSpPr/>
            <p:nvPr>
              <p:custDataLst>
                <p:tags r:id="rId1"/>
              </p:custDataLst>
            </p:nvPr>
          </p:nvSpPr>
          <p:spPr bwMode="auto">
            <a:xfrm>
              <a:off x="9609487" y="5651125"/>
              <a:ext cx="2440534" cy="1107996"/>
            </a:xfrm>
            <a:prstGeom prst="rect">
              <a:avLst/>
            </a:prstGeom>
            <a:ln>
              <a:noFill/>
            </a:ln>
          </p:spPr>
          <p:txBody>
            <a:bodyPr vert="horz" wrap="square" lIns="0" tIns="0" rIns="0" bIns="0" rtlCol="0">
              <a:spAutoFit/>
            </a:bodyPr>
            <a:lstStyle/>
            <a:p>
              <a:pPr marL="0" marR="0" lvl="0" indent="0" defTabSz="914400" eaLnBrk="1" fontAlgn="auto" latinLnBrk="0" hangingPunct="1">
                <a:lnSpc>
                  <a:spcPct val="90000"/>
                </a:lnSpc>
                <a:spcBef>
                  <a:spcPts val="1224"/>
                </a:spcBef>
                <a:spcAft>
                  <a:spcPts val="0"/>
                </a:spcAft>
                <a:buClrTx/>
                <a:buSzTx/>
                <a:buFontTx/>
                <a:buNone/>
                <a:tabLst/>
                <a:defRPr/>
              </a:pPr>
              <a:r>
                <a:rPr kumimoji="0" lang="en-US" sz="1600" b="0" i="0" u="none" strike="noStrike" kern="0" cap="none" spc="-31" normalizeH="0" baseline="0" noProof="0" dirty="0" smtClean="0">
                  <a:ln>
                    <a:noFill/>
                  </a:ln>
                  <a:solidFill>
                    <a:srgbClr val="969696">
                      <a:lumMod val="50000"/>
                    </a:srgbClr>
                  </a:solidFill>
                  <a:effectLst/>
                  <a:uLnTx/>
                  <a:uFillTx/>
                </a:rPr>
                <a:t>IT can </a:t>
              </a:r>
              <a:r>
                <a:rPr kumimoji="0" lang="en-US" sz="1600" b="1" i="0" u="none" strike="noStrike" kern="0" cap="none" spc="-31" normalizeH="0" baseline="0" noProof="0" dirty="0" smtClean="0">
                  <a:ln>
                    <a:noFill/>
                  </a:ln>
                  <a:solidFill>
                    <a:srgbClr val="969696">
                      <a:lumMod val="50000"/>
                    </a:srgbClr>
                  </a:solidFill>
                  <a:effectLst/>
                  <a:uLnTx/>
                  <a:uFillTx/>
                </a:rPr>
                <a:t>publish access</a:t>
              </a:r>
              <a:r>
                <a:rPr kumimoji="0" lang="en-US" sz="1600" b="0" i="0" u="none" strike="noStrike" kern="0" cap="none" spc="-31" normalizeH="0" baseline="0" noProof="0" dirty="0" smtClean="0">
                  <a:ln>
                    <a:noFill/>
                  </a:ln>
                  <a:solidFill>
                    <a:srgbClr val="969696">
                      <a:lumMod val="50000"/>
                    </a:srgbClr>
                  </a:solidFill>
                  <a:effectLst/>
                  <a:uLnTx/>
                  <a:uFillTx/>
                </a:rPr>
                <a:t> to resources with the </a:t>
              </a:r>
              <a:r>
                <a:rPr kumimoji="0" lang="en-US" sz="1600" b="1" i="0" u="none" strike="noStrike" kern="0" cap="none" spc="-31" normalizeH="0" baseline="0" noProof="0" dirty="0" smtClean="0">
                  <a:ln>
                    <a:noFill/>
                  </a:ln>
                  <a:solidFill>
                    <a:srgbClr val="969696">
                      <a:lumMod val="50000"/>
                    </a:srgbClr>
                  </a:solidFill>
                  <a:effectLst/>
                  <a:uLnTx/>
                  <a:uFillTx/>
                </a:rPr>
                <a:t>web application proxy</a:t>
              </a:r>
              <a:r>
                <a:rPr kumimoji="0" lang="en-US" sz="1600" b="0" i="0" u="none" strike="noStrike" kern="0" cap="none" spc="-31" normalizeH="0" baseline="0" noProof="0" dirty="0" smtClean="0">
                  <a:ln>
                    <a:noFill/>
                  </a:ln>
                  <a:solidFill>
                    <a:srgbClr val="969696">
                      <a:lumMod val="50000"/>
                    </a:srgbClr>
                  </a:solidFill>
                  <a:effectLst/>
                  <a:uLnTx/>
                  <a:uFillTx/>
                </a:rPr>
                <a:t> based on device awareness and the users identity.</a:t>
              </a:r>
            </a:p>
          </p:txBody>
        </p:sp>
        <p:sp>
          <p:nvSpPr>
            <p:cNvPr id="162" name="Rectangle 161"/>
            <p:cNvSpPr/>
            <p:nvPr/>
          </p:nvSpPr>
          <p:spPr>
            <a:xfrm>
              <a:off x="6057025" y="6239858"/>
              <a:ext cx="2358594" cy="443198"/>
            </a:xfrm>
            <a:prstGeom prst="rect">
              <a:avLst/>
            </a:prstGeom>
            <a:ln>
              <a:noFill/>
            </a:ln>
          </p:spPr>
          <p:txBody>
            <a:bodyPr vert="horz" wrap="square" lIns="0" tIns="0" rIns="0" bIns="0" rtlCol="0">
              <a:spAutoFit/>
            </a:bodyPr>
            <a:lstStyle/>
            <a:p>
              <a:pPr marL="0" marR="0" lvl="0" indent="0" defTabSz="914400" eaLnBrk="1" fontAlgn="auto" latinLnBrk="0" hangingPunct="1">
                <a:lnSpc>
                  <a:spcPct val="90000"/>
                </a:lnSpc>
                <a:spcBef>
                  <a:spcPts val="1224"/>
                </a:spcBef>
                <a:spcAft>
                  <a:spcPts val="0"/>
                </a:spcAft>
                <a:buClrTx/>
                <a:buSzTx/>
                <a:buFontTx/>
                <a:buNone/>
                <a:tabLst/>
                <a:defRPr/>
              </a:pPr>
              <a:r>
                <a:rPr kumimoji="0" lang="en-US" sz="1600" b="0" i="0" u="none" strike="noStrike" kern="0" cap="none" spc="-31" normalizeH="0" baseline="0" noProof="0" dirty="0" smtClean="0">
                  <a:ln>
                    <a:noFill/>
                  </a:ln>
                  <a:solidFill>
                    <a:srgbClr val="969696">
                      <a:lumMod val="50000"/>
                    </a:srgbClr>
                  </a:solidFill>
                  <a:effectLst/>
                  <a:uLnTx/>
                  <a:uFillTx/>
                </a:rPr>
                <a:t>IT can provide seamless corporate access.</a:t>
              </a:r>
            </a:p>
          </p:txBody>
        </p:sp>
        <p:cxnSp>
          <p:nvCxnSpPr>
            <p:cNvPr id="165" name="Straight Connector 164"/>
            <p:cNvCxnSpPr/>
            <p:nvPr/>
          </p:nvCxnSpPr>
          <p:spPr>
            <a:xfrm flipV="1">
              <a:off x="4825739" y="3333205"/>
              <a:ext cx="1233761" cy="634475"/>
            </a:xfrm>
            <a:prstGeom prst="line">
              <a:avLst/>
            </a:prstGeom>
            <a:noFill/>
            <a:ln w="19050" cap="rnd" cmpd="sng" algn="ctr">
              <a:solidFill>
                <a:srgbClr val="0070C0"/>
              </a:solidFill>
              <a:prstDash val="sysDot"/>
              <a:headEnd type="triangle" w="med" len="med"/>
              <a:tailEnd type="triangle" w="med" len="med"/>
            </a:ln>
            <a:effectLst/>
          </p:spPr>
        </p:cxnSp>
        <p:cxnSp>
          <p:nvCxnSpPr>
            <p:cNvPr id="166" name="Straight Connector 165"/>
            <p:cNvCxnSpPr/>
            <p:nvPr/>
          </p:nvCxnSpPr>
          <p:spPr>
            <a:xfrm>
              <a:off x="7970807" y="5225337"/>
              <a:ext cx="712304" cy="0"/>
            </a:xfrm>
            <a:prstGeom prst="line">
              <a:avLst/>
            </a:prstGeom>
            <a:noFill/>
            <a:ln w="19050" cap="rnd" cmpd="sng" algn="ctr">
              <a:solidFill>
                <a:srgbClr val="0070C0"/>
              </a:solidFill>
              <a:prstDash val="sysDot"/>
              <a:headEnd type="triangle" w="med" len="med"/>
              <a:tailEnd type="triangle" w="med" len="med"/>
            </a:ln>
            <a:effectLst/>
          </p:spPr>
        </p:cxnSp>
        <p:sp>
          <p:nvSpPr>
            <p:cNvPr id="170" name="Rectangle 169"/>
            <p:cNvSpPr/>
            <p:nvPr/>
          </p:nvSpPr>
          <p:spPr bwMode="auto">
            <a:xfrm>
              <a:off x="6026072" y="1977187"/>
              <a:ext cx="2653032" cy="886397"/>
            </a:xfrm>
            <a:prstGeom prst="rect">
              <a:avLst/>
            </a:prstGeom>
            <a:ln>
              <a:noFill/>
            </a:ln>
          </p:spPr>
          <p:txBody>
            <a:bodyPr vert="horz" wrap="square" lIns="0" tIns="0" rIns="0" bIns="0" rtlCol="0">
              <a:spAutoFit/>
            </a:bodyPr>
            <a:lstStyle/>
            <a:p>
              <a:pPr marL="0" marR="0" lvl="0" indent="0" defTabSz="914400" eaLnBrk="1" fontAlgn="auto" latinLnBrk="0" hangingPunct="1">
                <a:lnSpc>
                  <a:spcPct val="90000"/>
                </a:lnSpc>
                <a:spcBef>
                  <a:spcPts val="1200"/>
                </a:spcBef>
                <a:spcAft>
                  <a:spcPts val="0"/>
                </a:spcAft>
                <a:buClrTx/>
                <a:buSzTx/>
                <a:buFontTx/>
                <a:buNone/>
                <a:tabLst/>
                <a:defRPr/>
              </a:pPr>
              <a:r>
                <a:rPr kumimoji="0" lang="en-US" sz="1600" b="0" i="0" u="none" strike="noStrike" kern="0" cap="none" spc="-30" normalizeH="0" baseline="0" noProof="0" dirty="0" smtClean="0">
                  <a:ln>
                    <a:noFill/>
                  </a:ln>
                  <a:solidFill>
                    <a:srgbClr val="969696">
                      <a:lumMod val="50000"/>
                    </a:srgbClr>
                  </a:solidFill>
                  <a:effectLst/>
                  <a:uLnTx/>
                  <a:uFillTx/>
                </a:rPr>
                <a:t>Users can </a:t>
              </a:r>
              <a:r>
                <a:rPr kumimoji="0" lang="en-US" sz="1600" b="1" i="0" u="none" strike="noStrike" kern="0" cap="none" spc="-30" normalizeH="0" baseline="0" noProof="0" dirty="0" smtClean="0">
                  <a:ln>
                    <a:noFill/>
                  </a:ln>
                  <a:solidFill>
                    <a:srgbClr val="969696">
                      <a:lumMod val="50000"/>
                    </a:srgbClr>
                  </a:solidFill>
                  <a:effectLst/>
                  <a:uLnTx/>
                  <a:uFillTx/>
                </a:rPr>
                <a:t>enroll devices </a:t>
              </a:r>
              <a:r>
                <a:rPr kumimoji="0" lang="en-US" sz="1600" b="0" i="0" u="none" strike="noStrike" kern="0" cap="none" spc="-30" normalizeH="0" baseline="0" noProof="0" dirty="0" smtClean="0">
                  <a:ln>
                    <a:noFill/>
                  </a:ln>
                  <a:solidFill>
                    <a:srgbClr val="969696">
                      <a:lumMod val="50000"/>
                    </a:srgbClr>
                  </a:solidFill>
                  <a:effectLst/>
                  <a:uLnTx/>
                  <a:uFillTx/>
                </a:rPr>
                <a:t>for access to the </a:t>
              </a:r>
              <a:r>
                <a:rPr kumimoji="0" lang="en-US" sz="1600" b="1" i="0" u="none" strike="noStrike" kern="0" cap="none" spc="-30" normalizeH="0" baseline="0" noProof="0" dirty="0" smtClean="0">
                  <a:ln>
                    <a:noFill/>
                  </a:ln>
                  <a:solidFill>
                    <a:srgbClr val="969696">
                      <a:lumMod val="50000"/>
                    </a:srgbClr>
                  </a:solidFill>
                  <a:effectLst/>
                  <a:uLnTx/>
                  <a:uFillTx/>
                </a:rPr>
                <a:t>company portal </a:t>
              </a:r>
              <a:r>
                <a:rPr kumimoji="0" lang="en-US" sz="1600" b="0" i="0" u="none" strike="noStrike" kern="0" cap="none" spc="-30" normalizeH="0" baseline="0" noProof="0" dirty="0" smtClean="0">
                  <a:ln>
                    <a:noFill/>
                  </a:ln>
                  <a:solidFill>
                    <a:srgbClr val="969696">
                      <a:lumMod val="50000"/>
                    </a:srgbClr>
                  </a:solidFill>
                  <a:effectLst/>
                  <a:uLnTx/>
                  <a:uFillTx/>
                </a:rPr>
                <a:t>for easy access to corporate applications.</a:t>
              </a:r>
            </a:p>
          </p:txBody>
        </p:sp>
        <p:cxnSp>
          <p:nvCxnSpPr>
            <p:cNvPr id="171" name="Straight Connector 170"/>
            <p:cNvCxnSpPr/>
            <p:nvPr/>
          </p:nvCxnSpPr>
          <p:spPr>
            <a:xfrm>
              <a:off x="7968606" y="3491165"/>
              <a:ext cx="712304" cy="0"/>
            </a:xfrm>
            <a:prstGeom prst="line">
              <a:avLst/>
            </a:prstGeom>
            <a:noFill/>
            <a:ln w="19050" cap="rnd" cmpd="sng" algn="ctr">
              <a:solidFill>
                <a:srgbClr val="0070C0"/>
              </a:solidFill>
              <a:prstDash val="sysDot"/>
              <a:headEnd type="triangle" w="med" len="med"/>
              <a:tailEnd type="triangle" w="med" len="med"/>
            </a:ln>
            <a:effectLst/>
          </p:spPr>
        </p:cxnSp>
        <p:cxnSp>
          <p:nvCxnSpPr>
            <p:cNvPr id="172" name="Straight Connector 171"/>
            <p:cNvCxnSpPr/>
            <p:nvPr/>
          </p:nvCxnSpPr>
          <p:spPr>
            <a:xfrm>
              <a:off x="4826483" y="4132004"/>
              <a:ext cx="1233761" cy="634475"/>
            </a:xfrm>
            <a:prstGeom prst="line">
              <a:avLst/>
            </a:prstGeom>
            <a:noFill/>
            <a:ln w="19050" cap="rnd" cmpd="sng" algn="ctr">
              <a:solidFill>
                <a:srgbClr val="0070C0"/>
              </a:solidFill>
              <a:prstDash val="sysDot"/>
              <a:headEnd type="triangle" w="med" len="med"/>
              <a:tailEnd type="triangle" w="med" len="med"/>
            </a:ln>
            <a:effectLst/>
          </p:spPr>
        </p:cxnSp>
        <p:sp>
          <p:nvSpPr>
            <p:cNvPr id="173" name="Rectangle 172"/>
            <p:cNvSpPr/>
            <p:nvPr/>
          </p:nvSpPr>
          <p:spPr>
            <a:xfrm>
              <a:off x="9596796" y="1547283"/>
              <a:ext cx="2358594" cy="886397"/>
            </a:xfrm>
            <a:prstGeom prst="rect">
              <a:avLst/>
            </a:prstGeom>
            <a:ln>
              <a:noFill/>
            </a:ln>
          </p:spPr>
          <p:txBody>
            <a:bodyPr vert="horz" wrap="square" lIns="0" tIns="0" rIns="0" bIns="0" rtlCol="0">
              <a:spAutoFit/>
            </a:bodyPr>
            <a:lstStyle/>
            <a:p>
              <a:pPr marL="0" marR="0" lvl="0" indent="0" defTabSz="914400" eaLnBrk="1" fontAlgn="auto" latinLnBrk="0" hangingPunct="1">
                <a:lnSpc>
                  <a:spcPct val="90000"/>
                </a:lnSpc>
                <a:spcBef>
                  <a:spcPts val="1224"/>
                </a:spcBef>
                <a:spcAft>
                  <a:spcPts val="0"/>
                </a:spcAft>
                <a:buClrTx/>
                <a:buSzTx/>
                <a:buFontTx/>
                <a:buNone/>
                <a:tabLst/>
                <a:defRPr/>
              </a:pPr>
              <a:r>
                <a:rPr kumimoji="0" lang="en-US" sz="1600" b="0" i="0" u="none" strike="noStrike" kern="0" cap="none" spc="-31" normalizeH="0" baseline="0" noProof="0" dirty="0" smtClean="0">
                  <a:ln>
                    <a:noFill/>
                  </a:ln>
                  <a:solidFill>
                    <a:srgbClr val="969696">
                      <a:lumMod val="50000"/>
                    </a:srgbClr>
                  </a:solidFill>
                  <a:effectLst/>
                  <a:uLnTx/>
                  <a:uFillTx/>
                </a:rPr>
                <a:t>IT can publish </a:t>
              </a:r>
              <a:r>
                <a:rPr kumimoji="0" lang="en-US" sz="1600" b="1" i="0" u="none" strike="noStrike" kern="0" cap="none" spc="-31" normalizeH="0" baseline="0" noProof="0" dirty="0" smtClean="0">
                  <a:ln>
                    <a:noFill/>
                  </a:ln>
                  <a:solidFill>
                    <a:srgbClr val="969696">
                      <a:lumMod val="50000"/>
                    </a:srgbClr>
                  </a:solidFill>
                  <a:effectLst/>
                  <a:uLnTx/>
                  <a:uFillTx/>
                </a:rPr>
                <a:t>desktop virtualization </a:t>
              </a:r>
              <a:r>
                <a:rPr kumimoji="0" lang="en-US" sz="1600" b="0" i="0" u="none" strike="noStrike" kern="0" cap="none" spc="-31" normalizeH="0" baseline="0" noProof="0" dirty="0" smtClean="0">
                  <a:ln>
                    <a:noFill/>
                  </a:ln>
                  <a:solidFill>
                    <a:srgbClr val="969696">
                      <a:lumMod val="50000"/>
                    </a:srgbClr>
                  </a:solidFill>
                  <a:effectLst/>
                  <a:uLnTx/>
                  <a:uFillTx/>
                </a:rPr>
                <a:t>resources for access to centralized resources.</a:t>
              </a:r>
              <a:endParaRPr kumimoji="0" lang="en-US" sz="1600" b="1" i="0" u="none" strike="noStrike" kern="0" cap="none" spc="-31" normalizeH="0" baseline="0" noProof="0" dirty="0" smtClean="0">
                <a:ln>
                  <a:noFill/>
                </a:ln>
                <a:solidFill>
                  <a:srgbClr val="969696">
                    <a:lumMod val="50000"/>
                  </a:srgbClr>
                </a:solidFill>
                <a:effectLst/>
                <a:uLnTx/>
                <a:uFillTx/>
              </a:endParaRPr>
            </a:p>
          </p:txBody>
        </p:sp>
        <p:grpSp>
          <p:nvGrpSpPr>
            <p:cNvPr id="174" name="Group 173"/>
            <p:cNvGrpSpPr/>
            <p:nvPr/>
          </p:nvGrpSpPr>
          <p:grpSpPr>
            <a:xfrm>
              <a:off x="9296168" y="2541831"/>
              <a:ext cx="813157" cy="1285724"/>
              <a:chOff x="9537548" y="2355871"/>
              <a:chExt cx="813157" cy="1285724"/>
            </a:xfrm>
          </p:grpSpPr>
          <p:sp>
            <p:nvSpPr>
              <p:cNvPr id="175" name="Rectangle 174"/>
              <p:cNvSpPr/>
              <p:nvPr/>
            </p:nvSpPr>
            <p:spPr>
              <a:xfrm>
                <a:off x="9693179" y="3414972"/>
                <a:ext cx="657526" cy="226623"/>
              </a:xfrm>
              <a:prstGeom prst="rect">
                <a:avLst/>
              </a:prstGeom>
              <a:noFill/>
              <a:ln>
                <a:noFill/>
              </a:ln>
            </p:spPr>
            <p:txBody>
              <a:bodyPr wrap="square" lIns="0" tIns="0" rIns="0" bIns="0" anchor="ctr">
                <a:spAutoFit/>
              </a:bodyPr>
              <a:lstStyle/>
              <a:p>
                <a:pPr algn="ctr" defTabSz="1118323" fontAlgn="base">
                  <a:spcAft>
                    <a:spcPct val="0"/>
                  </a:spcAft>
                </a:pPr>
                <a:r>
                  <a:rPr lang="en-US" sz="1224" dirty="0" smtClean="0">
                    <a:ln>
                      <a:solidFill>
                        <a:srgbClr val="FFFFFF">
                          <a:alpha val="0"/>
                        </a:srgbClr>
                      </a:solidFill>
                    </a:ln>
                    <a:solidFill>
                      <a:srgbClr val="FF8C00"/>
                    </a:solidFill>
                    <a:latin typeface="Segoe"/>
                  </a:rPr>
                  <a:t>VDI</a:t>
                </a:r>
                <a:endParaRPr lang="en-US" sz="1224" dirty="0">
                  <a:ln>
                    <a:solidFill>
                      <a:srgbClr val="FFFFFF">
                        <a:alpha val="0"/>
                      </a:srgbClr>
                    </a:solidFill>
                  </a:ln>
                  <a:solidFill>
                    <a:srgbClr val="FF8C00"/>
                  </a:solidFill>
                  <a:latin typeface="Segoe"/>
                </a:endParaRPr>
              </a:p>
            </p:txBody>
          </p:sp>
          <p:pic>
            <p:nvPicPr>
              <p:cNvPr id="176" name="Picture 17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537548" y="2355871"/>
                <a:ext cx="768380" cy="1003851"/>
              </a:xfrm>
              <a:prstGeom prst="rect">
                <a:avLst/>
              </a:prstGeom>
            </p:spPr>
          </p:pic>
        </p:grpSp>
        <p:grpSp>
          <p:nvGrpSpPr>
            <p:cNvPr id="177" name="Group 176"/>
            <p:cNvGrpSpPr/>
            <p:nvPr/>
          </p:nvGrpSpPr>
          <p:grpSpPr>
            <a:xfrm>
              <a:off x="9925065" y="2534713"/>
              <a:ext cx="1485441" cy="1286705"/>
              <a:chOff x="10166445" y="2348753"/>
              <a:chExt cx="1485441" cy="1286705"/>
            </a:xfrm>
          </p:grpSpPr>
          <p:sp>
            <p:nvSpPr>
              <p:cNvPr id="178" name="Rectangle 177"/>
              <p:cNvSpPr/>
              <p:nvPr/>
            </p:nvSpPr>
            <p:spPr>
              <a:xfrm>
                <a:off x="10166445" y="3413258"/>
                <a:ext cx="1485441" cy="222200"/>
              </a:xfrm>
              <a:prstGeom prst="rect">
                <a:avLst/>
              </a:prstGeom>
              <a:noFill/>
              <a:ln>
                <a:noFill/>
              </a:ln>
            </p:spPr>
            <p:txBody>
              <a:bodyPr wrap="square" lIns="0" tIns="0" rIns="0" bIns="0" anchor="ctr">
                <a:spAutoFit/>
              </a:bodyPr>
              <a:lstStyle/>
              <a:p>
                <a:pPr algn="ctr" defTabSz="1118323" fontAlgn="base">
                  <a:spcAft>
                    <a:spcPct val="0"/>
                  </a:spcAft>
                </a:pPr>
                <a:r>
                  <a:rPr lang="en-US" sz="1224" dirty="0" smtClean="0">
                    <a:ln>
                      <a:solidFill>
                        <a:srgbClr val="FFFFFF">
                          <a:alpha val="0"/>
                        </a:srgbClr>
                      </a:solidFill>
                    </a:ln>
                    <a:solidFill>
                      <a:srgbClr val="FF8C00"/>
                    </a:solidFill>
                    <a:latin typeface="Segoe"/>
                  </a:rPr>
                  <a:t>Session host</a:t>
                </a:r>
                <a:endParaRPr lang="en-US" sz="1224" dirty="0">
                  <a:ln>
                    <a:solidFill>
                      <a:srgbClr val="FFFFFF">
                        <a:alpha val="0"/>
                      </a:srgbClr>
                    </a:solidFill>
                  </a:ln>
                  <a:solidFill>
                    <a:srgbClr val="FF8C00"/>
                  </a:solidFill>
                  <a:latin typeface="Segoe"/>
                </a:endParaRPr>
              </a:p>
            </p:txBody>
          </p:sp>
          <p:pic>
            <p:nvPicPr>
              <p:cNvPr id="179" name="Picture 178"/>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492577" y="2348753"/>
                <a:ext cx="779040" cy="1010969"/>
              </a:xfrm>
              <a:prstGeom prst="rect">
                <a:avLst/>
              </a:prstGeom>
            </p:spPr>
          </p:pic>
        </p:grpSp>
        <p:grpSp>
          <p:nvGrpSpPr>
            <p:cNvPr id="180" name="Group 179"/>
            <p:cNvGrpSpPr/>
            <p:nvPr/>
          </p:nvGrpSpPr>
          <p:grpSpPr>
            <a:xfrm>
              <a:off x="6256176" y="3095158"/>
              <a:ext cx="1485441" cy="1290331"/>
              <a:chOff x="6256176" y="2236373"/>
              <a:chExt cx="1485441" cy="1290331"/>
            </a:xfrm>
          </p:grpSpPr>
          <p:grpSp>
            <p:nvGrpSpPr>
              <p:cNvPr id="181" name="Group 180"/>
              <p:cNvGrpSpPr/>
              <p:nvPr/>
            </p:nvGrpSpPr>
            <p:grpSpPr>
              <a:xfrm>
                <a:off x="6546987" y="2236373"/>
                <a:ext cx="689335" cy="1010968"/>
                <a:chOff x="6546987" y="2236373"/>
                <a:chExt cx="689335" cy="1010968"/>
              </a:xfrm>
            </p:grpSpPr>
            <p:pic>
              <p:nvPicPr>
                <p:cNvPr id="183" name="Picture 18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711993" y="2236373"/>
                  <a:ext cx="524329" cy="1010968"/>
                </a:xfrm>
                <a:prstGeom prst="rect">
                  <a:avLst/>
                </a:prstGeom>
              </p:spPr>
            </p:pic>
            <p:sp>
              <p:nvSpPr>
                <p:cNvPr id="184" name="Freeform 183"/>
                <p:cNvSpPr>
                  <a:spLocks noEditPoints="1"/>
                </p:cNvSpPr>
                <p:nvPr/>
              </p:nvSpPr>
              <p:spPr bwMode="auto">
                <a:xfrm rot="935770">
                  <a:off x="6546987" y="2554400"/>
                  <a:ext cx="290954" cy="383134"/>
                </a:xfrm>
                <a:custGeom>
                  <a:avLst/>
                  <a:gdLst>
                    <a:gd name="T0" fmla="*/ 306 w 334"/>
                    <a:gd name="T1" fmla="*/ 195 h 466"/>
                    <a:gd name="T2" fmla="*/ 306 w 334"/>
                    <a:gd name="T3" fmla="*/ 174 h 466"/>
                    <a:gd name="T4" fmla="*/ 306 w 334"/>
                    <a:gd name="T5" fmla="*/ 160 h 466"/>
                    <a:gd name="T6" fmla="*/ 278 w 334"/>
                    <a:gd name="T7" fmla="*/ 35 h 466"/>
                    <a:gd name="T8" fmla="*/ 174 w 334"/>
                    <a:gd name="T9" fmla="*/ 0 h 466"/>
                    <a:gd name="T10" fmla="*/ 62 w 334"/>
                    <a:gd name="T11" fmla="*/ 35 h 466"/>
                    <a:gd name="T12" fmla="*/ 34 w 334"/>
                    <a:gd name="T13" fmla="*/ 160 h 466"/>
                    <a:gd name="T14" fmla="*/ 34 w 334"/>
                    <a:gd name="T15" fmla="*/ 174 h 466"/>
                    <a:gd name="T16" fmla="*/ 34 w 334"/>
                    <a:gd name="T17" fmla="*/ 188 h 466"/>
                    <a:gd name="T18" fmla="*/ 0 w 334"/>
                    <a:gd name="T19" fmla="*/ 223 h 466"/>
                    <a:gd name="T20" fmla="*/ 0 w 334"/>
                    <a:gd name="T21" fmla="*/ 431 h 466"/>
                    <a:gd name="T22" fmla="*/ 41 w 334"/>
                    <a:gd name="T23" fmla="*/ 466 h 466"/>
                    <a:gd name="T24" fmla="*/ 299 w 334"/>
                    <a:gd name="T25" fmla="*/ 466 h 466"/>
                    <a:gd name="T26" fmla="*/ 334 w 334"/>
                    <a:gd name="T27" fmla="*/ 431 h 466"/>
                    <a:gd name="T28" fmla="*/ 334 w 334"/>
                    <a:gd name="T29" fmla="*/ 223 h 466"/>
                    <a:gd name="T30" fmla="*/ 306 w 334"/>
                    <a:gd name="T31" fmla="*/ 195 h 466"/>
                    <a:gd name="T32" fmla="*/ 243 w 334"/>
                    <a:gd name="T33" fmla="*/ 174 h 466"/>
                    <a:gd name="T34" fmla="*/ 243 w 334"/>
                    <a:gd name="T35" fmla="*/ 188 h 466"/>
                    <a:gd name="T36" fmla="*/ 97 w 334"/>
                    <a:gd name="T37" fmla="*/ 188 h 466"/>
                    <a:gd name="T38" fmla="*/ 97 w 334"/>
                    <a:gd name="T39" fmla="*/ 174 h 466"/>
                    <a:gd name="T40" fmla="*/ 97 w 334"/>
                    <a:gd name="T41" fmla="*/ 153 h 466"/>
                    <a:gd name="T42" fmla="*/ 111 w 334"/>
                    <a:gd name="T43" fmla="*/ 84 h 466"/>
                    <a:gd name="T44" fmla="*/ 174 w 334"/>
                    <a:gd name="T45" fmla="*/ 70 h 466"/>
                    <a:gd name="T46" fmla="*/ 229 w 334"/>
                    <a:gd name="T47" fmla="*/ 84 h 466"/>
                    <a:gd name="T48" fmla="*/ 243 w 334"/>
                    <a:gd name="T49" fmla="*/ 160 h 466"/>
                    <a:gd name="T50" fmla="*/ 243 w 334"/>
                    <a:gd name="T51" fmla="*/ 174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4" h="466">
                      <a:moveTo>
                        <a:pt x="306" y="195"/>
                      </a:moveTo>
                      <a:cubicBezTo>
                        <a:pt x="306" y="188"/>
                        <a:pt x="306" y="181"/>
                        <a:pt x="306" y="174"/>
                      </a:cubicBezTo>
                      <a:cubicBezTo>
                        <a:pt x="306" y="160"/>
                        <a:pt x="306" y="160"/>
                        <a:pt x="306" y="160"/>
                      </a:cubicBezTo>
                      <a:cubicBezTo>
                        <a:pt x="306" y="112"/>
                        <a:pt x="306" y="70"/>
                        <a:pt x="278" y="35"/>
                      </a:cubicBezTo>
                      <a:cubicBezTo>
                        <a:pt x="257" y="14"/>
                        <a:pt x="222" y="0"/>
                        <a:pt x="174" y="0"/>
                      </a:cubicBezTo>
                      <a:cubicBezTo>
                        <a:pt x="118" y="0"/>
                        <a:pt x="83" y="14"/>
                        <a:pt x="62" y="35"/>
                      </a:cubicBezTo>
                      <a:cubicBezTo>
                        <a:pt x="34" y="70"/>
                        <a:pt x="34" y="112"/>
                        <a:pt x="34" y="160"/>
                      </a:cubicBezTo>
                      <a:cubicBezTo>
                        <a:pt x="34" y="174"/>
                        <a:pt x="34" y="174"/>
                        <a:pt x="34" y="174"/>
                      </a:cubicBezTo>
                      <a:cubicBezTo>
                        <a:pt x="34" y="181"/>
                        <a:pt x="34" y="188"/>
                        <a:pt x="34" y="188"/>
                      </a:cubicBezTo>
                      <a:cubicBezTo>
                        <a:pt x="13" y="195"/>
                        <a:pt x="0" y="209"/>
                        <a:pt x="0" y="223"/>
                      </a:cubicBezTo>
                      <a:cubicBezTo>
                        <a:pt x="0" y="431"/>
                        <a:pt x="0" y="431"/>
                        <a:pt x="0" y="431"/>
                      </a:cubicBezTo>
                      <a:cubicBezTo>
                        <a:pt x="0" y="452"/>
                        <a:pt x="20" y="466"/>
                        <a:pt x="41" y="466"/>
                      </a:cubicBezTo>
                      <a:cubicBezTo>
                        <a:pt x="299" y="466"/>
                        <a:pt x="299" y="466"/>
                        <a:pt x="299" y="466"/>
                      </a:cubicBezTo>
                      <a:cubicBezTo>
                        <a:pt x="320" y="466"/>
                        <a:pt x="334" y="452"/>
                        <a:pt x="334" y="431"/>
                      </a:cubicBezTo>
                      <a:cubicBezTo>
                        <a:pt x="334" y="223"/>
                        <a:pt x="334" y="223"/>
                        <a:pt x="334" y="223"/>
                      </a:cubicBezTo>
                      <a:cubicBezTo>
                        <a:pt x="334" y="209"/>
                        <a:pt x="320" y="195"/>
                        <a:pt x="306" y="195"/>
                      </a:cubicBezTo>
                      <a:close/>
                      <a:moveTo>
                        <a:pt x="243" y="174"/>
                      </a:moveTo>
                      <a:cubicBezTo>
                        <a:pt x="243" y="181"/>
                        <a:pt x="243" y="188"/>
                        <a:pt x="243" y="188"/>
                      </a:cubicBezTo>
                      <a:cubicBezTo>
                        <a:pt x="97" y="188"/>
                        <a:pt x="97" y="188"/>
                        <a:pt x="97" y="188"/>
                      </a:cubicBezTo>
                      <a:cubicBezTo>
                        <a:pt x="97" y="188"/>
                        <a:pt x="97" y="181"/>
                        <a:pt x="97" y="174"/>
                      </a:cubicBezTo>
                      <a:cubicBezTo>
                        <a:pt x="97" y="153"/>
                        <a:pt x="97" y="153"/>
                        <a:pt x="97" y="153"/>
                      </a:cubicBezTo>
                      <a:cubicBezTo>
                        <a:pt x="97" y="118"/>
                        <a:pt x="97" y="91"/>
                        <a:pt x="111" y="84"/>
                      </a:cubicBezTo>
                      <a:cubicBezTo>
                        <a:pt x="118" y="70"/>
                        <a:pt x="139" y="70"/>
                        <a:pt x="174" y="70"/>
                      </a:cubicBezTo>
                      <a:cubicBezTo>
                        <a:pt x="201" y="70"/>
                        <a:pt x="222" y="70"/>
                        <a:pt x="229" y="84"/>
                      </a:cubicBezTo>
                      <a:cubicBezTo>
                        <a:pt x="243" y="91"/>
                        <a:pt x="243" y="125"/>
                        <a:pt x="243" y="160"/>
                      </a:cubicBezTo>
                      <a:cubicBezTo>
                        <a:pt x="243" y="174"/>
                        <a:pt x="243" y="174"/>
                        <a:pt x="243" y="174"/>
                      </a:cubicBezTo>
                      <a:close/>
                    </a:path>
                  </a:pathLst>
                </a:custGeom>
                <a:solidFill>
                  <a:srgbClr val="FF8C00"/>
                </a:solidFill>
                <a:ln>
                  <a:noFill/>
                </a:ln>
              </p:spPr>
              <p:txBody>
                <a:bodyPr vert="horz" wrap="square" lIns="89619" tIns="44810" rIns="89619" bIns="44810"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smtClean="0">
                    <a:ln>
                      <a:noFill/>
                    </a:ln>
                    <a:solidFill>
                      <a:srgbClr val="505050"/>
                    </a:solidFill>
                    <a:effectLst/>
                    <a:uLnTx/>
                    <a:uFillTx/>
                  </a:endParaRPr>
                </a:p>
              </p:txBody>
            </p:sp>
          </p:grpSp>
          <p:sp>
            <p:nvSpPr>
              <p:cNvPr id="182" name="Rectangle 181"/>
              <p:cNvSpPr/>
              <p:nvPr/>
            </p:nvSpPr>
            <p:spPr>
              <a:xfrm>
                <a:off x="6256176" y="3338319"/>
                <a:ext cx="1485441" cy="188385"/>
              </a:xfrm>
              <a:prstGeom prst="rect">
                <a:avLst/>
              </a:prstGeom>
              <a:noFill/>
              <a:ln>
                <a:noFill/>
              </a:ln>
            </p:spPr>
            <p:txBody>
              <a:bodyPr wrap="square" lIns="0" tIns="0" rIns="0" bIns="0" anchor="ctr">
                <a:spAutoFit/>
              </a:bodyPr>
              <a:lstStyle/>
              <a:p>
                <a:pPr marL="0" marR="0" lvl="0" indent="0" algn="ctr" defTabSz="1118323" eaLnBrk="1" fontAlgn="base" latinLnBrk="0" hangingPunct="1">
                  <a:lnSpc>
                    <a:spcPct val="100000"/>
                  </a:lnSpc>
                  <a:spcBef>
                    <a:spcPts val="0"/>
                  </a:spcBef>
                  <a:spcAft>
                    <a:spcPct val="0"/>
                  </a:spcAft>
                  <a:buClrTx/>
                  <a:buSzTx/>
                  <a:buFontTx/>
                  <a:buNone/>
                  <a:tabLst/>
                  <a:defRPr/>
                </a:pPr>
                <a:r>
                  <a:rPr kumimoji="0" lang="en-US" sz="1224" b="0" i="0" u="none" strike="noStrike" kern="0" cap="none" spc="0" normalizeH="0" baseline="0" noProof="0" dirty="0" smtClean="0">
                    <a:ln>
                      <a:solidFill>
                        <a:srgbClr val="FFFFFF">
                          <a:alpha val="0"/>
                        </a:srgbClr>
                      </a:solidFill>
                    </a:ln>
                    <a:solidFill>
                      <a:srgbClr val="FF8C00"/>
                    </a:solidFill>
                    <a:effectLst/>
                    <a:uLnTx/>
                    <a:uFillTx/>
                    <a:latin typeface="Segoe"/>
                  </a:rPr>
                  <a:t>RD Gateway</a:t>
                </a:r>
              </a:p>
            </p:txBody>
          </p:sp>
        </p:grpSp>
        <p:sp>
          <p:nvSpPr>
            <p:cNvPr id="187" name="AutoShape 11"/>
            <p:cNvSpPr>
              <a:spLocks noChangeAspect="1" noChangeArrowheads="1" noTextEdit="1"/>
            </p:cNvSpPr>
            <p:nvPr/>
          </p:nvSpPr>
          <p:spPr bwMode="auto">
            <a:xfrm>
              <a:off x="10189193" y="4347130"/>
              <a:ext cx="703262" cy="89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88" name="AutoShape 21"/>
            <p:cNvSpPr>
              <a:spLocks noChangeAspect="1" noChangeArrowheads="1" noTextEdit="1"/>
            </p:cNvSpPr>
            <p:nvPr/>
          </p:nvSpPr>
          <p:spPr bwMode="auto">
            <a:xfrm>
              <a:off x="10188575" y="4340116"/>
              <a:ext cx="71120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189" name="AutoShape 25"/>
            <p:cNvSpPr>
              <a:spLocks noChangeAspect="1" noChangeArrowheads="1" noTextEdit="1"/>
            </p:cNvSpPr>
            <p:nvPr/>
          </p:nvSpPr>
          <p:spPr bwMode="auto">
            <a:xfrm>
              <a:off x="10212388" y="4319479"/>
              <a:ext cx="692150" cy="928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nvGrpSpPr>
            <p:cNvPr id="208" name="Group 207"/>
            <p:cNvGrpSpPr/>
            <p:nvPr/>
          </p:nvGrpSpPr>
          <p:grpSpPr>
            <a:xfrm>
              <a:off x="6350794" y="4987011"/>
              <a:ext cx="1316036" cy="1209477"/>
              <a:chOff x="6254752" y="4056751"/>
              <a:chExt cx="1486866" cy="1366475"/>
            </a:xfrm>
          </p:grpSpPr>
          <p:sp>
            <p:nvSpPr>
              <p:cNvPr id="209" name="TextBox 208"/>
              <p:cNvSpPr txBox="1"/>
              <p:nvPr/>
            </p:nvSpPr>
            <p:spPr>
              <a:xfrm>
                <a:off x="6494013" y="4906161"/>
                <a:ext cx="998222" cy="5170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GB" sz="1600" b="0" i="0" u="none" strike="noStrike" kern="0" cap="none" spc="-50" normalizeH="0" baseline="0" noProof="0" dirty="0" smtClean="0">
                    <a:ln>
                      <a:noFill/>
                    </a:ln>
                    <a:solidFill>
                      <a:srgbClr val="C00000"/>
                    </a:solidFill>
                    <a:effectLst/>
                    <a:uLnTx/>
                    <a:uFillTx/>
                  </a:rPr>
                  <a:t>Firewall</a:t>
                </a:r>
              </a:p>
            </p:txBody>
          </p:sp>
          <p:sp>
            <p:nvSpPr>
              <p:cNvPr id="210" name="Freeform 6"/>
              <p:cNvSpPr>
                <a:spLocks noEditPoints="1"/>
              </p:cNvSpPr>
              <p:nvPr/>
            </p:nvSpPr>
            <p:spPr bwMode="auto">
              <a:xfrm>
                <a:off x="6254752" y="4056751"/>
                <a:ext cx="1486866" cy="924684"/>
              </a:xfrm>
              <a:custGeom>
                <a:avLst/>
                <a:gdLst>
                  <a:gd name="T0" fmla="*/ 2943 w 3874"/>
                  <a:gd name="T1" fmla="*/ 1838 h 2407"/>
                  <a:gd name="T2" fmla="*/ 3396 w 3874"/>
                  <a:gd name="T3" fmla="*/ 2407 h 2407"/>
                  <a:gd name="T4" fmla="*/ 2672 w 3874"/>
                  <a:gd name="T5" fmla="*/ 2407 h 2407"/>
                  <a:gd name="T6" fmla="*/ 2465 w 3874"/>
                  <a:gd name="T7" fmla="*/ 2000 h 2407"/>
                  <a:gd name="T8" fmla="*/ 1491 w 3874"/>
                  <a:gd name="T9" fmla="*/ 1838 h 2407"/>
                  <a:gd name="T10" fmla="*/ 2412 w 3874"/>
                  <a:gd name="T11" fmla="*/ 2407 h 2407"/>
                  <a:gd name="T12" fmla="*/ 1859 w 3874"/>
                  <a:gd name="T13" fmla="*/ 2407 h 2407"/>
                  <a:gd name="T14" fmla="*/ 1478 w 3874"/>
                  <a:gd name="T15" fmla="*/ 2324 h 2407"/>
                  <a:gd name="T16" fmla="*/ 495 w 3874"/>
                  <a:gd name="T17" fmla="*/ 1838 h 2407"/>
                  <a:gd name="T18" fmla="*/ 1425 w 3874"/>
                  <a:gd name="T19" fmla="*/ 1838 h 2407"/>
                  <a:gd name="T20" fmla="*/ 1015 w 3874"/>
                  <a:gd name="T21" fmla="*/ 2407 h 2407"/>
                  <a:gd name="T22" fmla="*/ 491 w 3874"/>
                  <a:gd name="T23" fmla="*/ 2401 h 2407"/>
                  <a:gd name="T24" fmla="*/ 3604 w 3874"/>
                  <a:gd name="T25" fmla="*/ 1838 h 2407"/>
                  <a:gd name="T26" fmla="*/ 3867 w 3874"/>
                  <a:gd name="T27" fmla="*/ 2407 h 2407"/>
                  <a:gd name="T28" fmla="*/ 3528 w 3874"/>
                  <a:gd name="T29" fmla="*/ 2407 h 2407"/>
                  <a:gd name="T30" fmla="*/ 3459 w 3874"/>
                  <a:gd name="T31" fmla="*/ 2264 h 2407"/>
                  <a:gd name="T32" fmla="*/ 3571 w 3874"/>
                  <a:gd name="T33" fmla="*/ 1838 h 2407"/>
                  <a:gd name="T34" fmla="*/ 448 w 3874"/>
                  <a:gd name="T35" fmla="*/ 2407 h 2407"/>
                  <a:gd name="T36" fmla="*/ 248 w 3874"/>
                  <a:gd name="T37" fmla="*/ 2407 h 2407"/>
                  <a:gd name="T38" fmla="*/ 0 w 3874"/>
                  <a:gd name="T39" fmla="*/ 2397 h 2407"/>
                  <a:gd name="T40" fmla="*/ 0 w 3874"/>
                  <a:gd name="T41" fmla="*/ 1838 h 2407"/>
                  <a:gd name="T42" fmla="*/ 3870 w 3874"/>
                  <a:gd name="T43" fmla="*/ 1795 h 2407"/>
                  <a:gd name="T44" fmla="*/ 3399 w 3874"/>
                  <a:gd name="T45" fmla="*/ 1795 h 2407"/>
                  <a:gd name="T46" fmla="*/ 2951 w 3874"/>
                  <a:gd name="T47" fmla="*/ 1793 h 2407"/>
                  <a:gd name="T48" fmla="*/ 2951 w 3874"/>
                  <a:gd name="T49" fmla="*/ 1389 h 2407"/>
                  <a:gd name="T50" fmla="*/ 2895 w 3874"/>
                  <a:gd name="T51" fmla="*/ 1795 h 2407"/>
                  <a:gd name="T52" fmla="*/ 2170 w 3874"/>
                  <a:gd name="T53" fmla="*/ 1795 h 2407"/>
                  <a:gd name="T54" fmla="*/ 1910 w 3874"/>
                  <a:gd name="T55" fmla="*/ 1795 h 2407"/>
                  <a:gd name="T56" fmla="*/ 1274 w 3874"/>
                  <a:gd name="T57" fmla="*/ 1795 h 2407"/>
                  <a:gd name="T58" fmla="*/ 977 w 3874"/>
                  <a:gd name="T59" fmla="*/ 1785 h 2407"/>
                  <a:gd name="T60" fmla="*/ 977 w 3874"/>
                  <a:gd name="T61" fmla="*/ 1228 h 2407"/>
                  <a:gd name="T62" fmla="*/ 477 w 3874"/>
                  <a:gd name="T63" fmla="*/ 1795 h 2407"/>
                  <a:gd name="T64" fmla="*/ 0 w 3874"/>
                  <a:gd name="T65" fmla="*/ 1795 h 2407"/>
                  <a:gd name="T66" fmla="*/ 0 w 3874"/>
                  <a:gd name="T67" fmla="*/ 1238 h 2407"/>
                  <a:gd name="T68" fmla="*/ 3601 w 3874"/>
                  <a:gd name="T69" fmla="*/ 614 h 2407"/>
                  <a:gd name="T70" fmla="*/ 3452 w 3874"/>
                  <a:gd name="T71" fmla="*/ 1121 h 2407"/>
                  <a:gd name="T72" fmla="*/ 0 w 3874"/>
                  <a:gd name="T73" fmla="*/ 614 h 2407"/>
                  <a:gd name="T74" fmla="*/ 0 w 3874"/>
                  <a:gd name="T75" fmla="*/ 1180 h 2407"/>
                  <a:gd name="T76" fmla="*/ 0 w 3874"/>
                  <a:gd name="T77" fmla="*/ 999 h 2407"/>
                  <a:gd name="T78" fmla="*/ 2459 w 3874"/>
                  <a:gd name="T79" fmla="*/ 1181 h 2407"/>
                  <a:gd name="T80" fmla="*/ 2459 w 3874"/>
                  <a:gd name="T81" fmla="*/ 614 h 2407"/>
                  <a:gd name="T82" fmla="*/ 1472 w 3874"/>
                  <a:gd name="T83" fmla="*/ 1179 h 2407"/>
                  <a:gd name="T84" fmla="*/ 1950 w 3874"/>
                  <a:gd name="T85" fmla="*/ 614 h 2407"/>
                  <a:gd name="T86" fmla="*/ 486 w 3874"/>
                  <a:gd name="T87" fmla="*/ 1170 h 2407"/>
                  <a:gd name="T88" fmla="*/ 963 w 3874"/>
                  <a:gd name="T89" fmla="*/ 614 h 2407"/>
                  <a:gd name="T90" fmla="*/ 3874 w 3874"/>
                  <a:gd name="T91" fmla="*/ 567 h 2407"/>
                  <a:gd name="T92" fmla="*/ 3161 w 3874"/>
                  <a:gd name="T93" fmla="*/ 567 h 2407"/>
                  <a:gd name="T94" fmla="*/ 2958 w 3874"/>
                  <a:gd name="T95" fmla="*/ 507 h 2407"/>
                  <a:gd name="T96" fmla="*/ 2958 w 3874"/>
                  <a:gd name="T97" fmla="*/ 0 h 2407"/>
                  <a:gd name="T98" fmla="*/ 2450 w 3874"/>
                  <a:gd name="T99" fmla="*/ 0 h 2407"/>
                  <a:gd name="T100" fmla="*/ 2905 w 3874"/>
                  <a:gd name="T101" fmla="*/ 567 h 2407"/>
                  <a:gd name="T102" fmla="*/ 2079 w 3874"/>
                  <a:gd name="T103" fmla="*/ 567 h 2407"/>
                  <a:gd name="T104" fmla="*/ 1984 w 3874"/>
                  <a:gd name="T105" fmla="*/ 0 h 2407"/>
                  <a:gd name="T106" fmla="*/ 1918 w 3874"/>
                  <a:gd name="T107" fmla="*/ 0 h 2407"/>
                  <a:gd name="T108" fmla="*/ 1440 w 3874"/>
                  <a:gd name="T109" fmla="*/ 567 h 2407"/>
                  <a:gd name="T110" fmla="*/ 984 w 3874"/>
                  <a:gd name="T111" fmla="*/ 561 h 2407"/>
                  <a:gd name="T112" fmla="*/ 984 w 3874"/>
                  <a:gd name="T113" fmla="*/ 84 h 2407"/>
                  <a:gd name="T114" fmla="*/ 1394 w 3874"/>
                  <a:gd name="T115" fmla="*/ 0 h 2407"/>
                  <a:gd name="T116" fmla="*/ 933 w 3874"/>
                  <a:gd name="T117" fmla="*/ 567 h 2407"/>
                  <a:gd name="T118" fmla="*/ 3 w 3874"/>
                  <a:gd name="T119" fmla="*/ 567 h 2407"/>
                  <a:gd name="T120" fmla="*/ 0 w 3874"/>
                  <a:gd name="T121" fmla="*/ 226 h 2407"/>
                  <a:gd name="T122" fmla="*/ 0 w 3874"/>
                  <a:gd name="T123" fmla="*/ 0 h 2407"/>
                  <a:gd name="T124" fmla="*/ 926 w 3874"/>
                  <a:gd name="T125" fmla="*/ 0 h 2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74" h="2407">
                    <a:moveTo>
                      <a:pt x="2465" y="1838"/>
                    </a:moveTo>
                    <a:lnTo>
                      <a:pt x="2465" y="1838"/>
                    </a:lnTo>
                    <a:lnTo>
                      <a:pt x="2465" y="1838"/>
                    </a:lnTo>
                    <a:lnTo>
                      <a:pt x="2469" y="1838"/>
                    </a:lnTo>
                    <a:lnTo>
                      <a:pt x="2472" y="1838"/>
                    </a:lnTo>
                    <a:lnTo>
                      <a:pt x="2478" y="1838"/>
                    </a:lnTo>
                    <a:lnTo>
                      <a:pt x="2875" y="1838"/>
                    </a:lnTo>
                    <a:lnTo>
                      <a:pt x="2943" y="1838"/>
                    </a:lnTo>
                    <a:lnTo>
                      <a:pt x="3018" y="1838"/>
                    </a:lnTo>
                    <a:lnTo>
                      <a:pt x="3192" y="1838"/>
                    </a:lnTo>
                    <a:lnTo>
                      <a:pt x="3291" y="1838"/>
                    </a:lnTo>
                    <a:lnTo>
                      <a:pt x="3399" y="1838"/>
                    </a:lnTo>
                    <a:lnTo>
                      <a:pt x="3399" y="2407"/>
                    </a:lnTo>
                    <a:lnTo>
                      <a:pt x="3399" y="2407"/>
                    </a:lnTo>
                    <a:lnTo>
                      <a:pt x="3398" y="2407"/>
                    </a:lnTo>
                    <a:lnTo>
                      <a:pt x="3396" y="2407"/>
                    </a:lnTo>
                    <a:lnTo>
                      <a:pt x="3395" y="2407"/>
                    </a:lnTo>
                    <a:lnTo>
                      <a:pt x="3392" y="2407"/>
                    </a:lnTo>
                    <a:lnTo>
                      <a:pt x="3386" y="2407"/>
                    </a:lnTo>
                    <a:lnTo>
                      <a:pt x="2989" y="2407"/>
                    </a:lnTo>
                    <a:lnTo>
                      <a:pt x="2920" y="2407"/>
                    </a:lnTo>
                    <a:lnTo>
                      <a:pt x="2846" y="2407"/>
                    </a:lnTo>
                    <a:lnTo>
                      <a:pt x="2762" y="2407"/>
                    </a:lnTo>
                    <a:lnTo>
                      <a:pt x="2672" y="2407"/>
                    </a:lnTo>
                    <a:lnTo>
                      <a:pt x="2573" y="2407"/>
                    </a:lnTo>
                    <a:lnTo>
                      <a:pt x="2465" y="2407"/>
                    </a:lnTo>
                    <a:lnTo>
                      <a:pt x="2465" y="2407"/>
                    </a:lnTo>
                    <a:lnTo>
                      <a:pt x="2465" y="2406"/>
                    </a:lnTo>
                    <a:lnTo>
                      <a:pt x="2465" y="2347"/>
                    </a:lnTo>
                    <a:lnTo>
                      <a:pt x="2465" y="2324"/>
                    </a:lnTo>
                    <a:lnTo>
                      <a:pt x="2465" y="2297"/>
                    </a:lnTo>
                    <a:lnTo>
                      <a:pt x="2465" y="2000"/>
                    </a:lnTo>
                    <a:lnTo>
                      <a:pt x="2465" y="1923"/>
                    </a:lnTo>
                    <a:lnTo>
                      <a:pt x="2465" y="1838"/>
                    </a:lnTo>
                    <a:close/>
                    <a:moveTo>
                      <a:pt x="1478" y="1838"/>
                    </a:moveTo>
                    <a:lnTo>
                      <a:pt x="1478" y="1838"/>
                    </a:lnTo>
                    <a:lnTo>
                      <a:pt x="1478" y="1838"/>
                    </a:lnTo>
                    <a:lnTo>
                      <a:pt x="1482" y="1838"/>
                    </a:lnTo>
                    <a:lnTo>
                      <a:pt x="1485" y="1838"/>
                    </a:lnTo>
                    <a:lnTo>
                      <a:pt x="1491" y="1838"/>
                    </a:lnTo>
                    <a:lnTo>
                      <a:pt x="1888" y="1838"/>
                    </a:lnTo>
                    <a:lnTo>
                      <a:pt x="1956" y="1838"/>
                    </a:lnTo>
                    <a:lnTo>
                      <a:pt x="2031" y="1838"/>
                    </a:lnTo>
                    <a:lnTo>
                      <a:pt x="2205" y="1838"/>
                    </a:lnTo>
                    <a:lnTo>
                      <a:pt x="2304" y="1838"/>
                    </a:lnTo>
                    <a:lnTo>
                      <a:pt x="2412" y="1838"/>
                    </a:lnTo>
                    <a:lnTo>
                      <a:pt x="2412" y="2407"/>
                    </a:lnTo>
                    <a:lnTo>
                      <a:pt x="2412" y="2407"/>
                    </a:lnTo>
                    <a:lnTo>
                      <a:pt x="2411" y="2407"/>
                    </a:lnTo>
                    <a:lnTo>
                      <a:pt x="2410" y="2407"/>
                    </a:lnTo>
                    <a:lnTo>
                      <a:pt x="2408" y="2407"/>
                    </a:lnTo>
                    <a:lnTo>
                      <a:pt x="2405" y="2407"/>
                    </a:lnTo>
                    <a:lnTo>
                      <a:pt x="2399" y="2407"/>
                    </a:lnTo>
                    <a:lnTo>
                      <a:pt x="2002" y="2407"/>
                    </a:lnTo>
                    <a:lnTo>
                      <a:pt x="1933" y="2407"/>
                    </a:lnTo>
                    <a:lnTo>
                      <a:pt x="1859" y="2407"/>
                    </a:lnTo>
                    <a:lnTo>
                      <a:pt x="1775" y="2407"/>
                    </a:lnTo>
                    <a:lnTo>
                      <a:pt x="1685" y="2407"/>
                    </a:lnTo>
                    <a:lnTo>
                      <a:pt x="1586" y="2407"/>
                    </a:lnTo>
                    <a:lnTo>
                      <a:pt x="1478" y="2407"/>
                    </a:lnTo>
                    <a:lnTo>
                      <a:pt x="1478" y="2407"/>
                    </a:lnTo>
                    <a:lnTo>
                      <a:pt x="1478" y="2406"/>
                    </a:lnTo>
                    <a:lnTo>
                      <a:pt x="1478" y="2347"/>
                    </a:lnTo>
                    <a:lnTo>
                      <a:pt x="1478" y="2324"/>
                    </a:lnTo>
                    <a:lnTo>
                      <a:pt x="1478" y="2297"/>
                    </a:lnTo>
                    <a:lnTo>
                      <a:pt x="1478" y="2000"/>
                    </a:lnTo>
                    <a:lnTo>
                      <a:pt x="1478" y="1923"/>
                    </a:lnTo>
                    <a:lnTo>
                      <a:pt x="1478" y="1838"/>
                    </a:lnTo>
                    <a:close/>
                    <a:moveTo>
                      <a:pt x="491" y="1838"/>
                    </a:moveTo>
                    <a:lnTo>
                      <a:pt x="491" y="1838"/>
                    </a:lnTo>
                    <a:lnTo>
                      <a:pt x="491" y="1838"/>
                    </a:lnTo>
                    <a:lnTo>
                      <a:pt x="495" y="1838"/>
                    </a:lnTo>
                    <a:lnTo>
                      <a:pt x="499" y="1838"/>
                    </a:lnTo>
                    <a:lnTo>
                      <a:pt x="504" y="1838"/>
                    </a:lnTo>
                    <a:lnTo>
                      <a:pt x="902" y="1838"/>
                    </a:lnTo>
                    <a:lnTo>
                      <a:pt x="969" y="1838"/>
                    </a:lnTo>
                    <a:lnTo>
                      <a:pt x="1045" y="1838"/>
                    </a:lnTo>
                    <a:lnTo>
                      <a:pt x="1218" y="1838"/>
                    </a:lnTo>
                    <a:lnTo>
                      <a:pt x="1318" y="1838"/>
                    </a:lnTo>
                    <a:lnTo>
                      <a:pt x="1425" y="1838"/>
                    </a:lnTo>
                    <a:lnTo>
                      <a:pt x="1425" y="2407"/>
                    </a:lnTo>
                    <a:lnTo>
                      <a:pt x="1425" y="2407"/>
                    </a:lnTo>
                    <a:lnTo>
                      <a:pt x="1424" y="2407"/>
                    </a:lnTo>
                    <a:lnTo>
                      <a:pt x="1424" y="2407"/>
                    </a:lnTo>
                    <a:lnTo>
                      <a:pt x="1422" y="2407"/>
                    </a:lnTo>
                    <a:lnTo>
                      <a:pt x="1418" y="2407"/>
                    </a:lnTo>
                    <a:lnTo>
                      <a:pt x="1412" y="2407"/>
                    </a:lnTo>
                    <a:lnTo>
                      <a:pt x="1015" y="2407"/>
                    </a:lnTo>
                    <a:lnTo>
                      <a:pt x="946" y="2407"/>
                    </a:lnTo>
                    <a:lnTo>
                      <a:pt x="872" y="2407"/>
                    </a:lnTo>
                    <a:lnTo>
                      <a:pt x="788" y="2407"/>
                    </a:lnTo>
                    <a:lnTo>
                      <a:pt x="698" y="2407"/>
                    </a:lnTo>
                    <a:lnTo>
                      <a:pt x="599" y="2407"/>
                    </a:lnTo>
                    <a:lnTo>
                      <a:pt x="491" y="2407"/>
                    </a:lnTo>
                    <a:lnTo>
                      <a:pt x="491" y="2405"/>
                    </a:lnTo>
                    <a:lnTo>
                      <a:pt x="491" y="2401"/>
                    </a:lnTo>
                    <a:lnTo>
                      <a:pt x="491" y="2397"/>
                    </a:lnTo>
                    <a:lnTo>
                      <a:pt x="491" y="2347"/>
                    </a:lnTo>
                    <a:lnTo>
                      <a:pt x="491" y="2324"/>
                    </a:lnTo>
                    <a:lnTo>
                      <a:pt x="491" y="2297"/>
                    </a:lnTo>
                    <a:lnTo>
                      <a:pt x="491" y="2264"/>
                    </a:lnTo>
                    <a:lnTo>
                      <a:pt x="491" y="2225"/>
                    </a:lnTo>
                    <a:lnTo>
                      <a:pt x="491" y="1838"/>
                    </a:lnTo>
                    <a:close/>
                    <a:moveTo>
                      <a:pt x="3604" y="1838"/>
                    </a:moveTo>
                    <a:lnTo>
                      <a:pt x="3645" y="1838"/>
                    </a:lnTo>
                    <a:lnTo>
                      <a:pt x="3689" y="1838"/>
                    </a:lnTo>
                    <a:lnTo>
                      <a:pt x="3804" y="1838"/>
                    </a:lnTo>
                    <a:lnTo>
                      <a:pt x="3873" y="1838"/>
                    </a:lnTo>
                    <a:lnTo>
                      <a:pt x="3873" y="2407"/>
                    </a:lnTo>
                    <a:lnTo>
                      <a:pt x="3873" y="2407"/>
                    </a:lnTo>
                    <a:lnTo>
                      <a:pt x="3870" y="2407"/>
                    </a:lnTo>
                    <a:lnTo>
                      <a:pt x="3867" y="2407"/>
                    </a:lnTo>
                    <a:lnTo>
                      <a:pt x="3829" y="2407"/>
                    </a:lnTo>
                    <a:lnTo>
                      <a:pt x="3811" y="2407"/>
                    </a:lnTo>
                    <a:lnTo>
                      <a:pt x="3789" y="2407"/>
                    </a:lnTo>
                    <a:lnTo>
                      <a:pt x="3760" y="2407"/>
                    </a:lnTo>
                    <a:lnTo>
                      <a:pt x="3727" y="2407"/>
                    </a:lnTo>
                    <a:lnTo>
                      <a:pt x="3687" y="2407"/>
                    </a:lnTo>
                    <a:lnTo>
                      <a:pt x="3642" y="2407"/>
                    </a:lnTo>
                    <a:lnTo>
                      <a:pt x="3528" y="2407"/>
                    </a:lnTo>
                    <a:lnTo>
                      <a:pt x="3459" y="2407"/>
                    </a:lnTo>
                    <a:lnTo>
                      <a:pt x="3459" y="2405"/>
                    </a:lnTo>
                    <a:lnTo>
                      <a:pt x="3459" y="2401"/>
                    </a:lnTo>
                    <a:lnTo>
                      <a:pt x="3459" y="2397"/>
                    </a:lnTo>
                    <a:lnTo>
                      <a:pt x="3459" y="2347"/>
                    </a:lnTo>
                    <a:lnTo>
                      <a:pt x="3459" y="2324"/>
                    </a:lnTo>
                    <a:lnTo>
                      <a:pt x="3459" y="2297"/>
                    </a:lnTo>
                    <a:lnTo>
                      <a:pt x="3459" y="2264"/>
                    </a:lnTo>
                    <a:lnTo>
                      <a:pt x="3459" y="2225"/>
                    </a:lnTo>
                    <a:lnTo>
                      <a:pt x="3459" y="2000"/>
                    </a:lnTo>
                    <a:lnTo>
                      <a:pt x="3459" y="1923"/>
                    </a:lnTo>
                    <a:lnTo>
                      <a:pt x="3459" y="1838"/>
                    </a:lnTo>
                    <a:lnTo>
                      <a:pt x="3459" y="1838"/>
                    </a:lnTo>
                    <a:lnTo>
                      <a:pt x="3460" y="1838"/>
                    </a:lnTo>
                    <a:lnTo>
                      <a:pt x="3461" y="1838"/>
                    </a:lnTo>
                    <a:lnTo>
                      <a:pt x="3571" y="1838"/>
                    </a:lnTo>
                    <a:lnTo>
                      <a:pt x="3604" y="1838"/>
                    </a:lnTo>
                    <a:close/>
                    <a:moveTo>
                      <a:pt x="157" y="1838"/>
                    </a:moveTo>
                    <a:lnTo>
                      <a:pt x="201" y="1838"/>
                    </a:lnTo>
                    <a:lnTo>
                      <a:pt x="250" y="1838"/>
                    </a:lnTo>
                    <a:lnTo>
                      <a:pt x="373" y="1838"/>
                    </a:lnTo>
                    <a:lnTo>
                      <a:pt x="448" y="1838"/>
                    </a:lnTo>
                    <a:lnTo>
                      <a:pt x="448" y="2407"/>
                    </a:lnTo>
                    <a:lnTo>
                      <a:pt x="448" y="2407"/>
                    </a:lnTo>
                    <a:lnTo>
                      <a:pt x="445" y="2407"/>
                    </a:lnTo>
                    <a:lnTo>
                      <a:pt x="442" y="2407"/>
                    </a:lnTo>
                    <a:lnTo>
                      <a:pt x="402" y="2407"/>
                    </a:lnTo>
                    <a:lnTo>
                      <a:pt x="382" y="2407"/>
                    </a:lnTo>
                    <a:lnTo>
                      <a:pt x="357" y="2407"/>
                    </a:lnTo>
                    <a:lnTo>
                      <a:pt x="326" y="2407"/>
                    </a:lnTo>
                    <a:lnTo>
                      <a:pt x="291" y="2407"/>
                    </a:lnTo>
                    <a:lnTo>
                      <a:pt x="248" y="2407"/>
                    </a:lnTo>
                    <a:lnTo>
                      <a:pt x="197" y="2407"/>
                    </a:lnTo>
                    <a:lnTo>
                      <a:pt x="74" y="2407"/>
                    </a:lnTo>
                    <a:lnTo>
                      <a:pt x="0" y="2407"/>
                    </a:lnTo>
                    <a:lnTo>
                      <a:pt x="0" y="2407"/>
                    </a:lnTo>
                    <a:lnTo>
                      <a:pt x="0" y="2406"/>
                    </a:lnTo>
                    <a:lnTo>
                      <a:pt x="0" y="2405"/>
                    </a:lnTo>
                    <a:lnTo>
                      <a:pt x="0" y="2401"/>
                    </a:lnTo>
                    <a:lnTo>
                      <a:pt x="0" y="2397"/>
                    </a:lnTo>
                    <a:lnTo>
                      <a:pt x="0" y="2347"/>
                    </a:lnTo>
                    <a:lnTo>
                      <a:pt x="0" y="2324"/>
                    </a:lnTo>
                    <a:lnTo>
                      <a:pt x="0" y="2297"/>
                    </a:lnTo>
                    <a:lnTo>
                      <a:pt x="0" y="2264"/>
                    </a:lnTo>
                    <a:lnTo>
                      <a:pt x="0" y="2225"/>
                    </a:lnTo>
                    <a:lnTo>
                      <a:pt x="0" y="2000"/>
                    </a:lnTo>
                    <a:lnTo>
                      <a:pt x="0" y="1923"/>
                    </a:lnTo>
                    <a:lnTo>
                      <a:pt x="0" y="1838"/>
                    </a:lnTo>
                    <a:lnTo>
                      <a:pt x="0" y="1838"/>
                    </a:lnTo>
                    <a:lnTo>
                      <a:pt x="1" y="1838"/>
                    </a:lnTo>
                    <a:lnTo>
                      <a:pt x="2" y="1838"/>
                    </a:lnTo>
                    <a:lnTo>
                      <a:pt x="122" y="1838"/>
                    </a:lnTo>
                    <a:lnTo>
                      <a:pt x="157" y="1838"/>
                    </a:lnTo>
                    <a:close/>
                    <a:moveTo>
                      <a:pt x="2951" y="1228"/>
                    </a:moveTo>
                    <a:lnTo>
                      <a:pt x="3870" y="1228"/>
                    </a:lnTo>
                    <a:lnTo>
                      <a:pt x="3870" y="1795"/>
                    </a:lnTo>
                    <a:lnTo>
                      <a:pt x="3870" y="1795"/>
                    </a:lnTo>
                    <a:lnTo>
                      <a:pt x="3869" y="1795"/>
                    </a:lnTo>
                    <a:lnTo>
                      <a:pt x="3868" y="1795"/>
                    </a:lnTo>
                    <a:lnTo>
                      <a:pt x="3867" y="1795"/>
                    </a:lnTo>
                    <a:lnTo>
                      <a:pt x="3862" y="1795"/>
                    </a:lnTo>
                    <a:lnTo>
                      <a:pt x="3857" y="1795"/>
                    </a:lnTo>
                    <a:lnTo>
                      <a:pt x="3466" y="1795"/>
                    </a:lnTo>
                    <a:lnTo>
                      <a:pt x="3399" y="1795"/>
                    </a:lnTo>
                    <a:lnTo>
                      <a:pt x="3325" y="1795"/>
                    </a:lnTo>
                    <a:lnTo>
                      <a:pt x="3243" y="1795"/>
                    </a:lnTo>
                    <a:lnTo>
                      <a:pt x="3154" y="1795"/>
                    </a:lnTo>
                    <a:lnTo>
                      <a:pt x="3056" y="1795"/>
                    </a:lnTo>
                    <a:lnTo>
                      <a:pt x="2951" y="1795"/>
                    </a:lnTo>
                    <a:lnTo>
                      <a:pt x="2951" y="1795"/>
                    </a:lnTo>
                    <a:lnTo>
                      <a:pt x="2951" y="1794"/>
                    </a:lnTo>
                    <a:lnTo>
                      <a:pt x="2951" y="1793"/>
                    </a:lnTo>
                    <a:lnTo>
                      <a:pt x="2951" y="1789"/>
                    </a:lnTo>
                    <a:lnTo>
                      <a:pt x="2951" y="1785"/>
                    </a:lnTo>
                    <a:lnTo>
                      <a:pt x="2951" y="1735"/>
                    </a:lnTo>
                    <a:lnTo>
                      <a:pt x="2951" y="1712"/>
                    </a:lnTo>
                    <a:lnTo>
                      <a:pt x="2951" y="1685"/>
                    </a:lnTo>
                    <a:lnTo>
                      <a:pt x="2951" y="1652"/>
                    </a:lnTo>
                    <a:lnTo>
                      <a:pt x="2951" y="1613"/>
                    </a:lnTo>
                    <a:lnTo>
                      <a:pt x="2951" y="1389"/>
                    </a:lnTo>
                    <a:lnTo>
                      <a:pt x="2951" y="1312"/>
                    </a:lnTo>
                    <a:lnTo>
                      <a:pt x="2951" y="1228"/>
                    </a:lnTo>
                    <a:close/>
                    <a:moveTo>
                      <a:pt x="1964" y="1228"/>
                    </a:moveTo>
                    <a:lnTo>
                      <a:pt x="2898" y="1228"/>
                    </a:lnTo>
                    <a:lnTo>
                      <a:pt x="2898" y="1795"/>
                    </a:lnTo>
                    <a:lnTo>
                      <a:pt x="2898" y="1795"/>
                    </a:lnTo>
                    <a:lnTo>
                      <a:pt x="2896" y="1795"/>
                    </a:lnTo>
                    <a:lnTo>
                      <a:pt x="2895" y="1795"/>
                    </a:lnTo>
                    <a:lnTo>
                      <a:pt x="2893" y="1795"/>
                    </a:lnTo>
                    <a:lnTo>
                      <a:pt x="2889" y="1795"/>
                    </a:lnTo>
                    <a:lnTo>
                      <a:pt x="2885" y="1795"/>
                    </a:lnTo>
                    <a:lnTo>
                      <a:pt x="2488" y="1795"/>
                    </a:lnTo>
                    <a:lnTo>
                      <a:pt x="2419" y="1795"/>
                    </a:lnTo>
                    <a:lnTo>
                      <a:pt x="2343" y="1795"/>
                    </a:lnTo>
                    <a:lnTo>
                      <a:pt x="2261" y="1795"/>
                    </a:lnTo>
                    <a:lnTo>
                      <a:pt x="2170" y="1795"/>
                    </a:lnTo>
                    <a:lnTo>
                      <a:pt x="2072" y="1795"/>
                    </a:lnTo>
                    <a:lnTo>
                      <a:pt x="1964" y="1795"/>
                    </a:lnTo>
                    <a:lnTo>
                      <a:pt x="1964" y="1228"/>
                    </a:lnTo>
                    <a:close/>
                    <a:moveTo>
                      <a:pt x="977" y="1228"/>
                    </a:moveTo>
                    <a:lnTo>
                      <a:pt x="1911" y="1228"/>
                    </a:lnTo>
                    <a:lnTo>
                      <a:pt x="1911" y="1795"/>
                    </a:lnTo>
                    <a:lnTo>
                      <a:pt x="1911" y="1795"/>
                    </a:lnTo>
                    <a:lnTo>
                      <a:pt x="1910" y="1795"/>
                    </a:lnTo>
                    <a:lnTo>
                      <a:pt x="1908" y="1795"/>
                    </a:lnTo>
                    <a:lnTo>
                      <a:pt x="1906" y="1795"/>
                    </a:lnTo>
                    <a:lnTo>
                      <a:pt x="1903" y="1795"/>
                    </a:lnTo>
                    <a:lnTo>
                      <a:pt x="1898" y="1795"/>
                    </a:lnTo>
                    <a:lnTo>
                      <a:pt x="1501" y="1795"/>
                    </a:lnTo>
                    <a:lnTo>
                      <a:pt x="1432" y="1795"/>
                    </a:lnTo>
                    <a:lnTo>
                      <a:pt x="1357" y="1795"/>
                    </a:lnTo>
                    <a:lnTo>
                      <a:pt x="1274" y="1795"/>
                    </a:lnTo>
                    <a:lnTo>
                      <a:pt x="1183" y="1795"/>
                    </a:lnTo>
                    <a:lnTo>
                      <a:pt x="1085" y="1795"/>
                    </a:lnTo>
                    <a:lnTo>
                      <a:pt x="977" y="1795"/>
                    </a:lnTo>
                    <a:lnTo>
                      <a:pt x="977" y="1795"/>
                    </a:lnTo>
                    <a:lnTo>
                      <a:pt x="977" y="1794"/>
                    </a:lnTo>
                    <a:lnTo>
                      <a:pt x="977" y="1793"/>
                    </a:lnTo>
                    <a:lnTo>
                      <a:pt x="977" y="1789"/>
                    </a:lnTo>
                    <a:lnTo>
                      <a:pt x="977" y="1785"/>
                    </a:lnTo>
                    <a:lnTo>
                      <a:pt x="977" y="1735"/>
                    </a:lnTo>
                    <a:lnTo>
                      <a:pt x="977" y="1712"/>
                    </a:lnTo>
                    <a:lnTo>
                      <a:pt x="977" y="1685"/>
                    </a:lnTo>
                    <a:lnTo>
                      <a:pt x="977" y="1652"/>
                    </a:lnTo>
                    <a:lnTo>
                      <a:pt x="977" y="1613"/>
                    </a:lnTo>
                    <a:lnTo>
                      <a:pt x="977" y="1389"/>
                    </a:lnTo>
                    <a:lnTo>
                      <a:pt x="977" y="1312"/>
                    </a:lnTo>
                    <a:lnTo>
                      <a:pt x="977" y="1228"/>
                    </a:lnTo>
                    <a:close/>
                    <a:moveTo>
                      <a:pt x="0" y="1228"/>
                    </a:moveTo>
                    <a:lnTo>
                      <a:pt x="933" y="1228"/>
                    </a:lnTo>
                    <a:lnTo>
                      <a:pt x="933" y="1795"/>
                    </a:lnTo>
                    <a:lnTo>
                      <a:pt x="826" y="1795"/>
                    </a:lnTo>
                    <a:lnTo>
                      <a:pt x="727" y="1795"/>
                    </a:lnTo>
                    <a:lnTo>
                      <a:pt x="636" y="1795"/>
                    </a:lnTo>
                    <a:lnTo>
                      <a:pt x="553" y="1795"/>
                    </a:lnTo>
                    <a:lnTo>
                      <a:pt x="477" y="1795"/>
                    </a:lnTo>
                    <a:lnTo>
                      <a:pt x="410" y="1795"/>
                    </a:lnTo>
                    <a:lnTo>
                      <a:pt x="13" y="1795"/>
                    </a:lnTo>
                    <a:lnTo>
                      <a:pt x="7" y="1795"/>
                    </a:lnTo>
                    <a:lnTo>
                      <a:pt x="3" y="1795"/>
                    </a:lnTo>
                    <a:lnTo>
                      <a:pt x="1" y="1795"/>
                    </a:lnTo>
                    <a:lnTo>
                      <a:pt x="0" y="1795"/>
                    </a:lnTo>
                    <a:lnTo>
                      <a:pt x="0" y="1795"/>
                    </a:lnTo>
                    <a:lnTo>
                      <a:pt x="0" y="1795"/>
                    </a:lnTo>
                    <a:lnTo>
                      <a:pt x="0" y="1710"/>
                    </a:lnTo>
                    <a:lnTo>
                      <a:pt x="0" y="1634"/>
                    </a:lnTo>
                    <a:lnTo>
                      <a:pt x="0" y="1410"/>
                    </a:lnTo>
                    <a:lnTo>
                      <a:pt x="0" y="1370"/>
                    </a:lnTo>
                    <a:lnTo>
                      <a:pt x="0" y="1339"/>
                    </a:lnTo>
                    <a:lnTo>
                      <a:pt x="0" y="1310"/>
                    </a:lnTo>
                    <a:lnTo>
                      <a:pt x="0" y="1289"/>
                    </a:lnTo>
                    <a:lnTo>
                      <a:pt x="0" y="1238"/>
                    </a:lnTo>
                    <a:lnTo>
                      <a:pt x="0" y="1233"/>
                    </a:lnTo>
                    <a:lnTo>
                      <a:pt x="0" y="1231"/>
                    </a:lnTo>
                    <a:lnTo>
                      <a:pt x="0" y="1228"/>
                    </a:lnTo>
                    <a:lnTo>
                      <a:pt x="0" y="1228"/>
                    </a:lnTo>
                    <a:lnTo>
                      <a:pt x="0" y="1228"/>
                    </a:lnTo>
                    <a:close/>
                    <a:moveTo>
                      <a:pt x="3452" y="614"/>
                    </a:moveTo>
                    <a:lnTo>
                      <a:pt x="3567" y="614"/>
                    </a:lnTo>
                    <a:lnTo>
                      <a:pt x="3601" y="614"/>
                    </a:lnTo>
                    <a:lnTo>
                      <a:pt x="3641" y="614"/>
                    </a:lnTo>
                    <a:lnTo>
                      <a:pt x="3874" y="614"/>
                    </a:lnTo>
                    <a:lnTo>
                      <a:pt x="3874" y="1181"/>
                    </a:lnTo>
                    <a:lnTo>
                      <a:pt x="3452" y="1181"/>
                    </a:lnTo>
                    <a:lnTo>
                      <a:pt x="3452" y="1179"/>
                    </a:lnTo>
                    <a:lnTo>
                      <a:pt x="3452" y="1175"/>
                    </a:lnTo>
                    <a:lnTo>
                      <a:pt x="3452" y="1170"/>
                    </a:lnTo>
                    <a:lnTo>
                      <a:pt x="3452" y="1121"/>
                    </a:lnTo>
                    <a:lnTo>
                      <a:pt x="3452" y="1098"/>
                    </a:lnTo>
                    <a:lnTo>
                      <a:pt x="3452" y="1071"/>
                    </a:lnTo>
                    <a:lnTo>
                      <a:pt x="3452" y="1038"/>
                    </a:lnTo>
                    <a:lnTo>
                      <a:pt x="3452" y="999"/>
                    </a:lnTo>
                    <a:lnTo>
                      <a:pt x="3452" y="775"/>
                    </a:lnTo>
                    <a:lnTo>
                      <a:pt x="3452" y="698"/>
                    </a:lnTo>
                    <a:lnTo>
                      <a:pt x="3452" y="614"/>
                    </a:lnTo>
                    <a:close/>
                    <a:moveTo>
                      <a:pt x="0" y="614"/>
                    </a:moveTo>
                    <a:lnTo>
                      <a:pt x="119" y="614"/>
                    </a:lnTo>
                    <a:lnTo>
                      <a:pt x="156" y="614"/>
                    </a:lnTo>
                    <a:lnTo>
                      <a:pt x="197" y="614"/>
                    </a:lnTo>
                    <a:lnTo>
                      <a:pt x="442" y="614"/>
                    </a:lnTo>
                    <a:lnTo>
                      <a:pt x="442" y="1181"/>
                    </a:lnTo>
                    <a:lnTo>
                      <a:pt x="0" y="1181"/>
                    </a:lnTo>
                    <a:lnTo>
                      <a:pt x="0" y="1181"/>
                    </a:lnTo>
                    <a:lnTo>
                      <a:pt x="0" y="1180"/>
                    </a:lnTo>
                    <a:lnTo>
                      <a:pt x="0" y="1179"/>
                    </a:lnTo>
                    <a:lnTo>
                      <a:pt x="0" y="1175"/>
                    </a:lnTo>
                    <a:lnTo>
                      <a:pt x="0" y="1170"/>
                    </a:lnTo>
                    <a:lnTo>
                      <a:pt x="0" y="1121"/>
                    </a:lnTo>
                    <a:lnTo>
                      <a:pt x="0" y="1098"/>
                    </a:lnTo>
                    <a:lnTo>
                      <a:pt x="0" y="1071"/>
                    </a:lnTo>
                    <a:lnTo>
                      <a:pt x="0" y="1038"/>
                    </a:lnTo>
                    <a:lnTo>
                      <a:pt x="0" y="999"/>
                    </a:lnTo>
                    <a:lnTo>
                      <a:pt x="0" y="775"/>
                    </a:lnTo>
                    <a:lnTo>
                      <a:pt x="0" y="698"/>
                    </a:lnTo>
                    <a:lnTo>
                      <a:pt x="0" y="614"/>
                    </a:lnTo>
                    <a:close/>
                    <a:moveTo>
                      <a:pt x="2937" y="614"/>
                    </a:moveTo>
                    <a:lnTo>
                      <a:pt x="3012" y="614"/>
                    </a:lnTo>
                    <a:lnTo>
                      <a:pt x="3393" y="614"/>
                    </a:lnTo>
                    <a:lnTo>
                      <a:pt x="3393" y="1181"/>
                    </a:lnTo>
                    <a:lnTo>
                      <a:pt x="2459" y="1181"/>
                    </a:lnTo>
                    <a:lnTo>
                      <a:pt x="2459" y="1181"/>
                    </a:lnTo>
                    <a:lnTo>
                      <a:pt x="2459" y="1180"/>
                    </a:lnTo>
                    <a:lnTo>
                      <a:pt x="2459" y="1121"/>
                    </a:lnTo>
                    <a:lnTo>
                      <a:pt x="2459" y="1098"/>
                    </a:lnTo>
                    <a:lnTo>
                      <a:pt x="2459" y="1071"/>
                    </a:lnTo>
                    <a:lnTo>
                      <a:pt x="2459" y="775"/>
                    </a:lnTo>
                    <a:lnTo>
                      <a:pt x="2459" y="698"/>
                    </a:lnTo>
                    <a:lnTo>
                      <a:pt x="2459" y="614"/>
                    </a:lnTo>
                    <a:lnTo>
                      <a:pt x="2869" y="614"/>
                    </a:lnTo>
                    <a:lnTo>
                      <a:pt x="2937" y="614"/>
                    </a:lnTo>
                    <a:close/>
                    <a:moveTo>
                      <a:pt x="1950" y="614"/>
                    </a:moveTo>
                    <a:lnTo>
                      <a:pt x="2025" y="614"/>
                    </a:lnTo>
                    <a:lnTo>
                      <a:pt x="2406" y="614"/>
                    </a:lnTo>
                    <a:lnTo>
                      <a:pt x="2406" y="1181"/>
                    </a:lnTo>
                    <a:lnTo>
                      <a:pt x="1472" y="1181"/>
                    </a:lnTo>
                    <a:lnTo>
                      <a:pt x="1472" y="1179"/>
                    </a:lnTo>
                    <a:lnTo>
                      <a:pt x="1472" y="1175"/>
                    </a:lnTo>
                    <a:lnTo>
                      <a:pt x="1472" y="1170"/>
                    </a:lnTo>
                    <a:lnTo>
                      <a:pt x="1472" y="1071"/>
                    </a:lnTo>
                    <a:lnTo>
                      <a:pt x="1472" y="1038"/>
                    </a:lnTo>
                    <a:lnTo>
                      <a:pt x="1472" y="999"/>
                    </a:lnTo>
                    <a:lnTo>
                      <a:pt x="1472" y="614"/>
                    </a:lnTo>
                    <a:lnTo>
                      <a:pt x="1882" y="614"/>
                    </a:lnTo>
                    <a:lnTo>
                      <a:pt x="1950" y="614"/>
                    </a:lnTo>
                    <a:close/>
                    <a:moveTo>
                      <a:pt x="963" y="614"/>
                    </a:moveTo>
                    <a:lnTo>
                      <a:pt x="1039" y="614"/>
                    </a:lnTo>
                    <a:lnTo>
                      <a:pt x="1419" y="614"/>
                    </a:lnTo>
                    <a:lnTo>
                      <a:pt x="1419" y="1181"/>
                    </a:lnTo>
                    <a:lnTo>
                      <a:pt x="486" y="1181"/>
                    </a:lnTo>
                    <a:lnTo>
                      <a:pt x="486" y="1179"/>
                    </a:lnTo>
                    <a:lnTo>
                      <a:pt x="486" y="1175"/>
                    </a:lnTo>
                    <a:lnTo>
                      <a:pt x="486" y="1170"/>
                    </a:lnTo>
                    <a:lnTo>
                      <a:pt x="486" y="1121"/>
                    </a:lnTo>
                    <a:lnTo>
                      <a:pt x="486" y="1098"/>
                    </a:lnTo>
                    <a:lnTo>
                      <a:pt x="486" y="1071"/>
                    </a:lnTo>
                    <a:lnTo>
                      <a:pt x="486" y="1038"/>
                    </a:lnTo>
                    <a:lnTo>
                      <a:pt x="486" y="999"/>
                    </a:lnTo>
                    <a:lnTo>
                      <a:pt x="486" y="614"/>
                    </a:lnTo>
                    <a:lnTo>
                      <a:pt x="896" y="614"/>
                    </a:lnTo>
                    <a:lnTo>
                      <a:pt x="963" y="614"/>
                    </a:lnTo>
                    <a:close/>
                    <a:moveTo>
                      <a:pt x="3427" y="0"/>
                    </a:moveTo>
                    <a:lnTo>
                      <a:pt x="3502" y="0"/>
                    </a:lnTo>
                    <a:lnTo>
                      <a:pt x="3582" y="0"/>
                    </a:lnTo>
                    <a:lnTo>
                      <a:pt x="3672" y="0"/>
                    </a:lnTo>
                    <a:lnTo>
                      <a:pt x="3769" y="0"/>
                    </a:lnTo>
                    <a:lnTo>
                      <a:pt x="3874" y="0"/>
                    </a:lnTo>
                    <a:lnTo>
                      <a:pt x="3874" y="567"/>
                    </a:lnTo>
                    <a:lnTo>
                      <a:pt x="3874" y="567"/>
                    </a:lnTo>
                    <a:lnTo>
                      <a:pt x="3874" y="567"/>
                    </a:lnTo>
                    <a:lnTo>
                      <a:pt x="3870" y="567"/>
                    </a:lnTo>
                    <a:lnTo>
                      <a:pt x="3867" y="567"/>
                    </a:lnTo>
                    <a:lnTo>
                      <a:pt x="3862" y="567"/>
                    </a:lnTo>
                    <a:lnTo>
                      <a:pt x="3472" y="567"/>
                    </a:lnTo>
                    <a:lnTo>
                      <a:pt x="3406" y="567"/>
                    </a:lnTo>
                    <a:lnTo>
                      <a:pt x="3331" y="567"/>
                    </a:lnTo>
                    <a:lnTo>
                      <a:pt x="3161" y="567"/>
                    </a:lnTo>
                    <a:lnTo>
                      <a:pt x="3064" y="567"/>
                    </a:lnTo>
                    <a:lnTo>
                      <a:pt x="2958" y="567"/>
                    </a:lnTo>
                    <a:lnTo>
                      <a:pt x="2958" y="567"/>
                    </a:lnTo>
                    <a:lnTo>
                      <a:pt x="2958" y="566"/>
                    </a:lnTo>
                    <a:lnTo>
                      <a:pt x="2958" y="565"/>
                    </a:lnTo>
                    <a:lnTo>
                      <a:pt x="2958" y="561"/>
                    </a:lnTo>
                    <a:lnTo>
                      <a:pt x="2958" y="556"/>
                    </a:lnTo>
                    <a:lnTo>
                      <a:pt x="2958" y="507"/>
                    </a:lnTo>
                    <a:lnTo>
                      <a:pt x="2958" y="484"/>
                    </a:lnTo>
                    <a:lnTo>
                      <a:pt x="2958" y="457"/>
                    </a:lnTo>
                    <a:lnTo>
                      <a:pt x="2958" y="424"/>
                    </a:lnTo>
                    <a:lnTo>
                      <a:pt x="2958" y="385"/>
                    </a:lnTo>
                    <a:lnTo>
                      <a:pt x="2958" y="161"/>
                    </a:lnTo>
                    <a:lnTo>
                      <a:pt x="2958" y="84"/>
                    </a:lnTo>
                    <a:lnTo>
                      <a:pt x="2958" y="0"/>
                    </a:lnTo>
                    <a:lnTo>
                      <a:pt x="2958" y="0"/>
                    </a:lnTo>
                    <a:lnTo>
                      <a:pt x="2959" y="0"/>
                    </a:lnTo>
                    <a:lnTo>
                      <a:pt x="2960" y="0"/>
                    </a:lnTo>
                    <a:lnTo>
                      <a:pt x="2961" y="0"/>
                    </a:lnTo>
                    <a:lnTo>
                      <a:pt x="2965" y="0"/>
                    </a:lnTo>
                    <a:lnTo>
                      <a:pt x="2971" y="0"/>
                    </a:lnTo>
                    <a:lnTo>
                      <a:pt x="3361" y="0"/>
                    </a:lnTo>
                    <a:lnTo>
                      <a:pt x="3427" y="0"/>
                    </a:lnTo>
                    <a:close/>
                    <a:moveTo>
                      <a:pt x="2450" y="0"/>
                    </a:moveTo>
                    <a:lnTo>
                      <a:pt x="2525" y="0"/>
                    </a:lnTo>
                    <a:lnTo>
                      <a:pt x="2608" y="0"/>
                    </a:lnTo>
                    <a:lnTo>
                      <a:pt x="2698" y="0"/>
                    </a:lnTo>
                    <a:lnTo>
                      <a:pt x="2797" y="0"/>
                    </a:lnTo>
                    <a:lnTo>
                      <a:pt x="2905" y="0"/>
                    </a:lnTo>
                    <a:lnTo>
                      <a:pt x="2905" y="567"/>
                    </a:lnTo>
                    <a:lnTo>
                      <a:pt x="2905" y="567"/>
                    </a:lnTo>
                    <a:lnTo>
                      <a:pt x="2905" y="567"/>
                    </a:lnTo>
                    <a:lnTo>
                      <a:pt x="2901" y="567"/>
                    </a:lnTo>
                    <a:lnTo>
                      <a:pt x="2898" y="567"/>
                    </a:lnTo>
                    <a:lnTo>
                      <a:pt x="2892" y="567"/>
                    </a:lnTo>
                    <a:lnTo>
                      <a:pt x="2496" y="567"/>
                    </a:lnTo>
                    <a:lnTo>
                      <a:pt x="2427" y="567"/>
                    </a:lnTo>
                    <a:lnTo>
                      <a:pt x="2352" y="567"/>
                    </a:lnTo>
                    <a:lnTo>
                      <a:pt x="2178" y="567"/>
                    </a:lnTo>
                    <a:lnTo>
                      <a:pt x="2079" y="567"/>
                    </a:lnTo>
                    <a:lnTo>
                      <a:pt x="1971" y="567"/>
                    </a:lnTo>
                    <a:lnTo>
                      <a:pt x="1971" y="0"/>
                    </a:lnTo>
                    <a:lnTo>
                      <a:pt x="1971" y="0"/>
                    </a:lnTo>
                    <a:lnTo>
                      <a:pt x="1972" y="0"/>
                    </a:lnTo>
                    <a:lnTo>
                      <a:pt x="1973" y="0"/>
                    </a:lnTo>
                    <a:lnTo>
                      <a:pt x="1976" y="0"/>
                    </a:lnTo>
                    <a:lnTo>
                      <a:pt x="1979" y="0"/>
                    </a:lnTo>
                    <a:lnTo>
                      <a:pt x="1984" y="0"/>
                    </a:lnTo>
                    <a:lnTo>
                      <a:pt x="2381" y="0"/>
                    </a:lnTo>
                    <a:lnTo>
                      <a:pt x="2450" y="0"/>
                    </a:lnTo>
                    <a:close/>
                    <a:moveTo>
                      <a:pt x="1463" y="0"/>
                    </a:moveTo>
                    <a:lnTo>
                      <a:pt x="1539" y="0"/>
                    </a:lnTo>
                    <a:lnTo>
                      <a:pt x="1621" y="0"/>
                    </a:lnTo>
                    <a:lnTo>
                      <a:pt x="1712" y="0"/>
                    </a:lnTo>
                    <a:lnTo>
                      <a:pt x="1810" y="0"/>
                    </a:lnTo>
                    <a:lnTo>
                      <a:pt x="1918" y="0"/>
                    </a:lnTo>
                    <a:lnTo>
                      <a:pt x="1918" y="567"/>
                    </a:lnTo>
                    <a:lnTo>
                      <a:pt x="1918" y="567"/>
                    </a:lnTo>
                    <a:lnTo>
                      <a:pt x="1918" y="567"/>
                    </a:lnTo>
                    <a:lnTo>
                      <a:pt x="1914" y="567"/>
                    </a:lnTo>
                    <a:lnTo>
                      <a:pt x="1911" y="567"/>
                    </a:lnTo>
                    <a:lnTo>
                      <a:pt x="1905" y="567"/>
                    </a:lnTo>
                    <a:lnTo>
                      <a:pt x="1509" y="567"/>
                    </a:lnTo>
                    <a:lnTo>
                      <a:pt x="1440" y="567"/>
                    </a:lnTo>
                    <a:lnTo>
                      <a:pt x="1365" y="567"/>
                    </a:lnTo>
                    <a:lnTo>
                      <a:pt x="1191" y="567"/>
                    </a:lnTo>
                    <a:lnTo>
                      <a:pt x="1092" y="567"/>
                    </a:lnTo>
                    <a:lnTo>
                      <a:pt x="984" y="567"/>
                    </a:lnTo>
                    <a:lnTo>
                      <a:pt x="984" y="567"/>
                    </a:lnTo>
                    <a:lnTo>
                      <a:pt x="984" y="566"/>
                    </a:lnTo>
                    <a:lnTo>
                      <a:pt x="984" y="565"/>
                    </a:lnTo>
                    <a:lnTo>
                      <a:pt x="984" y="561"/>
                    </a:lnTo>
                    <a:lnTo>
                      <a:pt x="984" y="556"/>
                    </a:lnTo>
                    <a:lnTo>
                      <a:pt x="984" y="507"/>
                    </a:lnTo>
                    <a:lnTo>
                      <a:pt x="984" y="484"/>
                    </a:lnTo>
                    <a:lnTo>
                      <a:pt x="984" y="457"/>
                    </a:lnTo>
                    <a:lnTo>
                      <a:pt x="984" y="424"/>
                    </a:lnTo>
                    <a:lnTo>
                      <a:pt x="984" y="385"/>
                    </a:lnTo>
                    <a:lnTo>
                      <a:pt x="984" y="161"/>
                    </a:lnTo>
                    <a:lnTo>
                      <a:pt x="984" y="84"/>
                    </a:lnTo>
                    <a:lnTo>
                      <a:pt x="984" y="0"/>
                    </a:lnTo>
                    <a:lnTo>
                      <a:pt x="984" y="0"/>
                    </a:lnTo>
                    <a:lnTo>
                      <a:pt x="985" y="0"/>
                    </a:lnTo>
                    <a:lnTo>
                      <a:pt x="987" y="0"/>
                    </a:lnTo>
                    <a:lnTo>
                      <a:pt x="989" y="0"/>
                    </a:lnTo>
                    <a:lnTo>
                      <a:pt x="993" y="0"/>
                    </a:lnTo>
                    <a:lnTo>
                      <a:pt x="997" y="0"/>
                    </a:lnTo>
                    <a:lnTo>
                      <a:pt x="1394" y="0"/>
                    </a:lnTo>
                    <a:lnTo>
                      <a:pt x="1463" y="0"/>
                    </a:lnTo>
                    <a:close/>
                    <a:moveTo>
                      <a:pt x="926" y="0"/>
                    </a:moveTo>
                    <a:lnTo>
                      <a:pt x="930" y="0"/>
                    </a:lnTo>
                    <a:lnTo>
                      <a:pt x="932" y="0"/>
                    </a:lnTo>
                    <a:lnTo>
                      <a:pt x="933" y="0"/>
                    </a:lnTo>
                    <a:lnTo>
                      <a:pt x="933" y="0"/>
                    </a:lnTo>
                    <a:lnTo>
                      <a:pt x="933" y="0"/>
                    </a:lnTo>
                    <a:lnTo>
                      <a:pt x="933" y="567"/>
                    </a:lnTo>
                    <a:lnTo>
                      <a:pt x="826" y="567"/>
                    </a:lnTo>
                    <a:lnTo>
                      <a:pt x="727" y="567"/>
                    </a:lnTo>
                    <a:lnTo>
                      <a:pt x="553" y="567"/>
                    </a:lnTo>
                    <a:lnTo>
                      <a:pt x="477" y="567"/>
                    </a:lnTo>
                    <a:lnTo>
                      <a:pt x="410" y="567"/>
                    </a:lnTo>
                    <a:lnTo>
                      <a:pt x="13" y="567"/>
                    </a:lnTo>
                    <a:lnTo>
                      <a:pt x="7" y="567"/>
                    </a:lnTo>
                    <a:lnTo>
                      <a:pt x="3" y="567"/>
                    </a:lnTo>
                    <a:lnTo>
                      <a:pt x="0" y="567"/>
                    </a:lnTo>
                    <a:lnTo>
                      <a:pt x="0" y="567"/>
                    </a:lnTo>
                    <a:lnTo>
                      <a:pt x="0" y="567"/>
                    </a:lnTo>
                    <a:lnTo>
                      <a:pt x="0" y="482"/>
                    </a:lnTo>
                    <a:lnTo>
                      <a:pt x="0" y="406"/>
                    </a:lnTo>
                    <a:lnTo>
                      <a:pt x="0" y="338"/>
                    </a:lnTo>
                    <a:lnTo>
                      <a:pt x="0" y="278"/>
                    </a:lnTo>
                    <a:lnTo>
                      <a:pt x="0" y="226"/>
                    </a:lnTo>
                    <a:lnTo>
                      <a:pt x="0" y="83"/>
                    </a:lnTo>
                    <a:lnTo>
                      <a:pt x="0" y="60"/>
                    </a:lnTo>
                    <a:lnTo>
                      <a:pt x="0" y="41"/>
                    </a:lnTo>
                    <a:lnTo>
                      <a:pt x="0" y="28"/>
                    </a:lnTo>
                    <a:lnTo>
                      <a:pt x="0" y="18"/>
                    </a:lnTo>
                    <a:lnTo>
                      <a:pt x="0" y="0"/>
                    </a:lnTo>
                    <a:lnTo>
                      <a:pt x="0" y="0"/>
                    </a:lnTo>
                    <a:lnTo>
                      <a:pt x="0" y="0"/>
                    </a:lnTo>
                    <a:lnTo>
                      <a:pt x="107" y="0"/>
                    </a:lnTo>
                    <a:lnTo>
                      <a:pt x="207" y="0"/>
                    </a:lnTo>
                    <a:lnTo>
                      <a:pt x="298" y="0"/>
                    </a:lnTo>
                    <a:lnTo>
                      <a:pt x="380" y="0"/>
                    </a:lnTo>
                    <a:lnTo>
                      <a:pt x="456" y="0"/>
                    </a:lnTo>
                    <a:lnTo>
                      <a:pt x="523" y="0"/>
                    </a:lnTo>
                    <a:lnTo>
                      <a:pt x="920" y="0"/>
                    </a:lnTo>
                    <a:lnTo>
                      <a:pt x="926"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grpSp>
          <p:nvGrpSpPr>
            <p:cNvPr id="211" name="Group 210"/>
            <p:cNvGrpSpPr/>
            <p:nvPr/>
          </p:nvGrpSpPr>
          <p:grpSpPr>
            <a:xfrm>
              <a:off x="9150796" y="4239368"/>
              <a:ext cx="2844550" cy="1268853"/>
              <a:chOff x="9150796" y="3988652"/>
              <a:chExt cx="2844550" cy="1268853"/>
            </a:xfrm>
          </p:grpSpPr>
          <p:grpSp>
            <p:nvGrpSpPr>
              <p:cNvPr id="212" name="Group 211"/>
              <p:cNvGrpSpPr/>
              <p:nvPr/>
            </p:nvGrpSpPr>
            <p:grpSpPr>
              <a:xfrm>
                <a:off x="9150796" y="3988652"/>
                <a:ext cx="2844550" cy="1268853"/>
                <a:chOff x="9074596" y="3941027"/>
                <a:chExt cx="2844550" cy="1268853"/>
              </a:xfrm>
            </p:grpSpPr>
            <p:grpSp>
              <p:nvGrpSpPr>
                <p:cNvPr id="217" name="Group 216"/>
                <p:cNvGrpSpPr/>
                <p:nvPr/>
              </p:nvGrpSpPr>
              <p:grpSpPr>
                <a:xfrm>
                  <a:off x="11071511" y="3941027"/>
                  <a:ext cx="847635" cy="1268853"/>
                  <a:chOff x="8665731" y="2355872"/>
                  <a:chExt cx="847635" cy="1268853"/>
                </a:xfrm>
              </p:grpSpPr>
              <p:grpSp>
                <p:nvGrpSpPr>
                  <p:cNvPr id="222" name="Group 221"/>
                  <p:cNvGrpSpPr/>
                  <p:nvPr/>
                </p:nvGrpSpPr>
                <p:grpSpPr>
                  <a:xfrm>
                    <a:off x="8665731" y="2445236"/>
                    <a:ext cx="847635" cy="1179489"/>
                    <a:chOff x="9378404" y="3512012"/>
                    <a:chExt cx="704613" cy="980474"/>
                  </a:xfrm>
                </p:grpSpPr>
                <p:sp>
                  <p:nvSpPr>
                    <p:cNvPr id="224" name="Rectangle 223"/>
                    <p:cNvSpPr/>
                    <p:nvPr/>
                  </p:nvSpPr>
                  <p:spPr>
                    <a:xfrm>
                      <a:off x="9536434" y="4304101"/>
                      <a:ext cx="546583" cy="188385"/>
                    </a:xfrm>
                    <a:prstGeom prst="rect">
                      <a:avLst/>
                    </a:prstGeom>
                    <a:noFill/>
                    <a:ln>
                      <a:noFill/>
                    </a:ln>
                  </p:spPr>
                  <p:txBody>
                    <a:bodyPr wrap="square" lIns="0" tIns="0" rIns="0" bIns="0" anchor="ctr">
                      <a:spAutoFit/>
                    </a:bodyPr>
                    <a:lstStyle/>
                    <a:p>
                      <a:pPr marL="0" marR="0" lvl="0" indent="0" algn="ctr" defTabSz="1118323" eaLnBrk="1" fontAlgn="base" latinLnBrk="0" hangingPunct="1">
                        <a:lnSpc>
                          <a:spcPct val="100000"/>
                        </a:lnSpc>
                        <a:spcBef>
                          <a:spcPts val="0"/>
                        </a:spcBef>
                        <a:spcAft>
                          <a:spcPct val="0"/>
                        </a:spcAft>
                        <a:buClrTx/>
                        <a:buSzTx/>
                        <a:buFontTx/>
                        <a:buNone/>
                        <a:tabLst/>
                        <a:defRPr/>
                      </a:pPr>
                      <a:r>
                        <a:rPr kumimoji="0" lang="en-US" sz="1224" b="0" i="0" u="none" strike="noStrike" kern="0" cap="none" spc="0" normalizeH="0" baseline="0" noProof="0" dirty="0" smtClean="0">
                          <a:ln>
                            <a:solidFill>
                              <a:srgbClr val="FFFFFF">
                                <a:alpha val="0"/>
                              </a:srgbClr>
                            </a:solidFill>
                          </a:ln>
                          <a:solidFill>
                            <a:srgbClr val="FF8C00"/>
                          </a:solidFill>
                          <a:effectLst/>
                          <a:uLnTx/>
                          <a:uFillTx/>
                          <a:latin typeface="Segoe"/>
                        </a:rPr>
                        <a:t>Files</a:t>
                      </a:r>
                    </a:p>
                  </p:txBody>
                </p:sp>
                <p:grpSp>
                  <p:nvGrpSpPr>
                    <p:cNvPr id="225" name="Group 224"/>
                    <p:cNvGrpSpPr>
                      <a:grpSpLocks noChangeAspect="1"/>
                    </p:cNvGrpSpPr>
                    <p:nvPr/>
                  </p:nvGrpSpPr>
                  <p:grpSpPr>
                    <a:xfrm>
                      <a:off x="9378404" y="3512012"/>
                      <a:ext cx="624573" cy="721126"/>
                      <a:chOff x="2484438" y="3657600"/>
                      <a:chExt cx="985837" cy="1138238"/>
                    </a:xfrm>
                  </p:grpSpPr>
                  <p:sp>
                    <p:nvSpPr>
                      <p:cNvPr id="226" name="AutoShape 7"/>
                      <p:cNvSpPr>
                        <a:spLocks noChangeAspect="1" noChangeArrowheads="1" noTextEdit="1"/>
                      </p:cNvSpPr>
                      <p:nvPr/>
                    </p:nvSpPr>
                    <p:spPr bwMode="auto">
                      <a:xfrm>
                        <a:off x="2484438" y="3657600"/>
                        <a:ext cx="985837" cy="1138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505050"/>
                          </a:solidFill>
                          <a:effectLst/>
                          <a:uLnTx/>
                          <a:uFillTx/>
                        </a:endParaRPr>
                      </a:p>
                    </p:txBody>
                  </p:sp>
                  <p:sp>
                    <p:nvSpPr>
                      <p:cNvPr id="227" name="AutoShape 12"/>
                      <p:cNvSpPr>
                        <a:spLocks noChangeAspect="1" noChangeArrowheads="1" noTextEdit="1"/>
                      </p:cNvSpPr>
                      <p:nvPr/>
                    </p:nvSpPr>
                    <p:spPr bwMode="auto">
                      <a:xfrm>
                        <a:off x="2586436" y="3955862"/>
                        <a:ext cx="603145" cy="4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505050"/>
                          </a:solidFill>
                          <a:effectLst/>
                          <a:uLnTx/>
                          <a:uFillTx/>
                        </a:endParaRPr>
                      </a:p>
                    </p:txBody>
                  </p:sp>
                  <p:sp>
                    <p:nvSpPr>
                      <p:cNvPr id="228" name="Freeform 227"/>
                      <p:cNvSpPr>
                        <a:spLocks/>
                      </p:cNvSpPr>
                      <p:nvPr/>
                    </p:nvSpPr>
                    <p:spPr bwMode="auto">
                      <a:xfrm>
                        <a:off x="3172303" y="4424978"/>
                        <a:ext cx="0" cy="3760"/>
                      </a:xfrm>
                      <a:custGeom>
                        <a:avLst/>
                        <a:gdLst>
                          <a:gd name="T0" fmla="*/ 0 w 1"/>
                          <a:gd name="T1" fmla="*/ 7 h 7"/>
                          <a:gd name="T2" fmla="*/ 1 w 1"/>
                          <a:gd name="T3" fmla="*/ 0 h 7"/>
                          <a:gd name="T4" fmla="*/ 0 w 1"/>
                          <a:gd name="T5" fmla="*/ 7 h 7"/>
                        </a:gdLst>
                        <a:ahLst/>
                        <a:cxnLst>
                          <a:cxn ang="0">
                            <a:pos x="T0" y="T1"/>
                          </a:cxn>
                          <a:cxn ang="0">
                            <a:pos x="T2" y="T3"/>
                          </a:cxn>
                          <a:cxn ang="0">
                            <a:pos x="T4" y="T5"/>
                          </a:cxn>
                        </a:cxnLst>
                        <a:rect l="0" t="0" r="r" b="b"/>
                        <a:pathLst>
                          <a:path w="1" h="7">
                            <a:moveTo>
                              <a:pt x="0" y="7"/>
                            </a:moveTo>
                            <a:cubicBezTo>
                              <a:pt x="0" y="5"/>
                              <a:pt x="1" y="3"/>
                              <a:pt x="1" y="0"/>
                            </a:cubicBezTo>
                            <a:lnTo>
                              <a:pt x="0" y="7"/>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505050"/>
                          </a:solidFill>
                          <a:effectLst/>
                          <a:uLnTx/>
                          <a:uFillTx/>
                        </a:endParaRPr>
                      </a:p>
                    </p:txBody>
                  </p:sp>
                </p:grpSp>
              </p:grpSp>
              <p:pic>
                <p:nvPicPr>
                  <p:cNvPr id="223" name="Picture 22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743468" y="2355872"/>
                    <a:ext cx="723204" cy="1010842"/>
                  </a:xfrm>
                  <a:prstGeom prst="rect">
                    <a:avLst/>
                  </a:prstGeom>
                </p:spPr>
              </p:pic>
            </p:grpSp>
            <p:sp>
              <p:nvSpPr>
                <p:cNvPr id="218" name="Rectangle 217"/>
                <p:cNvSpPr/>
                <p:nvPr/>
              </p:nvSpPr>
              <p:spPr>
                <a:xfrm>
                  <a:off x="10098529" y="4971307"/>
                  <a:ext cx="1001557" cy="226623"/>
                </a:xfrm>
                <a:prstGeom prst="rect">
                  <a:avLst/>
                </a:prstGeom>
                <a:noFill/>
                <a:ln>
                  <a:noFill/>
                </a:ln>
              </p:spPr>
              <p:txBody>
                <a:bodyPr wrap="square" lIns="0" tIns="0" rIns="0" bIns="0" anchor="ctr">
                  <a:spAutoFit/>
                </a:bodyPr>
                <a:lstStyle/>
                <a:p>
                  <a:pPr marL="0" marR="0" lvl="0" indent="0" algn="ctr" defTabSz="1118323" eaLnBrk="1" fontAlgn="base" latinLnBrk="0" hangingPunct="1">
                    <a:lnSpc>
                      <a:spcPct val="100000"/>
                    </a:lnSpc>
                    <a:spcBef>
                      <a:spcPts val="0"/>
                    </a:spcBef>
                    <a:spcAft>
                      <a:spcPct val="0"/>
                    </a:spcAft>
                    <a:buClrTx/>
                    <a:buSzTx/>
                    <a:buFontTx/>
                    <a:buNone/>
                    <a:tabLst/>
                    <a:defRPr/>
                  </a:pPr>
                  <a:r>
                    <a:rPr kumimoji="0" lang="en-US" sz="1224" b="0" i="0" u="none" strike="noStrike" kern="0" cap="none" spc="0" normalizeH="0" baseline="0" noProof="0" dirty="0" smtClean="0">
                      <a:ln>
                        <a:solidFill>
                          <a:srgbClr val="FFFFFF">
                            <a:alpha val="0"/>
                          </a:srgbClr>
                        </a:solidFill>
                      </a:ln>
                      <a:solidFill>
                        <a:srgbClr val="FF8C00"/>
                      </a:solidFill>
                      <a:effectLst/>
                      <a:uLnTx/>
                      <a:uFillTx/>
                      <a:latin typeface="Segoe"/>
                    </a:rPr>
                    <a:t>LOB Apps</a:t>
                  </a:r>
                </a:p>
              </p:txBody>
            </p:sp>
            <p:grpSp>
              <p:nvGrpSpPr>
                <p:cNvPr id="219" name="Group 218"/>
                <p:cNvGrpSpPr/>
                <p:nvPr/>
              </p:nvGrpSpPr>
              <p:grpSpPr>
                <a:xfrm>
                  <a:off x="9074596" y="3970370"/>
                  <a:ext cx="979009" cy="1227560"/>
                  <a:chOff x="9074596" y="3970370"/>
                  <a:chExt cx="979009" cy="1227560"/>
                </a:xfrm>
              </p:grpSpPr>
              <p:sp>
                <p:nvSpPr>
                  <p:cNvPr id="220" name="Rectangle 219"/>
                  <p:cNvSpPr>
                    <a:spLocks noChangeAspect="1"/>
                  </p:cNvSpPr>
                  <p:nvPr/>
                </p:nvSpPr>
                <p:spPr>
                  <a:xfrm>
                    <a:off x="9074596" y="4971307"/>
                    <a:ext cx="979009" cy="226623"/>
                  </a:xfrm>
                  <a:prstGeom prst="rect">
                    <a:avLst/>
                  </a:prstGeom>
                  <a:noFill/>
                  <a:ln>
                    <a:noFill/>
                  </a:ln>
                </p:spPr>
                <p:txBody>
                  <a:bodyPr wrap="square" lIns="0" tIns="0" rIns="0" bIns="0" anchor="ctr">
                    <a:spAutoFit/>
                  </a:bodyPr>
                  <a:lstStyle/>
                  <a:p>
                    <a:pPr marL="0" marR="0" lvl="0" indent="0" algn="ctr" defTabSz="1118323" eaLnBrk="1" fontAlgn="base" latinLnBrk="0" hangingPunct="1">
                      <a:lnSpc>
                        <a:spcPct val="100000"/>
                      </a:lnSpc>
                      <a:spcBef>
                        <a:spcPts val="0"/>
                      </a:spcBef>
                      <a:spcAft>
                        <a:spcPct val="0"/>
                      </a:spcAft>
                      <a:buClrTx/>
                      <a:buSzTx/>
                      <a:buFontTx/>
                      <a:buNone/>
                      <a:tabLst/>
                      <a:defRPr/>
                    </a:pPr>
                    <a:r>
                      <a:rPr kumimoji="0" lang="en-US" sz="1224" b="0" i="0" u="none" strike="noStrike" kern="0" cap="none" spc="0" normalizeH="0" baseline="0" noProof="0" dirty="0" smtClean="0">
                        <a:ln>
                          <a:solidFill>
                            <a:srgbClr val="FFFFFF">
                              <a:alpha val="0"/>
                            </a:srgbClr>
                          </a:solidFill>
                        </a:ln>
                        <a:solidFill>
                          <a:srgbClr val="FF8C00"/>
                        </a:solidFill>
                        <a:effectLst/>
                        <a:uLnTx/>
                        <a:uFillTx/>
                        <a:latin typeface="Segoe"/>
                      </a:rPr>
                      <a:t>Web Apps</a:t>
                    </a:r>
                  </a:p>
                </p:txBody>
              </p:sp>
              <p:sp>
                <p:nvSpPr>
                  <p:cNvPr id="221" name="Freeform 31"/>
                  <p:cNvSpPr>
                    <a:spLocks noEditPoints="1"/>
                  </p:cNvSpPr>
                  <p:nvPr/>
                </p:nvSpPr>
                <p:spPr bwMode="auto">
                  <a:xfrm>
                    <a:off x="9086850" y="3970370"/>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grpSp>
          <p:grpSp>
            <p:nvGrpSpPr>
              <p:cNvPr id="213" name="Group 212"/>
              <p:cNvGrpSpPr/>
              <p:nvPr/>
            </p:nvGrpSpPr>
            <p:grpSpPr>
              <a:xfrm>
                <a:off x="10213951" y="4176395"/>
                <a:ext cx="933760" cy="690000"/>
                <a:chOff x="10213951" y="3892095"/>
                <a:chExt cx="906017" cy="669499"/>
              </a:xfrm>
            </p:grpSpPr>
            <p:sp>
              <p:nvSpPr>
                <p:cNvPr id="214" name="Rectangle 36"/>
                <p:cNvSpPr>
                  <a:spLocks noChangeArrowheads="1"/>
                </p:cNvSpPr>
                <p:nvPr/>
              </p:nvSpPr>
              <p:spPr bwMode="auto">
                <a:xfrm>
                  <a:off x="10213951" y="3892095"/>
                  <a:ext cx="906017" cy="669499"/>
                </a:xfrm>
                <a:prstGeom prst="rect">
                  <a:avLst/>
                </a:prstGeom>
                <a:noFill/>
                <a:ln w="31750"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215" name="Freeform 37"/>
                <p:cNvSpPr>
                  <a:spLocks noEditPoints="1"/>
                </p:cNvSpPr>
                <p:nvPr/>
              </p:nvSpPr>
              <p:spPr bwMode="auto">
                <a:xfrm>
                  <a:off x="10213951" y="3998910"/>
                  <a:ext cx="906017" cy="454916"/>
                </a:xfrm>
                <a:custGeom>
                  <a:avLst/>
                  <a:gdLst>
                    <a:gd name="T0" fmla="*/ 0 w 950"/>
                    <a:gd name="T1" fmla="*/ 102 h 477"/>
                    <a:gd name="T2" fmla="*/ 950 w 950"/>
                    <a:gd name="T3" fmla="*/ 102 h 477"/>
                    <a:gd name="T4" fmla="*/ 950 w 950"/>
                    <a:gd name="T5" fmla="*/ 225 h 477"/>
                    <a:gd name="T6" fmla="*/ 0 w 950"/>
                    <a:gd name="T7" fmla="*/ 225 h 477"/>
                    <a:gd name="T8" fmla="*/ 0 w 950"/>
                    <a:gd name="T9" fmla="*/ 354 h 477"/>
                    <a:gd name="T10" fmla="*/ 950 w 950"/>
                    <a:gd name="T11" fmla="*/ 354 h 477"/>
                    <a:gd name="T12" fmla="*/ 0 w 950"/>
                    <a:gd name="T13" fmla="*/ 477 h 477"/>
                    <a:gd name="T14" fmla="*/ 950 w 950"/>
                    <a:gd name="T15" fmla="*/ 477 h 477"/>
                    <a:gd name="T16" fmla="*/ 0 w 950"/>
                    <a:gd name="T17" fmla="*/ 0 h 477"/>
                    <a:gd name="T18" fmla="*/ 950 w 950"/>
                    <a:gd name="T19"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0" h="477">
                      <a:moveTo>
                        <a:pt x="0" y="102"/>
                      </a:moveTo>
                      <a:lnTo>
                        <a:pt x="950" y="102"/>
                      </a:lnTo>
                      <a:moveTo>
                        <a:pt x="950" y="225"/>
                      </a:moveTo>
                      <a:lnTo>
                        <a:pt x="0" y="225"/>
                      </a:lnTo>
                      <a:moveTo>
                        <a:pt x="0" y="354"/>
                      </a:moveTo>
                      <a:lnTo>
                        <a:pt x="950" y="354"/>
                      </a:lnTo>
                      <a:moveTo>
                        <a:pt x="0" y="477"/>
                      </a:moveTo>
                      <a:lnTo>
                        <a:pt x="950" y="477"/>
                      </a:lnTo>
                      <a:moveTo>
                        <a:pt x="0" y="0"/>
                      </a:moveTo>
                      <a:lnTo>
                        <a:pt x="950" y="0"/>
                      </a:lnTo>
                    </a:path>
                  </a:pathLst>
                </a:custGeom>
                <a:noFill/>
                <a:ln w="22225" cap="flat">
                  <a:solidFill>
                    <a:srgbClr val="FF8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sp>
              <p:nvSpPr>
                <p:cNvPr id="216" name="Freeform 38"/>
                <p:cNvSpPr>
                  <a:spLocks/>
                </p:cNvSpPr>
                <p:nvPr/>
              </p:nvSpPr>
              <p:spPr bwMode="auto">
                <a:xfrm>
                  <a:off x="10222534" y="3937873"/>
                  <a:ext cx="848795" cy="577944"/>
                </a:xfrm>
                <a:custGeom>
                  <a:avLst/>
                  <a:gdLst>
                    <a:gd name="T0" fmla="*/ 0 w 1777"/>
                    <a:gd name="T1" fmla="*/ 1150 h 1150"/>
                    <a:gd name="T2" fmla="*/ 195 w 1777"/>
                    <a:gd name="T3" fmla="*/ 1111 h 1150"/>
                    <a:gd name="T4" fmla="*/ 306 w 1777"/>
                    <a:gd name="T5" fmla="*/ 1088 h 1150"/>
                    <a:gd name="T6" fmla="*/ 367 w 1777"/>
                    <a:gd name="T7" fmla="*/ 1075 h 1150"/>
                    <a:gd name="T8" fmla="*/ 398 w 1777"/>
                    <a:gd name="T9" fmla="*/ 1068 h 1150"/>
                    <a:gd name="T10" fmla="*/ 405 w 1777"/>
                    <a:gd name="T11" fmla="*/ 1067 h 1150"/>
                    <a:gd name="T12" fmla="*/ 409 w 1777"/>
                    <a:gd name="T13" fmla="*/ 1066 h 1150"/>
                    <a:gd name="T14" fmla="*/ 411 w 1777"/>
                    <a:gd name="T15" fmla="*/ 1065 h 1150"/>
                    <a:gd name="T16" fmla="*/ 412 w 1777"/>
                    <a:gd name="T17" fmla="*/ 1063 h 1150"/>
                    <a:gd name="T18" fmla="*/ 420 w 1777"/>
                    <a:gd name="T19" fmla="*/ 1050 h 1150"/>
                    <a:gd name="T20" fmla="*/ 548 w 1777"/>
                    <a:gd name="T21" fmla="*/ 854 h 1150"/>
                    <a:gd name="T22" fmla="*/ 608 w 1777"/>
                    <a:gd name="T23" fmla="*/ 761 h 1150"/>
                    <a:gd name="T24" fmla="*/ 635 w 1777"/>
                    <a:gd name="T25" fmla="*/ 720 h 1150"/>
                    <a:gd name="T26" fmla="*/ 677 w 1777"/>
                    <a:gd name="T27" fmla="*/ 696 h 1150"/>
                    <a:gd name="T28" fmla="*/ 1021 w 1777"/>
                    <a:gd name="T29" fmla="*/ 653 h 1150"/>
                    <a:gd name="T30" fmla="*/ 1385 w 1777"/>
                    <a:gd name="T31" fmla="*/ 282 h 1150"/>
                    <a:gd name="T32" fmla="*/ 1394 w 1777"/>
                    <a:gd name="T33" fmla="*/ 277 h 1150"/>
                    <a:gd name="T34" fmla="*/ 1518 w 1777"/>
                    <a:gd name="T35" fmla="*/ 481 h 1150"/>
                    <a:gd name="T36" fmla="*/ 1777 w 1777"/>
                    <a:gd name="T37" fmla="*/ 0 h 1150"/>
                    <a:gd name="T38" fmla="*/ 1237 w 1777"/>
                    <a:gd name="T39" fmla="*/ 16 h 1150"/>
                    <a:gd name="T40" fmla="*/ 1360 w 1777"/>
                    <a:gd name="T41" fmla="*/ 220 h 1150"/>
                    <a:gd name="T42" fmla="*/ 1351 w 1777"/>
                    <a:gd name="T43" fmla="*/ 226 h 1150"/>
                    <a:gd name="T44" fmla="*/ 974 w 1777"/>
                    <a:gd name="T45" fmla="*/ 604 h 1150"/>
                    <a:gd name="T46" fmla="*/ 642 w 1777"/>
                    <a:gd name="T47" fmla="*/ 640 h 1150"/>
                    <a:gd name="T48" fmla="*/ 588 w 1777"/>
                    <a:gd name="T49" fmla="*/ 672 h 1150"/>
                    <a:gd name="T50" fmla="*/ 554 w 1777"/>
                    <a:gd name="T51" fmla="*/ 724 h 1150"/>
                    <a:gd name="T52" fmla="*/ 493 w 1777"/>
                    <a:gd name="T53" fmla="*/ 818 h 1150"/>
                    <a:gd name="T54" fmla="*/ 378 w 1777"/>
                    <a:gd name="T55" fmla="*/ 995 h 1150"/>
                    <a:gd name="T56" fmla="*/ 371 w 1777"/>
                    <a:gd name="T57" fmla="*/ 1005 h 1150"/>
                    <a:gd name="T58" fmla="*/ 369 w 1777"/>
                    <a:gd name="T59" fmla="*/ 1007 h 1150"/>
                    <a:gd name="T60" fmla="*/ 366 w 1777"/>
                    <a:gd name="T61" fmla="*/ 1008 h 1150"/>
                    <a:gd name="T62" fmla="*/ 360 w 1777"/>
                    <a:gd name="T63" fmla="*/ 1009 h 1150"/>
                    <a:gd name="T64" fmla="*/ 336 w 1777"/>
                    <a:gd name="T65" fmla="*/ 1014 h 1150"/>
                    <a:gd name="T66" fmla="*/ 288 w 1777"/>
                    <a:gd name="T67" fmla="*/ 1024 h 1150"/>
                    <a:gd name="T68" fmla="*/ 182 w 1777"/>
                    <a:gd name="T69" fmla="*/ 1046 h 1150"/>
                    <a:gd name="T70" fmla="*/ 1 w 1777"/>
                    <a:gd name="T71" fmla="*/ 1085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77" h="1150">
                      <a:moveTo>
                        <a:pt x="0" y="1150"/>
                      </a:moveTo>
                      <a:cubicBezTo>
                        <a:pt x="195" y="1111"/>
                        <a:pt x="195" y="1111"/>
                        <a:pt x="195" y="1111"/>
                      </a:cubicBezTo>
                      <a:cubicBezTo>
                        <a:pt x="306" y="1088"/>
                        <a:pt x="306" y="1088"/>
                        <a:pt x="306" y="1088"/>
                      </a:cubicBezTo>
                      <a:cubicBezTo>
                        <a:pt x="367" y="1075"/>
                        <a:pt x="367" y="1075"/>
                        <a:pt x="367" y="1075"/>
                      </a:cubicBezTo>
                      <a:cubicBezTo>
                        <a:pt x="398" y="1068"/>
                        <a:pt x="398" y="1068"/>
                        <a:pt x="398" y="1068"/>
                      </a:cubicBezTo>
                      <a:cubicBezTo>
                        <a:pt x="405" y="1067"/>
                        <a:pt x="405" y="1067"/>
                        <a:pt x="405" y="1067"/>
                      </a:cubicBezTo>
                      <a:cubicBezTo>
                        <a:pt x="409" y="1066"/>
                        <a:pt x="409" y="1066"/>
                        <a:pt x="409" y="1066"/>
                      </a:cubicBezTo>
                      <a:cubicBezTo>
                        <a:pt x="410" y="1066"/>
                        <a:pt x="410" y="1066"/>
                        <a:pt x="411" y="1065"/>
                      </a:cubicBezTo>
                      <a:cubicBezTo>
                        <a:pt x="412" y="1063"/>
                        <a:pt x="412" y="1063"/>
                        <a:pt x="412" y="1063"/>
                      </a:cubicBezTo>
                      <a:cubicBezTo>
                        <a:pt x="420" y="1050"/>
                        <a:pt x="420" y="1050"/>
                        <a:pt x="420" y="1050"/>
                      </a:cubicBezTo>
                      <a:cubicBezTo>
                        <a:pt x="548" y="854"/>
                        <a:pt x="548" y="854"/>
                        <a:pt x="548" y="854"/>
                      </a:cubicBezTo>
                      <a:cubicBezTo>
                        <a:pt x="608" y="761"/>
                        <a:pt x="608" y="761"/>
                        <a:pt x="608" y="761"/>
                      </a:cubicBezTo>
                      <a:cubicBezTo>
                        <a:pt x="617" y="748"/>
                        <a:pt x="625" y="734"/>
                        <a:pt x="635" y="720"/>
                      </a:cubicBezTo>
                      <a:cubicBezTo>
                        <a:pt x="677" y="696"/>
                        <a:pt x="677" y="696"/>
                        <a:pt x="677" y="696"/>
                      </a:cubicBezTo>
                      <a:cubicBezTo>
                        <a:pt x="1021" y="653"/>
                        <a:pt x="1021" y="653"/>
                        <a:pt x="1021" y="653"/>
                      </a:cubicBezTo>
                      <a:cubicBezTo>
                        <a:pt x="1385" y="282"/>
                        <a:pt x="1385" y="282"/>
                        <a:pt x="1385" y="282"/>
                      </a:cubicBezTo>
                      <a:cubicBezTo>
                        <a:pt x="1394" y="277"/>
                        <a:pt x="1394" y="277"/>
                        <a:pt x="1394" y="277"/>
                      </a:cubicBezTo>
                      <a:cubicBezTo>
                        <a:pt x="1518" y="481"/>
                        <a:pt x="1518" y="481"/>
                        <a:pt x="1518" y="481"/>
                      </a:cubicBezTo>
                      <a:cubicBezTo>
                        <a:pt x="1605" y="320"/>
                        <a:pt x="1692" y="160"/>
                        <a:pt x="1777" y="0"/>
                      </a:cubicBezTo>
                      <a:cubicBezTo>
                        <a:pt x="1596" y="6"/>
                        <a:pt x="1416" y="11"/>
                        <a:pt x="1237" y="16"/>
                      </a:cubicBezTo>
                      <a:cubicBezTo>
                        <a:pt x="1360" y="220"/>
                        <a:pt x="1360" y="220"/>
                        <a:pt x="1360" y="220"/>
                      </a:cubicBezTo>
                      <a:cubicBezTo>
                        <a:pt x="1351" y="226"/>
                        <a:pt x="1351" y="226"/>
                        <a:pt x="1351" y="226"/>
                      </a:cubicBezTo>
                      <a:cubicBezTo>
                        <a:pt x="974" y="604"/>
                        <a:pt x="974" y="604"/>
                        <a:pt x="974" y="604"/>
                      </a:cubicBezTo>
                      <a:cubicBezTo>
                        <a:pt x="642" y="640"/>
                        <a:pt x="642" y="640"/>
                        <a:pt x="642" y="640"/>
                      </a:cubicBezTo>
                      <a:cubicBezTo>
                        <a:pt x="588" y="672"/>
                        <a:pt x="588" y="672"/>
                        <a:pt x="588" y="672"/>
                      </a:cubicBezTo>
                      <a:cubicBezTo>
                        <a:pt x="576" y="689"/>
                        <a:pt x="565" y="706"/>
                        <a:pt x="554" y="724"/>
                      </a:cubicBezTo>
                      <a:cubicBezTo>
                        <a:pt x="493" y="818"/>
                        <a:pt x="493" y="818"/>
                        <a:pt x="493" y="818"/>
                      </a:cubicBezTo>
                      <a:cubicBezTo>
                        <a:pt x="378" y="995"/>
                        <a:pt x="378" y="995"/>
                        <a:pt x="378" y="995"/>
                      </a:cubicBezTo>
                      <a:cubicBezTo>
                        <a:pt x="371" y="1005"/>
                        <a:pt x="371" y="1005"/>
                        <a:pt x="371" y="1005"/>
                      </a:cubicBezTo>
                      <a:cubicBezTo>
                        <a:pt x="371" y="1006"/>
                        <a:pt x="370" y="1007"/>
                        <a:pt x="369" y="1007"/>
                      </a:cubicBezTo>
                      <a:cubicBezTo>
                        <a:pt x="366" y="1008"/>
                        <a:pt x="366" y="1008"/>
                        <a:pt x="366" y="1008"/>
                      </a:cubicBezTo>
                      <a:cubicBezTo>
                        <a:pt x="360" y="1009"/>
                        <a:pt x="360" y="1009"/>
                        <a:pt x="360" y="1009"/>
                      </a:cubicBezTo>
                      <a:cubicBezTo>
                        <a:pt x="336" y="1014"/>
                        <a:pt x="336" y="1014"/>
                        <a:pt x="336" y="1014"/>
                      </a:cubicBezTo>
                      <a:cubicBezTo>
                        <a:pt x="288" y="1024"/>
                        <a:pt x="288" y="1024"/>
                        <a:pt x="288" y="1024"/>
                      </a:cubicBezTo>
                      <a:cubicBezTo>
                        <a:pt x="182" y="1046"/>
                        <a:pt x="182" y="1046"/>
                        <a:pt x="182" y="1046"/>
                      </a:cubicBezTo>
                      <a:cubicBezTo>
                        <a:pt x="1" y="1085"/>
                        <a:pt x="1" y="1085"/>
                        <a:pt x="1" y="1085"/>
                      </a:cubicBezTo>
                    </a:path>
                  </a:pathLst>
                </a:custGeom>
                <a:solidFill>
                  <a:srgbClr val="FF8C00"/>
                </a:solidFill>
                <a:ln w="19050"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505050"/>
                    </a:solidFill>
                    <a:effectLst/>
                    <a:uLnTx/>
                    <a:uFillTx/>
                  </a:endParaRPr>
                </a:p>
              </p:txBody>
            </p:sp>
          </p:grpSp>
        </p:grpSp>
      </p:grpSp>
    </p:spTree>
    <p:extLst>
      <p:ext uri="{BB962C8B-B14F-4D97-AF65-F5344CB8AC3E}">
        <p14:creationId xmlns:p14="http://schemas.microsoft.com/office/powerpoint/2010/main" val="32300602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2013 Speaker PPT Template [Read-Only]" id="{6683A6EE-ADB7-4410-878E-5EC6C33A299C}" vid="{F802A805-23AE-46E3-9DC7-836A2449BC4C}"/>
    </a:ext>
  </a:extLst>
</a:theme>
</file>

<file path=ppt/theme/theme2.xml><?xml version="1.0" encoding="utf-8"?>
<a:theme xmlns:a="http://schemas.openxmlformats.org/drawingml/2006/main" name="1_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2013 Speaker PPT Template.potx" id="{E8DFABE4-88D1-4ACE-A455-2F0815ECCC87}" vid="{87B015FB-85AC-4804-97B7-86A6F472A39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oundation Session</Template>
  <TotalTime>1</TotalTime>
  <Words>3507</Words>
  <Application>Microsoft Office PowerPoint</Application>
  <PresentationFormat>Custom</PresentationFormat>
  <Paragraphs>279</Paragraphs>
  <Slides>23</Slides>
  <Notes>23</Notes>
  <HiddenSlides>0</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23</vt:i4>
      </vt:variant>
    </vt:vector>
  </HeadingPairs>
  <TitlesOfParts>
    <vt:vector size="34" baseType="lpstr">
      <vt:lpstr>Arial</vt:lpstr>
      <vt:lpstr>Calibri</vt:lpstr>
      <vt:lpstr>Consolas</vt:lpstr>
      <vt:lpstr>Segoe</vt:lpstr>
      <vt:lpstr>Segoe Light</vt:lpstr>
      <vt:lpstr>Segoe UI</vt:lpstr>
      <vt:lpstr>Segoe UI Light</vt:lpstr>
      <vt:lpstr>Segoe UI Semibold</vt:lpstr>
      <vt:lpstr>Wingdings</vt:lpstr>
      <vt:lpstr>TechEd_2013_Template_16x9</vt:lpstr>
      <vt:lpstr>1_TechEd_2013_Template_16x9</vt:lpstr>
      <vt:lpstr>PowerPoint Presentation</vt:lpstr>
      <vt:lpstr>Enabling People-Centric IT</vt:lpstr>
      <vt:lpstr>The Cloud OS  Modern platform for the world’s apps</vt:lpstr>
      <vt:lpstr>Waves of Innovation</vt:lpstr>
      <vt:lpstr>Aston Martin Video</vt:lpstr>
      <vt:lpstr>Today’s Challenges</vt:lpstr>
      <vt:lpstr>People-centric IT</vt:lpstr>
      <vt:lpstr>Empower Users</vt:lpstr>
      <vt:lpstr>Empower Users Allow users to work the device of their choice and provide consistent access to corporate resources</vt:lpstr>
      <vt:lpstr>Demo Empower Users</vt:lpstr>
      <vt:lpstr>Unify Your Environment</vt:lpstr>
      <vt:lpstr>Unify Your Environment Deliver comprehensive application and device management</vt:lpstr>
      <vt:lpstr>Demo Unify Your Environment</vt:lpstr>
      <vt:lpstr>Protect Your Data</vt:lpstr>
      <vt:lpstr>Protect Your Data Help protect corporate information and manage risk</vt:lpstr>
      <vt:lpstr>Demo Protect Your Data</vt:lpstr>
      <vt:lpstr>People-centric IT Solution</vt:lpstr>
      <vt:lpstr>Related content</vt:lpstr>
      <vt:lpstr>For More Information</vt:lpstr>
      <vt:lpstr>Resources</vt:lpstr>
      <vt:lpstr>Complete an evaluation on CommNet and enter to win!</vt:lpstr>
      <vt:lpstr>Evaluate this sess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DN03: Enabling People-Centric IT</dc:title>
  <dc:subject>TechEd 2013</dc:subject>
  <dc:creator> Andrew Conway</dc:creator>
  <cp:keywords>TechEd 2013</cp:keywords>
  <dc:description>Template by: Jordan Cayabyab, Artitudes Design, Inc.
Formatting by: Dana KW, Silver Fox Productions, Inc.
Audience Type: Internal/External</dc:description>
  <cp:lastModifiedBy>Shows</cp:lastModifiedBy>
  <cp:revision>2</cp:revision>
  <dcterms:created xsi:type="dcterms:W3CDTF">2013-06-02T02:25:05Z</dcterms:created>
  <dcterms:modified xsi:type="dcterms:W3CDTF">2013-06-03T16:57:52Z</dcterms:modified>
</cp:coreProperties>
</file>